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135.xml" ContentType="application/vnd.openxmlformats-officedocument.presentationml.tags+xml"/>
  <Override PartName="/ppt/notesSlides/notesSlide5.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8.xml" ContentType="application/vnd.openxmlformats-officedocument.presentationml.tags+xml"/>
  <Override PartName="/ppt/notesSlides/notesSlide7.xml" ContentType="application/vnd.openxmlformats-officedocument.presentationml.notesSlide+xml"/>
  <Override PartName="/ppt/tags/tag139.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279" r:id="rId5"/>
    <p:sldMasterId id="2147484073" r:id="rId6"/>
    <p:sldMasterId id="2147484138" r:id="rId7"/>
    <p:sldMasterId id="2147484187" r:id="rId8"/>
    <p:sldMasterId id="2147484214" r:id="rId9"/>
    <p:sldMasterId id="2147484241" r:id="rId10"/>
  </p:sldMasterIdLst>
  <p:notesMasterIdLst>
    <p:notesMasterId r:id="rId20"/>
  </p:notesMasterIdLst>
  <p:handoutMasterIdLst>
    <p:handoutMasterId r:id="rId21"/>
  </p:handoutMasterIdLst>
  <p:sldIdLst>
    <p:sldId id="582" r:id="rId11"/>
    <p:sldId id="600" r:id="rId12"/>
    <p:sldId id="614" r:id="rId13"/>
    <p:sldId id="602" r:id="rId14"/>
    <p:sldId id="603" r:id="rId15"/>
    <p:sldId id="617" r:id="rId16"/>
    <p:sldId id="618" r:id="rId17"/>
    <p:sldId id="612" r:id="rId18"/>
    <p:sldId id="609"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B7511B-8D84-FA03-37AC-D637B7161F55}" name="Low, Fiona (Sydney)" initials="LF(" userId="S::Fiona.Low@Worley.com::485f242e-0ea0-4420-b075-30262c549ade" providerId="AD"/>
  <p188:author id="{BDC3174C-A37B-726D-17C0-5EAEA951F073}" name="Stewart, Lea (Perth)" initials="SL(" userId="S::Lea.Stewart@Worley.com::e31e793e-16e4-428e-ab39-db6b82cb644f" providerId="AD"/>
  <p188:author id="{3D24B889-B1FA-16D2-659D-0B09FBDE9675}" name="Gialouris, Daisy (Sydney)" initials="GD(" userId="S::Daisy.Koudounis@Worley.com::772dd938-0787-489e-8f3d-946500670bdb" providerId="AD"/>
  <p188:author id="{4D7349DC-33DC-381B-44FE-CB8DCDC1E667}" name="Luis Urrutia" initials="LU" userId="f002782a495d67a5"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3A4F"/>
    <a:srgbClr val="D2F6F4"/>
    <a:srgbClr val="29C8C1"/>
    <a:srgbClr val="F4394E"/>
    <a:srgbClr val="F43A4F"/>
    <a:srgbClr val="202020"/>
    <a:srgbClr val="060606"/>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0324C1-6CE4-4C28-B886-AED0B666B37F}" v="64990" dt="2024-06-25T01:21:59.3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131" autoAdjust="0"/>
    <p:restoredTop sz="96357" autoAdjust="0"/>
  </p:normalViewPr>
  <p:slideViewPr>
    <p:cSldViewPr snapToGrid="0" showGuides="1">
      <p:cViewPr varScale="1">
        <p:scale>
          <a:sx n="106" d="100"/>
          <a:sy n="106" d="100"/>
        </p:scale>
        <p:origin x="126" y="108"/>
      </p:cViewPr>
      <p:guideLst/>
    </p:cSldViewPr>
  </p:slideViewPr>
  <p:notesTextViewPr>
    <p:cViewPr>
      <p:scale>
        <a:sx n="3" d="2"/>
        <a:sy n="3" d="2"/>
      </p:scale>
      <p:origin x="0" y="0"/>
    </p:cViewPr>
  </p:notesTextViewPr>
  <p:sorterViewPr>
    <p:cViewPr>
      <p:scale>
        <a:sx n="58" d="100"/>
        <a:sy n="58" d="100"/>
      </p:scale>
      <p:origin x="0" y="0"/>
    </p:cViewPr>
  </p:sorterViewPr>
  <p:notesViewPr>
    <p:cSldViewPr snapToGrid="0" showGuides="1">
      <p:cViewPr varScale="1">
        <p:scale>
          <a:sx n="57" d="100"/>
          <a:sy n="57" d="100"/>
        </p:scale>
        <p:origin x="2405"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ce, Morgan (Brisbane)" userId="221d5f7b-4a46-4bd5-bdf1-698d3a91c208" providerId="ADAL" clId="{D90324C1-6CE4-4C28-B886-AED0B666B37F}"/>
    <pc:docChg chg="undo redo custSel addSld delSld modSld sldOrd modMainMaster replTag modNotesMaster">
      <pc:chgData name="Grace, Morgan (Brisbane)" userId="221d5f7b-4a46-4bd5-bdf1-698d3a91c208" providerId="ADAL" clId="{D90324C1-6CE4-4C28-B886-AED0B666B37F}" dt="2024-06-25T01:23:55.616" v="128137" actId="1076"/>
      <pc:docMkLst>
        <pc:docMk/>
      </pc:docMkLst>
      <pc:sldChg chg="modSp del mod modNotes">
        <pc:chgData name="Grace, Morgan (Brisbane)" userId="221d5f7b-4a46-4bd5-bdf1-698d3a91c208" providerId="ADAL" clId="{D90324C1-6CE4-4C28-B886-AED0B666B37F}" dt="2024-06-06T06:26:35.069" v="47742" actId="47"/>
        <pc:sldMkLst>
          <pc:docMk/>
          <pc:sldMk cId="458623206" sldId="267"/>
        </pc:sldMkLst>
        <pc:spChg chg="mod">
          <ac:chgData name="Grace, Morgan (Brisbane)" userId="221d5f7b-4a46-4bd5-bdf1-698d3a91c208" providerId="ADAL" clId="{D90324C1-6CE4-4C28-B886-AED0B666B37F}" dt="2024-06-06T05:13:57.567" v="43963" actId="947"/>
          <ac:spMkLst>
            <pc:docMk/>
            <pc:sldMk cId="458623206" sldId="267"/>
            <ac:spMk id="2" creationId="{773B0DDD-2522-8944-3857-A67C39F91CA6}"/>
          </ac:spMkLst>
        </pc:spChg>
        <pc:spChg chg="mod">
          <ac:chgData name="Grace, Morgan (Brisbane)" userId="221d5f7b-4a46-4bd5-bdf1-698d3a91c208" providerId="ADAL" clId="{D90324C1-6CE4-4C28-B886-AED0B666B37F}" dt="2024-06-06T05:13:57.567" v="43959" actId="947"/>
          <ac:spMkLst>
            <pc:docMk/>
            <pc:sldMk cId="458623206" sldId="267"/>
            <ac:spMk id="3" creationId="{3B861CEF-8CB9-10DF-6099-5F1E64B98B6F}"/>
          </ac:spMkLst>
        </pc:spChg>
        <pc:spChg chg="mod">
          <ac:chgData name="Grace, Morgan (Brisbane)" userId="221d5f7b-4a46-4bd5-bdf1-698d3a91c208" providerId="ADAL" clId="{D90324C1-6CE4-4C28-B886-AED0B666B37F}" dt="2024-06-06T05:13:57.567" v="43961" actId="947"/>
          <ac:spMkLst>
            <pc:docMk/>
            <pc:sldMk cId="458623206" sldId="267"/>
            <ac:spMk id="4" creationId="{9D609421-1B00-AF89-2DEA-7F1093CB0B65}"/>
          </ac:spMkLst>
        </pc:spChg>
        <pc:spChg chg="mod">
          <ac:chgData name="Grace, Morgan (Brisbane)" userId="221d5f7b-4a46-4bd5-bdf1-698d3a91c208" providerId="ADAL" clId="{D90324C1-6CE4-4C28-B886-AED0B666B37F}" dt="2024-06-06T05:13:57.567" v="43965" actId="947"/>
          <ac:spMkLst>
            <pc:docMk/>
            <pc:sldMk cId="458623206" sldId="267"/>
            <ac:spMk id="5" creationId="{DFA6AA0D-EF0D-33E6-1777-E1C30DDDFAB7}"/>
          </ac:spMkLst>
        </pc:spChg>
        <pc:graphicFrameChg chg="mod ord modVis replST">
          <ac:chgData name="Grace, Morgan (Brisbane)" userId="221d5f7b-4a46-4bd5-bdf1-698d3a91c208" providerId="ADAL" clId="{D90324C1-6CE4-4C28-B886-AED0B666B37F}" dt="2024-06-06T05:14:01.865" v="46291"/>
          <ac:graphicFrameMkLst>
            <pc:docMk/>
            <pc:sldMk cId="458623206" sldId="267"/>
            <ac:graphicFrameMk id="6" creationId="{3315FCC1-3B30-0BE5-EC18-811BF3BDCA2B}"/>
          </ac:graphicFrameMkLst>
        </pc:graphicFrameChg>
      </pc:sldChg>
      <pc:sldChg chg="modSp del mod modNotes">
        <pc:chgData name="Grace, Morgan (Brisbane)" userId="221d5f7b-4a46-4bd5-bdf1-698d3a91c208" providerId="ADAL" clId="{D90324C1-6CE4-4C28-B886-AED0B666B37F}" dt="2024-06-06T06:26:31.682" v="47741" actId="47"/>
        <pc:sldMkLst>
          <pc:docMk/>
          <pc:sldMk cId="1433337619" sldId="273"/>
        </pc:sldMkLst>
        <pc:spChg chg="mod">
          <ac:chgData name="Grace, Morgan (Brisbane)" userId="221d5f7b-4a46-4bd5-bdf1-698d3a91c208" providerId="ADAL" clId="{D90324C1-6CE4-4C28-B886-AED0B666B37F}" dt="2024-06-06T05:13:57.436" v="43839" actId="947"/>
          <ac:spMkLst>
            <pc:docMk/>
            <pc:sldMk cId="1433337619" sldId="273"/>
            <ac:spMk id="2" creationId="{7DE98BE7-DE14-72F4-3FA6-B55F434C5A74}"/>
          </ac:spMkLst>
        </pc:spChg>
        <pc:spChg chg="mod">
          <ac:chgData name="Grace, Morgan (Brisbane)" userId="221d5f7b-4a46-4bd5-bdf1-698d3a91c208" providerId="ADAL" clId="{D90324C1-6CE4-4C28-B886-AED0B666B37F}" dt="2024-06-06T05:13:57.436" v="43833" actId="947"/>
          <ac:spMkLst>
            <pc:docMk/>
            <pc:sldMk cId="1433337619" sldId="273"/>
            <ac:spMk id="17" creationId="{0F0D9A5A-DB27-4601-A646-B08B11E5A220}"/>
          </ac:spMkLst>
        </pc:spChg>
        <pc:spChg chg="mod">
          <ac:chgData name="Grace, Morgan (Brisbane)" userId="221d5f7b-4a46-4bd5-bdf1-698d3a91c208" providerId="ADAL" clId="{D90324C1-6CE4-4C28-B886-AED0B666B37F}" dt="2024-06-06T05:13:57.436" v="43831" actId="947"/>
          <ac:spMkLst>
            <pc:docMk/>
            <pc:sldMk cId="1433337619" sldId="273"/>
            <ac:spMk id="18" creationId="{CC9C2CC8-C8F1-E4C5-BCA6-8633E08ADD5A}"/>
          </ac:spMkLst>
        </pc:spChg>
        <pc:spChg chg="mod">
          <ac:chgData name="Grace, Morgan (Brisbane)" userId="221d5f7b-4a46-4bd5-bdf1-698d3a91c208" providerId="ADAL" clId="{D90324C1-6CE4-4C28-B886-AED0B666B37F}" dt="2024-06-06T05:13:57.436" v="43835" actId="947"/>
          <ac:spMkLst>
            <pc:docMk/>
            <pc:sldMk cId="1433337619" sldId="273"/>
            <ac:spMk id="19" creationId="{FA00573F-F276-D413-2318-7B628661D2FF}"/>
          </ac:spMkLst>
        </pc:spChg>
        <pc:spChg chg="mod">
          <ac:chgData name="Grace, Morgan (Brisbane)" userId="221d5f7b-4a46-4bd5-bdf1-698d3a91c208" providerId="ADAL" clId="{D90324C1-6CE4-4C28-B886-AED0B666B37F}" dt="2024-06-06T05:13:57.436" v="43837" actId="947"/>
          <ac:spMkLst>
            <pc:docMk/>
            <pc:sldMk cId="1433337619" sldId="273"/>
            <ac:spMk id="20" creationId="{71E33A23-60F3-0766-77BA-32ED8F7E6668}"/>
          </ac:spMkLst>
        </pc:spChg>
        <pc:graphicFrameChg chg="mod ord modVis replST">
          <ac:chgData name="Grace, Morgan (Brisbane)" userId="221d5f7b-4a46-4bd5-bdf1-698d3a91c208" providerId="ADAL" clId="{D90324C1-6CE4-4C28-B886-AED0B666B37F}" dt="2024-06-06T05:14:01.703" v="46235"/>
          <ac:graphicFrameMkLst>
            <pc:docMk/>
            <pc:sldMk cId="1433337619" sldId="273"/>
            <ac:graphicFrameMk id="3" creationId="{2CD766A5-FE80-7ADC-8DD7-C3F8E6648299}"/>
          </ac:graphicFrameMkLst>
        </pc:graphicFrameChg>
      </pc:sldChg>
      <pc:sldChg chg="modSp del mod modNotes">
        <pc:chgData name="Grace, Morgan (Brisbane)" userId="221d5f7b-4a46-4bd5-bdf1-698d3a91c208" providerId="ADAL" clId="{D90324C1-6CE4-4C28-B886-AED0B666B37F}" dt="2024-06-06T06:26:31.682" v="47741" actId="47"/>
        <pc:sldMkLst>
          <pc:docMk/>
          <pc:sldMk cId="3294775905" sldId="274"/>
        </pc:sldMkLst>
        <pc:spChg chg="mod">
          <ac:chgData name="Grace, Morgan (Brisbane)" userId="221d5f7b-4a46-4bd5-bdf1-698d3a91c208" providerId="ADAL" clId="{D90324C1-6CE4-4C28-B886-AED0B666B37F}" dt="2024-06-06T05:13:57.467" v="43857" actId="947"/>
          <ac:spMkLst>
            <pc:docMk/>
            <pc:sldMk cId="3294775905" sldId="274"/>
            <ac:spMk id="2" creationId="{42CF0603-B9BD-05B7-B6F9-DB6225FF5193}"/>
          </ac:spMkLst>
        </pc:spChg>
        <pc:spChg chg="mod">
          <ac:chgData name="Grace, Morgan (Brisbane)" userId="221d5f7b-4a46-4bd5-bdf1-698d3a91c208" providerId="ADAL" clId="{D90324C1-6CE4-4C28-B886-AED0B666B37F}" dt="2024-06-06T05:13:57.467" v="43855" actId="947"/>
          <ac:spMkLst>
            <pc:docMk/>
            <pc:sldMk cId="3294775905" sldId="274"/>
            <ac:spMk id="3" creationId="{F8ACF519-6CF2-CEE9-870A-DF847731A1DD}"/>
          </ac:spMkLst>
        </pc:spChg>
        <pc:spChg chg="mod">
          <ac:chgData name="Grace, Morgan (Brisbane)" userId="221d5f7b-4a46-4bd5-bdf1-698d3a91c208" providerId="ADAL" clId="{D90324C1-6CE4-4C28-B886-AED0B666B37F}" dt="2024-06-06T05:13:57.467" v="43859" actId="947"/>
          <ac:spMkLst>
            <pc:docMk/>
            <pc:sldMk cId="3294775905" sldId="274"/>
            <ac:spMk id="4" creationId="{EF2570B9-F529-70F6-7F2A-04950C5DAAA9}"/>
          </ac:spMkLst>
        </pc:spChg>
        <pc:spChg chg="mod">
          <ac:chgData name="Grace, Morgan (Brisbane)" userId="221d5f7b-4a46-4bd5-bdf1-698d3a91c208" providerId="ADAL" clId="{D90324C1-6CE4-4C28-B886-AED0B666B37F}" dt="2024-06-06T05:13:57.467" v="43861" actId="947"/>
          <ac:spMkLst>
            <pc:docMk/>
            <pc:sldMk cId="3294775905" sldId="274"/>
            <ac:spMk id="5" creationId="{EFF7CED6-0BE0-D95D-CA3D-D00432E62693}"/>
          </ac:spMkLst>
        </pc:spChg>
        <pc:spChg chg="mod">
          <ac:chgData name="Grace, Morgan (Brisbane)" userId="221d5f7b-4a46-4bd5-bdf1-698d3a91c208" providerId="ADAL" clId="{D90324C1-6CE4-4C28-B886-AED0B666B37F}" dt="2024-06-06T05:13:57.467" v="43867" actId="947"/>
          <ac:spMkLst>
            <pc:docMk/>
            <pc:sldMk cId="3294775905" sldId="274"/>
            <ac:spMk id="7" creationId="{86254EC8-DBF6-45F5-2152-C55775EDFDE8}"/>
          </ac:spMkLst>
        </pc:spChg>
        <pc:spChg chg="mod">
          <ac:chgData name="Grace, Morgan (Brisbane)" userId="221d5f7b-4a46-4bd5-bdf1-698d3a91c208" providerId="ADAL" clId="{D90324C1-6CE4-4C28-B886-AED0B666B37F}" dt="2024-06-06T05:13:57.467" v="43863" actId="947"/>
          <ac:spMkLst>
            <pc:docMk/>
            <pc:sldMk cId="3294775905" sldId="274"/>
            <ac:spMk id="26" creationId="{DBD7A283-F865-5E73-3197-80D41457B660}"/>
          </ac:spMkLst>
        </pc:spChg>
        <pc:spChg chg="mod">
          <ac:chgData name="Grace, Morgan (Brisbane)" userId="221d5f7b-4a46-4bd5-bdf1-698d3a91c208" providerId="ADAL" clId="{D90324C1-6CE4-4C28-B886-AED0B666B37F}" dt="2024-06-06T05:13:57.467" v="43865" actId="947"/>
          <ac:spMkLst>
            <pc:docMk/>
            <pc:sldMk cId="3294775905" sldId="274"/>
            <ac:spMk id="27" creationId="{A5DB2C28-9105-2301-F914-BC6C7A6ADD68}"/>
          </ac:spMkLst>
        </pc:spChg>
        <pc:graphicFrameChg chg="mod ord modVis replST">
          <ac:chgData name="Grace, Morgan (Brisbane)" userId="221d5f7b-4a46-4bd5-bdf1-698d3a91c208" providerId="ADAL" clId="{D90324C1-6CE4-4C28-B886-AED0B666B37F}" dt="2024-06-06T05:14:01.743" v="46249"/>
          <ac:graphicFrameMkLst>
            <pc:docMk/>
            <pc:sldMk cId="3294775905" sldId="274"/>
            <ac:graphicFrameMk id="6" creationId="{50E2184D-0DBF-DEF8-8842-65BDE632A550}"/>
          </ac:graphicFrameMkLst>
        </pc:graphicFrameChg>
      </pc:sldChg>
      <pc:sldChg chg="modSp del mod modNotes">
        <pc:chgData name="Grace, Morgan (Brisbane)" userId="221d5f7b-4a46-4bd5-bdf1-698d3a91c208" providerId="ADAL" clId="{D90324C1-6CE4-4C28-B886-AED0B666B37F}" dt="2024-06-06T06:26:31.682" v="47741" actId="47"/>
        <pc:sldMkLst>
          <pc:docMk/>
          <pc:sldMk cId="2710394562" sldId="275"/>
        </pc:sldMkLst>
        <pc:spChg chg="mod">
          <ac:chgData name="Grace, Morgan (Brisbane)" userId="221d5f7b-4a46-4bd5-bdf1-698d3a91c208" providerId="ADAL" clId="{D90324C1-6CE4-4C28-B886-AED0B666B37F}" dt="2024-06-06T05:13:57.452" v="43843" actId="947"/>
          <ac:spMkLst>
            <pc:docMk/>
            <pc:sldMk cId="2710394562" sldId="275"/>
            <ac:spMk id="2" creationId="{4B687586-8E32-647E-0508-CA96687FEB98}"/>
          </ac:spMkLst>
        </pc:spChg>
        <pc:spChg chg="mod">
          <ac:chgData name="Grace, Morgan (Brisbane)" userId="221d5f7b-4a46-4bd5-bdf1-698d3a91c208" providerId="ADAL" clId="{D90324C1-6CE4-4C28-B886-AED0B666B37F}" dt="2024-06-06T05:13:57.452" v="43841" actId="947"/>
          <ac:spMkLst>
            <pc:docMk/>
            <pc:sldMk cId="2710394562" sldId="275"/>
            <ac:spMk id="3" creationId="{1E8DD480-BE3A-9FF6-3266-9E9828C0E2E8}"/>
          </ac:spMkLst>
        </pc:spChg>
        <pc:spChg chg="mod">
          <ac:chgData name="Grace, Morgan (Brisbane)" userId="221d5f7b-4a46-4bd5-bdf1-698d3a91c208" providerId="ADAL" clId="{D90324C1-6CE4-4C28-B886-AED0B666B37F}" dt="2024-06-06T05:13:57.452" v="43845" actId="947"/>
          <ac:spMkLst>
            <pc:docMk/>
            <pc:sldMk cId="2710394562" sldId="275"/>
            <ac:spMk id="4" creationId="{5E45589E-3B88-5786-230E-6EE7305228DB}"/>
          </ac:spMkLst>
        </pc:spChg>
        <pc:spChg chg="mod">
          <ac:chgData name="Grace, Morgan (Brisbane)" userId="221d5f7b-4a46-4bd5-bdf1-698d3a91c208" providerId="ADAL" clId="{D90324C1-6CE4-4C28-B886-AED0B666B37F}" dt="2024-06-06T05:13:57.452" v="43847" actId="947"/>
          <ac:spMkLst>
            <pc:docMk/>
            <pc:sldMk cId="2710394562" sldId="275"/>
            <ac:spMk id="5" creationId="{4782FA3B-CECD-3BC7-1750-80463088BE7A}"/>
          </ac:spMkLst>
        </pc:spChg>
        <pc:spChg chg="mod">
          <ac:chgData name="Grace, Morgan (Brisbane)" userId="221d5f7b-4a46-4bd5-bdf1-698d3a91c208" providerId="ADAL" clId="{D90324C1-6CE4-4C28-B886-AED0B666B37F}" dt="2024-06-06T05:13:57.452" v="43853" actId="947"/>
          <ac:spMkLst>
            <pc:docMk/>
            <pc:sldMk cId="2710394562" sldId="275"/>
            <ac:spMk id="7" creationId="{BEE7A38E-778B-2746-DE5F-268122DE52B2}"/>
          </ac:spMkLst>
        </pc:spChg>
        <pc:spChg chg="mod">
          <ac:chgData name="Grace, Morgan (Brisbane)" userId="221d5f7b-4a46-4bd5-bdf1-698d3a91c208" providerId="ADAL" clId="{D90324C1-6CE4-4C28-B886-AED0B666B37F}" dt="2024-06-06T05:13:57.452" v="43849" actId="947"/>
          <ac:spMkLst>
            <pc:docMk/>
            <pc:sldMk cId="2710394562" sldId="275"/>
            <ac:spMk id="26" creationId="{AA292580-0B29-86F5-8CCC-B43605421DB0}"/>
          </ac:spMkLst>
        </pc:spChg>
        <pc:spChg chg="mod">
          <ac:chgData name="Grace, Morgan (Brisbane)" userId="221d5f7b-4a46-4bd5-bdf1-698d3a91c208" providerId="ADAL" clId="{D90324C1-6CE4-4C28-B886-AED0B666B37F}" dt="2024-06-06T05:13:57.452" v="43851" actId="947"/>
          <ac:spMkLst>
            <pc:docMk/>
            <pc:sldMk cId="2710394562" sldId="275"/>
            <ac:spMk id="27" creationId="{4A2A126E-F3CA-DD43-B9CC-9DD6A6DB50E1}"/>
          </ac:spMkLst>
        </pc:spChg>
        <pc:graphicFrameChg chg="mod ord modVis replST">
          <ac:chgData name="Grace, Morgan (Brisbane)" userId="221d5f7b-4a46-4bd5-bdf1-698d3a91c208" providerId="ADAL" clId="{D90324C1-6CE4-4C28-B886-AED0B666B37F}" dt="2024-06-06T05:14:01.732" v="46242"/>
          <ac:graphicFrameMkLst>
            <pc:docMk/>
            <pc:sldMk cId="2710394562" sldId="275"/>
            <ac:graphicFrameMk id="6" creationId="{B0AC34BA-8A6F-21C0-1501-23826A5ED93D}"/>
          </ac:graphicFrameMkLst>
        </pc:graphicFrameChg>
      </pc:sldChg>
      <pc:sldChg chg="modSp del mod modNotes">
        <pc:chgData name="Grace, Morgan (Brisbane)" userId="221d5f7b-4a46-4bd5-bdf1-698d3a91c208" providerId="ADAL" clId="{D90324C1-6CE4-4C28-B886-AED0B666B37F}" dt="2024-06-06T06:26:31.682" v="47741" actId="47"/>
        <pc:sldMkLst>
          <pc:docMk/>
          <pc:sldMk cId="3189793118" sldId="276"/>
        </pc:sldMkLst>
        <pc:spChg chg="mod">
          <ac:chgData name="Grace, Morgan (Brisbane)" userId="221d5f7b-4a46-4bd5-bdf1-698d3a91c208" providerId="ADAL" clId="{D90324C1-6CE4-4C28-B886-AED0B666B37F}" dt="2024-06-06T05:13:57.436" v="43823" actId="947"/>
          <ac:spMkLst>
            <pc:docMk/>
            <pc:sldMk cId="3189793118" sldId="276"/>
            <ac:spMk id="2" creationId="{CDFFCF4A-481D-706A-271A-5CB811E5A580}"/>
          </ac:spMkLst>
        </pc:spChg>
        <pc:spChg chg="mod">
          <ac:chgData name="Grace, Morgan (Brisbane)" userId="221d5f7b-4a46-4bd5-bdf1-698d3a91c208" providerId="ADAL" clId="{D90324C1-6CE4-4C28-B886-AED0B666B37F}" dt="2024-06-06T05:13:57.430" v="43821" actId="947"/>
          <ac:spMkLst>
            <pc:docMk/>
            <pc:sldMk cId="3189793118" sldId="276"/>
            <ac:spMk id="3" creationId="{B15276F8-D669-DE06-35F9-25FE9DF38F5F}"/>
          </ac:spMkLst>
        </pc:spChg>
        <pc:spChg chg="mod">
          <ac:chgData name="Grace, Morgan (Brisbane)" userId="221d5f7b-4a46-4bd5-bdf1-698d3a91c208" providerId="ADAL" clId="{D90324C1-6CE4-4C28-B886-AED0B666B37F}" dt="2024-06-06T05:13:57.436" v="43825" actId="947"/>
          <ac:spMkLst>
            <pc:docMk/>
            <pc:sldMk cId="3189793118" sldId="276"/>
            <ac:spMk id="4" creationId="{CD49A1DA-F057-5C8F-166C-03E99FF9FDAE}"/>
          </ac:spMkLst>
        </pc:spChg>
        <pc:spChg chg="mod">
          <ac:chgData name="Grace, Morgan (Brisbane)" userId="221d5f7b-4a46-4bd5-bdf1-698d3a91c208" providerId="ADAL" clId="{D90324C1-6CE4-4C28-B886-AED0B666B37F}" dt="2024-06-06T05:13:57.436" v="43827" actId="947"/>
          <ac:spMkLst>
            <pc:docMk/>
            <pc:sldMk cId="3189793118" sldId="276"/>
            <ac:spMk id="5" creationId="{6658CBF9-BE05-3F4E-EDE9-AA4A0A31BEA2}"/>
          </ac:spMkLst>
        </pc:spChg>
        <pc:spChg chg="mod">
          <ac:chgData name="Grace, Morgan (Brisbane)" userId="221d5f7b-4a46-4bd5-bdf1-698d3a91c208" providerId="ADAL" clId="{D90324C1-6CE4-4C28-B886-AED0B666B37F}" dt="2024-06-06T05:13:57.436" v="43829" actId="947"/>
          <ac:spMkLst>
            <pc:docMk/>
            <pc:sldMk cId="3189793118" sldId="276"/>
            <ac:spMk id="8" creationId="{8F3CEF00-9804-9A66-C071-33651E7EE103}"/>
          </ac:spMkLst>
        </pc:spChg>
        <pc:graphicFrameChg chg="mod ord modVis replST">
          <ac:chgData name="Grace, Morgan (Brisbane)" userId="221d5f7b-4a46-4bd5-bdf1-698d3a91c208" providerId="ADAL" clId="{D90324C1-6CE4-4C28-B886-AED0B666B37F}" dt="2024-06-06T05:14:01.687" v="46228"/>
          <ac:graphicFrameMkLst>
            <pc:docMk/>
            <pc:sldMk cId="3189793118" sldId="276"/>
            <ac:graphicFrameMk id="6" creationId="{B6D2635F-802B-CB45-A0D0-812F69A4F74A}"/>
          </ac:graphicFrameMkLst>
        </pc:graphicFrameChg>
      </pc:sldChg>
      <pc:sldChg chg="modSp del mod modNotes">
        <pc:chgData name="Grace, Morgan (Brisbane)" userId="221d5f7b-4a46-4bd5-bdf1-698d3a91c208" providerId="ADAL" clId="{D90324C1-6CE4-4C28-B886-AED0B666B37F}" dt="2024-06-06T06:26:31.682" v="47741" actId="47"/>
        <pc:sldMkLst>
          <pc:docMk/>
          <pc:sldMk cId="1260914439" sldId="277"/>
        </pc:sldMkLst>
        <pc:spChg chg="mod">
          <ac:chgData name="Grace, Morgan (Brisbane)" userId="221d5f7b-4a46-4bd5-bdf1-698d3a91c208" providerId="ADAL" clId="{D90324C1-6CE4-4C28-B886-AED0B666B37F}" dt="2024-06-06T05:13:57.504" v="43889" actId="947"/>
          <ac:spMkLst>
            <pc:docMk/>
            <pc:sldMk cId="1260914439" sldId="277"/>
            <ac:spMk id="2" creationId="{FA61B4D5-328E-C700-94E7-1BCBC8A9AFF9}"/>
          </ac:spMkLst>
        </pc:spChg>
        <pc:spChg chg="mod">
          <ac:chgData name="Grace, Morgan (Brisbane)" userId="221d5f7b-4a46-4bd5-bdf1-698d3a91c208" providerId="ADAL" clId="{D90324C1-6CE4-4C28-B886-AED0B666B37F}" dt="2024-06-06T05:13:57.483" v="43871" actId="947"/>
          <ac:spMkLst>
            <pc:docMk/>
            <pc:sldMk cId="1260914439" sldId="277"/>
            <ac:spMk id="3" creationId="{FE244846-404F-1FCB-9541-FBC0BF8A0413}"/>
          </ac:spMkLst>
        </pc:spChg>
        <pc:spChg chg="mod">
          <ac:chgData name="Grace, Morgan (Brisbane)" userId="221d5f7b-4a46-4bd5-bdf1-698d3a91c208" providerId="ADAL" clId="{D90324C1-6CE4-4C28-B886-AED0B666B37F}" dt="2024-06-06T05:13:57.483" v="43869" actId="947"/>
          <ac:spMkLst>
            <pc:docMk/>
            <pc:sldMk cId="1260914439" sldId="277"/>
            <ac:spMk id="4" creationId="{1035E369-9A8F-BC86-AE4D-0A0D34083269}"/>
          </ac:spMkLst>
        </pc:spChg>
        <pc:spChg chg="mod">
          <ac:chgData name="Grace, Morgan (Brisbane)" userId="221d5f7b-4a46-4bd5-bdf1-698d3a91c208" providerId="ADAL" clId="{D90324C1-6CE4-4C28-B886-AED0B666B37F}" dt="2024-06-06T05:13:57.509" v="43897" actId="947"/>
          <ac:spMkLst>
            <pc:docMk/>
            <pc:sldMk cId="1260914439" sldId="277"/>
            <ac:spMk id="5" creationId="{5E3587B8-8619-326E-049F-E5E01969C9D1}"/>
          </ac:spMkLst>
        </pc:spChg>
        <pc:spChg chg="mod">
          <ac:chgData name="Grace, Morgan (Brisbane)" userId="221d5f7b-4a46-4bd5-bdf1-698d3a91c208" providerId="ADAL" clId="{D90324C1-6CE4-4C28-B886-AED0B666B37F}" dt="2024-06-06T05:13:57.483" v="43873" actId="947"/>
          <ac:spMkLst>
            <pc:docMk/>
            <pc:sldMk cId="1260914439" sldId="277"/>
            <ac:spMk id="19" creationId="{42D4806A-5C51-D9D0-DBB7-802BB4DF47C4}"/>
          </ac:spMkLst>
        </pc:spChg>
        <pc:spChg chg="mod">
          <ac:chgData name="Grace, Morgan (Brisbane)" userId="221d5f7b-4a46-4bd5-bdf1-698d3a91c208" providerId="ADAL" clId="{D90324C1-6CE4-4C28-B886-AED0B666B37F}" dt="2024-06-06T05:13:57.483" v="43875" actId="947"/>
          <ac:spMkLst>
            <pc:docMk/>
            <pc:sldMk cId="1260914439" sldId="277"/>
            <ac:spMk id="25" creationId="{C6597B78-2980-031B-B8B1-19A38062FAD8}"/>
          </ac:spMkLst>
        </pc:spChg>
        <pc:spChg chg="mod">
          <ac:chgData name="Grace, Morgan (Brisbane)" userId="221d5f7b-4a46-4bd5-bdf1-698d3a91c208" providerId="ADAL" clId="{D90324C1-6CE4-4C28-B886-AED0B666B37F}" dt="2024-06-06T05:13:57.483" v="43877" actId="947"/>
          <ac:spMkLst>
            <pc:docMk/>
            <pc:sldMk cId="1260914439" sldId="277"/>
            <ac:spMk id="26" creationId="{4DBDB87A-BC58-EABB-5D5F-1D3DC2D31D75}"/>
          </ac:spMkLst>
        </pc:spChg>
        <pc:spChg chg="mod">
          <ac:chgData name="Grace, Morgan (Brisbane)" userId="221d5f7b-4a46-4bd5-bdf1-698d3a91c208" providerId="ADAL" clId="{D90324C1-6CE4-4C28-B886-AED0B666B37F}" dt="2024-06-06T05:13:57.483" v="43879" actId="947"/>
          <ac:spMkLst>
            <pc:docMk/>
            <pc:sldMk cId="1260914439" sldId="277"/>
            <ac:spMk id="27" creationId="{8DF43411-FC2E-3DAF-3A66-4694EDF10074}"/>
          </ac:spMkLst>
        </pc:spChg>
        <pc:spChg chg="mod">
          <ac:chgData name="Grace, Morgan (Brisbane)" userId="221d5f7b-4a46-4bd5-bdf1-698d3a91c208" providerId="ADAL" clId="{D90324C1-6CE4-4C28-B886-AED0B666B37F}" dt="2024-06-06T05:13:57.483" v="43881" actId="947"/>
          <ac:spMkLst>
            <pc:docMk/>
            <pc:sldMk cId="1260914439" sldId="277"/>
            <ac:spMk id="28" creationId="{8ED4B675-655E-CF00-B8DC-F7A40D2A47F7}"/>
          </ac:spMkLst>
        </pc:spChg>
        <pc:spChg chg="mod">
          <ac:chgData name="Grace, Morgan (Brisbane)" userId="221d5f7b-4a46-4bd5-bdf1-698d3a91c208" providerId="ADAL" clId="{D90324C1-6CE4-4C28-B886-AED0B666B37F}" dt="2024-06-06T05:13:57.499" v="43883" actId="947"/>
          <ac:spMkLst>
            <pc:docMk/>
            <pc:sldMk cId="1260914439" sldId="277"/>
            <ac:spMk id="29" creationId="{C8DBD0AE-10E2-7182-6FFB-07CBDA051329}"/>
          </ac:spMkLst>
        </pc:spChg>
        <pc:spChg chg="mod">
          <ac:chgData name="Grace, Morgan (Brisbane)" userId="221d5f7b-4a46-4bd5-bdf1-698d3a91c208" providerId="ADAL" clId="{D90324C1-6CE4-4C28-B886-AED0B666B37F}" dt="2024-06-06T05:13:57.501" v="43885" actId="947"/>
          <ac:spMkLst>
            <pc:docMk/>
            <pc:sldMk cId="1260914439" sldId="277"/>
            <ac:spMk id="30" creationId="{644D70B0-A6D2-50BD-6B7E-42CCE573CC6A}"/>
          </ac:spMkLst>
        </pc:spChg>
        <pc:spChg chg="mod">
          <ac:chgData name="Grace, Morgan (Brisbane)" userId="221d5f7b-4a46-4bd5-bdf1-698d3a91c208" providerId="ADAL" clId="{D90324C1-6CE4-4C28-B886-AED0B666B37F}" dt="2024-06-06T05:13:57.502" v="43887" actId="947"/>
          <ac:spMkLst>
            <pc:docMk/>
            <pc:sldMk cId="1260914439" sldId="277"/>
            <ac:spMk id="31" creationId="{887D5385-794A-D3CC-5B6D-E08DDD98C2E8}"/>
          </ac:spMkLst>
        </pc:spChg>
        <pc:spChg chg="mod">
          <ac:chgData name="Grace, Morgan (Brisbane)" userId="221d5f7b-4a46-4bd5-bdf1-698d3a91c208" providerId="ADAL" clId="{D90324C1-6CE4-4C28-B886-AED0B666B37F}" dt="2024-06-06T05:13:57.505" v="43891" actId="947"/>
          <ac:spMkLst>
            <pc:docMk/>
            <pc:sldMk cId="1260914439" sldId="277"/>
            <ac:spMk id="32" creationId="{BC339B74-D8EF-BB3B-7432-87E79F7D658A}"/>
          </ac:spMkLst>
        </pc:spChg>
        <pc:spChg chg="mod">
          <ac:chgData name="Grace, Morgan (Brisbane)" userId="221d5f7b-4a46-4bd5-bdf1-698d3a91c208" providerId="ADAL" clId="{D90324C1-6CE4-4C28-B886-AED0B666B37F}" dt="2024-06-06T05:13:57.506" v="43893" actId="947"/>
          <ac:spMkLst>
            <pc:docMk/>
            <pc:sldMk cId="1260914439" sldId="277"/>
            <ac:spMk id="33" creationId="{3FC877D6-7F8B-CD05-8959-740F2D808FE2}"/>
          </ac:spMkLst>
        </pc:spChg>
        <pc:spChg chg="mod">
          <ac:chgData name="Grace, Morgan (Brisbane)" userId="221d5f7b-4a46-4bd5-bdf1-698d3a91c208" providerId="ADAL" clId="{D90324C1-6CE4-4C28-B886-AED0B666B37F}" dt="2024-06-06T05:13:57.508" v="43895" actId="947"/>
          <ac:spMkLst>
            <pc:docMk/>
            <pc:sldMk cId="1260914439" sldId="277"/>
            <ac:spMk id="34" creationId="{3659D371-D102-A2D3-701F-EA4123E25F3B}"/>
          </ac:spMkLst>
        </pc:spChg>
        <pc:graphicFrameChg chg="mod ord modVis replST">
          <ac:chgData name="Grace, Morgan (Brisbane)" userId="221d5f7b-4a46-4bd5-bdf1-698d3a91c208" providerId="ADAL" clId="{D90324C1-6CE4-4C28-B886-AED0B666B37F}" dt="2024-06-06T05:14:01.774" v="46256"/>
          <ac:graphicFrameMkLst>
            <pc:docMk/>
            <pc:sldMk cId="1260914439" sldId="277"/>
            <ac:graphicFrameMk id="6" creationId="{8D0A6E20-350F-BC92-0832-ACD55CF720C5}"/>
          </ac:graphicFrameMkLst>
        </pc:graphicFrameChg>
      </pc:sldChg>
      <pc:sldChg chg="modSp del mod modNotes">
        <pc:chgData name="Grace, Morgan (Brisbane)" userId="221d5f7b-4a46-4bd5-bdf1-698d3a91c208" providerId="ADAL" clId="{D90324C1-6CE4-4C28-B886-AED0B666B37F}" dt="2024-06-06T06:26:31.682" v="47741" actId="47"/>
        <pc:sldMkLst>
          <pc:docMk/>
          <pc:sldMk cId="819090832" sldId="278"/>
        </pc:sldMkLst>
        <pc:spChg chg="mod">
          <ac:chgData name="Grace, Morgan (Brisbane)" userId="221d5f7b-4a46-4bd5-bdf1-698d3a91c208" providerId="ADAL" clId="{D90324C1-6CE4-4C28-B886-AED0B666B37F}" dt="2024-06-06T05:13:57.398" v="43795" actId="947"/>
          <ac:spMkLst>
            <pc:docMk/>
            <pc:sldMk cId="819090832" sldId="278"/>
            <ac:spMk id="2" creationId="{AE5396A7-8084-3D74-A178-C8CA9B234C8C}"/>
          </ac:spMkLst>
        </pc:spChg>
        <pc:spChg chg="mod">
          <ac:chgData name="Grace, Morgan (Brisbane)" userId="221d5f7b-4a46-4bd5-bdf1-698d3a91c208" providerId="ADAL" clId="{D90324C1-6CE4-4C28-B886-AED0B666B37F}" dt="2024-06-06T05:13:57.383" v="43779" actId="947"/>
          <ac:spMkLst>
            <pc:docMk/>
            <pc:sldMk cId="819090832" sldId="278"/>
            <ac:spMk id="5" creationId="{14CD0468-E0F8-D677-8D72-E6942FEBA3FE}"/>
          </ac:spMkLst>
        </pc:spChg>
        <pc:spChg chg="mod">
          <ac:chgData name="Grace, Morgan (Brisbane)" userId="221d5f7b-4a46-4bd5-bdf1-698d3a91c208" providerId="ADAL" clId="{D90324C1-6CE4-4C28-B886-AED0B666B37F}" dt="2024-06-06T05:13:57.383" v="43763" actId="947"/>
          <ac:spMkLst>
            <pc:docMk/>
            <pc:sldMk cId="819090832" sldId="278"/>
            <ac:spMk id="25" creationId="{3ADAC439-592A-5806-84A6-E8C04142FECE}"/>
          </ac:spMkLst>
        </pc:spChg>
        <pc:spChg chg="mod">
          <ac:chgData name="Grace, Morgan (Brisbane)" userId="221d5f7b-4a46-4bd5-bdf1-698d3a91c208" providerId="ADAL" clId="{D90324C1-6CE4-4C28-B886-AED0B666B37F}" dt="2024-06-06T05:13:57.367" v="43761" actId="947"/>
          <ac:spMkLst>
            <pc:docMk/>
            <pc:sldMk cId="819090832" sldId="278"/>
            <ac:spMk id="26" creationId="{C5F3A040-77C9-59B1-7B38-3670FFA64751}"/>
          </ac:spMkLst>
        </pc:spChg>
        <pc:spChg chg="mod">
          <ac:chgData name="Grace, Morgan (Brisbane)" userId="221d5f7b-4a46-4bd5-bdf1-698d3a91c208" providerId="ADAL" clId="{D90324C1-6CE4-4C28-B886-AED0B666B37F}" dt="2024-06-06T05:13:57.383" v="43765" actId="947"/>
          <ac:spMkLst>
            <pc:docMk/>
            <pc:sldMk cId="819090832" sldId="278"/>
            <ac:spMk id="27" creationId="{E3993372-8FFF-1927-D4BE-98050746E9EE}"/>
          </ac:spMkLst>
        </pc:spChg>
        <pc:spChg chg="mod">
          <ac:chgData name="Grace, Morgan (Brisbane)" userId="221d5f7b-4a46-4bd5-bdf1-698d3a91c208" providerId="ADAL" clId="{D90324C1-6CE4-4C28-B886-AED0B666B37F}" dt="2024-06-06T05:13:57.383" v="43767" actId="947"/>
          <ac:spMkLst>
            <pc:docMk/>
            <pc:sldMk cId="819090832" sldId="278"/>
            <ac:spMk id="28" creationId="{EB5EED1F-8B67-EA2C-D5AA-F16F34222529}"/>
          </ac:spMkLst>
        </pc:spChg>
        <pc:spChg chg="mod">
          <ac:chgData name="Grace, Morgan (Brisbane)" userId="221d5f7b-4a46-4bd5-bdf1-698d3a91c208" providerId="ADAL" clId="{D90324C1-6CE4-4C28-B886-AED0B666B37F}" dt="2024-06-06T05:13:57.383" v="43769" actId="947"/>
          <ac:spMkLst>
            <pc:docMk/>
            <pc:sldMk cId="819090832" sldId="278"/>
            <ac:spMk id="30" creationId="{FACF96BE-39E0-5665-82F8-5748C9D94689}"/>
          </ac:spMkLst>
        </pc:spChg>
        <pc:spChg chg="mod">
          <ac:chgData name="Grace, Morgan (Brisbane)" userId="221d5f7b-4a46-4bd5-bdf1-698d3a91c208" providerId="ADAL" clId="{D90324C1-6CE4-4C28-B886-AED0B666B37F}" dt="2024-06-06T05:13:57.383" v="43771" actId="947"/>
          <ac:spMkLst>
            <pc:docMk/>
            <pc:sldMk cId="819090832" sldId="278"/>
            <ac:spMk id="31" creationId="{1F83CA2E-AC73-8A76-201D-333CE1375C06}"/>
          </ac:spMkLst>
        </pc:spChg>
        <pc:spChg chg="mod">
          <ac:chgData name="Grace, Morgan (Brisbane)" userId="221d5f7b-4a46-4bd5-bdf1-698d3a91c208" providerId="ADAL" clId="{D90324C1-6CE4-4C28-B886-AED0B666B37F}" dt="2024-06-06T05:13:57.383" v="43773" actId="947"/>
          <ac:spMkLst>
            <pc:docMk/>
            <pc:sldMk cId="819090832" sldId="278"/>
            <ac:spMk id="32" creationId="{C3FEF661-0D22-4ADD-412A-C5A120487484}"/>
          </ac:spMkLst>
        </pc:spChg>
        <pc:spChg chg="mod">
          <ac:chgData name="Grace, Morgan (Brisbane)" userId="221d5f7b-4a46-4bd5-bdf1-698d3a91c208" providerId="ADAL" clId="{D90324C1-6CE4-4C28-B886-AED0B666B37F}" dt="2024-06-06T05:13:57.383" v="43775" actId="947"/>
          <ac:spMkLst>
            <pc:docMk/>
            <pc:sldMk cId="819090832" sldId="278"/>
            <ac:spMk id="33" creationId="{0DE9FE53-541D-0F12-F7D8-356E977E1A0E}"/>
          </ac:spMkLst>
        </pc:spChg>
        <pc:spChg chg="mod">
          <ac:chgData name="Grace, Morgan (Brisbane)" userId="221d5f7b-4a46-4bd5-bdf1-698d3a91c208" providerId="ADAL" clId="{D90324C1-6CE4-4C28-B886-AED0B666B37F}" dt="2024-06-06T05:13:57.383" v="43777" actId="947"/>
          <ac:spMkLst>
            <pc:docMk/>
            <pc:sldMk cId="819090832" sldId="278"/>
            <ac:spMk id="34" creationId="{247EBEC0-8B5B-468C-3BEB-971A27F04091}"/>
          </ac:spMkLst>
        </pc:spChg>
        <pc:spChg chg="mod">
          <ac:chgData name="Grace, Morgan (Brisbane)" userId="221d5f7b-4a46-4bd5-bdf1-698d3a91c208" providerId="ADAL" clId="{D90324C1-6CE4-4C28-B886-AED0B666B37F}" dt="2024-06-06T05:13:57.398" v="43793" actId="947"/>
          <ac:spMkLst>
            <pc:docMk/>
            <pc:sldMk cId="819090832" sldId="278"/>
            <ac:spMk id="35" creationId="{76B6AC92-A7F3-869E-8313-310FFB4AEE5B}"/>
          </ac:spMkLst>
        </pc:spChg>
        <pc:spChg chg="mod">
          <ac:chgData name="Grace, Morgan (Brisbane)" userId="221d5f7b-4a46-4bd5-bdf1-698d3a91c208" providerId="ADAL" clId="{D90324C1-6CE4-4C28-B886-AED0B666B37F}" dt="2024-06-06T05:13:57.383" v="43781" actId="947"/>
          <ac:spMkLst>
            <pc:docMk/>
            <pc:sldMk cId="819090832" sldId="278"/>
            <ac:spMk id="36" creationId="{949DCC63-4C76-D39A-7D02-6937DBFB1424}"/>
          </ac:spMkLst>
        </pc:spChg>
        <pc:spChg chg="mod">
          <ac:chgData name="Grace, Morgan (Brisbane)" userId="221d5f7b-4a46-4bd5-bdf1-698d3a91c208" providerId="ADAL" clId="{D90324C1-6CE4-4C28-B886-AED0B666B37F}" dt="2024-06-06T05:13:57.383" v="43783" actId="947"/>
          <ac:spMkLst>
            <pc:docMk/>
            <pc:sldMk cId="819090832" sldId="278"/>
            <ac:spMk id="37" creationId="{681D46E9-4F01-8748-F151-30F7E8EECED2}"/>
          </ac:spMkLst>
        </pc:spChg>
        <pc:spChg chg="mod">
          <ac:chgData name="Grace, Morgan (Brisbane)" userId="221d5f7b-4a46-4bd5-bdf1-698d3a91c208" providerId="ADAL" clId="{D90324C1-6CE4-4C28-B886-AED0B666B37F}" dt="2024-06-06T05:13:57.398" v="43785" actId="947"/>
          <ac:spMkLst>
            <pc:docMk/>
            <pc:sldMk cId="819090832" sldId="278"/>
            <ac:spMk id="38" creationId="{EAC1C4F7-35FB-BD45-71EC-396C67A986F7}"/>
          </ac:spMkLst>
        </pc:spChg>
        <pc:spChg chg="mod">
          <ac:chgData name="Grace, Morgan (Brisbane)" userId="221d5f7b-4a46-4bd5-bdf1-698d3a91c208" providerId="ADAL" clId="{D90324C1-6CE4-4C28-B886-AED0B666B37F}" dt="2024-06-06T05:13:57.398" v="43787" actId="947"/>
          <ac:spMkLst>
            <pc:docMk/>
            <pc:sldMk cId="819090832" sldId="278"/>
            <ac:spMk id="39" creationId="{87A9B39C-5CD3-87E9-3E58-46787E144C9E}"/>
          </ac:spMkLst>
        </pc:spChg>
        <pc:spChg chg="mod">
          <ac:chgData name="Grace, Morgan (Brisbane)" userId="221d5f7b-4a46-4bd5-bdf1-698d3a91c208" providerId="ADAL" clId="{D90324C1-6CE4-4C28-B886-AED0B666B37F}" dt="2024-06-06T05:13:57.398" v="43789" actId="947"/>
          <ac:spMkLst>
            <pc:docMk/>
            <pc:sldMk cId="819090832" sldId="278"/>
            <ac:spMk id="40" creationId="{36BEA353-0F1B-4E06-B882-C62BB485B253}"/>
          </ac:spMkLst>
        </pc:spChg>
        <pc:spChg chg="mod">
          <ac:chgData name="Grace, Morgan (Brisbane)" userId="221d5f7b-4a46-4bd5-bdf1-698d3a91c208" providerId="ADAL" clId="{D90324C1-6CE4-4C28-B886-AED0B666B37F}" dt="2024-06-06T05:13:57.398" v="43791" actId="947"/>
          <ac:spMkLst>
            <pc:docMk/>
            <pc:sldMk cId="819090832" sldId="278"/>
            <ac:spMk id="41" creationId="{2BD4B33B-89F0-F1B9-F088-F9ABA1D6A051}"/>
          </ac:spMkLst>
        </pc:spChg>
        <pc:graphicFrameChg chg="mod ord modVis replST">
          <ac:chgData name="Grace, Morgan (Brisbane)" userId="221d5f7b-4a46-4bd5-bdf1-698d3a91c208" providerId="ADAL" clId="{D90324C1-6CE4-4C28-B886-AED0B666B37F}" dt="2024-06-06T05:14:01.643" v="46214"/>
          <ac:graphicFrameMkLst>
            <pc:docMk/>
            <pc:sldMk cId="819090832" sldId="278"/>
            <ac:graphicFrameMk id="3" creationId="{1E06832B-4800-D333-7CA5-D13EFE73CB08}"/>
          </ac:graphicFrameMkLst>
        </pc:graphicFrameChg>
      </pc:sldChg>
      <pc:sldChg chg="modSp del mod modShow modNotes">
        <pc:chgData name="Grace, Morgan (Brisbane)" userId="221d5f7b-4a46-4bd5-bdf1-698d3a91c208" providerId="ADAL" clId="{D90324C1-6CE4-4C28-B886-AED0B666B37F}" dt="2024-06-24T03:37:22.345" v="127469" actId="2696"/>
        <pc:sldMkLst>
          <pc:docMk/>
          <pc:sldMk cId="2174040159" sldId="279"/>
        </pc:sldMkLst>
        <pc:spChg chg="mod">
          <ac:chgData name="Grace, Morgan (Brisbane)" userId="221d5f7b-4a46-4bd5-bdf1-698d3a91c208" providerId="ADAL" clId="{D90324C1-6CE4-4C28-B886-AED0B666B37F}" dt="2024-06-06T05:13:57.636" v="44035" actId="947"/>
          <ac:spMkLst>
            <pc:docMk/>
            <pc:sldMk cId="2174040159" sldId="279"/>
            <ac:spMk id="2" creationId="{59F90677-6716-A331-D8B7-16211145E0D2}"/>
          </ac:spMkLst>
        </pc:spChg>
        <pc:graphicFrameChg chg="mod ord modVis replST">
          <ac:chgData name="Grace, Morgan (Brisbane)" userId="221d5f7b-4a46-4bd5-bdf1-698d3a91c208" providerId="ADAL" clId="{D90324C1-6CE4-4C28-B886-AED0B666B37F}" dt="2024-06-06T05:14:01.974" v="46326"/>
          <ac:graphicFrameMkLst>
            <pc:docMk/>
            <pc:sldMk cId="2174040159" sldId="279"/>
            <ac:graphicFrameMk id="3" creationId="{AFE1DDCA-0D61-70AF-049A-F53DA9D28103}"/>
          </ac:graphicFrameMkLst>
        </pc:graphicFrameChg>
      </pc:sldChg>
      <pc:sldChg chg="modSp del mod modNotes">
        <pc:chgData name="Grace, Morgan (Brisbane)" userId="221d5f7b-4a46-4bd5-bdf1-698d3a91c208" providerId="ADAL" clId="{D90324C1-6CE4-4C28-B886-AED0B666B37F}" dt="2024-06-06T06:26:31.682" v="47741" actId="47"/>
        <pc:sldMkLst>
          <pc:docMk/>
          <pc:sldMk cId="2633059790" sldId="285"/>
        </pc:sldMkLst>
        <pc:spChg chg="mod">
          <ac:chgData name="Grace, Morgan (Brisbane)" userId="221d5f7b-4a46-4bd5-bdf1-698d3a91c208" providerId="ADAL" clId="{D90324C1-6CE4-4C28-B886-AED0B666B37F}" dt="2024-06-06T05:13:57.414" v="43797" actId="947"/>
          <ac:spMkLst>
            <pc:docMk/>
            <pc:sldMk cId="2633059790" sldId="285"/>
            <ac:spMk id="2" creationId="{D04856C5-DD78-53A7-D071-4DDEF511A40C}"/>
          </ac:spMkLst>
        </pc:spChg>
        <pc:spChg chg="mod">
          <ac:chgData name="Grace, Morgan (Brisbane)" userId="221d5f7b-4a46-4bd5-bdf1-698d3a91c208" providerId="ADAL" clId="{D90324C1-6CE4-4C28-B886-AED0B666B37F}" dt="2024-06-06T05:13:57.414" v="43801" actId="947"/>
          <ac:spMkLst>
            <pc:docMk/>
            <pc:sldMk cId="2633059790" sldId="285"/>
            <ac:spMk id="3" creationId="{5D0C0D63-CB84-0E28-2AB1-317BC7660EB1}"/>
          </ac:spMkLst>
        </pc:spChg>
        <pc:spChg chg="mod">
          <ac:chgData name="Grace, Morgan (Brisbane)" userId="221d5f7b-4a46-4bd5-bdf1-698d3a91c208" providerId="ADAL" clId="{D90324C1-6CE4-4C28-B886-AED0B666B37F}" dt="2024-06-06T05:13:57.414" v="43813" actId="947"/>
          <ac:spMkLst>
            <pc:docMk/>
            <pc:sldMk cId="2633059790" sldId="285"/>
            <ac:spMk id="7" creationId="{C09337A0-CA4D-8B15-A7B2-CF0E238E0B36}"/>
          </ac:spMkLst>
        </pc:spChg>
        <pc:spChg chg="mod">
          <ac:chgData name="Grace, Morgan (Brisbane)" userId="221d5f7b-4a46-4bd5-bdf1-698d3a91c208" providerId="ADAL" clId="{D90324C1-6CE4-4C28-B886-AED0B666B37F}" dt="2024-06-06T05:13:57.414" v="43799" actId="947"/>
          <ac:spMkLst>
            <pc:docMk/>
            <pc:sldMk cId="2633059790" sldId="285"/>
            <ac:spMk id="8" creationId="{9FC65CDA-6E9F-D36B-0E19-CD60723B4050}"/>
          </ac:spMkLst>
        </pc:spChg>
        <pc:spChg chg="mod">
          <ac:chgData name="Grace, Morgan (Brisbane)" userId="221d5f7b-4a46-4bd5-bdf1-698d3a91c208" providerId="ADAL" clId="{D90324C1-6CE4-4C28-B886-AED0B666B37F}" dt="2024-06-06T05:13:57.414" v="43803" actId="947"/>
          <ac:spMkLst>
            <pc:docMk/>
            <pc:sldMk cId="2633059790" sldId="285"/>
            <ac:spMk id="10" creationId="{AEA9F3A0-7E39-01F5-712E-4AFF0ABFA5DA}"/>
          </ac:spMkLst>
        </pc:spChg>
        <pc:spChg chg="mod">
          <ac:chgData name="Grace, Morgan (Brisbane)" userId="221d5f7b-4a46-4bd5-bdf1-698d3a91c208" providerId="ADAL" clId="{D90324C1-6CE4-4C28-B886-AED0B666B37F}" dt="2024-06-06T05:13:57.414" v="43805" actId="947"/>
          <ac:spMkLst>
            <pc:docMk/>
            <pc:sldMk cId="2633059790" sldId="285"/>
            <ac:spMk id="11" creationId="{805F97F6-5AEB-9658-07B8-1131877A6EAD}"/>
          </ac:spMkLst>
        </pc:spChg>
        <pc:spChg chg="mod">
          <ac:chgData name="Grace, Morgan (Brisbane)" userId="221d5f7b-4a46-4bd5-bdf1-698d3a91c208" providerId="ADAL" clId="{D90324C1-6CE4-4C28-B886-AED0B666B37F}" dt="2024-06-06T05:13:57.430" v="43819" actId="947"/>
          <ac:spMkLst>
            <pc:docMk/>
            <pc:sldMk cId="2633059790" sldId="285"/>
            <ac:spMk id="12" creationId="{421E3553-6FFE-A227-661D-0167C2F183CB}"/>
          </ac:spMkLst>
        </pc:spChg>
        <pc:spChg chg="mod">
          <ac:chgData name="Grace, Morgan (Brisbane)" userId="221d5f7b-4a46-4bd5-bdf1-698d3a91c208" providerId="ADAL" clId="{D90324C1-6CE4-4C28-B886-AED0B666B37F}" dt="2024-06-06T05:13:57.414" v="43807" actId="947"/>
          <ac:spMkLst>
            <pc:docMk/>
            <pc:sldMk cId="2633059790" sldId="285"/>
            <ac:spMk id="20" creationId="{FE9F9ADC-8D55-89EE-CF17-D513B50DED21}"/>
          </ac:spMkLst>
        </pc:spChg>
        <pc:spChg chg="mod">
          <ac:chgData name="Grace, Morgan (Brisbane)" userId="221d5f7b-4a46-4bd5-bdf1-698d3a91c208" providerId="ADAL" clId="{D90324C1-6CE4-4C28-B886-AED0B666B37F}" dt="2024-06-06T05:13:57.414" v="43809" actId="947"/>
          <ac:spMkLst>
            <pc:docMk/>
            <pc:sldMk cId="2633059790" sldId="285"/>
            <ac:spMk id="21" creationId="{48ADFCC0-7A72-7287-B5B6-7333F4A7C405}"/>
          </ac:spMkLst>
        </pc:spChg>
        <pc:spChg chg="mod">
          <ac:chgData name="Grace, Morgan (Brisbane)" userId="221d5f7b-4a46-4bd5-bdf1-698d3a91c208" providerId="ADAL" clId="{D90324C1-6CE4-4C28-B886-AED0B666B37F}" dt="2024-06-06T05:13:57.414" v="43811" actId="947"/>
          <ac:spMkLst>
            <pc:docMk/>
            <pc:sldMk cId="2633059790" sldId="285"/>
            <ac:spMk id="22" creationId="{8662A70C-D7D0-8CDB-F81C-275DFE7EFA60}"/>
          </ac:spMkLst>
        </pc:spChg>
        <pc:spChg chg="mod">
          <ac:chgData name="Grace, Morgan (Brisbane)" userId="221d5f7b-4a46-4bd5-bdf1-698d3a91c208" providerId="ADAL" clId="{D90324C1-6CE4-4C28-B886-AED0B666B37F}" dt="2024-06-06T05:13:57.414" v="43815" actId="947"/>
          <ac:spMkLst>
            <pc:docMk/>
            <pc:sldMk cId="2633059790" sldId="285"/>
            <ac:spMk id="23" creationId="{4534D3A5-B312-1644-31CB-30334D6CA826}"/>
          </ac:spMkLst>
        </pc:spChg>
        <pc:spChg chg="mod">
          <ac:chgData name="Grace, Morgan (Brisbane)" userId="221d5f7b-4a46-4bd5-bdf1-698d3a91c208" providerId="ADAL" clId="{D90324C1-6CE4-4C28-B886-AED0B666B37F}" dt="2024-06-06T05:13:57.414" v="43817" actId="947"/>
          <ac:spMkLst>
            <pc:docMk/>
            <pc:sldMk cId="2633059790" sldId="285"/>
            <ac:spMk id="24" creationId="{5A663AD0-4AA4-102D-F713-ECA966E0C6DC}"/>
          </ac:spMkLst>
        </pc:spChg>
        <pc:graphicFrameChg chg="mod ord modVis replST">
          <ac:chgData name="Grace, Morgan (Brisbane)" userId="221d5f7b-4a46-4bd5-bdf1-698d3a91c208" providerId="ADAL" clId="{D90324C1-6CE4-4C28-B886-AED0B666B37F}" dt="2024-06-06T05:14:01.672" v="46221"/>
          <ac:graphicFrameMkLst>
            <pc:docMk/>
            <pc:sldMk cId="2633059790" sldId="285"/>
            <ac:graphicFrameMk id="9" creationId="{DC13A8C6-6179-E603-7CF8-05A816799AD7}"/>
          </ac:graphicFrameMkLst>
        </pc:graphicFrameChg>
      </pc:sldChg>
      <pc:sldChg chg="modSp del mod modNotes">
        <pc:chgData name="Grace, Morgan (Brisbane)" userId="221d5f7b-4a46-4bd5-bdf1-698d3a91c208" providerId="ADAL" clId="{D90324C1-6CE4-4C28-B886-AED0B666B37F}" dt="2024-06-06T05:58:37.879" v="47738" actId="47"/>
        <pc:sldMkLst>
          <pc:docMk/>
          <pc:sldMk cId="3705193209" sldId="290"/>
        </pc:sldMkLst>
        <pc:spChg chg="mod">
          <ac:chgData name="Grace, Morgan (Brisbane)" userId="221d5f7b-4a46-4bd5-bdf1-698d3a91c208" providerId="ADAL" clId="{D90324C1-6CE4-4C28-B886-AED0B666B37F}" dt="2024-06-06T05:13:57.517" v="43903" actId="947"/>
          <ac:spMkLst>
            <pc:docMk/>
            <pc:sldMk cId="3705193209" sldId="290"/>
            <ac:spMk id="2" creationId="{790650CB-3C2E-6374-8F4E-405319FB3889}"/>
          </ac:spMkLst>
        </pc:spChg>
        <pc:spChg chg="mod">
          <ac:chgData name="Grace, Morgan (Brisbane)" userId="221d5f7b-4a46-4bd5-bdf1-698d3a91c208" providerId="ADAL" clId="{D90324C1-6CE4-4C28-B886-AED0B666B37F}" dt="2024-06-06T05:13:57.514" v="43899" actId="947"/>
          <ac:spMkLst>
            <pc:docMk/>
            <pc:sldMk cId="3705193209" sldId="290"/>
            <ac:spMk id="3" creationId="{319DF5A8-82C3-E97B-32DC-ECC61D0D038E}"/>
          </ac:spMkLst>
        </pc:spChg>
        <pc:spChg chg="mod">
          <ac:chgData name="Grace, Morgan (Brisbane)" userId="221d5f7b-4a46-4bd5-bdf1-698d3a91c208" providerId="ADAL" clId="{D90324C1-6CE4-4C28-B886-AED0B666B37F}" dt="2024-06-06T05:13:57.515" v="43901" actId="947"/>
          <ac:spMkLst>
            <pc:docMk/>
            <pc:sldMk cId="3705193209" sldId="290"/>
            <ac:spMk id="4" creationId="{1276A326-43DD-25A5-14C2-29B74EB33ED6}"/>
          </ac:spMkLst>
        </pc:spChg>
        <pc:spChg chg="mod">
          <ac:chgData name="Grace, Morgan (Brisbane)" userId="221d5f7b-4a46-4bd5-bdf1-698d3a91c208" providerId="ADAL" clId="{D90324C1-6CE4-4C28-B886-AED0B666B37F}" dt="2024-06-06T05:13:57.518" v="43905" actId="947"/>
          <ac:spMkLst>
            <pc:docMk/>
            <pc:sldMk cId="3705193209" sldId="290"/>
            <ac:spMk id="5" creationId="{E4F5C8BE-1AE5-D946-B6D4-D28200401F70}"/>
          </ac:spMkLst>
        </pc:spChg>
        <pc:spChg chg="mod">
          <ac:chgData name="Grace, Morgan (Brisbane)" userId="221d5f7b-4a46-4bd5-bdf1-698d3a91c208" providerId="ADAL" clId="{D90324C1-6CE4-4C28-B886-AED0B666B37F}" dt="2024-06-06T05:13:57.519" v="43907" actId="947"/>
          <ac:spMkLst>
            <pc:docMk/>
            <pc:sldMk cId="3705193209" sldId="290"/>
            <ac:spMk id="7" creationId="{BC5D2CCA-A493-536F-2EEE-2DC74CDD2E7C}"/>
          </ac:spMkLst>
        </pc:spChg>
        <pc:spChg chg="mod">
          <ac:chgData name="Grace, Morgan (Brisbane)" userId="221d5f7b-4a46-4bd5-bdf1-698d3a91c208" providerId="ADAL" clId="{D90324C1-6CE4-4C28-B886-AED0B666B37F}" dt="2024-06-06T05:13:57.521" v="43909" actId="947"/>
          <ac:spMkLst>
            <pc:docMk/>
            <pc:sldMk cId="3705193209" sldId="290"/>
            <ac:spMk id="8" creationId="{4B2EA9D3-5889-D16F-5F3D-7A50BB2DAE34}"/>
          </ac:spMkLst>
        </pc:spChg>
        <pc:graphicFrameChg chg="mod ord modVis replST">
          <ac:chgData name="Grace, Morgan (Brisbane)" userId="221d5f7b-4a46-4bd5-bdf1-698d3a91c208" providerId="ADAL" clId="{D90324C1-6CE4-4C28-B886-AED0B666B37F}" dt="2024-06-06T05:14:01.790" v="46263"/>
          <ac:graphicFrameMkLst>
            <pc:docMk/>
            <pc:sldMk cId="3705193209" sldId="290"/>
            <ac:graphicFrameMk id="6" creationId="{DE814D6F-B516-A3B2-AC6A-93C16681827C}"/>
          </ac:graphicFrameMkLst>
        </pc:graphicFrameChg>
      </pc:sldChg>
      <pc:sldChg chg="modSp del mod modNotes">
        <pc:chgData name="Grace, Morgan (Brisbane)" userId="221d5f7b-4a46-4bd5-bdf1-698d3a91c208" providerId="ADAL" clId="{D90324C1-6CE4-4C28-B886-AED0B666B37F}" dt="2024-06-06T05:58:37.879" v="47738" actId="47"/>
        <pc:sldMkLst>
          <pc:docMk/>
          <pc:sldMk cId="1279153283" sldId="292"/>
        </pc:sldMkLst>
        <pc:spChg chg="mod">
          <ac:chgData name="Grace, Morgan (Brisbane)" userId="221d5f7b-4a46-4bd5-bdf1-698d3a91c208" providerId="ADAL" clId="{D90324C1-6CE4-4C28-B886-AED0B666B37F}" dt="2024-06-06T05:13:57.652" v="44037" actId="947"/>
          <ac:spMkLst>
            <pc:docMk/>
            <pc:sldMk cId="1279153283" sldId="292"/>
            <ac:spMk id="2" creationId="{1FD11B39-C3DF-BD38-2DB1-9B56EDD421E7}"/>
          </ac:spMkLst>
        </pc:spChg>
        <pc:spChg chg="mod">
          <ac:chgData name="Grace, Morgan (Brisbane)" userId="221d5f7b-4a46-4bd5-bdf1-698d3a91c208" providerId="ADAL" clId="{D90324C1-6CE4-4C28-B886-AED0B666B37F}" dt="2024-06-06T05:13:57.652" v="44039" actId="947"/>
          <ac:spMkLst>
            <pc:docMk/>
            <pc:sldMk cId="1279153283" sldId="292"/>
            <ac:spMk id="3" creationId="{FA2A62FC-7CAF-69C3-6489-0698C7C8764F}"/>
          </ac:spMkLst>
        </pc:spChg>
        <pc:spChg chg="mod">
          <ac:chgData name="Grace, Morgan (Brisbane)" userId="221d5f7b-4a46-4bd5-bdf1-698d3a91c208" providerId="ADAL" clId="{D90324C1-6CE4-4C28-B886-AED0B666B37F}" dt="2024-06-06T05:13:57.652" v="44041" actId="947"/>
          <ac:spMkLst>
            <pc:docMk/>
            <pc:sldMk cId="1279153283" sldId="292"/>
            <ac:spMk id="4" creationId="{AA7C6F45-C876-A7DA-B963-20FA6CBFC475}"/>
          </ac:spMkLst>
        </pc:spChg>
        <pc:spChg chg="mod">
          <ac:chgData name="Grace, Morgan (Brisbane)" userId="221d5f7b-4a46-4bd5-bdf1-698d3a91c208" providerId="ADAL" clId="{D90324C1-6CE4-4C28-B886-AED0B666B37F}" dt="2024-06-06T05:13:57.652" v="44047" actId="947"/>
          <ac:spMkLst>
            <pc:docMk/>
            <pc:sldMk cId="1279153283" sldId="292"/>
            <ac:spMk id="6" creationId="{E5310BC4-D90A-8B2D-BB6F-A70A98982A9E}"/>
          </ac:spMkLst>
        </pc:spChg>
        <pc:spChg chg="mod">
          <ac:chgData name="Grace, Morgan (Brisbane)" userId="221d5f7b-4a46-4bd5-bdf1-698d3a91c208" providerId="ADAL" clId="{D90324C1-6CE4-4C28-B886-AED0B666B37F}" dt="2024-06-06T05:13:57.652" v="44043" actId="947"/>
          <ac:spMkLst>
            <pc:docMk/>
            <pc:sldMk cId="1279153283" sldId="292"/>
            <ac:spMk id="7" creationId="{9E6C9DB5-0B5A-383F-98F1-BD4396AA8257}"/>
          </ac:spMkLst>
        </pc:spChg>
        <pc:spChg chg="mod">
          <ac:chgData name="Grace, Morgan (Brisbane)" userId="221d5f7b-4a46-4bd5-bdf1-698d3a91c208" providerId="ADAL" clId="{D90324C1-6CE4-4C28-B886-AED0B666B37F}" dt="2024-06-06T05:13:57.652" v="44045" actId="947"/>
          <ac:spMkLst>
            <pc:docMk/>
            <pc:sldMk cId="1279153283" sldId="292"/>
            <ac:spMk id="8" creationId="{8FD8B418-1DA6-122B-3EC4-A6DA464501E0}"/>
          </ac:spMkLst>
        </pc:spChg>
        <pc:spChg chg="mod">
          <ac:chgData name="Grace, Morgan (Brisbane)" userId="221d5f7b-4a46-4bd5-bdf1-698d3a91c208" providerId="ADAL" clId="{D90324C1-6CE4-4C28-B886-AED0B666B37F}" dt="2024-06-06T05:13:57.652" v="44049" actId="947"/>
          <ac:spMkLst>
            <pc:docMk/>
            <pc:sldMk cId="1279153283" sldId="292"/>
            <ac:spMk id="9" creationId="{18D978DA-9C5F-2FBD-960A-A486BA4D9F42}"/>
          </ac:spMkLst>
        </pc:spChg>
        <pc:graphicFrameChg chg="mod ord modVis replST">
          <ac:chgData name="Grace, Morgan (Brisbane)" userId="221d5f7b-4a46-4bd5-bdf1-698d3a91c208" providerId="ADAL" clId="{D90324C1-6CE4-4C28-B886-AED0B666B37F}" dt="2024-06-06T05:14:01.990" v="46333"/>
          <ac:graphicFrameMkLst>
            <pc:docMk/>
            <pc:sldMk cId="1279153283" sldId="292"/>
            <ac:graphicFrameMk id="5" creationId="{519AA3C7-8B4F-A74A-FE77-7E6E969B2DF7}"/>
          </ac:graphicFrameMkLst>
        </pc:graphicFrameChg>
      </pc:sldChg>
      <pc:sldChg chg="modSp del mod modNotes">
        <pc:chgData name="Grace, Morgan (Brisbane)" userId="221d5f7b-4a46-4bd5-bdf1-698d3a91c208" providerId="ADAL" clId="{D90324C1-6CE4-4C28-B886-AED0B666B37F}" dt="2024-06-06T06:26:31.682" v="47741" actId="47"/>
        <pc:sldMkLst>
          <pc:docMk/>
          <pc:sldMk cId="706358145" sldId="489"/>
        </pc:sldMkLst>
        <pc:spChg chg="mod">
          <ac:chgData name="Grace, Morgan (Brisbane)" userId="221d5f7b-4a46-4bd5-bdf1-698d3a91c208" providerId="ADAL" clId="{D90324C1-6CE4-4C28-B886-AED0B666B37F}" dt="2024-06-06T05:13:57.599" v="43985" actId="947"/>
          <ac:spMkLst>
            <pc:docMk/>
            <pc:sldMk cId="706358145" sldId="489"/>
            <ac:spMk id="3" creationId="{8DF60941-7D47-46F1-7346-7F94082DBF5A}"/>
          </ac:spMkLst>
        </pc:spChg>
        <pc:spChg chg="mod">
          <ac:chgData name="Grace, Morgan (Brisbane)" userId="221d5f7b-4a46-4bd5-bdf1-698d3a91c208" providerId="ADAL" clId="{D90324C1-6CE4-4C28-B886-AED0B666B37F}" dt="2024-06-06T05:13:57.599" v="43989" actId="947"/>
          <ac:spMkLst>
            <pc:docMk/>
            <pc:sldMk cId="706358145" sldId="489"/>
            <ac:spMk id="4" creationId="{A7932085-3D39-76D5-5D00-2081F7C7B939}"/>
          </ac:spMkLst>
        </pc:spChg>
        <pc:spChg chg="mod">
          <ac:chgData name="Grace, Morgan (Brisbane)" userId="221d5f7b-4a46-4bd5-bdf1-698d3a91c208" providerId="ADAL" clId="{D90324C1-6CE4-4C28-B886-AED0B666B37F}" dt="2024-06-06T05:13:57.614" v="44007" actId="947"/>
          <ac:spMkLst>
            <pc:docMk/>
            <pc:sldMk cId="706358145" sldId="489"/>
            <ac:spMk id="5" creationId="{7F72CD25-5707-1516-B47A-9F63111474D5}"/>
          </ac:spMkLst>
        </pc:spChg>
        <pc:spChg chg="mod">
          <ac:chgData name="Grace, Morgan (Brisbane)" userId="221d5f7b-4a46-4bd5-bdf1-698d3a91c208" providerId="ADAL" clId="{D90324C1-6CE4-4C28-B886-AED0B666B37F}" dt="2024-06-06T05:13:57.599" v="43991" actId="947"/>
          <ac:spMkLst>
            <pc:docMk/>
            <pc:sldMk cId="706358145" sldId="489"/>
            <ac:spMk id="16" creationId="{A4375E5B-C96F-50C7-9EE4-FB11DAC6E77C}"/>
          </ac:spMkLst>
        </pc:spChg>
        <pc:spChg chg="mod">
          <ac:chgData name="Grace, Morgan (Brisbane)" userId="221d5f7b-4a46-4bd5-bdf1-698d3a91c208" providerId="ADAL" clId="{D90324C1-6CE4-4C28-B886-AED0B666B37F}" dt="2024-06-06T05:13:57.599" v="43987" actId="947"/>
          <ac:spMkLst>
            <pc:docMk/>
            <pc:sldMk cId="706358145" sldId="489"/>
            <ac:spMk id="17" creationId="{BE38DBEF-9EA5-4BF7-020A-457C87E6C8F4}"/>
          </ac:spMkLst>
        </pc:spChg>
        <pc:spChg chg="mod">
          <ac:chgData name="Grace, Morgan (Brisbane)" userId="221d5f7b-4a46-4bd5-bdf1-698d3a91c208" providerId="ADAL" clId="{D90324C1-6CE4-4C28-B886-AED0B666B37F}" dt="2024-06-06T05:13:57.599" v="43993" actId="947"/>
          <ac:spMkLst>
            <pc:docMk/>
            <pc:sldMk cId="706358145" sldId="489"/>
            <ac:spMk id="18" creationId="{8DC161C4-EFB6-795E-6096-ACF0D3D26D51}"/>
          </ac:spMkLst>
        </pc:spChg>
        <pc:spChg chg="mod">
          <ac:chgData name="Grace, Morgan (Brisbane)" userId="221d5f7b-4a46-4bd5-bdf1-698d3a91c208" providerId="ADAL" clId="{D90324C1-6CE4-4C28-B886-AED0B666B37F}" dt="2024-06-06T05:13:57.599" v="43995" actId="947"/>
          <ac:spMkLst>
            <pc:docMk/>
            <pc:sldMk cId="706358145" sldId="489"/>
            <ac:spMk id="19" creationId="{0E415D4E-7ACB-E616-B2E6-A65C4B21CFBF}"/>
          </ac:spMkLst>
        </pc:spChg>
        <pc:spChg chg="mod">
          <ac:chgData name="Grace, Morgan (Brisbane)" userId="221d5f7b-4a46-4bd5-bdf1-698d3a91c208" providerId="ADAL" clId="{D90324C1-6CE4-4C28-B886-AED0B666B37F}" dt="2024-06-06T05:13:57.599" v="43997" actId="947"/>
          <ac:spMkLst>
            <pc:docMk/>
            <pc:sldMk cId="706358145" sldId="489"/>
            <ac:spMk id="20" creationId="{D6140DD7-BD46-D1D6-38C5-4CE3472B4E9C}"/>
          </ac:spMkLst>
        </pc:spChg>
        <pc:spChg chg="mod">
          <ac:chgData name="Grace, Morgan (Brisbane)" userId="221d5f7b-4a46-4bd5-bdf1-698d3a91c208" providerId="ADAL" clId="{D90324C1-6CE4-4C28-B886-AED0B666B37F}" dt="2024-06-06T05:13:57.599" v="43999" actId="947"/>
          <ac:spMkLst>
            <pc:docMk/>
            <pc:sldMk cId="706358145" sldId="489"/>
            <ac:spMk id="21" creationId="{5904DF5D-022E-C0FC-2D82-14E107B5C7C6}"/>
          </ac:spMkLst>
        </pc:spChg>
        <pc:spChg chg="mod">
          <ac:chgData name="Grace, Morgan (Brisbane)" userId="221d5f7b-4a46-4bd5-bdf1-698d3a91c208" providerId="ADAL" clId="{D90324C1-6CE4-4C28-B886-AED0B666B37F}" dt="2024-06-06T05:13:57.599" v="44001" actId="947"/>
          <ac:spMkLst>
            <pc:docMk/>
            <pc:sldMk cId="706358145" sldId="489"/>
            <ac:spMk id="22" creationId="{9EE3FF04-753D-487D-21E3-CA2F1A8EF3A2}"/>
          </ac:spMkLst>
        </pc:spChg>
        <pc:spChg chg="mod">
          <ac:chgData name="Grace, Morgan (Brisbane)" userId="221d5f7b-4a46-4bd5-bdf1-698d3a91c208" providerId="ADAL" clId="{D90324C1-6CE4-4C28-B886-AED0B666B37F}" dt="2024-06-06T05:13:57.599" v="44003" actId="947"/>
          <ac:spMkLst>
            <pc:docMk/>
            <pc:sldMk cId="706358145" sldId="489"/>
            <ac:spMk id="23" creationId="{62D776F3-EF71-2A60-D5BA-6169B5DC348B}"/>
          </ac:spMkLst>
        </pc:spChg>
        <pc:spChg chg="mod">
          <ac:chgData name="Grace, Morgan (Brisbane)" userId="221d5f7b-4a46-4bd5-bdf1-698d3a91c208" providerId="ADAL" clId="{D90324C1-6CE4-4C28-B886-AED0B666B37F}" dt="2024-06-06T05:13:57.614" v="44005" actId="947"/>
          <ac:spMkLst>
            <pc:docMk/>
            <pc:sldMk cId="706358145" sldId="489"/>
            <ac:spMk id="24" creationId="{572FDE88-0546-E31B-51B7-3B46E6C3B4DE}"/>
          </ac:spMkLst>
        </pc:spChg>
        <pc:graphicFrameChg chg="mod ord modVis replST">
          <ac:chgData name="Grace, Morgan (Brisbane)" userId="221d5f7b-4a46-4bd5-bdf1-698d3a91c208" providerId="ADAL" clId="{D90324C1-6CE4-4C28-B886-AED0B666B37F}" dt="2024-06-06T05:14:01.912" v="46305"/>
          <ac:graphicFrameMkLst>
            <pc:docMk/>
            <pc:sldMk cId="706358145" sldId="489"/>
            <ac:graphicFrameMk id="6" creationId="{1623973C-D4DE-AE6F-9D42-B9FB1D4F3970}"/>
          </ac:graphicFrameMkLst>
        </pc:graphicFrameChg>
      </pc:sldChg>
      <pc:sldChg chg="modSp del mod modNotes">
        <pc:chgData name="Grace, Morgan (Brisbane)" userId="221d5f7b-4a46-4bd5-bdf1-698d3a91c208" providerId="ADAL" clId="{D90324C1-6CE4-4C28-B886-AED0B666B37F}" dt="2024-06-24T03:37:22.345" v="127469" actId="2696"/>
        <pc:sldMkLst>
          <pc:docMk/>
          <pc:sldMk cId="1923498963" sldId="492"/>
        </pc:sldMkLst>
        <pc:spChg chg="mod">
          <ac:chgData name="Grace, Morgan (Brisbane)" userId="221d5f7b-4a46-4bd5-bdf1-698d3a91c208" providerId="ADAL" clId="{D90324C1-6CE4-4C28-B886-AED0B666B37F}" dt="2024-06-06T05:13:57.614" v="44015" actId="947"/>
          <ac:spMkLst>
            <pc:docMk/>
            <pc:sldMk cId="1923498963" sldId="492"/>
            <ac:spMk id="2" creationId="{1C743499-1397-A15E-2446-3C9B686D7DD9}"/>
          </ac:spMkLst>
        </pc:spChg>
        <pc:spChg chg="mod">
          <ac:chgData name="Grace, Morgan (Brisbane)" userId="221d5f7b-4a46-4bd5-bdf1-698d3a91c208" providerId="ADAL" clId="{D90324C1-6CE4-4C28-B886-AED0B666B37F}" dt="2024-06-06T05:13:57.633" v="44019" actId="947"/>
          <ac:spMkLst>
            <pc:docMk/>
            <pc:sldMk cId="1923498963" sldId="492"/>
            <ac:spMk id="3" creationId="{E58257B7-E41C-3A21-3687-92977C581A99}"/>
          </ac:spMkLst>
        </pc:spChg>
        <pc:spChg chg="mod">
          <ac:chgData name="Grace, Morgan (Brisbane)" userId="221d5f7b-4a46-4bd5-bdf1-698d3a91c208" providerId="ADAL" clId="{D90324C1-6CE4-4C28-B886-AED0B666B37F}" dt="2024-06-06T05:13:57.633" v="44017" actId="947"/>
          <ac:spMkLst>
            <pc:docMk/>
            <pc:sldMk cId="1923498963" sldId="492"/>
            <ac:spMk id="4" creationId="{58EEF010-214E-C8E6-B234-A752278A2CF4}"/>
          </ac:spMkLst>
        </pc:spChg>
        <pc:spChg chg="mod">
          <ac:chgData name="Grace, Morgan (Brisbane)" userId="221d5f7b-4a46-4bd5-bdf1-698d3a91c208" providerId="ADAL" clId="{D90324C1-6CE4-4C28-B886-AED0B666B37F}" dt="2024-06-06T05:13:57.614" v="44009" actId="947"/>
          <ac:spMkLst>
            <pc:docMk/>
            <pc:sldMk cId="1923498963" sldId="492"/>
            <ac:spMk id="6" creationId="{63DC6BDB-2C8A-506F-DD93-0A8F84D84F63}"/>
          </ac:spMkLst>
        </pc:spChg>
        <pc:spChg chg="mod">
          <ac:chgData name="Grace, Morgan (Brisbane)" userId="221d5f7b-4a46-4bd5-bdf1-698d3a91c208" providerId="ADAL" clId="{D90324C1-6CE4-4C28-B886-AED0B666B37F}" dt="2024-06-06T05:13:57.636" v="44021" actId="947"/>
          <ac:spMkLst>
            <pc:docMk/>
            <pc:sldMk cId="1923498963" sldId="492"/>
            <ac:spMk id="7" creationId="{D33FF8DE-7141-F6D8-DDF5-8070F7229AD1}"/>
          </ac:spMkLst>
        </pc:spChg>
        <pc:spChg chg="mod">
          <ac:chgData name="Grace, Morgan (Brisbane)" userId="221d5f7b-4a46-4bd5-bdf1-698d3a91c208" providerId="ADAL" clId="{D90324C1-6CE4-4C28-B886-AED0B666B37F}" dt="2024-06-06T05:13:57.636" v="44023" actId="947"/>
          <ac:spMkLst>
            <pc:docMk/>
            <pc:sldMk cId="1923498963" sldId="492"/>
            <ac:spMk id="8" creationId="{8187E46F-155F-9912-F846-9CD9D5C038B7}"/>
          </ac:spMkLst>
        </pc:spChg>
        <pc:spChg chg="mod">
          <ac:chgData name="Grace, Morgan (Brisbane)" userId="221d5f7b-4a46-4bd5-bdf1-698d3a91c208" providerId="ADAL" clId="{D90324C1-6CE4-4C28-B886-AED0B666B37F}" dt="2024-06-06T05:13:57.614" v="44011" actId="947"/>
          <ac:spMkLst>
            <pc:docMk/>
            <pc:sldMk cId="1923498963" sldId="492"/>
            <ac:spMk id="9" creationId="{86A8FFC1-2F1C-963B-B168-31097D91CBDD}"/>
          </ac:spMkLst>
        </pc:spChg>
        <pc:spChg chg="mod">
          <ac:chgData name="Grace, Morgan (Brisbane)" userId="221d5f7b-4a46-4bd5-bdf1-698d3a91c208" providerId="ADAL" clId="{D90324C1-6CE4-4C28-B886-AED0B666B37F}" dt="2024-06-06T05:13:57.614" v="44013" actId="947"/>
          <ac:spMkLst>
            <pc:docMk/>
            <pc:sldMk cId="1923498963" sldId="492"/>
            <ac:spMk id="10" creationId="{647C4569-D469-314E-F65C-D3BD41166613}"/>
          </ac:spMkLst>
        </pc:spChg>
        <pc:spChg chg="mod">
          <ac:chgData name="Grace, Morgan (Brisbane)" userId="221d5f7b-4a46-4bd5-bdf1-698d3a91c208" providerId="ADAL" clId="{D90324C1-6CE4-4C28-B886-AED0B666B37F}" dt="2024-06-06T05:13:57.636" v="44025" actId="947"/>
          <ac:spMkLst>
            <pc:docMk/>
            <pc:sldMk cId="1923498963" sldId="492"/>
            <ac:spMk id="11" creationId="{6EF23DB5-78C2-EBBA-9B33-12F40D3B3078}"/>
          </ac:spMkLst>
        </pc:spChg>
        <pc:spChg chg="mod">
          <ac:chgData name="Grace, Morgan (Brisbane)" userId="221d5f7b-4a46-4bd5-bdf1-698d3a91c208" providerId="ADAL" clId="{D90324C1-6CE4-4C28-B886-AED0B666B37F}" dt="2024-06-06T05:13:57.636" v="44027" actId="947"/>
          <ac:spMkLst>
            <pc:docMk/>
            <pc:sldMk cId="1923498963" sldId="492"/>
            <ac:spMk id="12" creationId="{1F75FC32-43A9-6D80-87B4-1395BE4CD595}"/>
          </ac:spMkLst>
        </pc:spChg>
        <pc:spChg chg="mod">
          <ac:chgData name="Grace, Morgan (Brisbane)" userId="221d5f7b-4a46-4bd5-bdf1-698d3a91c208" providerId="ADAL" clId="{D90324C1-6CE4-4C28-B886-AED0B666B37F}" dt="2024-06-06T05:13:57.636" v="44029" actId="947"/>
          <ac:spMkLst>
            <pc:docMk/>
            <pc:sldMk cId="1923498963" sldId="492"/>
            <ac:spMk id="13" creationId="{C2772A54-6B32-7702-FFCD-5977A8A419D2}"/>
          </ac:spMkLst>
        </pc:spChg>
        <pc:spChg chg="mod">
          <ac:chgData name="Grace, Morgan (Brisbane)" userId="221d5f7b-4a46-4bd5-bdf1-698d3a91c208" providerId="ADAL" clId="{D90324C1-6CE4-4C28-B886-AED0B666B37F}" dt="2024-06-06T05:13:57.636" v="44031" actId="947"/>
          <ac:spMkLst>
            <pc:docMk/>
            <pc:sldMk cId="1923498963" sldId="492"/>
            <ac:spMk id="14" creationId="{ABF1ACF4-F6A5-4554-A09C-1C2283B25C87}"/>
          </ac:spMkLst>
        </pc:spChg>
        <pc:graphicFrameChg chg="mod ord modVis replST">
          <ac:chgData name="Grace, Morgan (Brisbane)" userId="221d5f7b-4a46-4bd5-bdf1-698d3a91c208" providerId="ADAL" clId="{D90324C1-6CE4-4C28-B886-AED0B666B37F}" dt="2024-06-06T05:14:01.931" v="46312"/>
          <ac:graphicFrameMkLst>
            <pc:docMk/>
            <pc:sldMk cId="1923498963" sldId="492"/>
            <ac:graphicFrameMk id="5" creationId="{6AEC1269-B5D2-6934-9463-D7960552B890}"/>
          </ac:graphicFrameMkLst>
        </pc:graphicFrameChg>
      </pc:sldChg>
      <pc:sldChg chg="modSp del mod modNotes">
        <pc:chgData name="Grace, Morgan (Brisbane)" userId="221d5f7b-4a46-4bd5-bdf1-698d3a91c208" providerId="ADAL" clId="{D90324C1-6CE4-4C28-B886-AED0B666B37F}" dt="2024-06-06T06:26:35.069" v="47742" actId="47"/>
        <pc:sldMkLst>
          <pc:docMk/>
          <pc:sldMk cId="1279173217" sldId="494"/>
        </pc:sldMkLst>
        <pc:spChg chg="mod">
          <ac:chgData name="Grace, Morgan (Brisbane)" userId="221d5f7b-4a46-4bd5-bdf1-698d3a91c208" providerId="ADAL" clId="{D90324C1-6CE4-4C28-B886-AED0B666B37F}" dt="2024-06-06T05:13:57.552" v="43943" actId="947"/>
          <ac:spMkLst>
            <pc:docMk/>
            <pc:sldMk cId="1279173217" sldId="494"/>
            <ac:spMk id="2" creationId="{70278ECC-1EFA-AF3E-DDA6-7BF6059E4D3D}"/>
          </ac:spMkLst>
        </pc:spChg>
        <pc:spChg chg="mod">
          <ac:chgData name="Grace, Morgan (Brisbane)" userId="221d5f7b-4a46-4bd5-bdf1-698d3a91c208" providerId="ADAL" clId="{D90324C1-6CE4-4C28-B886-AED0B666B37F}" dt="2024-06-06T05:13:57.536" v="43931" actId="947"/>
          <ac:spMkLst>
            <pc:docMk/>
            <pc:sldMk cId="1279173217" sldId="494"/>
            <ac:spMk id="23" creationId="{330D46A8-CF6B-DCC1-B1B7-A38C57582215}"/>
          </ac:spMkLst>
        </pc:spChg>
        <pc:spChg chg="mod">
          <ac:chgData name="Grace, Morgan (Brisbane)" userId="221d5f7b-4a46-4bd5-bdf1-698d3a91c208" providerId="ADAL" clId="{D90324C1-6CE4-4C28-B886-AED0B666B37F}" dt="2024-06-06T05:13:57.536" v="43925" actId="947"/>
          <ac:spMkLst>
            <pc:docMk/>
            <pc:sldMk cId="1279173217" sldId="494"/>
            <ac:spMk id="24" creationId="{2B7F9E54-E370-B92E-97AA-94AF9B066573}"/>
          </ac:spMkLst>
        </pc:spChg>
        <pc:spChg chg="mod">
          <ac:chgData name="Grace, Morgan (Brisbane)" userId="221d5f7b-4a46-4bd5-bdf1-698d3a91c208" providerId="ADAL" clId="{D90324C1-6CE4-4C28-B886-AED0B666B37F}" dt="2024-06-06T05:13:57.536" v="43927" actId="947"/>
          <ac:spMkLst>
            <pc:docMk/>
            <pc:sldMk cId="1279173217" sldId="494"/>
            <ac:spMk id="25" creationId="{0204842E-0DD2-3292-DFBE-1AC9F874FF0F}"/>
          </ac:spMkLst>
        </pc:spChg>
        <pc:spChg chg="mod">
          <ac:chgData name="Grace, Morgan (Brisbane)" userId="221d5f7b-4a46-4bd5-bdf1-698d3a91c208" providerId="ADAL" clId="{D90324C1-6CE4-4C28-B886-AED0B666B37F}" dt="2024-06-06T05:13:57.536" v="43923" actId="947"/>
          <ac:spMkLst>
            <pc:docMk/>
            <pc:sldMk cId="1279173217" sldId="494"/>
            <ac:spMk id="26" creationId="{3D6FA32D-4162-9D13-E2D8-6C1F3557E766}"/>
          </ac:spMkLst>
        </pc:spChg>
        <pc:spChg chg="mod">
          <ac:chgData name="Grace, Morgan (Brisbane)" userId="221d5f7b-4a46-4bd5-bdf1-698d3a91c208" providerId="ADAL" clId="{D90324C1-6CE4-4C28-B886-AED0B666B37F}" dt="2024-06-06T05:13:57.536" v="43929" actId="947"/>
          <ac:spMkLst>
            <pc:docMk/>
            <pc:sldMk cId="1279173217" sldId="494"/>
            <ac:spMk id="27" creationId="{E4E8BD5F-ED1B-04E5-9D2D-A64E8152C4EF}"/>
          </ac:spMkLst>
        </pc:spChg>
        <pc:spChg chg="mod">
          <ac:chgData name="Grace, Morgan (Brisbane)" userId="221d5f7b-4a46-4bd5-bdf1-698d3a91c208" providerId="ADAL" clId="{D90324C1-6CE4-4C28-B886-AED0B666B37F}" dt="2024-06-06T05:13:57.536" v="43933" actId="947"/>
          <ac:spMkLst>
            <pc:docMk/>
            <pc:sldMk cId="1279173217" sldId="494"/>
            <ac:spMk id="28" creationId="{C244B2F3-73E5-F93D-B38D-1B2286189F65}"/>
          </ac:spMkLst>
        </pc:spChg>
        <pc:spChg chg="mod">
          <ac:chgData name="Grace, Morgan (Brisbane)" userId="221d5f7b-4a46-4bd5-bdf1-698d3a91c208" providerId="ADAL" clId="{D90324C1-6CE4-4C28-B886-AED0B666B37F}" dt="2024-06-06T05:13:57.536" v="43935" actId="947"/>
          <ac:spMkLst>
            <pc:docMk/>
            <pc:sldMk cId="1279173217" sldId="494"/>
            <ac:spMk id="29" creationId="{09473F56-224D-20C7-0D92-0023F119714E}"/>
          </ac:spMkLst>
        </pc:spChg>
        <pc:spChg chg="mod">
          <ac:chgData name="Grace, Morgan (Brisbane)" userId="221d5f7b-4a46-4bd5-bdf1-698d3a91c208" providerId="ADAL" clId="{D90324C1-6CE4-4C28-B886-AED0B666B37F}" dt="2024-06-06T05:13:57.536" v="43937" actId="947"/>
          <ac:spMkLst>
            <pc:docMk/>
            <pc:sldMk cId="1279173217" sldId="494"/>
            <ac:spMk id="30" creationId="{8E01903E-EF5C-1F13-0749-68F8341E1406}"/>
          </ac:spMkLst>
        </pc:spChg>
        <pc:spChg chg="mod">
          <ac:chgData name="Grace, Morgan (Brisbane)" userId="221d5f7b-4a46-4bd5-bdf1-698d3a91c208" providerId="ADAL" clId="{D90324C1-6CE4-4C28-B886-AED0B666B37F}" dt="2024-06-06T05:13:57.536" v="43939" actId="947"/>
          <ac:spMkLst>
            <pc:docMk/>
            <pc:sldMk cId="1279173217" sldId="494"/>
            <ac:spMk id="31" creationId="{86306C3F-6A4D-113A-C57B-8560A9759CDE}"/>
          </ac:spMkLst>
        </pc:spChg>
        <pc:spChg chg="mod">
          <ac:chgData name="Grace, Morgan (Brisbane)" userId="221d5f7b-4a46-4bd5-bdf1-698d3a91c208" providerId="ADAL" clId="{D90324C1-6CE4-4C28-B886-AED0B666B37F}" dt="2024-06-06T05:13:57.552" v="43941" actId="947"/>
          <ac:spMkLst>
            <pc:docMk/>
            <pc:sldMk cId="1279173217" sldId="494"/>
            <ac:spMk id="32" creationId="{1B6D3364-FD60-88EA-E3D6-ACF0A7BD9CC5}"/>
          </ac:spMkLst>
        </pc:spChg>
        <pc:graphicFrameChg chg="mod ord modVis replST">
          <ac:chgData name="Grace, Morgan (Brisbane)" userId="221d5f7b-4a46-4bd5-bdf1-698d3a91c208" providerId="ADAL" clId="{D90324C1-6CE4-4C28-B886-AED0B666B37F}" dt="2024-06-06T05:14:01.827" v="46277"/>
          <ac:graphicFrameMkLst>
            <pc:docMk/>
            <pc:sldMk cId="1279173217" sldId="494"/>
            <ac:graphicFrameMk id="3" creationId="{3EBC2FAD-D666-8B74-B384-C7CB30A5D709}"/>
          </ac:graphicFrameMkLst>
        </pc:graphicFrameChg>
      </pc:sldChg>
      <pc:sldChg chg="del">
        <pc:chgData name="Grace, Morgan (Brisbane)" userId="221d5f7b-4a46-4bd5-bdf1-698d3a91c208" providerId="ADAL" clId="{D90324C1-6CE4-4C28-B886-AED0B666B37F}" dt="2024-06-05T05:51:05.862" v="34185" actId="2696"/>
        <pc:sldMkLst>
          <pc:docMk/>
          <pc:sldMk cId="1784271449" sldId="535"/>
        </pc:sldMkLst>
      </pc:sldChg>
      <pc:sldChg chg="modSp del mod modNotes">
        <pc:chgData name="Grace, Morgan (Brisbane)" userId="221d5f7b-4a46-4bd5-bdf1-698d3a91c208" providerId="ADAL" clId="{D90324C1-6CE4-4C28-B886-AED0B666B37F}" dt="2024-06-06T06:26:35.069" v="47742" actId="47"/>
        <pc:sldMkLst>
          <pc:docMk/>
          <pc:sldMk cId="2430323713" sldId="536"/>
        </pc:sldMkLst>
        <pc:spChg chg="mod">
          <ac:chgData name="Grace, Morgan (Brisbane)" userId="221d5f7b-4a46-4bd5-bdf1-698d3a91c208" providerId="ADAL" clId="{D90324C1-6CE4-4C28-B886-AED0B666B37F}" dt="2024-06-06T05:13:57.567" v="43967" actId="947"/>
          <ac:spMkLst>
            <pc:docMk/>
            <pc:sldMk cId="2430323713" sldId="536"/>
            <ac:spMk id="2" creationId="{802E9C25-9B4F-0269-AFE7-EFDE42CB4978}"/>
          </ac:spMkLst>
        </pc:spChg>
        <pc:spChg chg="mod">
          <ac:chgData name="Grace, Morgan (Brisbane)" userId="221d5f7b-4a46-4bd5-bdf1-698d3a91c208" providerId="ADAL" clId="{D90324C1-6CE4-4C28-B886-AED0B666B37F}" dt="2024-06-06T05:13:57.583" v="43981" actId="947"/>
          <ac:spMkLst>
            <pc:docMk/>
            <pc:sldMk cId="2430323713" sldId="536"/>
            <ac:spMk id="3" creationId="{B746B8EF-2218-CB47-ECC0-51042BEF054E}"/>
          </ac:spMkLst>
        </pc:spChg>
        <pc:spChg chg="mod">
          <ac:chgData name="Grace, Morgan (Brisbane)" userId="221d5f7b-4a46-4bd5-bdf1-698d3a91c208" providerId="ADAL" clId="{D90324C1-6CE4-4C28-B886-AED0B666B37F}" dt="2024-06-06T05:13:57.583" v="43977" actId="947"/>
          <ac:spMkLst>
            <pc:docMk/>
            <pc:sldMk cId="2430323713" sldId="536"/>
            <ac:spMk id="4" creationId="{E1895D13-B6B3-6C4B-82F5-EB1D217F4424}"/>
          </ac:spMkLst>
        </pc:spChg>
        <pc:spChg chg="mod">
          <ac:chgData name="Grace, Morgan (Brisbane)" userId="221d5f7b-4a46-4bd5-bdf1-698d3a91c208" providerId="ADAL" clId="{D90324C1-6CE4-4C28-B886-AED0B666B37F}" dt="2024-06-06T05:13:57.583" v="43983" actId="947"/>
          <ac:spMkLst>
            <pc:docMk/>
            <pc:sldMk cId="2430323713" sldId="536"/>
            <ac:spMk id="5" creationId="{9F93BE3A-5150-28B9-555E-7F20FB267019}"/>
          </ac:spMkLst>
        </pc:spChg>
        <pc:spChg chg="mod">
          <ac:chgData name="Grace, Morgan (Brisbane)" userId="221d5f7b-4a46-4bd5-bdf1-698d3a91c208" providerId="ADAL" clId="{D90324C1-6CE4-4C28-B886-AED0B666B37F}" dt="2024-06-06T05:13:57.567" v="43969" actId="947"/>
          <ac:spMkLst>
            <pc:docMk/>
            <pc:sldMk cId="2430323713" sldId="536"/>
            <ac:spMk id="12" creationId="{AE85547D-2FCD-7D1B-1590-09274D4B015F}"/>
          </ac:spMkLst>
        </pc:spChg>
        <pc:spChg chg="mod">
          <ac:chgData name="Grace, Morgan (Brisbane)" userId="221d5f7b-4a46-4bd5-bdf1-698d3a91c208" providerId="ADAL" clId="{D90324C1-6CE4-4C28-B886-AED0B666B37F}" dt="2024-06-06T05:13:57.583" v="43971" actId="947"/>
          <ac:spMkLst>
            <pc:docMk/>
            <pc:sldMk cId="2430323713" sldId="536"/>
            <ac:spMk id="13" creationId="{2D410C7B-C4B0-D30B-3561-D6D1FC7615F4}"/>
          </ac:spMkLst>
        </pc:spChg>
        <pc:spChg chg="mod">
          <ac:chgData name="Grace, Morgan (Brisbane)" userId="221d5f7b-4a46-4bd5-bdf1-698d3a91c208" providerId="ADAL" clId="{D90324C1-6CE4-4C28-B886-AED0B666B37F}" dt="2024-06-06T05:13:57.583" v="43975" actId="947"/>
          <ac:spMkLst>
            <pc:docMk/>
            <pc:sldMk cId="2430323713" sldId="536"/>
            <ac:spMk id="14" creationId="{03E9FDA9-F9CF-F1A7-2756-9FFC3DF590A7}"/>
          </ac:spMkLst>
        </pc:spChg>
        <pc:spChg chg="mod">
          <ac:chgData name="Grace, Morgan (Brisbane)" userId="221d5f7b-4a46-4bd5-bdf1-698d3a91c208" providerId="ADAL" clId="{D90324C1-6CE4-4C28-B886-AED0B666B37F}" dt="2024-06-06T05:13:57.583" v="43973" actId="947"/>
          <ac:spMkLst>
            <pc:docMk/>
            <pc:sldMk cId="2430323713" sldId="536"/>
            <ac:spMk id="15" creationId="{DC16349B-02DC-B7BA-4921-0D7792CB74D8}"/>
          </ac:spMkLst>
        </pc:spChg>
        <pc:spChg chg="mod">
          <ac:chgData name="Grace, Morgan (Brisbane)" userId="221d5f7b-4a46-4bd5-bdf1-698d3a91c208" providerId="ADAL" clId="{D90324C1-6CE4-4C28-B886-AED0B666B37F}" dt="2024-06-06T05:13:57.583" v="43979" actId="947"/>
          <ac:spMkLst>
            <pc:docMk/>
            <pc:sldMk cId="2430323713" sldId="536"/>
            <ac:spMk id="16" creationId="{B4BD9F6D-7459-ACF5-FA04-445C8D16E575}"/>
          </ac:spMkLst>
        </pc:spChg>
        <pc:graphicFrameChg chg="mod ord modVis replST">
          <ac:chgData name="Grace, Morgan (Brisbane)" userId="221d5f7b-4a46-4bd5-bdf1-698d3a91c208" providerId="ADAL" clId="{D90324C1-6CE4-4C28-B886-AED0B666B37F}" dt="2024-06-06T05:14:01.881" v="46298"/>
          <ac:graphicFrameMkLst>
            <pc:docMk/>
            <pc:sldMk cId="2430323713" sldId="536"/>
            <ac:graphicFrameMk id="6" creationId="{5B8E1A7A-A140-8C32-F9D2-446E3ACC8D92}"/>
          </ac:graphicFrameMkLst>
        </pc:graphicFrameChg>
      </pc:sldChg>
      <pc:sldChg chg="addSp delSp modSp del mod modNotes">
        <pc:chgData name="Grace, Morgan (Brisbane)" userId="221d5f7b-4a46-4bd5-bdf1-698d3a91c208" providerId="ADAL" clId="{D90324C1-6CE4-4C28-B886-AED0B666B37F}" dt="2024-06-06T05:58:39.796" v="47739" actId="47"/>
        <pc:sldMkLst>
          <pc:docMk/>
          <pc:sldMk cId="3248262384" sldId="539"/>
        </pc:sldMkLst>
        <pc:spChg chg="mod">
          <ac:chgData name="Grace, Morgan (Brisbane)" userId="221d5f7b-4a46-4bd5-bdf1-698d3a91c208" providerId="ADAL" clId="{D90324C1-6CE4-4C28-B886-AED0B666B37F}" dt="2024-06-06T05:13:57.552" v="43953" actId="947"/>
          <ac:spMkLst>
            <pc:docMk/>
            <pc:sldMk cId="3248262384" sldId="539"/>
            <ac:spMk id="2" creationId="{BDBD1511-9D54-4D6C-B013-FAC2E8E77CC7}"/>
          </ac:spMkLst>
        </pc:spChg>
        <pc:spChg chg="mod">
          <ac:chgData name="Grace, Morgan (Brisbane)" userId="221d5f7b-4a46-4bd5-bdf1-698d3a91c208" providerId="ADAL" clId="{D90324C1-6CE4-4C28-B886-AED0B666B37F}" dt="2024-06-06T05:13:57.552" v="43949" actId="947"/>
          <ac:spMkLst>
            <pc:docMk/>
            <pc:sldMk cId="3248262384" sldId="539"/>
            <ac:spMk id="3" creationId="{919BD622-6F91-F545-A745-164022BE1F88}"/>
          </ac:spMkLst>
        </pc:spChg>
        <pc:spChg chg="mod">
          <ac:chgData name="Grace, Morgan (Brisbane)" userId="221d5f7b-4a46-4bd5-bdf1-698d3a91c208" providerId="ADAL" clId="{D90324C1-6CE4-4C28-B886-AED0B666B37F}" dt="2024-06-06T05:13:57.552" v="43951" actId="947"/>
          <ac:spMkLst>
            <pc:docMk/>
            <pc:sldMk cId="3248262384" sldId="539"/>
            <ac:spMk id="4" creationId="{045F938E-28C1-0682-6B74-67B958458F44}"/>
          </ac:spMkLst>
        </pc:spChg>
        <pc:spChg chg="mod">
          <ac:chgData name="Grace, Morgan (Brisbane)" userId="221d5f7b-4a46-4bd5-bdf1-698d3a91c208" providerId="ADAL" clId="{D90324C1-6CE4-4C28-B886-AED0B666B37F}" dt="2024-06-06T05:13:57.552" v="43955" actId="947"/>
          <ac:spMkLst>
            <pc:docMk/>
            <pc:sldMk cId="3248262384" sldId="539"/>
            <ac:spMk id="5" creationId="{FF71FF35-0BBD-9ACE-3981-AC9808358C88}"/>
          </ac:spMkLst>
        </pc:spChg>
        <pc:spChg chg="mod">
          <ac:chgData name="Grace, Morgan (Brisbane)" userId="221d5f7b-4a46-4bd5-bdf1-698d3a91c208" providerId="ADAL" clId="{D90324C1-6CE4-4C28-B886-AED0B666B37F}" dt="2024-06-06T05:13:57.552" v="43945" actId="947"/>
          <ac:spMkLst>
            <pc:docMk/>
            <pc:sldMk cId="3248262384" sldId="539"/>
            <ac:spMk id="7" creationId="{691A53EC-E29E-DE47-7717-982CEB5D2F3F}"/>
          </ac:spMkLst>
        </pc:spChg>
        <pc:spChg chg="mod">
          <ac:chgData name="Grace, Morgan (Brisbane)" userId="221d5f7b-4a46-4bd5-bdf1-698d3a91c208" providerId="ADAL" clId="{D90324C1-6CE4-4C28-B886-AED0B666B37F}" dt="2024-06-06T05:13:57.552" v="43947" actId="947"/>
          <ac:spMkLst>
            <pc:docMk/>
            <pc:sldMk cId="3248262384" sldId="539"/>
            <ac:spMk id="8" creationId="{28C41424-EC4F-0F89-FDA7-6DC23D4599F3}"/>
          </ac:spMkLst>
        </pc:spChg>
        <pc:spChg chg="mod">
          <ac:chgData name="Grace, Morgan (Brisbane)" userId="221d5f7b-4a46-4bd5-bdf1-698d3a91c208" providerId="ADAL" clId="{D90324C1-6CE4-4C28-B886-AED0B666B37F}" dt="2024-06-06T05:13:57.567" v="43957" actId="947"/>
          <ac:spMkLst>
            <pc:docMk/>
            <pc:sldMk cId="3248262384" sldId="539"/>
            <ac:spMk id="9" creationId="{26361054-5E31-DA7B-9BDE-45E9B5E87FA0}"/>
          </ac:spMkLst>
        </pc:spChg>
        <pc:spChg chg="add del mod">
          <ac:chgData name="Grace, Morgan (Brisbane)" userId="221d5f7b-4a46-4bd5-bdf1-698d3a91c208" providerId="ADAL" clId="{D90324C1-6CE4-4C28-B886-AED0B666B37F}" dt="2024-06-05T03:14:34.356" v="21606" actId="478"/>
          <ac:spMkLst>
            <pc:docMk/>
            <pc:sldMk cId="3248262384" sldId="539"/>
            <ac:spMk id="10" creationId="{31B6B697-E9A4-2E89-2C7F-B303E379E8F3}"/>
          </ac:spMkLst>
        </pc:spChg>
        <pc:graphicFrameChg chg="mod ord modVis replST">
          <ac:chgData name="Grace, Morgan (Brisbane)" userId="221d5f7b-4a46-4bd5-bdf1-698d3a91c208" providerId="ADAL" clId="{D90324C1-6CE4-4C28-B886-AED0B666B37F}" dt="2024-06-06T05:14:01.850" v="46284"/>
          <ac:graphicFrameMkLst>
            <pc:docMk/>
            <pc:sldMk cId="3248262384" sldId="539"/>
            <ac:graphicFrameMk id="6" creationId="{67D23C9F-6E01-84AB-E573-B8C5A55A36F3}"/>
          </ac:graphicFrameMkLst>
        </pc:graphicFrameChg>
        <pc:picChg chg="add del">
          <ac:chgData name="Grace, Morgan (Brisbane)" userId="221d5f7b-4a46-4bd5-bdf1-698d3a91c208" providerId="ADAL" clId="{D90324C1-6CE4-4C28-B886-AED0B666B37F}" dt="2024-06-05T03:14:34.356" v="21606" actId="478"/>
          <ac:picMkLst>
            <pc:docMk/>
            <pc:sldMk cId="3248262384" sldId="539"/>
            <ac:picMk id="11" creationId="{98DA770E-E250-5A7F-C8C0-4E99EB1E51AA}"/>
          </ac:picMkLst>
        </pc:picChg>
      </pc:sldChg>
      <pc:sldChg chg="del mod modShow modNotes">
        <pc:chgData name="Grace, Morgan (Brisbane)" userId="221d5f7b-4a46-4bd5-bdf1-698d3a91c208" providerId="ADAL" clId="{D90324C1-6CE4-4C28-B886-AED0B666B37F}" dt="2024-06-24T03:37:22.345" v="127469" actId="2696"/>
        <pc:sldMkLst>
          <pc:docMk/>
          <pc:sldMk cId="1979651527" sldId="551"/>
        </pc:sldMkLst>
      </pc:sldChg>
      <pc:sldChg chg="modSp del mod modNotes">
        <pc:chgData name="Grace, Morgan (Brisbane)" userId="221d5f7b-4a46-4bd5-bdf1-698d3a91c208" providerId="ADAL" clId="{D90324C1-6CE4-4C28-B886-AED0B666B37F}" dt="2024-06-06T05:58:37.879" v="47738" actId="47"/>
        <pc:sldMkLst>
          <pc:docMk/>
          <pc:sldMk cId="742201743" sldId="574"/>
        </pc:sldMkLst>
        <pc:spChg chg="mod">
          <ac:chgData name="Grace, Morgan (Brisbane)" userId="221d5f7b-4a46-4bd5-bdf1-698d3a91c208" providerId="ADAL" clId="{D90324C1-6CE4-4C28-B886-AED0B666B37F}" dt="2024-06-06T05:13:57.530" v="43921" actId="947"/>
          <ac:spMkLst>
            <pc:docMk/>
            <pc:sldMk cId="742201743" sldId="574"/>
            <ac:spMk id="2" creationId="{33D787FD-BE1E-85F0-1D26-CD966C10B04D}"/>
          </ac:spMkLst>
        </pc:spChg>
        <pc:spChg chg="mod">
          <ac:chgData name="Grace, Morgan (Brisbane)" userId="221d5f7b-4a46-4bd5-bdf1-698d3a91c208" providerId="ADAL" clId="{D90324C1-6CE4-4C28-B886-AED0B666B37F}" dt="2024-06-06T05:13:57.525" v="43911" actId="947"/>
          <ac:spMkLst>
            <pc:docMk/>
            <pc:sldMk cId="742201743" sldId="574"/>
            <ac:spMk id="8" creationId="{F46E93B4-20A0-8FB5-B96C-57C5D6FBA153}"/>
          </ac:spMkLst>
        </pc:spChg>
        <pc:spChg chg="mod">
          <ac:chgData name="Grace, Morgan (Brisbane)" userId="221d5f7b-4a46-4bd5-bdf1-698d3a91c208" providerId="ADAL" clId="{D90324C1-6CE4-4C28-B886-AED0B666B37F}" dt="2024-06-06T05:13:57.527" v="43913" actId="947"/>
          <ac:spMkLst>
            <pc:docMk/>
            <pc:sldMk cId="742201743" sldId="574"/>
            <ac:spMk id="11" creationId="{90ECAF76-D177-FE87-53DD-02B691FA880A}"/>
          </ac:spMkLst>
        </pc:spChg>
        <pc:spChg chg="mod">
          <ac:chgData name="Grace, Morgan (Brisbane)" userId="221d5f7b-4a46-4bd5-bdf1-698d3a91c208" providerId="ADAL" clId="{D90324C1-6CE4-4C28-B886-AED0B666B37F}" dt="2024-06-06T05:13:57.528" v="43915" actId="947"/>
          <ac:spMkLst>
            <pc:docMk/>
            <pc:sldMk cId="742201743" sldId="574"/>
            <ac:spMk id="12" creationId="{A30300A6-D589-1E25-C4A6-FD6EEA93D8AE}"/>
          </ac:spMkLst>
        </pc:spChg>
        <pc:spChg chg="mod">
          <ac:chgData name="Grace, Morgan (Brisbane)" userId="221d5f7b-4a46-4bd5-bdf1-698d3a91c208" providerId="ADAL" clId="{D90324C1-6CE4-4C28-B886-AED0B666B37F}" dt="2024-06-06T05:13:57.530" v="43917" actId="947"/>
          <ac:spMkLst>
            <pc:docMk/>
            <pc:sldMk cId="742201743" sldId="574"/>
            <ac:spMk id="13" creationId="{D3C3E452-A57E-C7AE-E139-8CD65C97B6E9}"/>
          </ac:spMkLst>
        </pc:spChg>
        <pc:spChg chg="mod">
          <ac:chgData name="Grace, Morgan (Brisbane)" userId="221d5f7b-4a46-4bd5-bdf1-698d3a91c208" providerId="ADAL" clId="{D90324C1-6CE4-4C28-B886-AED0B666B37F}" dt="2024-06-06T05:13:57.530" v="43919" actId="947"/>
          <ac:spMkLst>
            <pc:docMk/>
            <pc:sldMk cId="742201743" sldId="574"/>
            <ac:spMk id="14" creationId="{45BF3A6E-4F27-01C9-D5D7-D53DFCC4FA81}"/>
          </ac:spMkLst>
        </pc:spChg>
        <pc:graphicFrameChg chg="mod ord modVis replST">
          <ac:chgData name="Grace, Morgan (Brisbane)" userId="221d5f7b-4a46-4bd5-bdf1-698d3a91c208" providerId="ADAL" clId="{D90324C1-6CE4-4C28-B886-AED0B666B37F}" dt="2024-06-06T05:14:01.811" v="46270"/>
          <ac:graphicFrameMkLst>
            <pc:docMk/>
            <pc:sldMk cId="742201743" sldId="574"/>
            <ac:graphicFrameMk id="3" creationId="{2847B4E2-6B1C-A4E6-CABC-6DDE64577EEC}"/>
          </ac:graphicFrameMkLst>
        </pc:graphicFrameChg>
      </pc:sldChg>
      <pc:sldChg chg="addSp delSp modSp del mod ord modShow modNotes">
        <pc:chgData name="Grace, Morgan (Brisbane)" userId="221d5f7b-4a46-4bd5-bdf1-698d3a91c208" providerId="ADAL" clId="{D90324C1-6CE4-4C28-B886-AED0B666B37F}" dt="2024-06-06T05:58:13.755" v="47737" actId="2696"/>
        <pc:sldMkLst>
          <pc:docMk/>
          <pc:sldMk cId="3483040180" sldId="575"/>
        </pc:sldMkLst>
        <pc:spChg chg="del mod">
          <ac:chgData name="Grace, Morgan (Brisbane)" userId="221d5f7b-4a46-4bd5-bdf1-698d3a91c208" providerId="ADAL" clId="{D90324C1-6CE4-4C28-B886-AED0B666B37F}" dt="2024-06-06T05:57:12.341" v="47659" actId="21"/>
          <ac:spMkLst>
            <pc:docMk/>
            <pc:sldMk cId="3483040180" sldId="575"/>
            <ac:spMk id="3" creationId="{E32AA8E7-C420-4C72-6E79-07BADF978B0C}"/>
          </ac:spMkLst>
        </pc:spChg>
        <pc:spChg chg="add mod">
          <ac:chgData name="Grace, Morgan (Brisbane)" userId="221d5f7b-4a46-4bd5-bdf1-698d3a91c208" providerId="ADAL" clId="{D90324C1-6CE4-4C28-B886-AED0B666B37F}" dt="2024-06-06T05:57:12.341" v="47659" actId="21"/>
          <ac:spMkLst>
            <pc:docMk/>
            <pc:sldMk cId="3483040180" sldId="575"/>
            <ac:spMk id="5" creationId="{FAE8F280-42F6-FF00-E384-90A593149AC3}"/>
          </ac:spMkLst>
        </pc:spChg>
        <pc:graphicFrameChg chg="mod ord modVis replST">
          <ac:chgData name="Grace, Morgan (Brisbane)" userId="221d5f7b-4a46-4bd5-bdf1-698d3a91c208" providerId="ADAL" clId="{D90324C1-6CE4-4C28-B886-AED0B666B37F}" dt="2024-06-06T05:14:01.943" v="46319"/>
          <ac:graphicFrameMkLst>
            <pc:docMk/>
            <pc:sldMk cId="3483040180" sldId="575"/>
            <ac:graphicFrameMk id="2" creationId="{CB764379-650A-3792-75FB-E6E78A9A6502}"/>
          </ac:graphicFrameMkLst>
        </pc:graphicFrameChg>
      </pc:sldChg>
      <pc:sldChg chg="del">
        <pc:chgData name="Grace, Morgan (Brisbane)" userId="221d5f7b-4a46-4bd5-bdf1-698d3a91c208" providerId="ADAL" clId="{D90324C1-6CE4-4C28-B886-AED0B666B37F}" dt="2024-06-05T03:14:36.638" v="21607" actId="47"/>
        <pc:sldMkLst>
          <pc:docMk/>
          <pc:sldMk cId="1234303143" sldId="576"/>
        </pc:sldMkLst>
      </pc:sldChg>
      <pc:sldChg chg="addSp delSp modSp mod modNotes">
        <pc:chgData name="Grace, Morgan (Brisbane)" userId="221d5f7b-4a46-4bd5-bdf1-698d3a91c208" providerId="ADAL" clId="{D90324C1-6CE4-4C28-B886-AED0B666B37F}" dt="2024-06-06T05:14:01.562" v="46184" actId="1076"/>
        <pc:sldMkLst>
          <pc:docMk/>
          <pc:sldMk cId="3171304320" sldId="582"/>
        </pc:sldMkLst>
        <pc:spChg chg="mod ord">
          <ac:chgData name="Grace, Morgan (Brisbane)" userId="221d5f7b-4a46-4bd5-bdf1-698d3a91c208" providerId="ADAL" clId="{D90324C1-6CE4-4C28-B886-AED0B666B37F}" dt="2024-06-06T05:13:59.554" v="45216" actId="948"/>
          <ac:spMkLst>
            <pc:docMk/>
            <pc:sldMk cId="3171304320" sldId="582"/>
            <ac:spMk id="2" creationId="{6B9375FE-E847-C2F7-D7D7-7C652E61BD59}"/>
          </ac:spMkLst>
        </pc:spChg>
        <pc:spChg chg="del mod modVis">
          <ac:chgData name="Grace, Morgan (Brisbane)" userId="221d5f7b-4a46-4bd5-bdf1-698d3a91c208" providerId="ADAL" clId="{D90324C1-6CE4-4C28-B886-AED0B666B37F}" dt="2024-06-06T05:14:01.562" v="46183" actId="478"/>
          <ac:spMkLst>
            <pc:docMk/>
            <pc:sldMk cId="3171304320" sldId="582"/>
            <ac:spMk id="3" creationId="{F0340D30-E71B-3E24-C75D-B512807F8D20}"/>
          </ac:spMkLst>
        </pc:spChg>
        <pc:spChg chg="mod ord">
          <ac:chgData name="Grace, Morgan (Brisbane)" userId="221d5f7b-4a46-4bd5-bdf1-698d3a91c208" providerId="ADAL" clId="{D90324C1-6CE4-4C28-B886-AED0B666B37F}" dt="2024-06-06T05:13:57.135" v="43639" actId="947"/>
          <ac:spMkLst>
            <pc:docMk/>
            <pc:sldMk cId="3171304320" sldId="582"/>
            <ac:spMk id="4" creationId="{201651E9-4C4F-2F5A-3EBC-7474D9C28D9C}"/>
          </ac:spMkLst>
        </pc:spChg>
        <pc:spChg chg="mod ord">
          <ac:chgData name="Grace, Morgan (Brisbane)" userId="221d5f7b-4a46-4bd5-bdf1-698d3a91c208" providerId="ADAL" clId="{D90324C1-6CE4-4C28-B886-AED0B666B37F}" dt="2024-06-06T05:13:57.151" v="43641" actId="947"/>
          <ac:spMkLst>
            <pc:docMk/>
            <pc:sldMk cId="3171304320" sldId="582"/>
            <ac:spMk id="5" creationId="{7EB741D6-BED6-B16C-54EF-53C8EE60F038}"/>
          </ac:spMkLst>
        </pc:spChg>
        <pc:spChg chg="mod ord">
          <ac:chgData name="Grace, Morgan (Brisbane)" userId="221d5f7b-4a46-4bd5-bdf1-698d3a91c208" providerId="ADAL" clId="{D90324C1-6CE4-4C28-B886-AED0B666B37F}" dt="2024-06-06T05:13:57.151" v="43643" actId="947"/>
          <ac:spMkLst>
            <pc:docMk/>
            <pc:sldMk cId="3171304320" sldId="582"/>
            <ac:spMk id="6" creationId="{5D0327DE-99F9-9F61-4273-8B7B31E16EE9}"/>
          </ac:spMkLst>
        </pc:spChg>
        <pc:spChg chg="add del mod modVis">
          <ac:chgData name="Grace, Morgan (Brisbane)" userId="221d5f7b-4a46-4bd5-bdf1-698d3a91c208" providerId="ADAL" clId="{D90324C1-6CE4-4C28-B886-AED0B666B37F}" dt="2024-06-05T01:35:28.261" v="6460"/>
          <ac:spMkLst>
            <pc:docMk/>
            <pc:sldMk cId="3171304320" sldId="582"/>
            <ac:spMk id="7" creationId="{553E617A-40E1-604B-57EB-34621A746F8E}"/>
          </ac:spMkLst>
        </pc:spChg>
        <pc:spChg chg="mod ord">
          <ac:chgData name="Grace, Morgan (Brisbane)" userId="221d5f7b-4a46-4bd5-bdf1-698d3a91c208" providerId="ADAL" clId="{D90324C1-6CE4-4C28-B886-AED0B666B37F}" dt="2024-06-06T05:13:57.151" v="43645" actId="947"/>
          <ac:spMkLst>
            <pc:docMk/>
            <pc:sldMk cId="3171304320" sldId="582"/>
            <ac:spMk id="15" creationId="{DB7F81A7-1040-42D8-845D-EC77EA617233}"/>
          </ac:spMkLst>
        </pc:spChg>
        <pc:spChg chg="mod ord">
          <ac:chgData name="Grace, Morgan (Brisbane)" userId="221d5f7b-4a46-4bd5-bdf1-698d3a91c208" providerId="ADAL" clId="{D90324C1-6CE4-4C28-B886-AED0B666B37F}" dt="2024-06-06T05:13:57.151" v="43647" actId="947"/>
          <ac:spMkLst>
            <pc:docMk/>
            <pc:sldMk cId="3171304320" sldId="582"/>
            <ac:spMk id="16" creationId="{599E6CC7-3D96-442C-9CB0-B533663FF48F}"/>
          </ac:spMkLst>
        </pc:spChg>
        <pc:graphicFrameChg chg="mod">
          <ac:chgData name="Grace, Morgan (Brisbane)" userId="221d5f7b-4a46-4bd5-bdf1-698d3a91c208" providerId="ADAL" clId="{D90324C1-6CE4-4C28-B886-AED0B666B37F}" dt="2024-06-06T05:14:01.562" v="46184" actId="1076"/>
          <ac:graphicFrameMkLst>
            <pc:docMk/>
            <pc:sldMk cId="3171304320" sldId="582"/>
            <ac:graphicFrameMk id="8" creationId="{2D743A74-39FB-E97F-782D-56CCA5874912}"/>
          </ac:graphicFrameMkLst>
        </pc:graphicFrameChg>
        <pc:picChg chg="add del mod ord">
          <ac:chgData name="Grace, Morgan (Brisbane)" userId="221d5f7b-4a46-4bd5-bdf1-698d3a91c208" providerId="ADAL" clId="{D90324C1-6CE4-4C28-B886-AED0B666B37F}" dt="2024-06-05T01:35:29.058" v="6465"/>
          <ac:picMkLst>
            <pc:docMk/>
            <pc:sldMk cId="3171304320" sldId="582"/>
            <ac:picMk id="3" creationId="{1F297B19-6EBB-A404-71A7-E1EFB7BF7B5A}"/>
          </ac:picMkLst>
        </pc:picChg>
        <pc:picChg chg="mod ord">
          <ac:chgData name="Grace, Morgan (Brisbane)" userId="221d5f7b-4a46-4bd5-bdf1-698d3a91c208" providerId="ADAL" clId="{D90324C1-6CE4-4C28-B886-AED0B666B37F}" dt="2024-06-05T01:35:28.261" v="6460"/>
          <ac:picMkLst>
            <pc:docMk/>
            <pc:sldMk cId="3171304320" sldId="582"/>
            <ac:picMk id="20" creationId="{4AEF9619-4B32-46AB-BC00-3B8975E37B0E}"/>
          </ac:picMkLst>
        </pc:picChg>
        <pc:picChg chg="mod ord">
          <ac:chgData name="Grace, Morgan (Brisbane)" userId="221d5f7b-4a46-4bd5-bdf1-698d3a91c208" providerId="ADAL" clId="{D90324C1-6CE4-4C28-B886-AED0B666B37F}" dt="2024-06-05T01:35:28.261" v="6460"/>
          <ac:picMkLst>
            <pc:docMk/>
            <pc:sldMk cId="3171304320" sldId="582"/>
            <ac:picMk id="26" creationId="{F4B9DCCD-94EC-77A0-EEDC-40B06BED43A0}"/>
          </ac:picMkLst>
        </pc:picChg>
      </pc:sldChg>
      <pc:sldChg chg="addSp delSp modSp del mod">
        <pc:chgData name="Grace, Morgan (Brisbane)" userId="221d5f7b-4a46-4bd5-bdf1-698d3a91c208" providerId="ADAL" clId="{D90324C1-6CE4-4C28-B886-AED0B666B37F}" dt="2024-06-05T04:18:46.755" v="22860" actId="2696"/>
        <pc:sldMkLst>
          <pc:docMk/>
          <pc:sldMk cId="3429062004" sldId="583"/>
        </pc:sldMkLst>
        <pc:picChg chg="add del mod">
          <ac:chgData name="Grace, Morgan (Brisbane)" userId="221d5f7b-4a46-4bd5-bdf1-698d3a91c208" providerId="ADAL" clId="{D90324C1-6CE4-4C28-B886-AED0B666B37F}" dt="2024-06-05T01:34:24.143" v="6361" actId="21"/>
          <ac:picMkLst>
            <pc:docMk/>
            <pc:sldMk cId="3429062004" sldId="583"/>
            <ac:picMk id="5" creationId="{6BADA153-8342-0AC8-41BE-FC267082B0F6}"/>
          </ac:picMkLst>
        </pc:picChg>
      </pc:sldChg>
      <pc:sldChg chg="del">
        <pc:chgData name="Grace, Morgan (Brisbane)" userId="221d5f7b-4a46-4bd5-bdf1-698d3a91c208" providerId="ADAL" clId="{D90324C1-6CE4-4C28-B886-AED0B666B37F}" dt="2024-06-05T03:14:18.921" v="21604" actId="47"/>
        <pc:sldMkLst>
          <pc:docMk/>
          <pc:sldMk cId="559361603" sldId="594"/>
        </pc:sldMkLst>
      </pc:sldChg>
      <pc:sldChg chg="modSp del mod modShow modNotes">
        <pc:chgData name="Grace, Morgan (Brisbane)" userId="221d5f7b-4a46-4bd5-bdf1-698d3a91c208" providerId="ADAL" clId="{D90324C1-6CE4-4C28-B886-AED0B666B37F}" dt="2024-06-24T03:37:22.345" v="127469" actId="2696"/>
        <pc:sldMkLst>
          <pc:docMk/>
          <pc:sldMk cId="662374443" sldId="595"/>
        </pc:sldMkLst>
        <pc:spChg chg="mod">
          <ac:chgData name="Grace, Morgan (Brisbane)" userId="221d5f7b-4a46-4bd5-bdf1-698d3a91c208" providerId="ADAL" clId="{D90324C1-6CE4-4C28-B886-AED0B666B37F}" dt="2024-06-06T05:13:57.351" v="43757" actId="947"/>
          <ac:spMkLst>
            <pc:docMk/>
            <pc:sldMk cId="662374443" sldId="595"/>
            <ac:spMk id="3" creationId="{7DE5D2C9-90B0-B729-FB91-2BD0FDFF08B9}"/>
          </ac:spMkLst>
        </pc:spChg>
        <pc:spChg chg="mod">
          <ac:chgData name="Grace, Morgan (Brisbane)" userId="221d5f7b-4a46-4bd5-bdf1-698d3a91c208" providerId="ADAL" clId="{D90324C1-6CE4-4C28-B886-AED0B666B37F}" dt="2024-06-06T05:13:57.367" v="43759" actId="947"/>
          <ac:spMkLst>
            <pc:docMk/>
            <pc:sldMk cId="662374443" sldId="595"/>
            <ac:spMk id="5" creationId="{0142F281-C287-C1A4-0C20-F7509EFE8DDA}"/>
          </ac:spMkLst>
        </pc:spChg>
        <pc:spChg chg="mod">
          <ac:chgData name="Grace, Morgan (Brisbane)" userId="221d5f7b-4a46-4bd5-bdf1-698d3a91c208" providerId="ADAL" clId="{D90324C1-6CE4-4C28-B886-AED0B666B37F}" dt="2024-06-06T05:13:57.351" v="43755" actId="947"/>
          <ac:spMkLst>
            <pc:docMk/>
            <pc:sldMk cId="662374443" sldId="595"/>
            <ac:spMk id="6" creationId="{AF1E625D-F84A-FF2B-812F-E766C3516899}"/>
          </ac:spMkLst>
        </pc:spChg>
        <pc:graphicFrameChg chg="mod">
          <ac:chgData name="Grace, Morgan (Brisbane)" userId="221d5f7b-4a46-4bd5-bdf1-698d3a91c208" providerId="ADAL" clId="{D90324C1-6CE4-4C28-B886-AED0B666B37F}" dt="2024-06-06T05:14:01.625" v="46207" actId="1076"/>
          <ac:graphicFrameMkLst>
            <pc:docMk/>
            <pc:sldMk cId="662374443" sldId="595"/>
            <ac:graphicFrameMk id="7" creationId="{4071BE07-4011-122D-8272-065BA94430DA}"/>
          </ac:graphicFrameMkLst>
        </pc:graphicFrameChg>
      </pc:sldChg>
      <pc:sldChg chg="delSp modSp del mod modNotes">
        <pc:chgData name="Grace, Morgan (Brisbane)" userId="221d5f7b-4a46-4bd5-bdf1-698d3a91c208" providerId="ADAL" clId="{D90324C1-6CE4-4C28-B886-AED0B666B37F}" dt="2024-06-24T03:37:22.345" v="127469" actId="2696"/>
        <pc:sldMkLst>
          <pc:docMk/>
          <pc:sldMk cId="3975042137" sldId="596"/>
        </pc:sldMkLst>
        <pc:spChg chg="mod">
          <ac:chgData name="Grace, Morgan (Brisbane)" userId="221d5f7b-4a46-4bd5-bdf1-698d3a91c208" providerId="ADAL" clId="{D90324C1-6CE4-4C28-B886-AED0B666B37F}" dt="2024-06-06T05:13:59.654" v="45313" actId="948"/>
          <ac:spMkLst>
            <pc:docMk/>
            <pc:sldMk cId="3975042137" sldId="596"/>
            <ac:spMk id="2" creationId="{C23142F8-EFE2-93EE-B160-B6461C322142}"/>
          </ac:spMkLst>
        </pc:spChg>
        <pc:spChg chg="del mod modVis">
          <ac:chgData name="Grace, Morgan (Brisbane)" userId="221d5f7b-4a46-4bd5-bdf1-698d3a91c208" providerId="ADAL" clId="{D90324C1-6CE4-4C28-B886-AED0B666B37F}" dt="2024-06-06T05:14:01.594" v="46196" actId="478"/>
          <ac:spMkLst>
            <pc:docMk/>
            <pc:sldMk cId="3975042137" sldId="596"/>
            <ac:spMk id="3" creationId="{27796954-5D60-0750-6BE7-FA4C6E0BFC7F}"/>
          </ac:spMkLst>
        </pc:spChg>
        <pc:spChg chg="mod">
          <ac:chgData name="Grace, Morgan (Brisbane)" userId="221d5f7b-4a46-4bd5-bdf1-698d3a91c208" providerId="ADAL" clId="{D90324C1-6CE4-4C28-B886-AED0B666B37F}" dt="2024-06-06T05:13:57.236" v="43703" actId="947"/>
          <ac:spMkLst>
            <pc:docMk/>
            <pc:sldMk cId="3975042137" sldId="596"/>
            <ac:spMk id="4" creationId="{CE9BF994-CA6B-31DC-154B-1535C1B7DB33}"/>
          </ac:spMkLst>
        </pc:spChg>
        <pc:spChg chg="mod">
          <ac:chgData name="Grace, Morgan (Brisbane)" userId="221d5f7b-4a46-4bd5-bdf1-698d3a91c208" providerId="ADAL" clId="{D90324C1-6CE4-4C28-B886-AED0B666B37F}" dt="2024-06-06T05:13:57.236" v="43705" actId="947"/>
          <ac:spMkLst>
            <pc:docMk/>
            <pc:sldMk cId="3975042137" sldId="596"/>
            <ac:spMk id="6" creationId="{FB9A1B96-4E19-C67E-3BCA-9585FF619448}"/>
          </ac:spMkLst>
        </pc:spChg>
        <pc:spChg chg="mod">
          <ac:chgData name="Grace, Morgan (Brisbane)" userId="221d5f7b-4a46-4bd5-bdf1-698d3a91c208" providerId="ADAL" clId="{D90324C1-6CE4-4C28-B886-AED0B666B37F}" dt="2024-06-06T05:13:57.236" v="43707" actId="947"/>
          <ac:spMkLst>
            <pc:docMk/>
            <pc:sldMk cId="3975042137" sldId="596"/>
            <ac:spMk id="150" creationId="{87F9A92E-3AAD-E23B-DF6F-573F0023EB0D}"/>
          </ac:spMkLst>
        </pc:spChg>
        <pc:spChg chg="mod">
          <ac:chgData name="Grace, Morgan (Brisbane)" userId="221d5f7b-4a46-4bd5-bdf1-698d3a91c208" providerId="ADAL" clId="{D90324C1-6CE4-4C28-B886-AED0B666B37F}" dt="2024-06-06T05:13:57.236" v="43709" actId="947"/>
          <ac:spMkLst>
            <pc:docMk/>
            <pc:sldMk cId="3975042137" sldId="596"/>
            <ac:spMk id="152" creationId="{AAE3337B-B73E-68C0-F8A0-811553B4F9BE}"/>
          </ac:spMkLst>
        </pc:spChg>
        <pc:graphicFrameChg chg="mod">
          <ac:chgData name="Grace, Morgan (Brisbane)" userId="221d5f7b-4a46-4bd5-bdf1-698d3a91c208" providerId="ADAL" clId="{D90324C1-6CE4-4C28-B886-AED0B666B37F}" dt="2024-06-06T05:14:01.594" v="46197" actId="1076"/>
          <ac:graphicFrameMkLst>
            <pc:docMk/>
            <pc:sldMk cId="3975042137" sldId="596"/>
            <ac:graphicFrameMk id="8" creationId="{F359CA99-A91D-A095-DC1A-B3AE418C67F8}"/>
          </ac:graphicFrameMkLst>
        </pc:graphicFrameChg>
      </pc:sldChg>
      <pc:sldChg chg="delSp modSp del mod modNotes">
        <pc:chgData name="Grace, Morgan (Brisbane)" userId="221d5f7b-4a46-4bd5-bdf1-698d3a91c208" providerId="ADAL" clId="{D90324C1-6CE4-4C28-B886-AED0B666B37F}" dt="2024-06-24T03:37:22.345" v="127469" actId="2696"/>
        <pc:sldMkLst>
          <pc:docMk/>
          <pc:sldMk cId="2229898762" sldId="597"/>
        </pc:sldMkLst>
        <pc:spChg chg="mod ord">
          <ac:chgData name="Grace, Morgan (Brisbane)" userId="221d5f7b-4a46-4bd5-bdf1-698d3a91c208" providerId="ADAL" clId="{D90324C1-6CE4-4C28-B886-AED0B666B37F}" dt="2024-06-06T05:14:00.262" v="45683"/>
          <ac:spMkLst>
            <pc:docMk/>
            <pc:sldMk cId="2229898762" sldId="597"/>
            <ac:spMk id="2" creationId="{8432C5B1-F60A-E87F-8F27-012610F76B94}"/>
          </ac:spMkLst>
        </pc:spChg>
        <pc:spChg chg="mod ord">
          <ac:chgData name="Grace, Morgan (Brisbane)" userId="221d5f7b-4a46-4bd5-bdf1-698d3a91c208" providerId="ADAL" clId="{D90324C1-6CE4-4C28-B886-AED0B666B37F}" dt="2024-06-06T05:14:00.262" v="45684"/>
          <ac:spMkLst>
            <pc:docMk/>
            <pc:sldMk cId="2229898762" sldId="597"/>
            <ac:spMk id="3" creationId="{6671F57B-8ABA-2EB3-A2BE-F693BC2A5F52}"/>
          </ac:spMkLst>
        </pc:spChg>
        <pc:spChg chg="mod ord">
          <ac:chgData name="Grace, Morgan (Brisbane)" userId="221d5f7b-4a46-4bd5-bdf1-698d3a91c208" providerId="ADAL" clId="{D90324C1-6CE4-4C28-B886-AED0B666B37F}" dt="2024-06-06T05:14:00.262" v="45685"/>
          <ac:spMkLst>
            <pc:docMk/>
            <pc:sldMk cId="2229898762" sldId="597"/>
            <ac:spMk id="4" creationId="{74EAF250-83EC-C79B-FC8D-EDFE4E01F124}"/>
          </ac:spMkLst>
        </pc:spChg>
        <pc:spChg chg="mod ord">
          <ac:chgData name="Grace, Morgan (Brisbane)" userId="221d5f7b-4a46-4bd5-bdf1-698d3a91c208" providerId="ADAL" clId="{D90324C1-6CE4-4C28-B886-AED0B666B37F}" dt="2024-06-06T05:14:00.262" v="45686"/>
          <ac:spMkLst>
            <pc:docMk/>
            <pc:sldMk cId="2229898762" sldId="597"/>
            <ac:spMk id="5" creationId="{371BA8BA-C311-F89F-7D0A-33080DE4834F}"/>
          </ac:spMkLst>
        </pc:spChg>
        <pc:spChg chg="mod ord">
          <ac:chgData name="Grace, Morgan (Brisbane)" userId="221d5f7b-4a46-4bd5-bdf1-698d3a91c208" providerId="ADAL" clId="{D90324C1-6CE4-4C28-B886-AED0B666B37F}" dt="2024-06-06T05:14:00.262" v="45687"/>
          <ac:spMkLst>
            <pc:docMk/>
            <pc:sldMk cId="2229898762" sldId="597"/>
            <ac:spMk id="6" creationId="{4FD21BEA-A62E-274F-99E4-DA422819261E}"/>
          </ac:spMkLst>
        </pc:spChg>
        <pc:spChg chg="mod ord">
          <ac:chgData name="Grace, Morgan (Brisbane)" userId="221d5f7b-4a46-4bd5-bdf1-698d3a91c208" providerId="ADAL" clId="{D90324C1-6CE4-4C28-B886-AED0B666B37F}" dt="2024-06-06T05:14:00.262" v="45688"/>
          <ac:spMkLst>
            <pc:docMk/>
            <pc:sldMk cId="2229898762" sldId="597"/>
            <ac:spMk id="7" creationId="{67530575-9B3F-8D9A-5BFB-C6EA0001D7A4}"/>
          </ac:spMkLst>
        </pc:spChg>
        <pc:spChg chg="del mod modVis">
          <ac:chgData name="Grace, Morgan (Brisbane)" userId="221d5f7b-4a46-4bd5-bdf1-698d3a91c208" providerId="ADAL" clId="{D90324C1-6CE4-4C28-B886-AED0B666B37F}" dt="2024-06-06T05:14:01.610" v="46205" actId="478"/>
          <ac:spMkLst>
            <pc:docMk/>
            <pc:sldMk cId="2229898762" sldId="597"/>
            <ac:spMk id="8" creationId="{7E02CF1A-F1D0-8D28-17D3-C2091C0A318C}"/>
          </ac:spMkLst>
        </pc:spChg>
        <pc:spChg chg="mod ord">
          <ac:chgData name="Grace, Morgan (Brisbane)" userId="221d5f7b-4a46-4bd5-bdf1-698d3a91c208" providerId="ADAL" clId="{D90324C1-6CE4-4C28-B886-AED0B666B37F}" dt="2024-06-06T05:14:00.262" v="45689"/>
          <ac:spMkLst>
            <pc:docMk/>
            <pc:sldMk cId="2229898762" sldId="597"/>
            <ac:spMk id="20" creationId="{A823B6A1-20D8-ED5B-BA45-72F9C93C16C1}"/>
          </ac:spMkLst>
        </pc:spChg>
        <pc:spChg chg="mod ord">
          <ac:chgData name="Grace, Morgan (Brisbane)" userId="221d5f7b-4a46-4bd5-bdf1-698d3a91c208" providerId="ADAL" clId="{D90324C1-6CE4-4C28-B886-AED0B666B37F}" dt="2024-06-06T05:14:00.262" v="45690"/>
          <ac:spMkLst>
            <pc:docMk/>
            <pc:sldMk cId="2229898762" sldId="597"/>
            <ac:spMk id="21" creationId="{10F019AF-86B3-D9CB-F32C-CFE9C6A7B6B5}"/>
          </ac:spMkLst>
        </pc:spChg>
        <pc:spChg chg="mod ord">
          <ac:chgData name="Grace, Morgan (Brisbane)" userId="221d5f7b-4a46-4bd5-bdf1-698d3a91c208" providerId="ADAL" clId="{D90324C1-6CE4-4C28-B886-AED0B666B37F}" dt="2024-06-06T05:14:00.277" v="45691"/>
          <ac:spMkLst>
            <pc:docMk/>
            <pc:sldMk cId="2229898762" sldId="597"/>
            <ac:spMk id="22" creationId="{C33FD65E-924C-BF56-E2B5-19982D351277}"/>
          </ac:spMkLst>
        </pc:spChg>
        <pc:spChg chg="mod ord">
          <ac:chgData name="Grace, Morgan (Brisbane)" userId="221d5f7b-4a46-4bd5-bdf1-698d3a91c208" providerId="ADAL" clId="{D90324C1-6CE4-4C28-B886-AED0B666B37F}" dt="2024-06-06T05:14:00.277" v="45693"/>
          <ac:spMkLst>
            <pc:docMk/>
            <pc:sldMk cId="2229898762" sldId="597"/>
            <ac:spMk id="27" creationId="{1B5C8E96-2934-D766-74A9-58DC56F307AD}"/>
          </ac:spMkLst>
        </pc:spChg>
        <pc:spChg chg="mod ord">
          <ac:chgData name="Grace, Morgan (Brisbane)" userId="221d5f7b-4a46-4bd5-bdf1-698d3a91c208" providerId="ADAL" clId="{D90324C1-6CE4-4C28-B886-AED0B666B37F}" dt="2024-06-06T05:14:00.277" v="45694"/>
          <ac:spMkLst>
            <pc:docMk/>
            <pc:sldMk cId="2229898762" sldId="597"/>
            <ac:spMk id="28" creationId="{AEF8D3C9-7EAB-37CA-5D2F-2FA6D74F9FF9}"/>
          </ac:spMkLst>
        </pc:spChg>
        <pc:spChg chg="mod ord">
          <ac:chgData name="Grace, Morgan (Brisbane)" userId="221d5f7b-4a46-4bd5-bdf1-698d3a91c208" providerId="ADAL" clId="{D90324C1-6CE4-4C28-B886-AED0B666B37F}" dt="2024-06-06T05:14:00.277" v="45695"/>
          <ac:spMkLst>
            <pc:docMk/>
            <pc:sldMk cId="2229898762" sldId="597"/>
            <ac:spMk id="29" creationId="{1E8303BE-6BA2-CCB3-425D-2D25B6B27CE5}"/>
          </ac:spMkLst>
        </pc:spChg>
        <pc:spChg chg="mod ord">
          <ac:chgData name="Grace, Morgan (Brisbane)" userId="221d5f7b-4a46-4bd5-bdf1-698d3a91c208" providerId="ADAL" clId="{D90324C1-6CE4-4C28-B886-AED0B666B37F}" dt="2024-06-06T05:14:00.277" v="45696"/>
          <ac:spMkLst>
            <pc:docMk/>
            <pc:sldMk cId="2229898762" sldId="597"/>
            <ac:spMk id="30" creationId="{2A92D863-F881-30D8-81B0-5F534D8CF254}"/>
          </ac:spMkLst>
        </pc:spChg>
        <pc:spChg chg="mod ord">
          <ac:chgData name="Grace, Morgan (Brisbane)" userId="221d5f7b-4a46-4bd5-bdf1-698d3a91c208" providerId="ADAL" clId="{D90324C1-6CE4-4C28-B886-AED0B666B37F}" dt="2024-06-06T05:14:00.277" v="45697"/>
          <ac:spMkLst>
            <pc:docMk/>
            <pc:sldMk cId="2229898762" sldId="597"/>
            <ac:spMk id="31" creationId="{D796267D-DBD8-A264-A391-DF1E25A6F9F5}"/>
          </ac:spMkLst>
        </pc:spChg>
        <pc:spChg chg="mod ord">
          <ac:chgData name="Grace, Morgan (Brisbane)" userId="221d5f7b-4a46-4bd5-bdf1-698d3a91c208" providerId="ADAL" clId="{D90324C1-6CE4-4C28-B886-AED0B666B37F}" dt="2024-06-06T05:14:00.277" v="45698"/>
          <ac:spMkLst>
            <pc:docMk/>
            <pc:sldMk cId="2229898762" sldId="597"/>
            <ac:spMk id="32" creationId="{7159FBA3-D515-C785-9A0E-4F55E776DAB2}"/>
          </ac:spMkLst>
        </pc:spChg>
        <pc:spChg chg="mod ord">
          <ac:chgData name="Grace, Morgan (Brisbane)" userId="221d5f7b-4a46-4bd5-bdf1-698d3a91c208" providerId="ADAL" clId="{D90324C1-6CE4-4C28-B886-AED0B666B37F}" dt="2024-06-06T05:14:00.277" v="45692"/>
          <ac:spMkLst>
            <pc:docMk/>
            <pc:sldMk cId="2229898762" sldId="597"/>
            <ac:spMk id="45" creationId="{87DF0065-1E85-3CAE-AFF2-1B24507DE8EE}"/>
          </ac:spMkLst>
        </pc:spChg>
        <pc:graphicFrameChg chg="mod replST">
          <ac:chgData name="Grace, Morgan (Brisbane)" userId="221d5f7b-4a46-4bd5-bdf1-698d3a91c208" providerId="ADAL" clId="{D90324C1-6CE4-4C28-B886-AED0B666B37F}" dt="2024-06-06T05:14:00.262" v="45682"/>
          <ac:graphicFrameMkLst>
            <pc:docMk/>
            <pc:sldMk cId="2229898762" sldId="597"/>
            <ac:graphicFrameMk id="23" creationId="{F9BD2CDD-4E4E-E4A9-3CAC-11AF8B0EE704}"/>
          </ac:graphicFrameMkLst>
        </pc:graphicFrameChg>
        <pc:graphicFrameChg chg="mod">
          <ac:chgData name="Grace, Morgan (Brisbane)" userId="221d5f7b-4a46-4bd5-bdf1-698d3a91c208" providerId="ADAL" clId="{D90324C1-6CE4-4C28-B886-AED0B666B37F}" dt="2024-06-06T05:14:01.625" v="46206" actId="1076"/>
          <ac:graphicFrameMkLst>
            <pc:docMk/>
            <pc:sldMk cId="2229898762" sldId="597"/>
            <ac:graphicFrameMk id="41" creationId="{6D278CF8-AD8E-A0F3-1761-56A994D83D93}"/>
          </ac:graphicFrameMkLst>
        </pc:graphicFrameChg>
        <pc:graphicFrameChg chg="del">
          <ac:chgData name="Grace, Morgan (Brisbane)" userId="221d5f7b-4a46-4bd5-bdf1-698d3a91c208" providerId="ADAL" clId="{D90324C1-6CE4-4C28-B886-AED0B666B37F}" dt="2024-06-06T05:14:00.240" v="45679" actId="478"/>
          <ac:graphicFrameMkLst>
            <pc:docMk/>
            <pc:sldMk cId="2229898762" sldId="597"/>
            <ac:graphicFrameMk id="46" creationId="{9A156424-C73A-EA4B-899A-CF8857D6213C}"/>
          </ac:graphicFrameMkLst>
        </pc:graphicFrameChg>
        <pc:picChg chg="mod ord">
          <ac:chgData name="Grace, Morgan (Brisbane)" userId="221d5f7b-4a46-4bd5-bdf1-698d3a91c208" providerId="ADAL" clId="{D90324C1-6CE4-4C28-B886-AED0B666B37F}" dt="2024-06-06T05:58:51.794" v="47740" actId="14100"/>
          <ac:picMkLst>
            <pc:docMk/>
            <pc:sldMk cId="2229898762" sldId="597"/>
            <ac:picMk id="47" creationId="{4B83ED63-BD91-44A4-76CA-3D54233D8664}"/>
          </ac:picMkLst>
        </pc:picChg>
      </pc:sldChg>
      <pc:sldChg chg="delSp modSp del mod modNotes">
        <pc:chgData name="Grace, Morgan (Brisbane)" userId="221d5f7b-4a46-4bd5-bdf1-698d3a91c208" providerId="ADAL" clId="{D90324C1-6CE4-4C28-B886-AED0B666B37F}" dt="2024-06-24T03:37:22.345" v="127469" actId="2696"/>
        <pc:sldMkLst>
          <pc:docMk/>
          <pc:sldMk cId="561439781" sldId="598"/>
        </pc:sldMkLst>
        <pc:spChg chg="mod">
          <ac:chgData name="Grace, Morgan (Brisbane)" userId="221d5f7b-4a46-4bd5-bdf1-698d3a91c208" providerId="ADAL" clId="{D90324C1-6CE4-4C28-B886-AED0B666B37F}" dt="2024-06-06T05:13:59.639" v="45294" actId="948"/>
          <ac:spMkLst>
            <pc:docMk/>
            <pc:sldMk cId="561439781" sldId="598"/>
            <ac:spMk id="2" creationId="{C23142F8-EFE2-93EE-B160-B6461C322142}"/>
          </ac:spMkLst>
        </pc:spChg>
        <pc:spChg chg="mod">
          <ac:chgData name="Grace, Morgan (Brisbane)" userId="221d5f7b-4a46-4bd5-bdf1-698d3a91c208" providerId="ADAL" clId="{D90324C1-6CE4-4C28-B886-AED0B666B37F}" dt="2024-06-06T05:13:57.213" v="43691" actId="947"/>
          <ac:spMkLst>
            <pc:docMk/>
            <pc:sldMk cId="561439781" sldId="598"/>
            <ac:spMk id="3" creationId="{684897C8-5EFA-1868-F653-9B08B2DD9A01}"/>
          </ac:spMkLst>
        </pc:spChg>
        <pc:spChg chg="del mod modVis">
          <ac:chgData name="Grace, Morgan (Brisbane)" userId="221d5f7b-4a46-4bd5-bdf1-698d3a91c208" providerId="ADAL" clId="{D90324C1-6CE4-4C28-B886-AED0B666B37F}" dt="2024-06-06T05:14:01.594" v="46194" actId="478"/>
          <ac:spMkLst>
            <pc:docMk/>
            <pc:sldMk cId="561439781" sldId="598"/>
            <ac:spMk id="4" creationId="{B8200AE3-DAEF-A40C-6690-1F89347DF119}"/>
          </ac:spMkLst>
        </pc:spChg>
        <pc:spChg chg="mod">
          <ac:chgData name="Grace, Morgan (Brisbane)" userId="221d5f7b-4a46-4bd5-bdf1-698d3a91c208" providerId="ADAL" clId="{D90324C1-6CE4-4C28-B886-AED0B666B37F}" dt="2024-06-06T05:13:57.213" v="43693" actId="947"/>
          <ac:spMkLst>
            <pc:docMk/>
            <pc:sldMk cId="561439781" sldId="598"/>
            <ac:spMk id="5" creationId="{EAEB734D-F5F6-B2BD-22CC-633294D3800E}"/>
          </ac:spMkLst>
        </pc:spChg>
        <pc:spChg chg="mod">
          <ac:chgData name="Grace, Morgan (Brisbane)" userId="221d5f7b-4a46-4bd5-bdf1-698d3a91c208" providerId="ADAL" clId="{D90324C1-6CE4-4C28-B886-AED0B666B37F}" dt="2024-06-06T05:13:57.229" v="43695" actId="947"/>
          <ac:spMkLst>
            <pc:docMk/>
            <pc:sldMk cId="561439781" sldId="598"/>
            <ac:spMk id="6" creationId="{FB9A1B96-4E19-C67E-3BCA-9585FF619448}"/>
          </ac:spMkLst>
        </pc:spChg>
        <pc:spChg chg="mod">
          <ac:chgData name="Grace, Morgan (Brisbane)" userId="221d5f7b-4a46-4bd5-bdf1-698d3a91c208" providerId="ADAL" clId="{D90324C1-6CE4-4C28-B886-AED0B666B37F}" dt="2024-06-06T05:13:57.229" v="43697" actId="947"/>
          <ac:spMkLst>
            <pc:docMk/>
            <pc:sldMk cId="561439781" sldId="598"/>
            <ac:spMk id="7" creationId="{71E90734-96F2-3670-B2C1-E6D1B976C8E7}"/>
          </ac:spMkLst>
        </pc:spChg>
        <pc:spChg chg="mod">
          <ac:chgData name="Grace, Morgan (Brisbane)" userId="221d5f7b-4a46-4bd5-bdf1-698d3a91c208" providerId="ADAL" clId="{D90324C1-6CE4-4C28-B886-AED0B666B37F}" dt="2024-06-06T05:13:57.229" v="43699" actId="947"/>
          <ac:spMkLst>
            <pc:docMk/>
            <pc:sldMk cId="561439781" sldId="598"/>
            <ac:spMk id="10" creationId="{D1339CC7-9524-BA56-D32D-BB473ADA58D9}"/>
          </ac:spMkLst>
        </pc:spChg>
        <pc:graphicFrameChg chg="mod">
          <ac:chgData name="Grace, Morgan (Brisbane)" userId="221d5f7b-4a46-4bd5-bdf1-698d3a91c208" providerId="ADAL" clId="{D90324C1-6CE4-4C28-B886-AED0B666B37F}" dt="2024-06-06T05:14:01.594" v="46195" actId="1076"/>
          <ac:graphicFrameMkLst>
            <pc:docMk/>
            <pc:sldMk cId="561439781" sldId="598"/>
            <ac:graphicFrameMk id="8" creationId="{F359CA99-A91D-A095-DC1A-B3AE418C67F8}"/>
          </ac:graphicFrameMkLst>
        </pc:graphicFrameChg>
      </pc:sldChg>
      <pc:sldChg chg="modSp del mod modNotes">
        <pc:chgData name="Grace, Morgan (Brisbane)" userId="221d5f7b-4a46-4bd5-bdf1-698d3a91c208" providerId="ADAL" clId="{D90324C1-6CE4-4C28-B886-AED0B666B37F}" dt="2024-06-24T03:37:22.345" v="127469" actId="2696"/>
        <pc:sldMkLst>
          <pc:docMk/>
          <pc:sldMk cId="933722312" sldId="599"/>
        </pc:sldMkLst>
        <pc:spChg chg="mod">
          <ac:chgData name="Grace, Morgan (Brisbane)" userId="221d5f7b-4a46-4bd5-bdf1-698d3a91c208" providerId="ADAL" clId="{D90324C1-6CE4-4C28-B886-AED0B666B37F}" dt="2024-06-06T05:13:57.251" v="43711" actId="947"/>
          <ac:spMkLst>
            <pc:docMk/>
            <pc:sldMk cId="933722312" sldId="599"/>
            <ac:spMk id="2" creationId="{01ED8697-E72B-C668-DF46-A6CE0267518A}"/>
          </ac:spMkLst>
        </pc:spChg>
        <pc:spChg chg="mod">
          <ac:chgData name="Grace, Morgan (Brisbane)" userId="221d5f7b-4a46-4bd5-bdf1-698d3a91c208" providerId="ADAL" clId="{D90324C1-6CE4-4C28-B886-AED0B666B37F}" dt="2024-06-06T05:13:57.251" v="43713" actId="947"/>
          <ac:spMkLst>
            <pc:docMk/>
            <pc:sldMk cId="933722312" sldId="599"/>
            <ac:spMk id="3" creationId="{71DE3285-AB4D-05BC-0720-7A1A4A31B169}"/>
          </ac:spMkLst>
        </pc:spChg>
        <pc:spChg chg="mod">
          <ac:chgData name="Grace, Morgan (Brisbane)" userId="221d5f7b-4a46-4bd5-bdf1-698d3a91c208" providerId="ADAL" clId="{D90324C1-6CE4-4C28-B886-AED0B666B37F}" dt="2024-06-06T05:13:57.251" v="43715" actId="947"/>
          <ac:spMkLst>
            <pc:docMk/>
            <pc:sldMk cId="933722312" sldId="599"/>
            <ac:spMk id="4" creationId="{B4A11793-2328-E5FB-682D-9C7B85D516AB}"/>
          </ac:spMkLst>
        </pc:spChg>
        <pc:spChg chg="mod">
          <ac:chgData name="Grace, Morgan (Brisbane)" userId="221d5f7b-4a46-4bd5-bdf1-698d3a91c208" providerId="ADAL" clId="{D90324C1-6CE4-4C28-B886-AED0B666B37F}" dt="2024-06-06T05:13:57.251" v="43717" actId="947"/>
          <ac:spMkLst>
            <pc:docMk/>
            <pc:sldMk cId="933722312" sldId="599"/>
            <ac:spMk id="5" creationId="{C9445199-DACC-FD82-9B4D-62C084636DC0}"/>
          </ac:spMkLst>
        </pc:spChg>
        <pc:spChg chg="mod">
          <ac:chgData name="Grace, Morgan (Brisbane)" userId="221d5f7b-4a46-4bd5-bdf1-698d3a91c208" providerId="ADAL" clId="{D90324C1-6CE4-4C28-B886-AED0B666B37F}" dt="2024-06-06T05:13:57.251" v="43719" actId="947"/>
          <ac:spMkLst>
            <pc:docMk/>
            <pc:sldMk cId="933722312" sldId="599"/>
            <ac:spMk id="6" creationId="{FFE41853-ACF5-48B9-158A-FF9BDDB00120}"/>
          </ac:spMkLst>
        </pc:spChg>
        <pc:spChg chg="mod">
          <ac:chgData name="Grace, Morgan (Brisbane)" userId="221d5f7b-4a46-4bd5-bdf1-698d3a91c208" providerId="ADAL" clId="{D90324C1-6CE4-4C28-B886-AED0B666B37F}" dt="2024-06-06T05:13:57.251" v="43721" actId="947"/>
          <ac:spMkLst>
            <pc:docMk/>
            <pc:sldMk cId="933722312" sldId="599"/>
            <ac:spMk id="7" creationId="{C9DB69B6-7837-FFBD-CABE-D07D71D7A47D}"/>
          </ac:spMkLst>
        </pc:spChg>
        <pc:graphicFrameChg chg="mod ord modVis replST">
          <ac:chgData name="Grace, Morgan (Brisbane)" userId="221d5f7b-4a46-4bd5-bdf1-698d3a91c208" providerId="ADAL" clId="{D90324C1-6CE4-4C28-B886-AED0B666B37F}" dt="2024-06-06T05:14:01.610" v="46204"/>
          <ac:graphicFrameMkLst>
            <pc:docMk/>
            <pc:sldMk cId="933722312" sldId="599"/>
            <ac:graphicFrameMk id="8" creationId="{C4C4CB01-CA7C-0271-75CD-2BAE1A58E824}"/>
          </ac:graphicFrameMkLst>
        </pc:graphicFrameChg>
      </pc:sldChg>
      <pc:sldChg chg="addSp delSp modSp mod modClrScheme chgLayout modNotes modNotesTx">
        <pc:chgData name="Grace, Morgan (Brisbane)" userId="221d5f7b-4a46-4bd5-bdf1-698d3a91c208" providerId="ADAL" clId="{D90324C1-6CE4-4C28-B886-AED0B666B37F}" dt="2024-06-25T01:16:03.575" v="128057" actId="6549"/>
        <pc:sldMkLst>
          <pc:docMk/>
          <pc:sldMk cId="3270237152" sldId="600"/>
        </pc:sldMkLst>
        <pc:spChg chg="mod ord">
          <ac:chgData name="Grace, Morgan (Brisbane)" userId="221d5f7b-4a46-4bd5-bdf1-698d3a91c208" providerId="ADAL" clId="{D90324C1-6CE4-4C28-B886-AED0B666B37F}" dt="2024-06-21T01:52:30.904" v="125697"/>
          <ac:spMkLst>
            <pc:docMk/>
            <pc:sldMk cId="3270237152" sldId="600"/>
            <ac:spMk id="2" creationId="{C1E0C783-C1A7-4C16-8161-C0B0A65BA529}"/>
          </ac:spMkLst>
        </pc:spChg>
        <pc:spChg chg="mod ord">
          <ac:chgData name="Grace, Morgan (Brisbane)" userId="221d5f7b-4a46-4bd5-bdf1-698d3a91c208" providerId="ADAL" clId="{D90324C1-6CE4-4C28-B886-AED0B666B37F}" dt="2024-06-21T01:52:30.904" v="125697"/>
          <ac:spMkLst>
            <pc:docMk/>
            <pc:sldMk cId="3270237152" sldId="600"/>
            <ac:spMk id="3" creationId="{1A3BA682-1A11-452A-ACA1-03662AF854B9}"/>
          </ac:spMkLst>
        </pc:spChg>
        <pc:spChg chg="mod ord">
          <ac:chgData name="Grace, Morgan (Brisbane)" userId="221d5f7b-4a46-4bd5-bdf1-698d3a91c208" providerId="ADAL" clId="{D90324C1-6CE4-4C28-B886-AED0B666B37F}" dt="2024-06-21T01:52:30.904" v="125697"/>
          <ac:spMkLst>
            <pc:docMk/>
            <pc:sldMk cId="3270237152" sldId="600"/>
            <ac:spMk id="4" creationId="{52A6BA5E-4D24-4550-B96C-1B272D6DCEEF}"/>
          </ac:spMkLst>
        </pc:spChg>
        <pc:spChg chg="add del mod modVis">
          <ac:chgData name="Grace, Morgan (Brisbane)" userId="221d5f7b-4a46-4bd5-bdf1-698d3a91c208" providerId="ADAL" clId="{D90324C1-6CE4-4C28-B886-AED0B666B37F}" dt="2024-06-21T01:52:15.717" v="125575" actId="962"/>
          <ac:spMkLst>
            <pc:docMk/>
            <pc:sldMk cId="3270237152" sldId="600"/>
            <ac:spMk id="7" creationId="{2C262E08-3BA1-3D3E-D655-ABCC1D40CABA}"/>
          </ac:spMkLst>
        </pc:spChg>
        <pc:spChg chg="add del mod replST">
          <ac:chgData name="Grace, Morgan (Brisbane)" userId="221d5f7b-4a46-4bd5-bdf1-698d3a91c208" providerId="ADAL" clId="{D90324C1-6CE4-4C28-B886-AED0B666B37F}" dt="2024-06-05T01:24:06.367" v="4940"/>
          <ac:spMkLst>
            <pc:docMk/>
            <pc:sldMk cId="3270237152" sldId="600"/>
            <ac:spMk id="7" creationId="{362BB977-F7A6-4FAD-D03C-858167DE9B2C}"/>
          </ac:spMkLst>
        </pc:spChg>
        <pc:spChg chg="del mod modVis">
          <ac:chgData name="Grace, Morgan (Brisbane)" userId="221d5f7b-4a46-4bd5-bdf1-698d3a91c208" providerId="ADAL" clId="{D90324C1-6CE4-4C28-B886-AED0B666B37F}" dt="2024-06-06T05:14:01.546" v="46179" actId="478"/>
          <ac:spMkLst>
            <pc:docMk/>
            <pc:sldMk cId="3270237152" sldId="600"/>
            <ac:spMk id="7" creationId="{E974547C-C19A-6841-D5FD-214D728EEE1A}"/>
          </ac:spMkLst>
        </pc:spChg>
        <pc:spChg chg="add del mod replST">
          <ac:chgData name="Grace, Morgan (Brisbane)" userId="221d5f7b-4a46-4bd5-bdf1-698d3a91c208" providerId="ADAL" clId="{D90324C1-6CE4-4C28-B886-AED0B666B37F}" dt="2024-06-05T01:24:06.367" v="4939"/>
          <ac:spMkLst>
            <pc:docMk/>
            <pc:sldMk cId="3270237152" sldId="600"/>
            <ac:spMk id="8" creationId="{895298AA-09B2-917A-D7A0-270B41083615}"/>
          </ac:spMkLst>
        </pc:spChg>
        <pc:spChg chg="add mod ord">
          <ac:chgData name="Grace, Morgan (Brisbane)" userId="221d5f7b-4a46-4bd5-bdf1-698d3a91c208" providerId="ADAL" clId="{D90324C1-6CE4-4C28-B886-AED0B666B37F}" dt="2024-06-21T01:45:29.157" v="125515" actId="208"/>
          <ac:spMkLst>
            <pc:docMk/>
            <pc:sldMk cId="3270237152" sldId="600"/>
            <ac:spMk id="8" creationId="{ACCFA501-D728-02C4-942F-A8BFA987871E}"/>
          </ac:spMkLst>
        </pc:spChg>
        <pc:spChg chg="add del mod ord">
          <ac:chgData name="Grace, Morgan (Brisbane)" userId="221d5f7b-4a46-4bd5-bdf1-698d3a91c208" providerId="ADAL" clId="{D90324C1-6CE4-4C28-B886-AED0B666B37F}" dt="2024-06-21T01:52:29.001" v="125638"/>
          <ac:spMkLst>
            <pc:docMk/>
            <pc:sldMk cId="3270237152" sldId="600"/>
            <ac:spMk id="9" creationId="{63734D2A-5D75-7434-7C05-94645FD563B6}"/>
          </ac:spMkLst>
        </pc:spChg>
        <pc:spChg chg="add del mod replST">
          <ac:chgData name="Grace, Morgan (Brisbane)" userId="221d5f7b-4a46-4bd5-bdf1-698d3a91c208" providerId="ADAL" clId="{D90324C1-6CE4-4C28-B886-AED0B666B37F}" dt="2024-06-05T01:24:06.367" v="4938"/>
          <ac:spMkLst>
            <pc:docMk/>
            <pc:sldMk cId="3270237152" sldId="600"/>
            <ac:spMk id="9" creationId="{B840A2AF-E4C6-491E-4A8A-1419E64E47F2}"/>
          </ac:spMkLst>
        </pc:spChg>
        <pc:spChg chg="add del mod modVis">
          <ac:chgData name="Grace, Morgan (Brisbane)" userId="221d5f7b-4a46-4bd5-bdf1-698d3a91c208" providerId="ADAL" clId="{D90324C1-6CE4-4C28-B886-AED0B666B37F}" dt="2024-06-06T05:31:21.334" v="46972"/>
          <ac:spMkLst>
            <pc:docMk/>
            <pc:sldMk cId="3270237152" sldId="600"/>
            <ac:spMk id="9" creationId="{FFDD1813-09D5-28E6-8741-69AFA60E2CA1}"/>
          </ac:spMkLst>
        </pc:spChg>
        <pc:spChg chg="mod ord">
          <ac:chgData name="Grace, Morgan (Brisbane)" userId="221d5f7b-4a46-4bd5-bdf1-698d3a91c208" providerId="ADAL" clId="{D90324C1-6CE4-4C28-B886-AED0B666B37F}" dt="2024-06-21T01:52:30.904" v="125697"/>
          <ac:spMkLst>
            <pc:docMk/>
            <pc:sldMk cId="3270237152" sldId="600"/>
            <ac:spMk id="10" creationId="{894A4056-DBC9-4E7D-81C3-E61D596AC1C4}"/>
          </ac:spMkLst>
        </pc:spChg>
        <pc:spChg chg="add del mod replST">
          <ac:chgData name="Grace, Morgan (Brisbane)" userId="221d5f7b-4a46-4bd5-bdf1-698d3a91c208" providerId="ADAL" clId="{D90324C1-6CE4-4C28-B886-AED0B666B37F}" dt="2024-06-05T01:24:06.367" v="4937"/>
          <ac:spMkLst>
            <pc:docMk/>
            <pc:sldMk cId="3270237152" sldId="600"/>
            <ac:spMk id="11" creationId="{1706944E-9E4F-743A-CDB6-48EA0D9D83C9}"/>
          </ac:spMkLst>
        </pc:spChg>
        <pc:spChg chg="add del mod replST">
          <ac:chgData name="Grace, Morgan (Brisbane)" userId="221d5f7b-4a46-4bd5-bdf1-698d3a91c208" providerId="ADAL" clId="{D90324C1-6CE4-4C28-B886-AED0B666B37F}" dt="2024-06-05T01:24:06.366" v="4936"/>
          <ac:spMkLst>
            <pc:docMk/>
            <pc:sldMk cId="3270237152" sldId="600"/>
            <ac:spMk id="12" creationId="{A6907C9F-993B-B317-A718-92585028CA72}"/>
          </ac:spMkLst>
        </pc:spChg>
        <pc:spChg chg="add del mod ord">
          <ac:chgData name="Grace, Morgan (Brisbane)" userId="221d5f7b-4a46-4bd5-bdf1-698d3a91c208" providerId="ADAL" clId="{D90324C1-6CE4-4C28-B886-AED0B666B37F}" dt="2024-06-21T01:52:29.001" v="125638"/>
          <ac:spMkLst>
            <pc:docMk/>
            <pc:sldMk cId="3270237152" sldId="600"/>
            <ac:spMk id="12" creationId="{C902BBDD-8A70-7574-DC8E-71CC1D9952C8}"/>
          </ac:spMkLst>
        </pc:spChg>
        <pc:spChg chg="add del mod ord">
          <ac:chgData name="Grace, Morgan (Brisbane)" userId="221d5f7b-4a46-4bd5-bdf1-698d3a91c208" providerId="ADAL" clId="{D90324C1-6CE4-4C28-B886-AED0B666B37F}" dt="2024-06-21T01:52:29.001" v="125638"/>
          <ac:spMkLst>
            <pc:docMk/>
            <pc:sldMk cId="3270237152" sldId="600"/>
            <ac:spMk id="13" creationId="{32487278-64A3-AB10-5C46-E3CA2F38E3D3}"/>
          </ac:spMkLst>
        </pc:spChg>
        <pc:spChg chg="add del mod replST">
          <ac:chgData name="Grace, Morgan (Brisbane)" userId="221d5f7b-4a46-4bd5-bdf1-698d3a91c208" providerId="ADAL" clId="{D90324C1-6CE4-4C28-B886-AED0B666B37F}" dt="2024-06-05T01:24:06.366" v="4935"/>
          <ac:spMkLst>
            <pc:docMk/>
            <pc:sldMk cId="3270237152" sldId="600"/>
            <ac:spMk id="13" creationId="{94C30DEC-C065-D37F-E054-296637302E60}"/>
          </ac:spMkLst>
        </pc:spChg>
        <pc:spChg chg="add del mod replST">
          <ac:chgData name="Grace, Morgan (Brisbane)" userId="221d5f7b-4a46-4bd5-bdf1-698d3a91c208" providerId="ADAL" clId="{D90324C1-6CE4-4C28-B886-AED0B666B37F}" dt="2024-06-05T01:24:06.365" v="4932"/>
          <ac:spMkLst>
            <pc:docMk/>
            <pc:sldMk cId="3270237152" sldId="600"/>
            <ac:spMk id="14" creationId="{355B92E7-3FD0-178F-FB72-F730EC8E5606}"/>
          </ac:spMkLst>
        </pc:spChg>
        <pc:spChg chg="add del mod ord">
          <ac:chgData name="Grace, Morgan (Brisbane)" userId="221d5f7b-4a46-4bd5-bdf1-698d3a91c208" providerId="ADAL" clId="{D90324C1-6CE4-4C28-B886-AED0B666B37F}" dt="2024-06-21T01:52:29.001" v="125638"/>
          <ac:spMkLst>
            <pc:docMk/>
            <pc:sldMk cId="3270237152" sldId="600"/>
            <ac:spMk id="14" creationId="{57F33D86-93E6-A817-C5AB-D61F6032D1DB}"/>
          </ac:spMkLst>
        </pc:spChg>
        <pc:spChg chg="add del mod modVis">
          <ac:chgData name="Grace, Morgan (Brisbane)" userId="221d5f7b-4a46-4bd5-bdf1-698d3a91c208" providerId="ADAL" clId="{D90324C1-6CE4-4C28-B886-AED0B666B37F}" dt="2024-06-21T01:52:27.256" v="125630" actId="962"/>
          <ac:spMkLst>
            <pc:docMk/>
            <pc:sldMk cId="3270237152" sldId="600"/>
            <ac:spMk id="15" creationId="{7E5C86C4-B9C7-01BE-441E-1CB082B27362}"/>
          </ac:spMkLst>
        </pc:spChg>
        <pc:spChg chg="add del mod replST">
          <ac:chgData name="Grace, Morgan (Brisbane)" userId="221d5f7b-4a46-4bd5-bdf1-698d3a91c208" providerId="ADAL" clId="{D90324C1-6CE4-4C28-B886-AED0B666B37F}" dt="2024-06-05T01:24:06.365" v="4929"/>
          <ac:spMkLst>
            <pc:docMk/>
            <pc:sldMk cId="3270237152" sldId="600"/>
            <ac:spMk id="15" creationId="{D5715B94-8755-33BD-3160-A4D0164559FE}"/>
          </ac:spMkLst>
        </pc:spChg>
        <pc:spChg chg="add del mod replST">
          <ac:chgData name="Grace, Morgan (Brisbane)" userId="221d5f7b-4a46-4bd5-bdf1-698d3a91c208" providerId="ADAL" clId="{D90324C1-6CE4-4C28-B886-AED0B666B37F}" dt="2024-06-05T01:24:06.362" v="4919"/>
          <ac:spMkLst>
            <pc:docMk/>
            <pc:sldMk cId="3270237152" sldId="600"/>
            <ac:spMk id="16" creationId="{23DC6916-C616-C18C-8D77-2C2FAC1065D3}"/>
          </ac:spMkLst>
        </pc:spChg>
        <pc:spChg chg="add del mod modVis">
          <ac:chgData name="Grace, Morgan (Brisbane)" userId="221d5f7b-4a46-4bd5-bdf1-698d3a91c208" providerId="ADAL" clId="{D90324C1-6CE4-4C28-B886-AED0B666B37F}" dt="2024-06-21T01:52:29.802" v="125690"/>
          <ac:spMkLst>
            <pc:docMk/>
            <pc:sldMk cId="3270237152" sldId="600"/>
            <ac:spMk id="16" creationId="{E7A737DD-C04A-F38E-B415-1A52C664BBFD}"/>
          </ac:spMkLst>
        </pc:spChg>
        <pc:spChg chg="add del mod replST">
          <ac:chgData name="Grace, Morgan (Brisbane)" userId="221d5f7b-4a46-4bd5-bdf1-698d3a91c208" providerId="ADAL" clId="{D90324C1-6CE4-4C28-B886-AED0B666B37F}" dt="2024-06-05T01:24:06.362" v="4918"/>
          <ac:spMkLst>
            <pc:docMk/>
            <pc:sldMk cId="3270237152" sldId="600"/>
            <ac:spMk id="17" creationId="{8D78CC24-9013-E7AA-9FB7-58F291870C5A}"/>
          </ac:spMkLst>
        </pc:spChg>
        <pc:spChg chg="add del mod replST">
          <ac:chgData name="Grace, Morgan (Brisbane)" userId="221d5f7b-4a46-4bd5-bdf1-698d3a91c208" providerId="ADAL" clId="{D90324C1-6CE4-4C28-B886-AED0B666B37F}" dt="2024-06-05T01:24:06.362" v="4917"/>
          <ac:spMkLst>
            <pc:docMk/>
            <pc:sldMk cId="3270237152" sldId="600"/>
            <ac:spMk id="18" creationId="{0DEA0762-515F-1CFE-DD24-C03843EDD466}"/>
          </ac:spMkLst>
        </pc:spChg>
        <pc:spChg chg="add del mod ord replST">
          <ac:chgData name="Grace, Morgan (Brisbane)" userId="221d5f7b-4a46-4bd5-bdf1-698d3a91c208" providerId="ADAL" clId="{D90324C1-6CE4-4C28-B886-AED0B666B37F}" dt="2024-06-05T01:24:06.366" v="4934"/>
          <ac:spMkLst>
            <pc:docMk/>
            <pc:sldMk cId="3270237152" sldId="600"/>
            <ac:spMk id="19" creationId="{B8AD8049-6B21-A30D-1E1C-CB138FD8C7B6}"/>
          </ac:spMkLst>
        </pc:spChg>
        <pc:spChg chg="add del mod ord replST">
          <ac:chgData name="Grace, Morgan (Brisbane)" userId="221d5f7b-4a46-4bd5-bdf1-698d3a91c208" providerId="ADAL" clId="{D90324C1-6CE4-4C28-B886-AED0B666B37F}" dt="2024-06-05T01:24:06.365" v="4931"/>
          <ac:spMkLst>
            <pc:docMk/>
            <pc:sldMk cId="3270237152" sldId="600"/>
            <ac:spMk id="20" creationId="{9A980017-3130-2AC1-5061-CC5AA1DECB85}"/>
          </ac:spMkLst>
        </pc:spChg>
        <pc:spChg chg="add del mod ord replST">
          <ac:chgData name="Grace, Morgan (Brisbane)" userId="221d5f7b-4a46-4bd5-bdf1-698d3a91c208" providerId="ADAL" clId="{D90324C1-6CE4-4C28-B886-AED0B666B37F}" dt="2024-06-05T01:24:06.364" v="4928"/>
          <ac:spMkLst>
            <pc:docMk/>
            <pc:sldMk cId="3270237152" sldId="600"/>
            <ac:spMk id="21" creationId="{25ACD5A6-7129-358E-DD04-51D9B3BDD491}"/>
          </ac:spMkLst>
        </pc:spChg>
        <pc:spChg chg="add del mod ord replST">
          <ac:chgData name="Grace, Morgan (Brisbane)" userId="221d5f7b-4a46-4bd5-bdf1-698d3a91c208" providerId="ADAL" clId="{D90324C1-6CE4-4C28-B886-AED0B666B37F}" dt="2024-06-04T23:54:08.255" v="1193"/>
          <ac:spMkLst>
            <pc:docMk/>
            <pc:sldMk cId="3270237152" sldId="600"/>
            <ac:spMk id="22" creationId="{F2B38630-2454-6CBD-7C56-CC4AD5696B8F}"/>
          </ac:spMkLst>
        </pc:spChg>
        <pc:spChg chg="add del mod ord replST">
          <ac:chgData name="Grace, Morgan (Brisbane)" userId="221d5f7b-4a46-4bd5-bdf1-698d3a91c208" providerId="ADAL" clId="{D90324C1-6CE4-4C28-B886-AED0B666B37F}" dt="2024-06-05T01:24:06.360" v="4915"/>
          <ac:spMkLst>
            <pc:docMk/>
            <pc:sldMk cId="3270237152" sldId="600"/>
            <ac:spMk id="23" creationId="{2ECE74A7-A0E1-542F-B580-7102655C8900}"/>
          </ac:spMkLst>
        </pc:spChg>
        <pc:spChg chg="add del mod ord replST">
          <ac:chgData name="Grace, Morgan (Brisbane)" userId="221d5f7b-4a46-4bd5-bdf1-698d3a91c208" providerId="ADAL" clId="{D90324C1-6CE4-4C28-B886-AED0B666B37F}" dt="2024-06-05T01:24:06.360" v="4912"/>
          <ac:spMkLst>
            <pc:docMk/>
            <pc:sldMk cId="3270237152" sldId="600"/>
            <ac:spMk id="24" creationId="{5E399A20-5296-AAF4-3B61-931988909B9F}"/>
          </ac:spMkLst>
        </pc:spChg>
        <pc:spChg chg="add del mod ord replST">
          <ac:chgData name="Grace, Morgan (Brisbane)" userId="221d5f7b-4a46-4bd5-bdf1-698d3a91c208" providerId="ADAL" clId="{D90324C1-6CE4-4C28-B886-AED0B666B37F}" dt="2024-06-05T01:24:06.358" v="4909"/>
          <ac:spMkLst>
            <pc:docMk/>
            <pc:sldMk cId="3270237152" sldId="600"/>
            <ac:spMk id="25" creationId="{EC138FF6-6AC5-0B8A-B22F-F43DD990FE4F}"/>
          </ac:spMkLst>
        </pc:spChg>
        <pc:spChg chg="add del mod ord replST">
          <ac:chgData name="Grace, Morgan (Brisbane)" userId="221d5f7b-4a46-4bd5-bdf1-698d3a91c208" providerId="ADAL" clId="{D90324C1-6CE4-4C28-B886-AED0B666B37F}" dt="2024-06-05T01:24:06.357" v="4906"/>
          <ac:spMkLst>
            <pc:docMk/>
            <pc:sldMk cId="3270237152" sldId="600"/>
            <ac:spMk id="26" creationId="{27450965-2629-986E-E626-01FE1B44EB23}"/>
          </ac:spMkLst>
        </pc:spChg>
        <pc:spChg chg="add del mod ord replST">
          <ac:chgData name="Grace, Morgan (Brisbane)" userId="221d5f7b-4a46-4bd5-bdf1-698d3a91c208" providerId="ADAL" clId="{D90324C1-6CE4-4C28-B886-AED0B666B37F}" dt="2024-06-05T01:24:06.355" v="4903"/>
          <ac:spMkLst>
            <pc:docMk/>
            <pc:sldMk cId="3270237152" sldId="600"/>
            <ac:spMk id="27" creationId="{5B801BE6-5D05-4AEA-1C85-2763F27026C8}"/>
          </ac:spMkLst>
        </pc:spChg>
        <pc:spChg chg="add del mod ord replST">
          <ac:chgData name="Grace, Morgan (Brisbane)" userId="221d5f7b-4a46-4bd5-bdf1-698d3a91c208" providerId="ADAL" clId="{D90324C1-6CE4-4C28-B886-AED0B666B37F}" dt="2024-06-05T01:24:06.351" v="4900"/>
          <ac:spMkLst>
            <pc:docMk/>
            <pc:sldMk cId="3270237152" sldId="600"/>
            <ac:spMk id="28" creationId="{66793EE1-F44C-E501-CB9B-1306D1FF21A1}"/>
          </ac:spMkLst>
        </pc:spChg>
        <pc:spChg chg="add del mod replST">
          <ac:chgData name="Grace, Morgan (Brisbane)" userId="221d5f7b-4a46-4bd5-bdf1-698d3a91c208" providerId="ADAL" clId="{D90324C1-6CE4-4C28-B886-AED0B666B37F}" dt="2024-06-05T01:24:06.361" v="4916"/>
          <ac:spMkLst>
            <pc:docMk/>
            <pc:sldMk cId="3270237152" sldId="600"/>
            <ac:spMk id="29" creationId="{A8950623-7C6A-DFB6-E5D5-AF2DDC21B293}"/>
          </ac:spMkLst>
        </pc:spChg>
        <pc:spChg chg="add del mod replST">
          <ac:chgData name="Grace, Morgan (Brisbane)" userId="221d5f7b-4a46-4bd5-bdf1-698d3a91c208" providerId="ADAL" clId="{D90324C1-6CE4-4C28-B886-AED0B666B37F}" dt="2024-06-05T01:24:06.360" v="4913"/>
          <ac:spMkLst>
            <pc:docMk/>
            <pc:sldMk cId="3270237152" sldId="600"/>
            <ac:spMk id="30" creationId="{077749F2-011D-810E-AABA-E29C3DF8F2F6}"/>
          </ac:spMkLst>
        </pc:spChg>
        <pc:spChg chg="add del mod replST">
          <ac:chgData name="Grace, Morgan (Brisbane)" userId="221d5f7b-4a46-4bd5-bdf1-698d3a91c208" providerId="ADAL" clId="{D90324C1-6CE4-4C28-B886-AED0B666B37F}" dt="2024-06-05T01:24:06.359" v="4910"/>
          <ac:spMkLst>
            <pc:docMk/>
            <pc:sldMk cId="3270237152" sldId="600"/>
            <ac:spMk id="31" creationId="{600D49AB-8AD5-70D0-9EDE-032CEBF05741}"/>
          </ac:spMkLst>
        </pc:spChg>
        <pc:spChg chg="add del mod replST">
          <ac:chgData name="Grace, Morgan (Brisbane)" userId="221d5f7b-4a46-4bd5-bdf1-698d3a91c208" providerId="ADAL" clId="{D90324C1-6CE4-4C28-B886-AED0B666B37F}" dt="2024-06-05T01:24:06.357" v="4907"/>
          <ac:spMkLst>
            <pc:docMk/>
            <pc:sldMk cId="3270237152" sldId="600"/>
            <ac:spMk id="32" creationId="{FF6704A4-C853-93A2-FD83-7125AB6F3FCE}"/>
          </ac:spMkLst>
        </pc:spChg>
        <pc:spChg chg="add del mod replST">
          <ac:chgData name="Grace, Morgan (Brisbane)" userId="221d5f7b-4a46-4bd5-bdf1-698d3a91c208" providerId="ADAL" clId="{D90324C1-6CE4-4C28-B886-AED0B666B37F}" dt="2024-06-05T01:24:06.356" v="4904"/>
          <ac:spMkLst>
            <pc:docMk/>
            <pc:sldMk cId="3270237152" sldId="600"/>
            <ac:spMk id="33" creationId="{9AE2CAE7-C643-4763-0833-1D0C4014C3EE}"/>
          </ac:spMkLst>
        </pc:spChg>
        <pc:spChg chg="add del mod replST">
          <ac:chgData name="Grace, Morgan (Brisbane)" userId="221d5f7b-4a46-4bd5-bdf1-698d3a91c208" providerId="ADAL" clId="{D90324C1-6CE4-4C28-B886-AED0B666B37F}" dt="2024-06-05T01:24:06.353" v="4901"/>
          <ac:spMkLst>
            <pc:docMk/>
            <pc:sldMk cId="3270237152" sldId="600"/>
            <ac:spMk id="34" creationId="{AE09412E-07CD-77B7-04FC-34F2390A20EE}"/>
          </ac:spMkLst>
        </pc:spChg>
        <pc:spChg chg="add del mod modVis">
          <ac:chgData name="Grace, Morgan (Brisbane)" userId="221d5f7b-4a46-4bd5-bdf1-698d3a91c208" providerId="ADAL" clId="{D90324C1-6CE4-4C28-B886-AED0B666B37F}" dt="2024-06-04T23:54:01.208" v="766"/>
          <ac:spMkLst>
            <pc:docMk/>
            <pc:sldMk cId="3270237152" sldId="600"/>
            <ac:spMk id="35" creationId="{56B10FC6-6729-5CF9-34C2-65C0475815B0}"/>
          </ac:spMkLst>
        </pc:spChg>
        <pc:spChg chg="add del mod modVis">
          <ac:chgData name="Grace, Morgan (Brisbane)" userId="221d5f7b-4a46-4bd5-bdf1-698d3a91c208" providerId="ADAL" clId="{D90324C1-6CE4-4C28-B886-AED0B666B37F}" dt="2024-06-04T23:54:04.378" v="955"/>
          <ac:spMkLst>
            <pc:docMk/>
            <pc:sldMk cId="3270237152" sldId="600"/>
            <ac:spMk id="37" creationId="{B2F4E3ED-B868-2614-37D3-2013233285E2}"/>
          </ac:spMkLst>
        </pc:spChg>
        <pc:spChg chg="add del mod modVis">
          <ac:chgData name="Grace, Morgan (Brisbane)" userId="221d5f7b-4a46-4bd5-bdf1-698d3a91c208" providerId="ADAL" clId="{D90324C1-6CE4-4C28-B886-AED0B666B37F}" dt="2024-06-04T23:54:05.789" v="1106"/>
          <ac:spMkLst>
            <pc:docMk/>
            <pc:sldMk cId="3270237152" sldId="600"/>
            <ac:spMk id="39" creationId="{CDE5F5E2-BA06-1254-C721-B9F8E9F68A5D}"/>
          </ac:spMkLst>
        </pc:spChg>
        <pc:spChg chg="add del mod modVis">
          <ac:chgData name="Grace, Morgan (Brisbane)" userId="221d5f7b-4a46-4bd5-bdf1-698d3a91c208" providerId="ADAL" clId="{D90324C1-6CE4-4C28-B886-AED0B666B37F}" dt="2024-06-04T23:54:08.286" v="1248"/>
          <ac:spMkLst>
            <pc:docMk/>
            <pc:sldMk cId="3270237152" sldId="600"/>
            <ac:spMk id="41" creationId="{8089E888-113B-BC21-BDA6-1ACB5A66A462}"/>
          </ac:spMkLst>
        </pc:spChg>
        <pc:spChg chg="add del mod modVis">
          <ac:chgData name="Grace, Morgan (Brisbane)" userId="221d5f7b-4a46-4bd5-bdf1-698d3a91c208" providerId="ADAL" clId="{D90324C1-6CE4-4C28-B886-AED0B666B37F}" dt="2024-06-04T23:54:18.429" v="1550"/>
          <ac:spMkLst>
            <pc:docMk/>
            <pc:sldMk cId="3270237152" sldId="600"/>
            <ac:spMk id="43" creationId="{7A1148D2-1095-78E8-9E8C-3A62BF5205C2}"/>
          </ac:spMkLst>
        </pc:spChg>
        <pc:spChg chg="add del mod modVis">
          <ac:chgData name="Grace, Morgan (Brisbane)" userId="221d5f7b-4a46-4bd5-bdf1-698d3a91c208" providerId="ADAL" clId="{D90324C1-6CE4-4C28-B886-AED0B666B37F}" dt="2024-06-04T23:56:25.710" v="1696"/>
          <ac:spMkLst>
            <pc:docMk/>
            <pc:sldMk cId="3270237152" sldId="600"/>
            <ac:spMk id="45" creationId="{4E87A6A7-F290-A804-B064-00257693CB8D}"/>
          </ac:spMkLst>
        </pc:spChg>
        <pc:spChg chg="add del mod modVis">
          <ac:chgData name="Grace, Morgan (Brisbane)" userId="221d5f7b-4a46-4bd5-bdf1-698d3a91c208" providerId="ADAL" clId="{D90324C1-6CE4-4C28-B886-AED0B666B37F}" dt="2024-06-04T23:56:30.524" v="1834"/>
          <ac:spMkLst>
            <pc:docMk/>
            <pc:sldMk cId="3270237152" sldId="600"/>
            <ac:spMk id="47" creationId="{53A9B9A0-D833-EE61-7FBA-DA65271E66A7}"/>
          </ac:spMkLst>
        </pc:spChg>
        <pc:spChg chg="add del mod modVis">
          <ac:chgData name="Grace, Morgan (Brisbane)" userId="221d5f7b-4a46-4bd5-bdf1-698d3a91c208" providerId="ADAL" clId="{D90324C1-6CE4-4C28-B886-AED0B666B37F}" dt="2024-06-05T00:07:51.537" v="2737"/>
          <ac:spMkLst>
            <pc:docMk/>
            <pc:sldMk cId="3270237152" sldId="600"/>
            <ac:spMk id="49" creationId="{4BD4BC4F-6792-7ADE-63D3-B6A919C8290D}"/>
          </ac:spMkLst>
        </pc:spChg>
        <pc:spChg chg="add mod ord topLvl">
          <ac:chgData name="Grace, Morgan (Brisbane)" userId="221d5f7b-4a46-4bd5-bdf1-698d3a91c208" providerId="ADAL" clId="{D90324C1-6CE4-4C28-B886-AED0B666B37F}" dt="2024-06-06T05:13:57.098" v="43605" actId="947"/>
          <ac:spMkLst>
            <pc:docMk/>
            <pc:sldMk cId="3270237152" sldId="600"/>
            <ac:spMk id="52" creationId="{3F46C2B0-BA17-71F1-2121-D8C3E226D642}"/>
          </ac:spMkLst>
        </pc:spChg>
        <pc:spChg chg="add mod ord topLvl">
          <ac:chgData name="Grace, Morgan (Brisbane)" userId="221d5f7b-4a46-4bd5-bdf1-698d3a91c208" providerId="ADAL" clId="{D90324C1-6CE4-4C28-B886-AED0B666B37F}" dt="2024-06-06T05:13:57.098" v="43603" actId="947"/>
          <ac:spMkLst>
            <pc:docMk/>
            <pc:sldMk cId="3270237152" sldId="600"/>
            <ac:spMk id="53" creationId="{9BC8E3AB-1BF7-8A4D-F1BD-D8A219E2055E}"/>
          </ac:spMkLst>
        </pc:spChg>
        <pc:spChg chg="add mod ord topLvl">
          <ac:chgData name="Grace, Morgan (Brisbane)" userId="221d5f7b-4a46-4bd5-bdf1-698d3a91c208" providerId="ADAL" clId="{D90324C1-6CE4-4C28-B886-AED0B666B37F}" dt="2024-06-06T05:13:57.098" v="43601" actId="947"/>
          <ac:spMkLst>
            <pc:docMk/>
            <pc:sldMk cId="3270237152" sldId="600"/>
            <ac:spMk id="54" creationId="{ADFF2CC0-266A-BAC9-11DD-E74A8C9E71C0}"/>
          </ac:spMkLst>
        </pc:spChg>
        <pc:spChg chg="add del mod ord topLvl">
          <ac:chgData name="Grace, Morgan (Brisbane)" userId="221d5f7b-4a46-4bd5-bdf1-698d3a91c208" providerId="ADAL" clId="{D90324C1-6CE4-4C28-B886-AED0B666B37F}" dt="2024-06-06T05:13:57.098" v="43599" actId="947"/>
          <ac:spMkLst>
            <pc:docMk/>
            <pc:sldMk cId="3270237152" sldId="600"/>
            <ac:spMk id="55" creationId="{25444968-A7A6-EB1C-6950-01A8418AB470}"/>
          </ac:spMkLst>
        </pc:spChg>
        <pc:spChg chg="add del mod ord">
          <ac:chgData name="Grace, Morgan (Brisbane)" userId="221d5f7b-4a46-4bd5-bdf1-698d3a91c208" providerId="ADAL" clId="{D90324C1-6CE4-4C28-B886-AED0B666B37F}" dt="2024-06-25T01:16:03.575" v="128057" actId="6549"/>
          <ac:spMkLst>
            <pc:docMk/>
            <pc:sldMk cId="3270237152" sldId="600"/>
            <ac:spMk id="58" creationId="{70492012-E886-8F5C-9B43-20C9DC7A8C1F}"/>
          </ac:spMkLst>
        </pc:spChg>
        <pc:spChg chg="add del mod modVis">
          <ac:chgData name="Grace, Morgan (Brisbane)" userId="221d5f7b-4a46-4bd5-bdf1-698d3a91c208" providerId="ADAL" clId="{D90324C1-6CE4-4C28-B886-AED0B666B37F}" dt="2024-06-05T01:23:48.010" v="4137"/>
          <ac:spMkLst>
            <pc:docMk/>
            <pc:sldMk cId="3270237152" sldId="600"/>
            <ac:spMk id="59" creationId="{2B8F59CF-3F4B-CB95-654B-DCEBE9DE9031}"/>
          </ac:spMkLst>
        </pc:spChg>
        <pc:spChg chg="add del mod modVis">
          <ac:chgData name="Grace, Morgan (Brisbane)" userId="221d5f7b-4a46-4bd5-bdf1-698d3a91c208" providerId="ADAL" clId="{D90324C1-6CE4-4C28-B886-AED0B666B37F}" dt="2024-06-05T01:23:48.770" v="4624"/>
          <ac:spMkLst>
            <pc:docMk/>
            <pc:sldMk cId="3270237152" sldId="600"/>
            <ac:spMk id="60" creationId="{546973F7-7E8E-EC31-A6F2-EEA340DFE8CF}"/>
          </ac:spMkLst>
        </pc:spChg>
        <pc:spChg chg="add del mod ord replST">
          <ac:chgData name="Grace, Morgan (Brisbane)" userId="221d5f7b-4a46-4bd5-bdf1-698d3a91c208" providerId="ADAL" clId="{D90324C1-6CE4-4C28-B886-AED0B666B37F}" dt="2024-06-05T01:24:06.364" v="4927"/>
          <ac:spMkLst>
            <pc:docMk/>
            <pc:sldMk cId="3270237152" sldId="600"/>
            <ac:spMk id="61" creationId="{87DF0065-1E85-3CAE-AFF2-1B24507DE8EE}"/>
          </ac:spMkLst>
        </pc:spChg>
        <pc:spChg chg="add del mod ord replST">
          <ac:chgData name="Grace, Morgan (Brisbane)" userId="221d5f7b-4a46-4bd5-bdf1-698d3a91c208" providerId="ADAL" clId="{D90324C1-6CE4-4C28-B886-AED0B666B37F}" dt="2024-06-05T01:24:06.363" v="4925"/>
          <ac:spMkLst>
            <pc:docMk/>
            <pc:sldMk cId="3270237152" sldId="600"/>
            <ac:spMk id="62" creationId="{87DF0065-1E85-3CAE-AFF2-1B24507DE8EE}"/>
          </ac:spMkLst>
        </pc:spChg>
        <pc:spChg chg="add del mod ord replST">
          <ac:chgData name="Grace, Morgan (Brisbane)" userId="221d5f7b-4a46-4bd5-bdf1-698d3a91c208" providerId="ADAL" clId="{D90324C1-6CE4-4C28-B886-AED0B666B37F}" dt="2024-06-05T01:24:06.363" v="4923"/>
          <ac:spMkLst>
            <pc:docMk/>
            <pc:sldMk cId="3270237152" sldId="600"/>
            <ac:spMk id="63" creationId="{87DF0065-1E85-3CAE-AFF2-1B24507DE8EE}"/>
          </ac:spMkLst>
        </pc:spChg>
        <pc:spChg chg="add del mod ord replST">
          <ac:chgData name="Grace, Morgan (Brisbane)" userId="221d5f7b-4a46-4bd5-bdf1-698d3a91c208" providerId="ADAL" clId="{D90324C1-6CE4-4C28-B886-AED0B666B37F}" dt="2024-06-05T01:24:06.363" v="4921"/>
          <ac:spMkLst>
            <pc:docMk/>
            <pc:sldMk cId="3270237152" sldId="600"/>
            <ac:spMk id="64" creationId="{87DF0065-1E85-3CAE-AFF2-1B24507DE8EE}"/>
          </ac:spMkLst>
        </pc:spChg>
        <pc:spChg chg="add del mod modVis">
          <ac:chgData name="Grace, Morgan (Brisbane)" userId="221d5f7b-4a46-4bd5-bdf1-698d3a91c208" providerId="ADAL" clId="{D90324C1-6CE4-4C28-B886-AED0B666B37F}" dt="2024-06-05T01:23:49.976" v="4895"/>
          <ac:spMkLst>
            <pc:docMk/>
            <pc:sldMk cId="3270237152" sldId="600"/>
            <ac:spMk id="66" creationId="{5BD984F1-2D6F-9085-388A-FC892D6554C7}"/>
          </ac:spMkLst>
        </pc:spChg>
        <pc:spChg chg="add del mod replST">
          <ac:chgData name="Grace, Morgan (Brisbane)" userId="221d5f7b-4a46-4bd5-bdf1-698d3a91c208" providerId="ADAL" clId="{D90324C1-6CE4-4C28-B886-AED0B666B37F}" dt="2024-06-05T01:51:46.308" v="13473"/>
          <ac:spMkLst>
            <pc:docMk/>
            <pc:sldMk cId="3270237152" sldId="600"/>
            <ac:spMk id="69" creationId="{15408485-D9AC-E396-BC52-C986B4250102}"/>
          </ac:spMkLst>
        </pc:spChg>
        <pc:spChg chg="add del mod replST">
          <ac:chgData name="Grace, Morgan (Brisbane)" userId="221d5f7b-4a46-4bd5-bdf1-698d3a91c208" providerId="ADAL" clId="{D90324C1-6CE4-4C28-B886-AED0B666B37F}" dt="2024-06-05T01:51:46.309" v="13474"/>
          <ac:spMkLst>
            <pc:docMk/>
            <pc:sldMk cId="3270237152" sldId="600"/>
            <ac:spMk id="70" creationId="{F9425EAD-4EB4-53F2-E71B-E47907B82F01}"/>
          </ac:spMkLst>
        </pc:spChg>
        <pc:spChg chg="add del mod replST">
          <ac:chgData name="Grace, Morgan (Brisbane)" userId="221d5f7b-4a46-4bd5-bdf1-698d3a91c208" providerId="ADAL" clId="{D90324C1-6CE4-4C28-B886-AED0B666B37F}" dt="2024-06-05T01:51:46.309" v="13475"/>
          <ac:spMkLst>
            <pc:docMk/>
            <pc:sldMk cId="3270237152" sldId="600"/>
            <ac:spMk id="71" creationId="{7D65927B-838A-D2C7-A2C2-12A013427BBB}"/>
          </ac:spMkLst>
        </pc:spChg>
        <pc:spChg chg="add del mod replST">
          <ac:chgData name="Grace, Morgan (Brisbane)" userId="221d5f7b-4a46-4bd5-bdf1-698d3a91c208" providerId="ADAL" clId="{D90324C1-6CE4-4C28-B886-AED0B666B37F}" dt="2024-06-05T01:51:46.309" v="13476"/>
          <ac:spMkLst>
            <pc:docMk/>
            <pc:sldMk cId="3270237152" sldId="600"/>
            <ac:spMk id="72" creationId="{D27D66E1-C8FC-7653-BC1B-18072D18C596}"/>
          </ac:spMkLst>
        </pc:spChg>
        <pc:spChg chg="add del mod replST">
          <ac:chgData name="Grace, Morgan (Brisbane)" userId="221d5f7b-4a46-4bd5-bdf1-698d3a91c208" providerId="ADAL" clId="{D90324C1-6CE4-4C28-B886-AED0B666B37F}" dt="2024-06-05T01:51:46.309" v="13477"/>
          <ac:spMkLst>
            <pc:docMk/>
            <pc:sldMk cId="3270237152" sldId="600"/>
            <ac:spMk id="73" creationId="{29A4E7D3-BCCC-F7CD-1C47-55133EA6C740}"/>
          </ac:spMkLst>
        </pc:spChg>
        <pc:spChg chg="add del mod replST">
          <ac:chgData name="Grace, Morgan (Brisbane)" userId="221d5f7b-4a46-4bd5-bdf1-698d3a91c208" providerId="ADAL" clId="{D90324C1-6CE4-4C28-B886-AED0B666B37F}" dt="2024-06-05T03:09:36.208" v="21525"/>
          <ac:spMkLst>
            <pc:docMk/>
            <pc:sldMk cId="3270237152" sldId="600"/>
            <ac:spMk id="74" creationId="{3225EEA7-185B-F55F-8D9F-E21F050870F1}"/>
          </ac:spMkLst>
        </pc:spChg>
        <pc:spChg chg="add del mod replST">
          <ac:chgData name="Grace, Morgan (Brisbane)" userId="221d5f7b-4a46-4bd5-bdf1-698d3a91c208" providerId="ADAL" clId="{D90324C1-6CE4-4C28-B886-AED0B666B37F}" dt="2024-06-05T03:09:36.208" v="21524"/>
          <ac:spMkLst>
            <pc:docMk/>
            <pc:sldMk cId="3270237152" sldId="600"/>
            <ac:spMk id="75" creationId="{42487925-9AB2-69CA-B3AB-EC3BD699DDEC}"/>
          </ac:spMkLst>
        </pc:spChg>
        <pc:spChg chg="add del mod replST">
          <ac:chgData name="Grace, Morgan (Brisbane)" userId="221d5f7b-4a46-4bd5-bdf1-698d3a91c208" providerId="ADAL" clId="{D90324C1-6CE4-4C28-B886-AED0B666B37F}" dt="2024-06-05T03:09:36.208" v="21523"/>
          <ac:spMkLst>
            <pc:docMk/>
            <pc:sldMk cId="3270237152" sldId="600"/>
            <ac:spMk id="76" creationId="{04EDA23E-75A9-3672-A43A-66BC3C85B230}"/>
          </ac:spMkLst>
        </pc:spChg>
        <pc:spChg chg="add del mod replST">
          <ac:chgData name="Grace, Morgan (Brisbane)" userId="221d5f7b-4a46-4bd5-bdf1-698d3a91c208" providerId="ADAL" clId="{D90324C1-6CE4-4C28-B886-AED0B666B37F}" dt="2024-06-05T03:09:36.208" v="21521"/>
          <ac:spMkLst>
            <pc:docMk/>
            <pc:sldMk cId="3270237152" sldId="600"/>
            <ac:spMk id="77" creationId="{F440912A-1AB9-07F0-FD6F-1E9BF461E2ED}"/>
          </ac:spMkLst>
        </pc:spChg>
        <pc:spChg chg="add del mod replST">
          <ac:chgData name="Grace, Morgan (Brisbane)" userId="221d5f7b-4a46-4bd5-bdf1-698d3a91c208" providerId="ADAL" clId="{D90324C1-6CE4-4C28-B886-AED0B666B37F}" dt="2024-06-05T03:09:36.208" v="21520"/>
          <ac:spMkLst>
            <pc:docMk/>
            <pc:sldMk cId="3270237152" sldId="600"/>
            <ac:spMk id="78" creationId="{199C50C0-0C17-9CB4-86E5-E5CC080D4A79}"/>
          </ac:spMkLst>
        </pc:spChg>
        <pc:spChg chg="add del mod replST">
          <ac:chgData name="Grace, Morgan (Brisbane)" userId="221d5f7b-4a46-4bd5-bdf1-698d3a91c208" providerId="ADAL" clId="{D90324C1-6CE4-4C28-B886-AED0B666B37F}" dt="2024-06-05T03:09:36.208" v="21519"/>
          <ac:spMkLst>
            <pc:docMk/>
            <pc:sldMk cId="3270237152" sldId="600"/>
            <ac:spMk id="79" creationId="{3155A7B4-A915-866C-4915-7C0C415888C7}"/>
          </ac:spMkLst>
        </pc:spChg>
        <pc:spChg chg="add del mod ord replST">
          <ac:chgData name="Grace, Morgan (Brisbane)" userId="221d5f7b-4a46-4bd5-bdf1-698d3a91c208" providerId="ADAL" clId="{D90324C1-6CE4-4C28-B886-AED0B666B37F}" dt="2024-06-05T01:52:53.464" v="15856"/>
          <ac:spMkLst>
            <pc:docMk/>
            <pc:sldMk cId="3270237152" sldId="600"/>
            <ac:spMk id="80" creationId="{6DA364C7-18CE-1D1E-A67C-1D0FDB909779}"/>
          </ac:spMkLst>
        </pc:spChg>
        <pc:spChg chg="add del mod ord replST">
          <ac:chgData name="Grace, Morgan (Brisbane)" userId="221d5f7b-4a46-4bd5-bdf1-698d3a91c208" providerId="ADAL" clId="{D90324C1-6CE4-4C28-B886-AED0B666B37F}" dt="2024-06-05T01:52:53.464" v="15858"/>
          <ac:spMkLst>
            <pc:docMk/>
            <pc:sldMk cId="3270237152" sldId="600"/>
            <ac:spMk id="81" creationId="{FD857E61-21B2-D855-128F-EC8A1E48946D}"/>
          </ac:spMkLst>
        </pc:spChg>
        <pc:spChg chg="add del mod ord replST">
          <ac:chgData name="Grace, Morgan (Brisbane)" userId="221d5f7b-4a46-4bd5-bdf1-698d3a91c208" providerId="ADAL" clId="{D90324C1-6CE4-4C28-B886-AED0B666B37F}" dt="2024-06-05T03:09:36.208" v="21522"/>
          <ac:spMkLst>
            <pc:docMk/>
            <pc:sldMk cId="3270237152" sldId="600"/>
            <ac:spMk id="82" creationId="{1C721195-E90F-B567-AD57-912F0B4BDA5E}"/>
          </ac:spMkLst>
        </pc:spChg>
        <pc:spChg chg="add del mod ord replST">
          <ac:chgData name="Grace, Morgan (Brisbane)" userId="221d5f7b-4a46-4bd5-bdf1-698d3a91c208" providerId="ADAL" clId="{D90324C1-6CE4-4C28-B886-AED0B666B37F}" dt="2024-06-05T01:44:22.836" v="7165"/>
          <ac:spMkLst>
            <pc:docMk/>
            <pc:sldMk cId="3270237152" sldId="600"/>
            <ac:spMk id="83" creationId="{12CC45B4-DC5F-C8BC-947E-D1E9CD0E1C69}"/>
          </ac:spMkLst>
        </pc:spChg>
        <pc:spChg chg="add del mod ord replST">
          <ac:chgData name="Grace, Morgan (Brisbane)" userId="221d5f7b-4a46-4bd5-bdf1-698d3a91c208" providerId="ADAL" clId="{D90324C1-6CE4-4C28-B886-AED0B666B37F}" dt="2024-06-05T01:44:22.836" v="7163"/>
          <ac:spMkLst>
            <pc:docMk/>
            <pc:sldMk cId="3270237152" sldId="600"/>
            <ac:spMk id="84" creationId="{DB847BD0-D785-236C-3D77-923FC0828B51}"/>
          </ac:spMkLst>
        </pc:spChg>
        <pc:spChg chg="add del mod ord replST">
          <ac:chgData name="Grace, Morgan (Brisbane)" userId="221d5f7b-4a46-4bd5-bdf1-698d3a91c208" providerId="ADAL" clId="{D90324C1-6CE4-4C28-B886-AED0B666B37F}" dt="2024-06-05T01:44:22.836" v="7161"/>
          <ac:spMkLst>
            <pc:docMk/>
            <pc:sldMk cId="3270237152" sldId="600"/>
            <ac:spMk id="85" creationId="{C18F7194-A24E-E1D4-1B90-15EBE046B0EF}"/>
          </ac:spMkLst>
        </pc:spChg>
        <pc:spChg chg="add del mod ord replST">
          <ac:chgData name="Grace, Morgan (Brisbane)" userId="221d5f7b-4a46-4bd5-bdf1-698d3a91c208" providerId="ADAL" clId="{D90324C1-6CE4-4C28-B886-AED0B666B37F}" dt="2024-06-05T01:44:22.836" v="7159"/>
          <ac:spMkLst>
            <pc:docMk/>
            <pc:sldMk cId="3270237152" sldId="600"/>
            <ac:spMk id="86" creationId="{6E0419AF-0DDE-4DFF-E1C1-45A638D5E739}"/>
          </ac:spMkLst>
        </pc:spChg>
        <pc:spChg chg="add del mod ord replST">
          <ac:chgData name="Grace, Morgan (Brisbane)" userId="221d5f7b-4a46-4bd5-bdf1-698d3a91c208" providerId="ADAL" clId="{D90324C1-6CE4-4C28-B886-AED0B666B37F}" dt="2024-06-05T03:09:36.208" v="21517"/>
          <ac:spMkLst>
            <pc:docMk/>
            <pc:sldMk cId="3270237152" sldId="600"/>
            <ac:spMk id="87" creationId="{88B8C428-DBBB-99FB-7B31-1AC3D12DFE82}"/>
          </ac:spMkLst>
        </pc:spChg>
        <pc:spChg chg="add del mod ord replST">
          <ac:chgData name="Grace, Morgan (Brisbane)" userId="221d5f7b-4a46-4bd5-bdf1-698d3a91c208" providerId="ADAL" clId="{D90324C1-6CE4-4C28-B886-AED0B666B37F}" dt="2024-06-05T03:09:36.208" v="21514"/>
          <ac:spMkLst>
            <pc:docMk/>
            <pc:sldMk cId="3270237152" sldId="600"/>
            <ac:spMk id="88" creationId="{68DA7259-4134-EAA1-9E7F-0411184AFA6B}"/>
          </ac:spMkLst>
        </pc:spChg>
        <pc:spChg chg="add del mod ord replST">
          <ac:chgData name="Grace, Morgan (Brisbane)" userId="221d5f7b-4a46-4bd5-bdf1-698d3a91c208" providerId="ADAL" clId="{D90324C1-6CE4-4C28-B886-AED0B666B37F}" dt="2024-06-05T03:09:36.208" v="21511"/>
          <ac:spMkLst>
            <pc:docMk/>
            <pc:sldMk cId="3270237152" sldId="600"/>
            <ac:spMk id="89" creationId="{367A2569-DFD2-4D8E-2EF0-1EFFCAACA9CE}"/>
          </ac:spMkLst>
        </pc:spChg>
        <pc:spChg chg="add del mod ord replST">
          <ac:chgData name="Grace, Morgan (Brisbane)" userId="221d5f7b-4a46-4bd5-bdf1-698d3a91c208" providerId="ADAL" clId="{D90324C1-6CE4-4C28-B886-AED0B666B37F}" dt="2024-06-05T03:09:36.208" v="21508"/>
          <ac:spMkLst>
            <pc:docMk/>
            <pc:sldMk cId="3270237152" sldId="600"/>
            <ac:spMk id="90" creationId="{89A72E44-DD43-CE5D-58A9-6C7852CE071D}"/>
          </ac:spMkLst>
        </pc:spChg>
        <pc:spChg chg="add del mod ord replST">
          <ac:chgData name="Grace, Morgan (Brisbane)" userId="221d5f7b-4a46-4bd5-bdf1-698d3a91c208" providerId="ADAL" clId="{D90324C1-6CE4-4C28-B886-AED0B666B37F}" dt="2024-06-05T03:09:36.208" v="21505"/>
          <ac:spMkLst>
            <pc:docMk/>
            <pc:sldMk cId="3270237152" sldId="600"/>
            <ac:spMk id="91" creationId="{6D7B621B-8C76-20C4-A766-5F1FE2A4A6C9}"/>
          </ac:spMkLst>
        </pc:spChg>
        <pc:spChg chg="add del mod ord replST">
          <ac:chgData name="Grace, Morgan (Brisbane)" userId="221d5f7b-4a46-4bd5-bdf1-698d3a91c208" providerId="ADAL" clId="{D90324C1-6CE4-4C28-B886-AED0B666B37F}" dt="2024-06-05T03:09:36.208" v="21502"/>
          <ac:spMkLst>
            <pc:docMk/>
            <pc:sldMk cId="3270237152" sldId="600"/>
            <ac:spMk id="92" creationId="{C7667E7D-33BF-A14E-1D46-B7E1D68692C7}"/>
          </ac:spMkLst>
        </pc:spChg>
        <pc:spChg chg="add del mod replST">
          <ac:chgData name="Grace, Morgan (Brisbane)" userId="221d5f7b-4a46-4bd5-bdf1-698d3a91c208" providerId="ADAL" clId="{D90324C1-6CE4-4C28-B886-AED0B666B37F}" dt="2024-06-05T03:09:36.208" v="21518"/>
          <ac:spMkLst>
            <pc:docMk/>
            <pc:sldMk cId="3270237152" sldId="600"/>
            <ac:spMk id="93" creationId="{02B21447-D22C-977E-DC5A-D3B19F4C50C6}"/>
          </ac:spMkLst>
        </pc:spChg>
        <pc:spChg chg="add del mod replST">
          <ac:chgData name="Grace, Morgan (Brisbane)" userId="221d5f7b-4a46-4bd5-bdf1-698d3a91c208" providerId="ADAL" clId="{D90324C1-6CE4-4C28-B886-AED0B666B37F}" dt="2024-06-05T03:09:36.208" v="21515"/>
          <ac:spMkLst>
            <pc:docMk/>
            <pc:sldMk cId="3270237152" sldId="600"/>
            <ac:spMk id="94" creationId="{7D9F6D59-640B-8FC9-D3A9-B0DFBAF96893}"/>
          </ac:spMkLst>
        </pc:spChg>
        <pc:spChg chg="add del mod replST">
          <ac:chgData name="Grace, Morgan (Brisbane)" userId="221d5f7b-4a46-4bd5-bdf1-698d3a91c208" providerId="ADAL" clId="{D90324C1-6CE4-4C28-B886-AED0B666B37F}" dt="2024-06-05T03:09:36.208" v="21512"/>
          <ac:spMkLst>
            <pc:docMk/>
            <pc:sldMk cId="3270237152" sldId="600"/>
            <ac:spMk id="95" creationId="{C9ABD35F-110C-C9A3-135D-C842EC84FEF1}"/>
          </ac:spMkLst>
        </pc:spChg>
        <pc:spChg chg="add del mod replST">
          <ac:chgData name="Grace, Morgan (Brisbane)" userId="221d5f7b-4a46-4bd5-bdf1-698d3a91c208" providerId="ADAL" clId="{D90324C1-6CE4-4C28-B886-AED0B666B37F}" dt="2024-06-05T03:09:36.208" v="21509"/>
          <ac:spMkLst>
            <pc:docMk/>
            <pc:sldMk cId="3270237152" sldId="600"/>
            <ac:spMk id="96" creationId="{1767728F-C04E-432B-DEEF-1A80E750AE37}"/>
          </ac:spMkLst>
        </pc:spChg>
        <pc:spChg chg="add del mod replST">
          <ac:chgData name="Grace, Morgan (Brisbane)" userId="221d5f7b-4a46-4bd5-bdf1-698d3a91c208" providerId="ADAL" clId="{D90324C1-6CE4-4C28-B886-AED0B666B37F}" dt="2024-06-05T03:09:36.208" v="21506"/>
          <ac:spMkLst>
            <pc:docMk/>
            <pc:sldMk cId="3270237152" sldId="600"/>
            <ac:spMk id="97" creationId="{4C25A121-5495-F45B-5A40-725C33F3EBB7}"/>
          </ac:spMkLst>
        </pc:spChg>
        <pc:spChg chg="add del mod replST">
          <ac:chgData name="Grace, Morgan (Brisbane)" userId="221d5f7b-4a46-4bd5-bdf1-698d3a91c208" providerId="ADAL" clId="{D90324C1-6CE4-4C28-B886-AED0B666B37F}" dt="2024-06-05T03:09:36.208" v="21503"/>
          <ac:spMkLst>
            <pc:docMk/>
            <pc:sldMk cId="3270237152" sldId="600"/>
            <ac:spMk id="98" creationId="{E5F4FD65-AD6F-DBE5-79B7-AEFA995A153E}"/>
          </ac:spMkLst>
        </pc:spChg>
        <pc:spChg chg="add del mod modVis">
          <ac:chgData name="Grace, Morgan (Brisbane)" userId="221d5f7b-4a46-4bd5-bdf1-698d3a91c208" providerId="ADAL" clId="{D90324C1-6CE4-4C28-B886-AED0B666B37F}" dt="2024-06-05T01:24:32.456" v="5619"/>
          <ac:spMkLst>
            <pc:docMk/>
            <pc:sldMk cId="3270237152" sldId="600"/>
            <ac:spMk id="99" creationId="{7EAE4F7F-6B42-6359-A23F-A62570D03073}"/>
          </ac:spMkLst>
        </pc:spChg>
        <pc:spChg chg="add del mod modVis">
          <ac:chgData name="Grace, Morgan (Brisbane)" userId="221d5f7b-4a46-4bd5-bdf1-698d3a91c208" providerId="ADAL" clId="{D90324C1-6CE4-4C28-B886-AED0B666B37F}" dt="2024-06-05T01:24:39.517" v="5908"/>
          <ac:spMkLst>
            <pc:docMk/>
            <pc:sldMk cId="3270237152" sldId="600"/>
            <ac:spMk id="101" creationId="{CE0E041D-DC04-B0B7-ED44-4B19B6AAB8C7}"/>
          </ac:spMkLst>
        </pc:spChg>
        <pc:spChg chg="add del mod ord replST">
          <ac:chgData name="Grace, Morgan (Brisbane)" userId="221d5f7b-4a46-4bd5-bdf1-698d3a91c208" providerId="ADAL" clId="{D90324C1-6CE4-4C28-B886-AED0B666B37F}" dt="2024-06-05T01:46:40.336" v="8088"/>
          <ac:spMkLst>
            <pc:docMk/>
            <pc:sldMk cId="3270237152" sldId="600"/>
            <ac:spMk id="102" creationId="{87DF0065-1E85-3CAE-AFF2-1B24507DE8EE}"/>
          </ac:spMkLst>
        </pc:spChg>
        <pc:spChg chg="add del mod modVis">
          <ac:chgData name="Grace, Morgan (Brisbane)" userId="221d5f7b-4a46-4bd5-bdf1-698d3a91c208" providerId="ADAL" clId="{D90324C1-6CE4-4C28-B886-AED0B666B37F}" dt="2024-06-05T01:24:42.711" v="6148"/>
          <ac:spMkLst>
            <pc:docMk/>
            <pc:sldMk cId="3270237152" sldId="600"/>
            <ac:spMk id="104" creationId="{056F956F-1D57-F8BA-2F10-AFB168F12E3B}"/>
          </ac:spMkLst>
        </pc:spChg>
        <pc:spChg chg="add mod ord">
          <ac:chgData name="Grace, Morgan (Brisbane)" userId="221d5f7b-4a46-4bd5-bdf1-698d3a91c208" providerId="ADAL" clId="{D90324C1-6CE4-4C28-B886-AED0B666B37F}" dt="2024-06-25T01:16:02.104" v="128056" actId="1076"/>
          <ac:spMkLst>
            <pc:docMk/>
            <pc:sldMk cId="3270237152" sldId="600"/>
            <ac:spMk id="106" creationId="{E76F2904-BE8F-7182-2964-3F16AB4EFEBC}"/>
          </ac:spMkLst>
        </pc:spChg>
        <pc:spChg chg="add del mod modVis">
          <ac:chgData name="Grace, Morgan (Brisbane)" userId="221d5f7b-4a46-4bd5-bdf1-698d3a91c208" providerId="ADAL" clId="{D90324C1-6CE4-4C28-B886-AED0B666B37F}" dt="2024-06-05T01:41:59.359" v="7055"/>
          <ac:spMkLst>
            <pc:docMk/>
            <pc:sldMk cId="3270237152" sldId="600"/>
            <ac:spMk id="107" creationId="{D8AC44AB-7092-94B0-EE47-18BFD24CA2CA}"/>
          </ac:spMkLst>
        </pc:spChg>
        <pc:spChg chg="add del mod modVis">
          <ac:chgData name="Grace, Morgan (Brisbane)" userId="221d5f7b-4a46-4bd5-bdf1-698d3a91c208" providerId="ADAL" clId="{D90324C1-6CE4-4C28-B886-AED0B666B37F}" dt="2024-06-05T01:44:22.868" v="7264"/>
          <ac:spMkLst>
            <pc:docMk/>
            <pc:sldMk cId="3270237152" sldId="600"/>
            <ac:spMk id="109" creationId="{B88CF3DA-9D0E-27F6-427D-D615F01D3C89}"/>
          </ac:spMkLst>
        </pc:spChg>
        <pc:spChg chg="add del mod modVis">
          <ac:chgData name="Grace, Morgan (Brisbane)" userId="221d5f7b-4a46-4bd5-bdf1-698d3a91c208" providerId="ADAL" clId="{D90324C1-6CE4-4C28-B886-AED0B666B37F}" dt="2024-06-05T01:44:24.795" v="7667"/>
          <ac:spMkLst>
            <pc:docMk/>
            <pc:sldMk cId="3270237152" sldId="600"/>
            <ac:spMk id="111" creationId="{4F4EB8BC-9A23-D7FE-5BCF-9FF34286BBDC}"/>
          </ac:spMkLst>
        </pc:spChg>
        <pc:spChg chg="add del mod ord replST">
          <ac:chgData name="Grace, Morgan (Brisbane)" userId="221d5f7b-4a46-4bd5-bdf1-698d3a91c208" providerId="ADAL" clId="{D90324C1-6CE4-4C28-B886-AED0B666B37F}" dt="2024-06-05T01:46:41.749" v="8254"/>
          <ac:spMkLst>
            <pc:docMk/>
            <pc:sldMk cId="3270237152" sldId="600"/>
            <ac:spMk id="112" creationId="{87DF0065-1E85-3CAE-AFF2-1B24507DE8EE}"/>
          </ac:spMkLst>
        </pc:spChg>
        <pc:spChg chg="add del mod ord replST">
          <ac:chgData name="Grace, Morgan (Brisbane)" userId="221d5f7b-4a46-4bd5-bdf1-698d3a91c208" providerId="ADAL" clId="{D90324C1-6CE4-4C28-B886-AED0B666B37F}" dt="2024-06-05T01:46:41.749" v="8252"/>
          <ac:spMkLst>
            <pc:docMk/>
            <pc:sldMk cId="3270237152" sldId="600"/>
            <ac:spMk id="113" creationId="{87DF0065-1E85-3CAE-AFF2-1B24507DE8EE}"/>
          </ac:spMkLst>
        </pc:spChg>
        <pc:spChg chg="add del mod ord replST">
          <ac:chgData name="Grace, Morgan (Brisbane)" userId="221d5f7b-4a46-4bd5-bdf1-698d3a91c208" providerId="ADAL" clId="{D90324C1-6CE4-4C28-B886-AED0B666B37F}" dt="2024-06-05T01:46:41.749" v="8250"/>
          <ac:spMkLst>
            <pc:docMk/>
            <pc:sldMk cId="3270237152" sldId="600"/>
            <ac:spMk id="114" creationId="{87DF0065-1E85-3CAE-AFF2-1B24507DE8EE}"/>
          </ac:spMkLst>
        </pc:spChg>
        <pc:spChg chg="add del mod ord replST">
          <ac:chgData name="Grace, Morgan (Brisbane)" userId="221d5f7b-4a46-4bd5-bdf1-698d3a91c208" providerId="ADAL" clId="{D90324C1-6CE4-4C28-B886-AED0B666B37F}" dt="2024-06-05T01:46:41.749" v="8248"/>
          <ac:spMkLst>
            <pc:docMk/>
            <pc:sldMk cId="3270237152" sldId="600"/>
            <ac:spMk id="115" creationId="{87DF0065-1E85-3CAE-AFF2-1B24507DE8EE}"/>
          </ac:spMkLst>
        </pc:spChg>
        <pc:spChg chg="add del mod ord">
          <ac:chgData name="Grace, Morgan (Brisbane)" userId="221d5f7b-4a46-4bd5-bdf1-698d3a91c208" providerId="ADAL" clId="{D90324C1-6CE4-4C28-B886-AED0B666B37F}" dt="2024-06-05T03:09:37.573" v="21561" actId="478"/>
          <ac:spMkLst>
            <pc:docMk/>
            <pc:sldMk cId="3270237152" sldId="600"/>
            <ac:spMk id="117" creationId="{510B6C96-70DF-85AB-E2A5-3C8C05647256}"/>
          </ac:spMkLst>
        </pc:spChg>
        <pc:spChg chg="add del mod ord">
          <ac:chgData name="Grace, Morgan (Brisbane)" userId="221d5f7b-4a46-4bd5-bdf1-698d3a91c208" providerId="ADAL" clId="{D90324C1-6CE4-4C28-B886-AED0B666B37F}" dt="2024-06-05T03:11:48.709" v="21577" actId="21"/>
          <ac:spMkLst>
            <pc:docMk/>
            <pc:sldMk cId="3270237152" sldId="600"/>
            <ac:spMk id="118" creationId="{FFF954C5-5223-672C-DA5A-D52DF0C176B4}"/>
          </ac:spMkLst>
        </pc:spChg>
        <pc:spChg chg="add del mod modVis">
          <ac:chgData name="Grace, Morgan (Brisbane)" userId="221d5f7b-4a46-4bd5-bdf1-698d3a91c208" providerId="ADAL" clId="{D90324C1-6CE4-4C28-B886-AED0B666B37F}" dt="2024-06-05T01:46:37.319" v="7986"/>
          <ac:spMkLst>
            <pc:docMk/>
            <pc:sldMk cId="3270237152" sldId="600"/>
            <ac:spMk id="119" creationId="{5212B615-166A-54FB-42D8-8A32A5D5E858}"/>
          </ac:spMkLst>
        </pc:spChg>
        <pc:spChg chg="add del mod modVis">
          <ac:chgData name="Grace, Morgan (Brisbane)" userId="221d5f7b-4a46-4bd5-bdf1-698d3a91c208" providerId="ADAL" clId="{D90324C1-6CE4-4C28-B886-AED0B666B37F}" dt="2024-06-05T01:46:40.367" v="8169"/>
          <ac:spMkLst>
            <pc:docMk/>
            <pc:sldMk cId="3270237152" sldId="600"/>
            <ac:spMk id="121" creationId="{5F673D6F-DAEA-C4DA-C715-EA12FFE02AA7}"/>
          </ac:spMkLst>
        </pc:spChg>
        <pc:spChg chg="add del mod modVis">
          <ac:chgData name="Grace, Morgan (Brisbane)" userId="221d5f7b-4a46-4bd5-bdf1-698d3a91c208" providerId="ADAL" clId="{D90324C1-6CE4-4C28-B886-AED0B666B37F}" dt="2024-06-05T01:46:41.780" v="8337"/>
          <ac:spMkLst>
            <pc:docMk/>
            <pc:sldMk cId="3270237152" sldId="600"/>
            <ac:spMk id="123" creationId="{F00A9165-3D70-4A62-CF77-09BDCDBA2FEB}"/>
          </ac:spMkLst>
        </pc:spChg>
        <pc:spChg chg="add del mod modVis">
          <ac:chgData name="Grace, Morgan (Brisbane)" userId="221d5f7b-4a46-4bd5-bdf1-698d3a91c208" providerId="ADAL" clId="{D90324C1-6CE4-4C28-B886-AED0B666B37F}" dt="2024-06-05T01:46:44.639" v="8606"/>
          <ac:spMkLst>
            <pc:docMk/>
            <pc:sldMk cId="3270237152" sldId="600"/>
            <ac:spMk id="125" creationId="{A8E23453-BA65-2A40-0326-E6B54CF51D8F}"/>
          </ac:spMkLst>
        </pc:spChg>
        <pc:spChg chg="add del mod modVis">
          <ac:chgData name="Grace, Morgan (Brisbane)" userId="221d5f7b-4a46-4bd5-bdf1-698d3a91c208" providerId="ADAL" clId="{D90324C1-6CE4-4C28-B886-AED0B666B37F}" dt="2024-06-05T01:46:49.046" v="8727"/>
          <ac:spMkLst>
            <pc:docMk/>
            <pc:sldMk cId="3270237152" sldId="600"/>
            <ac:spMk id="128" creationId="{E2171B29-5725-8796-9662-C5E29FEC34C5}"/>
          </ac:spMkLst>
        </pc:spChg>
        <pc:spChg chg="add del mod modVis">
          <ac:chgData name="Grace, Morgan (Brisbane)" userId="221d5f7b-4a46-4bd5-bdf1-698d3a91c208" providerId="ADAL" clId="{D90324C1-6CE4-4C28-B886-AED0B666B37F}" dt="2024-06-05T01:46:59.851" v="8972"/>
          <ac:spMkLst>
            <pc:docMk/>
            <pc:sldMk cId="3270237152" sldId="600"/>
            <ac:spMk id="129" creationId="{E98A8291-BBBA-B3B6-576D-8F7044D496E5}"/>
          </ac:spMkLst>
        </pc:spChg>
        <pc:spChg chg="add del mod modVis">
          <ac:chgData name="Grace, Morgan (Brisbane)" userId="221d5f7b-4a46-4bd5-bdf1-698d3a91c208" providerId="ADAL" clId="{D90324C1-6CE4-4C28-B886-AED0B666B37F}" dt="2024-06-05T01:47:09.525" v="9180"/>
          <ac:spMkLst>
            <pc:docMk/>
            <pc:sldMk cId="3270237152" sldId="600"/>
            <ac:spMk id="131" creationId="{AC2036A4-DF28-B48A-508F-100FFD87312F}"/>
          </ac:spMkLst>
        </pc:spChg>
        <pc:spChg chg="add del mod ord replST">
          <ac:chgData name="Grace, Morgan (Brisbane)" userId="221d5f7b-4a46-4bd5-bdf1-698d3a91c208" providerId="ADAL" clId="{D90324C1-6CE4-4C28-B886-AED0B666B37F}" dt="2024-06-05T01:52:53.464" v="15860"/>
          <ac:spMkLst>
            <pc:docMk/>
            <pc:sldMk cId="3270237152" sldId="600"/>
            <ac:spMk id="132" creationId="{87DF0065-1E85-3CAE-AFF2-1B24507DE8EE}"/>
          </ac:spMkLst>
        </pc:spChg>
        <pc:spChg chg="add del mod modVis">
          <ac:chgData name="Grace, Morgan (Brisbane)" userId="221d5f7b-4a46-4bd5-bdf1-698d3a91c208" providerId="ADAL" clId="{D90324C1-6CE4-4C28-B886-AED0B666B37F}" dt="2024-06-05T01:47:10.758" v="9333"/>
          <ac:spMkLst>
            <pc:docMk/>
            <pc:sldMk cId="3270237152" sldId="600"/>
            <ac:spMk id="134" creationId="{AB21D9BC-CC33-5EAD-B68B-4D3FF618276F}"/>
          </ac:spMkLst>
        </pc:spChg>
        <pc:spChg chg="add del mod modVis">
          <ac:chgData name="Grace, Morgan (Brisbane)" userId="221d5f7b-4a46-4bd5-bdf1-698d3a91c208" providerId="ADAL" clId="{D90324C1-6CE4-4C28-B886-AED0B666B37F}" dt="2024-06-05T01:47:37.477" v="10785"/>
          <ac:spMkLst>
            <pc:docMk/>
            <pc:sldMk cId="3270237152" sldId="600"/>
            <ac:spMk id="136" creationId="{74C03697-C128-91DE-2851-D1B36D37F3F3}"/>
          </ac:spMkLst>
        </pc:spChg>
        <pc:spChg chg="add del mod modVis">
          <ac:chgData name="Grace, Morgan (Brisbane)" userId="221d5f7b-4a46-4bd5-bdf1-698d3a91c208" providerId="ADAL" clId="{D90324C1-6CE4-4C28-B886-AED0B666B37F}" dt="2024-06-05T01:47:37.477" v="10785"/>
          <ac:spMkLst>
            <pc:docMk/>
            <pc:sldMk cId="3270237152" sldId="600"/>
            <ac:spMk id="138" creationId="{177BEA70-CAA8-B9DF-6559-623F10B68981}"/>
          </ac:spMkLst>
        </pc:spChg>
        <pc:spChg chg="add del mod modVis">
          <ac:chgData name="Grace, Morgan (Brisbane)" userId="221d5f7b-4a46-4bd5-bdf1-698d3a91c208" providerId="ADAL" clId="{D90324C1-6CE4-4C28-B886-AED0B666B37F}" dt="2024-06-05T01:47:34.451" v="10267"/>
          <ac:spMkLst>
            <pc:docMk/>
            <pc:sldMk cId="3270237152" sldId="600"/>
            <ac:spMk id="140" creationId="{3CA4E2A0-59C9-C23A-F680-EB585561F784}"/>
          </ac:spMkLst>
        </pc:spChg>
        <pc:spChg chg="add del mod modVis">
          <ac:chgData name="Grace, Morgan (Brisbane)" userId="221d5f7b-4a46-4bd5-bdf1-698d3a91c208" providerId="ADAL" clId="{D90324C1-6CE4-4C28-B886-AED0B666B37F}" dt="2024-06-05T01:47:34.451" v="10267"/>
          <ac:spMkLst>
            <pc:docMk/>
            <pc:sldMk cId="3270237152" sldId="600"/>
            <ac:spMk id="142" creationId="{61F79F67-67CE-98DA-C9E7-8258618E71EA}"/>
          </ac:spMkLst>
        </pc:spChg>
        <pc:spChg chg="add del mod modVis">
          <ac:chgData name="Grace, Morgan (Brisbane)" userId="221d5f7b-4a46-4bd5-bdf1-698d3a91c208" providerId="ADAL" clId="{D90324C1-6CE4-4C28-B886-AED0B666B37F}" dt="2024-06-05T01:47:37.477" v="10785"/>
          <ac:spMkLst>
            <pc:docMk/>
            <pc:sldMk cId="3270237152" sldId="600"/>
            <ac:spMk id="144" creationId="{8E2779A9-0832-D026-6237-F11BF7EFB176}"/>
          </ac:spMkLst>
        </pc:spChg>
        <pc:spChg chg="add del mod modVis">
          <ac:chgData name="Grace, Morgan (Brisbane)" userId="221d5f7b-4a46-4bd5-bdf1-698d3a91c208" providerId="ADAL" clId="{D90324C1-6CE4-4C28-B886-AED0B666B37F}" dt="2024-06-05T01:47:49.278" v="11760"/>
          <ac:spMkLst>
            <pc:docMk/>
            <pc:sldMk cId="3270237152" sldId="600"/>
            <ac:spMk id="146" creationId="{16902173-2111-60C6-CFBE-7C62E29C5BD4}"/>
          </ac:spMkLst>
        </pc:spChg>
        <pc:spChg chg="add del mod modVis">
          <ac:chgData name="Grace, Morgan (Brisbane)" userId="221d5f7b-4a46-4bd5-bdf1-698d3a91c208" providerId="ADAL" clId="{D90324C1-6CE4-4C28-B886-AED0B666B37F}" dt="2024-06-05T01:47:49.278" v="11760"/>
          <ac:spMkLst>
            <pc:docMk/>
            <pc:sldMk cId="3270237152" sldId="600"/>
            <ac:spMk id="147" creationId="{315775A1-7E04-07DF-C940-DD59033E53CC}"/>
          </ac:spMkLst>
        </pc:spChg>
        <pc:spChg chg="add del mod modVis">
          <ac:chgData name="Grace, Morgan (Brisbane)" userId="221d5f7b-4a46-4bd5-bdf1-698d3a91c208" providerId="ADAL" clId="{D90324C1-6CE4-4C28-B886-AED0B666B37F}" dt="2024-06-05T01:47:49.278" v="11760"/>
          <ac:spMkLst>
            <pc:docMk/>
            <pc:sldMk cId="3270237152" sldId="600"/>
            <ac:spMk id="149" creationId="{26E98C90-B5C0-8BA4-3F4A-82DEA7A7FC9D}"/>
          </ac:spMkLst>
        </pc:spChg>
        <pc:spChg chg="add del mod modVis">
          <ac:chgData name="Grace, Morgan (Brisbane)" userId="221d5f7b-4a46-4bd5-bdf1-698d3a91c208" providerId="ADAL" clId="{D90324C1-6CE4-4C28-B886-AED0B666B37F}" dt="2024-06-05T01:47:58.568" v="11984"/>
          <ac:spMkLst>
            <pc:docMk/>
            <pc:sldMk cId="3270237152" sldId="600"/>
            <ac:spMk id="151" creationId="{58BBFA92-6FC6-1C8B-BC77-760F20DF3AB4}"/>
          </ac:spMkLst>
        </pc:spChg>
        <pc:spChg chg="add del mod modVis">
          <ac:chgData name="Grace, Morgan (Brisbane)" userId="221d5f7b-4a46-4bd5-bdf1-698d3a91c208" providerId="ADAL" clId="{D90324C1-6CE4-4C28-B886-AED0B666B37F}" dt="2024-06-05T01:47:59.572" v="12114"/>
          <ac:spMkLst>
            <pc:docMk/>
            <pc:sldMk cId="3270237152" sldId="600"/>
            <ac:spMk id="153" creationId="{9CE78555-2700-9A8F-13E2-7353FBC3ACB9}"/>
          </ac:spMkLst>
        </pc:spChg>
        <pc:spChg chg="add del mod modVis">
          <ac:chgData name="Grace, Morgan (Brisbane)" userId="221d5f7b-4a46-4bd5-bdf1-698d3a91c208" providerId="ADAL" clId="{D90324C1-6CE4-4C28-B886-AED0B666B37F}" dt="2024-06-05T01:48:01.564" v="12316"/>
          <ac:spMkLst>
            <pc:docMk/>
            <pc:sldMk cId="3270237152" sldId="600"/>
            <ac:spMk id="155" creationId="{4558834A-48F4-9B1E-7EBF-FDF2CE556959}"/>
          </ac:spMkLst>
        </pc:spChg>
        <pc:spChg chg="add del mod modVis">
          <ac:chgData name="Grace, Morgan (Brisbane)" userId="221d5f7b-4a46-4bd5-bdf1-698d3a91c208" providerId="ADAL" clId="{D90324C1-6CE4-4C28-B886-AED0B666B37F}" dt="2024-06-05T01:48:06.386" v="12446"/>
          <ac:spMkLst>
            <pc:docMk/>
            <pc:sldMk cId="3270237152" sldId="600"/>
            <ac:spMk id="157" creationId="{7F5E0EAB-A9E3-13DC-8623-E0AC4F179C6E}"/>
          </ac:spMkLst>
        </pc:spChg>
        <pc:spChg chg="add del mod modVis">
          <ac:chgData name="Grace, Morgan (Brisbane)" userId="221d5f7b-4a46-4bd5-bdf1-698d3a91c208" providerId="ADAL" clId="{D90324C1-6CE4-4C28-B886-AED0B666B37F}" dt="2024-06-05T01:48:07.287" v="12635"/>
          <ac:spMkLst>
            <pc:docMk/>
            <pc:sldMk cId="3270237152" sldId="600"/>
            <ac:spMk id="159" creationId="{884BF6A7-1862-46FF-F980-A531D64F9493}"/>
          </ac:spMkLst>
        </pc:spChg>
        <pc:spChg chg="add del mod replST">
          <ac:chgData name="Grace, Morgan (Brisbane)" userId="221d5f7b-4a46-4bd5-bdf1-698d3a91c208" providerId="ADAL" clId="{D90324C1-6CE4-4C28-B886-AED0B666B37F}" dt="2024-06-05T01:48:09.159" v="12692"/>
          <ac:spMkLst>
            <pc:docMk/>
            <pc:sldMk cId="3270237152" sldId="600"/>
            <ac:spMk id="160" creationId="{87DF0065-1E85-3CAE-AFF2-1B24507DE8EE}"/>
          </ac:spMkLst>
        </pc:spChg>
        <pc:spChg chg="add del mod modVis">
          <ac:chgData name="Grace, Morgan (Brisbane)" userId="221d5f7b-4a46-4bd5-bdf1-698d3a91c208" providerId="ADAL" clId="{D90324C1-6CE4-4C28-B886-AED0B666B37F}" dt="2024-06-05T01:48:09.190" v="12767"/>
          <ac:spMkLst>
            <pc:docMk/>
            <pc:sldMk cId="3270237152" sldId="600"/>
            <ac:spMk id="162" creationId="{BFF060AC-2B47-4784-356B-F3994960668B}"/>
          </ac:spMkLst>
        </pc:spChg>
        <pc:spChg chg="add del mod modVis">
          <ac:chgData name="Grace, Morgan (Brisbane)" userId="221d5f7b-4a46-4bd5-bdf1-698d3a91c208" providerId="ADAL" clId="{D90324C1-6CE4-4C28-B886-AED0B666B37F}" dt="2024-06-05T01:48:14.457" v="12897"/>
          <ac:spMkLst>
            <pc:docMk/>
            <pc:sldMk cId="3270237152" sldId="600"/>
            <ac:spMk id="164" creationId="{806F4ADB-ABE8-1E6E-EF01-4192F91FBF7E}"/>
          </ac:spMkLst>
        </pc:spChg>
        <pc:spChg chg="add del mod modVis">
          <ac:chgData name="Grace, Morgan (Brisbane)" userId="221d5f7b-4a46-4bd5-bdf1-698d3a91c208" providerId="ADAL" clId="{D90324C1-6CE4-4C28-B886-AED0B666B37F}" dt="2024-06-05T01:48:27.330" v="13027"/>
          <ac:spMkLst>
            <pc:docMk/>
            <pc:sldMk cId="3270237152" sldId="600"/>
            <ac:spMk id="166" creationId="{856CF2E9-F47F-649D-0072-D76542AD4CC8}"/>
          </ac:spMkLst>
        </pc:spChg>
        <pc:spChg chg="add del mod modVis">
          <ac:chgData name="Grace, Morgan (Brisbane)" userId="221d5f7b-4a46-4bd5-bdf1-698d3a91c208" providerId="ADAL" clId="{D90324C1-6CE4-4C28-B886-AED0B666B37F}" dt="2024-06-05T01:48:36.783" v="13157"/>
          <ac:spMkLst>
            <pc:docMk/>
            <pc:sldMk cId="3270237152" sldId="600"/>
            <ac:spMk id="168" creationId="{8EAD4C74-B0FA-86DD-F78F-A6EF5077DBF7}"/>
          </ac:spMkLst>
        </pc:spChg>
        <pc:spChg chg="add del mod modVis">
          <ac:chgData name="Grace, Morgan (Brisbane)" userId="221d5f7b-4a46-4bd5-bdf1-698d3a91c208" providerId="ADAL" clId="{D90324C1-6CE4-4C28-B886-AED0B666B37F}" dt="2024-06-05T01:49:05.429" v="13287"/>
          <ac:spMkLst>
            <pc:docMk/>
            <pc:sldMk cId="3270237152" sldId="600"/>
            <ac:spMk id="170" creationId="{4C341513-AFF4-D91F-8D11-C5DF32395859}"/>
          </ac:spMkLst>
        </pc:spChg>
        <pc:spChg chg="add del mod modVis">
          <ac:chgData name="Grace, Morgan (Brisbane)" userId="221d5f7b-4a46-4bd5-bdf1-698d3a91c208" providerId="ADAL" clId="{D90324C1-6CE4-4C28-B886-AED0B666B37F}" dt="2024-06-05T01:49:15.673" v="13417"/>
          <ac:spMkLst>
            <pc:docMk/>
            <pc:sldMk cId="3270237152" sldId="600"/>
            <ac:spMk id="172" creationId="{92889109-AA04-B7B9-D69E-6ACC4A15C346}"/>
          </ac:spMkLst>
        </pc:spChg>
        <pc:spChg chg="add del mod modVis">
          <ac:chgData name="Grace, Morgan (Brisbane)" userId="221d5f7b-4a46-4bd5-bdf1-698d3a91c208" providerId="ADAL" clId="{D90324C1-6CE4-4C28-B886-AED0B666B37F}" dt="2024-06-05T01:51:46.332" v="13547"/>
          <ac:spMkLst>
            <pc:docMk/>
            <pc:sldMk cId="3270237152" sldId="600"/>
            <ac:spMk id="174" creationId="{B6E16D56-1026-8514-C4E7-757AE6116C50}"/>
          </ac:spMkLst>
        </pc:spChg>
        <pc:spChg chg="add del mod modVis">
          <ac:chgData name="Grace, Morgan (Brisbane)" userId="221d5f7b-4a46-4bd5-bdf1-698d3a91c208" providerId="ADAL" clId="{D90324C1-6CE4-4C28-B886-AED0B666B37F}" dt="2024-06-05T01:51:53.143" v="13936"/>
          <ac:spMkLst>
            <pc:docMk/>
            <pc:sldMk cId="3270237152" sldId="600"/>
            <ac:spMk id="176" creationId="{8DEDF946-9C61-D8C9-540C-70F9A1B2E4C5}"/>
          </ac:spMkLst>
        </pc:spChg>
        <pc:spChg chg="add del mod replST">
          <ac:chgData name="Grace, Morgan (Brisbane)" userId="221d5f7b-4a46-4bd5-bdf1-698d3a91c208" providerId="ADAL" clId="{D90324C1-6CE4-4C28-B886-AED0B666B37F}" dt="2024-06-05T01:51:55.046" v="14122"/>
          <ac:spMkLst>
            <pc:docMk/>
            <pc:sldMk cId="3270237152" sldId="600"/>
            <ac:spMk id="177" creationId="{87DF0065-1E85-3CAE-AFF2-1B24507DE8EE}"/>
          </ac:spMkLst>
        </pc:spChg>
        <pc:spChg chg="add del mod replST">
          <ac:chgData name="Grace, Morgan (Brisbane)" userId="221d5f7b-4a46-4bd5-bdf1-698d3a91c208" providerId="ADAL" clId="{D90324C1-6CE4-4C28-B886-AED0B666B37F}" dt="2024-06-05T01:51:55.046" v="14123"/>
          <ac:spMkLst>
            <pc:docMk/>
            <pc:sldMk cId="3270237152" sldId="600"/>
            <ac:spMk id="178" creationId="{87DF0065-1E85-3CAE-AFF2-1B24507DE8EE}"/>
          </ac:spMkLst>
        </pc:spChg>
        <pc:spChg chg="add del mod replST">
          <ac:chgData name="Grace, Morgan (Brisbane)" userId="221d5f7b-4a46-4bd5-bdf1-698d3a91c208" providerId="ADAL" clId="{D90324C1-6CE4-4C28-B886-AED0B666B37F}" dt="2024-06-05T01:51:55.046" v="14124"/>
          <ac:spMkLst>
            <pc:docMk/>
            <pc:sldMk cId="3270237152" sldId="600"/>
            <ac:spMk id="179" creationId="{87DF0065-1E85-3CAE-AFF2-1B24507DE8EE}"/>
          </ac:spMkLst>
        </pc:spChg>
        <pc:spChg chg="add del mod replST">
          <ac:chgData name="Grace, Morgan (Brisbane)" userId="221d5f7b-4a46-4bd5-bdf1-698d3a91c208" providerId="ADAL" clId="{D90324C1-6CE4-4C28-B886-AED0B666B37F}" dt="2024-06-05T01:51:55.046" v="14125"/>
          <ac:spMkLst>
            <pc:docMk/>
            <pc:sldMk cId="3270237152" sldId="600"/>
            <ac:spMk id="180" creationId="{87DF0065-1E85-3CAE-AFF2-1B24507DE8EE}"/>
          </ac:spMkLst>
        </pc:spChg>
        <pc:spChg chg="add del mod replST">
          <ac:chgData name="Grace, Morgan (Brisbane)" userId="221d5f7b-4a46-4bd5-bdf1-698d3a91c208" providerId="ADAL" clId="{D90324C1-6CE4-4C28-B886-AED0B666B37F}" dt="2024-06-05T01:51:55.046" v="14126"/>
          <ac:spMkLst>
            <pc:docMk/>
            <pc:sldMk cId="3270237152" sldId="600"/>
            <ac:spMk id="181" creationId="{87DF0065-1E85-3CAE-AFF2-1B24507DE8EE}"/>
          </ac:spMkLst>
        </pc:spChg>
        <pc:spChg chg="add del mod modVis">
          <ac:chgData name="Grace, Morgan (Brisbane)" userId="221d5f7b-4a46-4bd5-bdf1-698d3a91c208" providerId="ADAL" clId="{D90324C1-6CE4-4C28-B886-AED0B666B37F}" dt="2024-06-05T01:51:54.082" v="14066"/>
          <ac:spMkLst>
            <pc:docMk/>
            <pc:sldMk cId="3270237152" sldId="600"/>
            <ac:spMk id="183" creationId="{7D3DDD12-46E2-38AC-1C5D-196CCC935C33}"/>
          </ac:spMkLst>
        </pc:spChg>
        <pc:spChg chg="add del mod modVis">
          <ac:chgData name="Grace, Morgan (Brisbane)" userId="221d5f7b-4a46-4bd5-bdf1-698d3a91c208" providerId="ADAL" clId="{D90324C1-6CE4-4C28-B886-AED0B666B37F}" dt="2024-06-05T01:51:55.084" v="14196"/>
          <ac:spMkLst>
            <pc:docMk/>
            <pc:sldMk cId="3270237152" sldId="600"/>
            <ac:spMk id="185" creationId="{467EAC8D-F15E-9D06-63E2-470B01AD9DBB}"/>
          </ac:spMkLst>
        </pc:spChg>
        <pc:spChg chg="add del mod modVis">
          <ac:chgData name="Grace, Morgan (Brisbane)" userId="221d5f7b-4a46-4bd5-bdf1-698d3a91c208" providerId="ADAL" clId="{D90324C1-6CE4-4C28-B886-AED0B666B37F}" dt="2024-06-05T01:52:06.661" v="14585"/>
          <ac:spMkLst>
            <pc:docMk/>
            <pc:sldMk cId="3270237152" sldId="600"/>
            <ac:spMk id="187" creationId="{72FE9978-09E4-AFBF-B832-5148DDB8E8B8}"/>
          </ac:spMkLst>
        </pc:spChg>
        <pc:spChg chg="add del mod replST">
          <ac:chgData name="Grace, Morgan (Brisbane)" userId="221d5f7b-4a46-4bd5-bdf1-698d3a91c208" providerId="ADAL" clId="{D90324C1-6CE4-4C28-B886-AED0B666B37F}" dt="2024-06-05T03:09:36.208" v="21530"/>
          <ac:spMkLst>
            <pc:docMk/>
            <pc:sldMk cId="3270237152" sldId="600"/>
            <ac:spMk id="188" creationId="{87DF0065-1E85-3CAE-AFF2-1B24507DE8EE}"/>
          </ac:spMkLst>
        </pc:spChg>
        <pc:spChg chg="add del mod replST">
          <ac:chgData name="Grace, Morgan (Brisbane)" userId="221d5f7b-4a46-4bd5-bdf1-698d3a91c208" providerId="ADAL" clId="{D90324C1-6CE4-4C28-B886-AED0B666B37F}" dt="2024-06-05T03:09:36.208" v="21529"/>
          <ac:spMkLst>
            <pc:docMk/>
            <pc:sldMk cId="3270237152" sldId="600"/>
            <ac:spMk id="189" creationId="{87DF0065-1E85-3CAE-AFF2-1B24507DE8EE}"/>
          </ac:spMkLst>
        </pc:spChg>
        <pc:spChg chg="add del mod replST">
          <ac:chgData name="Grace, Morgan (Brisbane)" userId="221d5f7b-4a46-4bd5-bdf1-698d3a91c208" providerId="ADAL" clId="{D90324C1-6CE4-4C28-B886-AED0B666B37F}" dt="2024-06-05T03:09:36.208" v="21528"/>
          <ac:spMkLst>
            <pc:docMk/>
            <pc:sldMk cId="3270237152" sldId="600"/>
            <ac:spMk id="190" creationId="{87DF0065-1E85-3CAE-AFF2-1B24507DE8EE}"/>
          </ac:spMkLst>
        </pc:spChg>
        <pc:spChg chg="add del mod replST">
          <ac:chgData name="Grace, Morgan (Brisbane)" userId="221d5f7b-4a46-4bd5-bdf1-698d3a91c208" providerId="ADAL" clId="{D90324C1-6CE4-4C28-B886-AED0B666B37F}" dt="2024-06-05T03:09:36.208" v="21527"/>
          <ac:spMkLst>
            <pc:docMk/>
            <pc:sldMk cId="3270237152" sldId="600"/>
            <ac:spMk id="191" creationId="{87DF0065-1E85-3CAE-AFF2-1B24507DE8EE}"/>
          </ac:spMkLst>
        </pc:spChg>
        <pc:spChg chg="add del mod replST">
          <ac:chgData name="Grace, Morgan (Brisbane)" userId="221d5f7b-4a46-4bd5-bdf1-698d3a91c208" providerId="ADAL" clId="{D90324C1-6CE4-4C28-B886-AED0B666B37F}" dt="2024-06-05T03:09:36.208" v="21526"/>
          <ac:spMkLst>
            <pc:docMk/>
            <pc:sldMk cId="3270237152" sldId="600"/>
            <ac:spMk id="192" creationId="{87DF0065-1E85-3CAE-AFF2-1B24507DE8EE}"/>
          </ac:spMkLst>
        </pc:spChg>
        <pc:spChg chg="add del mod modVis">
          <ac:chgData name="Grace, Morgan (Brisbane)" userId="221d5f7b-4a46-4bd5-bdf1-698d3a91c208" providerId="ADAL" clId="{D90324C1-6CE4-4C28-B886-AED0B666B37F}" dt="2024-06-05T01:52:13.144" v="14769"/>
          <ac:spMkLst>
            <pc:docMk/>
            <pc:sldMk cId="3270237152" sldId="600"/>
            <ac:spMk id="194" creationId="{FFCB61DC-614C-AF84-134E-BE589B8EE39C}"/>
          </ac:spMkLst>
        </pc:spChg>
        <pc:spChg chg="add del mod replST">
          <ac:chgData name="Grace, Morgan (Brisbane)" userId="221d5f7b-4a46-4bd5-bdf1-698d3a91c208" providerId="ADAL" clId="{D90324C1-6CE4-4C28-B886-AED0B666B37F}" dt="2024-06-05T03:09:36.208" v="21531"/>
          <ac:spMkLst>
            <pc:docMk/>
            <pc:sldMk cId="3270237152" sldId="600"/>
            <ac:spMk id="195" creationId="{87DF0065-1E85-3CAE-AFF2-1B24507DE8EE}"/>
          </ac:spMkLst>
        </pc:spChg>
        <pc:spChg chg="add del mod modVis">
          <ac:chgData name="Grace, Morgan (Brisbane)" userId="221d5f7b-4a46-4bd5-bdf1-698d3a91c208" providerId="ADAL" clId="{D90324C1-6CE4-4C28-B886-AED0B666B37F}" dt="2024-06-05T01:52:16.671" v="14905"/>
          <ac:spMkLst>
            <pc:docMk/>
            <pc:sldMk cId="3270237152" sldId="600"/>
            <ac:spMk id="197" creationId="{1AF9FC42-1F0C-A07E-EEBB-3EA574C56854}"/>
          </ac:spMkLst>
        </pc:spChg>
        <pc:spChg chg="add del mod modVis">
          <ac:chgData name="Grace, Morgan (Brisbane)" userId="221d5f7b-4a46-4bd5-bdf1-698d3a91c208" providerId="ADAL" clId="{D90324C1-6CE4-4C28-B886-AED0B666B37F}" dt="2024-06-05T01:52:19.271" v="15045"/>
          <ac:spMkLst>
            <pc:docMk/>
            <pc:sldMk cId="3270237152" sldId="600"/>
            <ac:spMk id="199" creationId="{57E50BAC-F60A-075C-A150-70D71FA2439D}"/>
          </ac:spMkLst>
        </pc:spChg>
        <pc:spChg chg="add del mod modVis">
          <ac:chgData name="Grace, Morgan (Brisbane)" userId="221d5f7b-4a46-4bd5-bdf1-698d3a91c208" providerId="ADAL" clId="{D90324C1-6CE4-4C28-B886-AED0B666B37F}" dt="2024-06-05T01:52:20.835" v="15180"/>
          <ac:spMkLst>
            <pc:docMk/>
            <pc:sldMk cId="3270237152" sldId="600"/>
            <ac:spMk id="201" creationId="{0500202E-BF0D-3664-772A-AC8FCC4CCD2E}"/>
          </ac:spMkLst>
        </pc:spChg>
        <pc:spChg chg="add del mod modVis">
          <ac:chgData name="Grace, Morgan (Brisbane)" userId="221d5f7b-4a46-4bd5-bdf1-698d3a91c208" providerId="ADAL" clId="{D90324C1-6CE4-4C28-B886-AED0B666B37F}" dt="2024-06-05T01:52:34.454" v="15572"/>
          <ac:spMkLst>
            <pc:docMk/>
            <pc:sldMk cId="3270237152" sldId="600"/>
            <ac:spMk id="203" creationId="{DD2560B2-D4A2-4EA6-EC7A-F8DD0620F469}"/>
          </ac:spMkLst>
        </pc:spChg>
        <pc:spChg chg="add del mod modVis">
          <ac:chgData name="Grace, Morgan (Brisbane)" userId="221d5f7b-4a46-4bd5-bdf1-698d3a91c208" providerId="ADAL" clId="{D90324C1-6CE4-4C28-B886-AED0B666B37F}" dt="2024-06-05T01:52:42.814" v="15798"/>
          <ac:spMkLst>
            <pc:docMk/>
            <pc:sldMk cId="3270237152" sldId="600"/>
            <ac:spMk id="209" creationId="{A4E51A76-43D1-6CDE-7FE6-B6F9D5ABAEA0}"/>
          </ac:spMkLst>
        </pc:spChg>
        <pc:spChg chg="add del mod modVis">
          <ac:chgData name="Grace, Morgan (Brisbane)" userId="221d5f7b-4a46-4bd5-bdf1-698d3a91c208" providerId="ADAL" clId="{D90324C1-6CE4-4C28-B886-AED0B666B37F}" dt="2024-06-05T01:52:53.496" v="15930"/>
          <ac:spMkLst>
            <pc:docMk/>
            <pc:sldMk cId="3270237152" sldId="600"/>
            <ac:spMk id="211" creationId="{9DA5269F-4086-A620-3EB9-42EF064786F0}"/>
          </ac:spMkLst>
        </pc:spChg>
        <pc:spChg chg="add del mod modVis">
          <ac:chgData name="Grace, Morgan (Brisbane)" userId="221d5f7b-4a46-4bd5-bdf1-698d3a91c208" providerId="ADAL" clId="{D90324C1-6CE4-4C28-B886-AED0B666B37F}" dt="2024-06-05T01:53:03.679" v="16053"/>
          <ac:spMkLst>
            <pc:docMk/>
            <pc:sldMk cId="3270237152" sldId="600"/>
            <ac:spMk id="213" creationId="{EF419FA1-5268-B8A2-92A7-DA114A1C72D3}"/>
          </ac:spMkLst>
        </pc:spChg>
        <pc:spChg chg="add del mod modVis">
          <ac:chgData name="Grace, Morgan (Brisbane)" userId="221d5f7b-4a46-4bd5-bdf1-698d3a91c208" providerId="ADAL" clId="{D90324C1-6CE4-4C28-B886-AED0B666B37F}" dt="2024-06-05T01:53:08.504" v="16228"/>
          <ac:spMkLst>
            <pc:docMk/>
            <pc:sldMk cId="3270237152" sldId="600"/>
            <ac:spMk id="215" creationId="{CC134498-ACF5-D930-CABA-5013782EFE45}"/>
          </ac:spMkLst>
        </pc:spChg>
        <pc:spChg chg="add del mod modVis">
          <ac:chgData name="Grace, Morgan (Brisbane)" userId="221d5f7b-4a46-4bd5-bdf1-698d3a91c208" providerId="ADAL" clId="{D90324C1-6CE4-4C28-B886-AED0B666B37F}" dt="2024-06-05T01:53:10.037" v="16403"/>
          <ac:spMkLst>
            <pc:docMk/>
            <pc:sldMk cId="3270237152" sldId="600"/>
            <ac:spMk id="217" creationId="{8F4587E8-BB17-9131-1C3F-E8F7FCB24785}"/>
          </ac:spMkLst>
        </pc:spChg>
        <pc:spChg chg="add del mod modVis">
          <ac:chgData name="Grace, Morgan (Brisbane)" userId="221d5f7b-4a46-4bd5-bdf1-698d3a91c208" providerId="ADAL" clId="{D90324C1-6CE4-4C28-B886-AED0B666B37F}" dt="2024-06-05T01:53:22.030" v="16539"/>
          <ac:spMkLst>
            <pc:docMk/>
            <pc:sldMk cId="3270237152" sldId="600"/>
            <ac:spMk id="219" creationId="{B4AEADCF-3777-DC4D-08A9-3419D25C6009}"/>
          </ac:spMkLst>
        </pc:spChg>
        <pc:spChg chg="add del mod modVis">
          <ac:chgData name="Grace, Morgan (Brisbane)" userId="221d5f7b-4a46-4bd5-bdf1-698d3a91c208" providerId="ADAL" clId="{D90324C1-6CE4-4C28-B886-AED0B666B37F}" dt="2024-06-05T01:53:33.321" v="16949"/>
          <ac:spMkLst>
            <pc:docMk/>
            <pc:sldMk cId="3270237152" sldId="600"/>
            <ac:spMk id="221" creationId="{993C380C-D300-7425-BC72-50ECBDD6ED41}"/>
          </ac:spMkLst>
        </pc:spChg>
        <pc:spChg chg="add del mod modVis">
          <ac:chgData name="Grace, Morgan (Brisbane)" userId="221d5f7b-4a46-4bd5-bdf1-698d3a91c208" providerId="ADAL" clId="{D90324C1-6CE4-4C28-B886-AED0B666B37F}" dt="2024-06-05T01:53:36.121" v="17093"/>
          <ac:spMkLst>
            <pc:docMk/>
            <pc:sldMk cId="3270237152" sldId="600"/>
            <ac:spMk id="223" creationId="{13AEB31E-480A-B5E4-A4E8-87F178BEEBE5}"/>
          </ac:spMkLst>
        </pc:spChg>
        <pc:spChg chg="add del mod modVis">
          <ac:chgData name="Grace, Morgan (Brisbane)" userId="221d5f7b-4a46-4bd5-bdf1-698d3a91c208" providerId="ADAL" clId="{D90324C1-6CE4-4C28-B886-AED0B666B37F}" dt="2024-06-05T01:54:08.701" v="17625"/>
          <ac:spMkLst>
            <pc:docMk/>
            <pc:sldMk cId="3270237152" sldId="600"/>
            <ac:spMk id="225" creationId="{76003E7B-C16E-C779-1743-FEBDB2A62003}"/>
          </ac:spMkLst>
        </pc:spChg>
        <pc:spChg chg="add del mod modVis">
          <ac:chgData name="Grace, Morgan (Brisbane)" userId="221d5f7b-4a46-4bd5-bdf1-698d3a91c208" providerId="ADAL" clId="{D90324C1-6CE4-4C28-B886-AED0B666B37F}" dt="2024-06-05T01:54:12.879" v="17761"/>
          <ac:spMkLst>
            <pc:docMk/>
            <pc:sldMk cId="3270237152" sldId="600"/>
            <ac:spMk id="227" creationId="{28E7A11A-30A9-8177-FD6D-6CE43CBFA275}"/>
          </ac:spMkLst>
        </pc:spChg>
        <pc:spChg chg="add del mod modVis">
          <ac:chgData name="Grace, Morgan (Brisbane)" userId="221d5f7b-4a46-4bd5-bdf1-698d3a91c208" providerId="ADAL" clId="{D90324C1-6CE4-4C28-B886-AED0B666B37F}" dt="2024-06-05T01:54:17.101" v="17897"/>
          <ac:spMkLst>
            <pc:docMk/>
            <pc:sldMk cId="3270237152" sldId="600"/>
            <ac:spMk id="229" creationId="{F5B73D72-FC4E-74CF-7436-9F0B76D79CA2}"/>
          </ac:spMkLst>
        </pc:spChg>
        <pc:spChg chg="add del mod modVis">
          <ac:chgData name="Grace, Morgan (Brisbane)" userId="221d5f7b-4a46-4bd5-bdf1-698d3a91c208" providerId="ADAL" clId="{D90324C1-6CE4-4C28-B886-AED0B666B37F}" dt="2024-06-05T01:54:46.459" v="18636"/>
          <ac:spMkLst>
            <pc:docMk/>
            <pc:sldMk cId="3270237152" sldId="600"/>
            <ac:spMk id="231" creationId="{491E9123-72D6-165B-2280-2D49B2E06366}"/>
          </ac:spMkLst>
        </pc:spChg>
        <pc:spChg chg="add del mod modVis">
          <ac:chgData name="Grace, Morgan (Brisbane)" userId="221d5f7b-4a46-4bd5-bdf1-698d3a91c208" providerId="ADAL" clId="{D90324C1-6CE4-4C28-B886-AED0B666B37F}" dt="2024-06-05T01:55:53.257" v="19070"/>
          <ac:spMkLst>
            <pc:docMk/>
            <pc:sldMk cId="3270237152" sldId="600"/>
            <ac:spMk id="233" creationId="{CCD08065-D852-D507-12DF-E23DB2EB3E12}"/>
          </ac:spMkLst>
        </pc:spChg>
        <pc:spChg chg="add mod topLvl">
          <ac:chgData name="Grace, Morgan (Brisbane)" userId="221d5f7b-4a46-4bd5-bdf1-698d3a91c208" providerId="ADAL" clId="{D90324C1-6CE4-4C28-B886-AED0B666B37F}" dt="2024-06-06T05:13:57.098" v="43597" actId="947"/>
          <ac:spMkLst>
            <pc:docMk/>
            <pc:sldMk cId="3270237152" sldId="600"/>
            <ac:spMk id="235" creationId="{E0772658-4F2A-CDE8-8C9C-505AB5B26DE7}"/>
          </ac:spMkLst>
        </pc:spChg>
        <pc:spChg chg="add del mod modVis">
          <ac:chgData name="Grace, Morgan (Brisbane)" userId="221d5f7b-4a46-4bd5-bdf1-698d3a91c208" providerId="ADAL" clId="{D90324C1-6CE4-4C28-B886-AED0B666B37F}" dt="2024-06-05T03:01:46.906" v="19942"/>
          <ac:spMkLst>
            <pc:docMk/>
            <pc:sldMk cId="3270237152" sldId="600"/>
            <ac:spMk id="237" creationId="{19D4B6CB-81C8-5616-F96A-5C06158ACF11}"/>
          </ac:spMkLst>
        </pc:spChg>
        <pc:spChg chg="add del mod">
          <ac:chgData name="Grace, Morgan (Brisbane)" userId="221d5f7b-4a46-4bd5-bdf1-698d3a91c208" providerId="ADAL" clId="{D90324C1-6CE4-4C28-B886-AED0B666B37F}" dt="2024-06-05T03:09:25.723" v="21500" actId="478"/>
          <ac:spMkLst>
            <pc:docMk/>
            <pc:sldMk cId="3270237152" sldId="600"/>
            <ac:spMk id="239" creationId="{60AD8463-F3AF-2D6B-52D0-2A2442F679D9}"/>
          </ac:spMkLst>
        </pc:spChg>
        <pc:spChg chg="add del mod modVis">
          <ac:chgData name="Grace, Morgan (Brisbane)" userId="221d5f7b-4a46-4bd5-bdf1-698d3a91c208" providerId="ADAL" clId="{D90324C1-6CE4-4C28-B886-AED0B666B37F}" dt="2024-06-05T03:09:36.239" v="21558"/>
          <ac:spMkLst>
            <pc:docMk/>
            <pc:sldMk cId="3270237152" sldId="600"/>
            <ac:spMk id="240" creationId="{58C59AF2-BE09-F589-A7B5-ED1128F1ADAD}"/>
          </ac:spMkLst>
        </pc:spChg>
        <pc:spChg chg="add mod">
          <ac:chgData name="Grace, Morgan (Brisbane)" userId="221d5f7b-4a46-4bd5-bdf1-698d3a91c208" providerId="ADAL" clId="{D90324C1-6CE4-4C28-B886-AED0B666B37F}" dt="2024-06-05T05:41:53.225" v="33874" actId="571"/>
          <ac:spMkLst>
            <pc:docMk/>
            <pc:sldMk cId="3270237152" sldId="600"/>
            <ac:spMk id="241" creationId="{89F45870-8D04-DB4A-43A4-348B5561EE61}"/>
          </ac:spMkLst>
        </pc:spChg>
        <pc:spChg chg="add mod ord">
          <ac:chgData name="Grace, Morgan (Brisbane)" userId="221d5f7b-4a46-4bd5-bdf1-698d3a91c208" providerId="ADAL" clId="{D90324C1-6CE4-4C28-B886-AED0B666B37F}" dt="2024-06-06T05:44:25.562" v="47493" actId="58"/>
          <ac:spMkLst>
            <pc:docMk/>
            <pc:sldMk cId="3270237152" sldId="600"/>
            <ac:spMk id="242" creationId="{38A4D175-BB75-4E6B-219E-0BC86AD7CA08}"/>
          </ac:spMkLst>
        </pc:spChg>
        <pc:grpChg chg="add mod ord">
          <ac:chgData name="Grace, Morgan (Brisbane)" userId="221d5f7b-4a46-4bd5-bdf1-698d3a91c208" providerId="ADAL" clId="{D90324C1-6CE4-4C28-B886-AED0B666B37F}" dt="2024-06-06T05:31:52.975" v="46979" actId="164"/>
          <ac:grpSpMkLst>
            <pc:docMk/>
            <pc:sldMk cId="3270237152" sldId="600"/>
            <ac:grpSpMk id="6" creationId="{D258421F-68E7-E469-587A-16F13EE7EF2C}"/>
          </ac:grpSpMkLst>
        </pc:grpChg>
        <pc:grpChg chg="add mod">
          <ac:chgData name="Grace, Morgan (Brisbane)" userId="221d5f7b-4a46-4bd5-bdf1-698d3a91c208" providerId="ADAL" clId="{D90324C1-6CE4-4C28-B886-AED0B666B37F}" dt="2024-06-06T05:31:57.401" v="46985" actId="1035"/>
          <ac:grpSpMkLst>
            <pc:docMk/>
            <pc:sldMk cId="3270237152" sldId="600"/>
            <ac:grpSpMk id="11" creationId="{C7416DDD-1109-48F1-B9B8-97B4D57C3780}"/>
          </ac:grpSpMkLst>
        </pc:grpChg>
        <pc:grpChg chg="add del mod">
          <ac:chgData name="Grace, Morgan (Brisbane)" userId="221d5f7b-4a46-4bd5-bdf1-698d3a91c208" providerId="ADAL" clId="{D90324C1-6CE4-4C28-B886-AED0B666B37F}" dt="2024-06-05T01:04:10.251" v="3407" actId="165"/>
          <ac:grpSpMkLst>
            <pc:docMk/>
            <pc:sldMk cId="3270237152" sldId="600"/>
            <ac:grpSpMk id="56" creationId="{73A031A4-FE47-D554-5A93-4ADC88BD58AD}"/>
          </ac:grpSpMkLst>
        </pc:grpChg>
        <pc:grpChg chg="add del mod ord">
          <ac:chgData name="Grace, Morgan (Brisbane)" userId="221d5f7b-4a46-4bd5-bdf1-698d3a91c208" providerId="ADAL" clId="{D90324C1-6CE4-4C28-B886-AED0B666B37F}" dt="2024-06-06T00:46:44.701" v="37995" actId="165"/>
          <ac:grpSpMkLst>
            <pc:docMk/>
            <pc:sldMk cId="3270237152" sldId="600"/>
            <ac:grpSpMk id="236" creationId="{0E8A2D3D-48A3-00C5-E907-97A31FC2DE8B}"/>
          </ac:grpSpMkLst>
        </pc:grpChg>
        <pc:graphicFrameChg chg="mod">
          <ac:chgData name="Grace, Morgan (Brisbane)" userId="221d5f7b-4a46-4bd5-bdf1-698d3a91c208" providerId="ADAL" clId="{D90324C1-6CE4-4C28-B886-AED0B666B37F}" dt="2024-06-21T01:52:30.350" v="125694"/>
          <ac:graphicFrameMkLst>
            <pc:docMk/>
            <pc:sldMk cId="3270237152" sldId="600"/>
            <ac:graphicFrameMk id="5" creationId="{30D3245C-2F72-44F6-97CC-31945DE6D65A}"/>
          </ac:graphicFrameMkLst>
        </pc:graphicFrameChg>
        <pc:graphicFrameChg chg="add del mod replST">
          <ac:chgData name="Grace, Morgan (Brisbane)" userId="221d5f7b-4a46-4bd5-bdf1-698d3a91c208" providerId="ADAL" clId="{D90324C1-6CE4-4C28-B886-AED0B666B37F}" dt="2024-06-04T23:54:01.157" v="638"/>
          <ac:graphicFrameMkLst>
            <pc:docMk/>
            <pc:sldMk cId="3270237152" sldId="600"/>
            <ac:graphicFrameMk id="6" creationId="{D494375C-BA92-DF06-4ABF-ADCAB675F34D}"/>
          </ac:graphicFrameMkLst>
        </pc:graphicFrameChg>
        <pc:graphicFrameChg chg="add del mod replST">
          <ac:chgData name="Grace, Morgan (Brisbane)" userId="221d5f7b-4a46-4bd5-bdf1-698d3a91c208" providerId="ADAL" clId="{D90324C1-6CE4-4C28-B886-AED0B666B37F}" dt="2024-06-04T23:54:04.347" v="899"/>
          <ac:graphicFrameMkLst>
            <pc:docMk/>
            <pc:sldMk cId="3270237152" sldId="600"/>
            <ac:graphicFrameMk id="36" creationId="{C583D4CD-51EE-D7E9-8F89-D54ADA722AA9}"/>
          </ac:graphicFrameMkLst>
        </pc:graphicFrameChg>
        <pc:graphicFrameChg chg="add del mod replST">
          <ac:chgData name="Grace, Morgan (Brisbane)" userId="221d5f7b-4a46-4bd5-bdf1-698d3a91c208" providerId="ADAL" clId="{D90324C1-6CE4-4C28-B886-AED0B666B37F}" dt="2024-06-04T23:54:05.766" v="1050"/>
          <ac:graphicFrameMkLst>
            <pc:docMk/>
            <pc:sldMk cId="3270237152" sldId="600"/>
            <ac:graphicFrameMk id="38" creationId="{1A9DD9B3-CD27-2A77-449B-84ED88BC17AA}"/>
          </ac:graphicFrameMkLst>
        </pc:graphicFrameChg>
        <pc:graphicFrameChg chg="add del mod replST">
          <ac:chgData name="Grace, Morgan (Brisbane)" userId="221d5f7b-4a46-4bd5-bdf1-698d3a91c208" providerId="ADAL" clId="{D90324C1-6CE4-4C28-B886-AED0B666B37F}" dt="2024-06-04T23:54:08.255" v="1195"/>
          <ac:graphicFrameMkLst>
            <pc:docMk/>
            <pc:sldMk cId="3270237152" sldId="600"/>
            <ac:graphicFrameMk id="40" creationId="{08BF650D-C293-616E-3CD0-9A203F3ABFE7}"/>
          </ac:graphicFrameMkLst>
        </pc:graphicFrameChg>
        <pc:graphicFrameChg chg="add del mod replST">
          <ac:chgData name="Grace, Morgan (Brisbane)" userId="221d5f7b-4a46-4bd5-bdf1-698d3a91c208" providerId="ADAL" clId="{D90324C1-6CE4-4C28-B886-AED0B666B37F}" dt="2024-06-04T23:54:18.399" v="1497"/>
          <ac:graphicFrameMkLst>
            <pc:docMk/>
            <pc:sldMk cId="3270237152" sldId="600"/>
            <ac:graphicFrameMk id="42" creationId="{29D6F85B-3479-92C3-9DA5-F98B9FE0CA0A}"/>
          </ac:graphicFrameMkLst>
        </pc:graphicFrameChg>
        <pc:graphicFrameChg chg="add del mod replST">
          <ac:chgData name="Grace, Morgan (Brisbane)" userId="221d5f7b-4a46-4bd5-bdf1-698d3a91c208" providerId="ADAL" clId="{D90324C1-6CE4-4C28-B886-AED0B666B37F}" dt="2024-06-04T23:56:25.679" v="1643"/>
          <ac:graphicFrameMkLst>
            <pc:docMk/>
            <pc:sldMk cId="3270237152" sldId="600"/>
            <ac:graphicFrameMk id="44" creationId="{97F59B0A-EDDF-BB11-4808-33ED0DFE4E35}"/>
          </ac:graphicFrameMkLst>
        </pc:graphicFrameChg>
        <pc:graphicFrameChg chg="add del mod replST">
          <ac:chgData name="Grace, Morgan (Brisbane)" userId="221d5f7b-4a46-4bd5-bdf1-698d3a91c208" providerId="ADAL" clId="{D90324C1-6CE4-4C28-B886-AED0B666B37F}" dt="2024-06-04T23:56:30.509" v="1781"/>
          <ac:graphicFrameMkLst>
            <pc:docMk/>
            <pc:sldMk cId="3270237152" sldId="600"/>
            <ac:graphicFrameMk id="46" creationId="{30A6672E-E530-D72F-6786-5B5AAA5036E0}"/>
          </ac:graphicFrameMkLst>
        </pc:graphicFrameChg>
        <pc:graphicFrameChg chg="add del mod replST">
          <ac:chgData name="Grace, Morgan (Brisbane)" userId="221d5f7b-4a46-4bd5-bdf1-698d3a91c208" providerId="ADAL" clId="{D90324C1-6CE4-4C28-B886-AED0B666B37F}" dt="2024-06-05T00:07:51.507" v="2684"/>
          <ac:graphicFrameMkLst>
            <pc:docMk/>
            <pc:sldMk cId="3270237152" sldId="600"/>
            <ac:graphicFrameMk id="48" creationId="{FA3BE543-0D0C-679C-C24C-BA5B4269268C}"/>
          </ac:graphicFrameMkLst>
        </pc:graphicFrameChg>
        <pc:graphicFrameChg chg="add del mod replST">
          <ac:chgData name="Grace, Morgan (Brisbane)" userId="221d5f7b-4a46-4bd5-bdf1-698d3a91c208" providerId="ADAL" clId="{D90324C1-6CE4-4C28-B886-AED0B666B37F}" dt="2024-06-05T01:23:48.735" v="4551"/>
          <ac:graphicFrameMkLst>
            <pc:docMk/>
            <pc:sldMk cId="3270237152" sldId="600"/>
            <ac:graphicFrameMk id="50" creationId="{37C4B6A0-21F1-BCDA-02B8-BC791765A1E0}"/>
          </ac:graphicFrameMkLst>
        </pc:graphicFrameChg>
        <pc:graphicFrameChg chg="add mod ord modGraphic">
          <ac:chgData name="Grace, Morgan (Brisbane)" userId="221d5f7b-4a46-4bd5-bdf1-698d3a91c208" providerId="ADAL" clId="{D90324C1-6CE4-4C28-B886-AED0B666B37F}" dt="2024-06-06T05:43:13.765" v="47487" actId="58"/>
          <ac:graphicFrameMkLst>
            <pc:docMk/>
            <pc:sldMk cId="3270237152" sldId="600"/>
            <ac:graphicFrameMk id="51" creationId="{56901279-14E8-4F12-B071-AA90922B5387}"/>
          </ac:graphicFrameMkLst>
        </pc:graphicFrameChg>
        <pc:graphicFrameChg chg="add del mod replST">
          <ac:chgData name="Grace, Morgan (Brisbane)" userId="221d5f7b-4a46-4bd5-bdf1-698d3a91c208" providerId="ADAL" clId="{D90324C1-6CE4-4C28-B886-AED0B666B37F}" dt="2024-06-05T01:23:49.937" v="4786"/>
          <ac:graphicFrameMkLst>
            <pc:docMk/>
            <pc:sldMk cId="3270237152" sldId="600"/>
            <ac:graphicFrameMk id="65" creationId="{B7F3A5CC-E7A1-CA55-B662-65DAB8F84A32}"/>
          </ac:graphicFrameMkLst>
        </pc:graphicFrameChg>
        <pc:graphicFrameChg chg="add del mod replST">
          <ac:chgData name="Grace, Morgan (Brisbane)" userId="221d5f7b-4a46-4bd5-bdf1-698d3a91c208" providerId="ADAL" clId="{D90324C1-6CE4-4C28-B886-AED0B666B37F}" dt="2024-06-05T01:24:06.368" v="4942"/>
          <ac:graphicFrameMkLst>
            <pc:docMk/>
            <pc:sldMk cId="3270237152" sldId="600"/>
            <ac:graphicFrameMk id="67" creationId="{DBE70C47-266E-B288-03F6-46A1C9DA6B08}"/>
          </ac:graphicFrameMkLst>
        </pc:graphicFrameChg>
        <pc:graphicFrameChg chg="add del mod replST">
          <ac:chgData name="Grace, Morgan (Brisbane)" userId="221d5f7b-4a46-4bd5-bdf1-698d3a91c208" providerId="ADAL" clId="{D90324C1-6CE4-4C28-B886-AED0B666B37F}" dt="2024-06-05T01:24:32.407" v="5474"/>
          <ac:graphicFrameMkLst>
            <pc:docMk/>
            <pc:sldMk cId="3270237152" sldId="600"/>
            <ac:graphicFrameMk id="68" creationId="{B8E392BC-5D16-8489-D364-FF17BA058E95}"/>
          </ac:graphicFrameMkLst>
        </pc:graphicFrameChg>
        <pc:graphicFrameChg chg="add del mod replST">
          <ac:chgData name="Grace, Morgan (Brisbane)" userId="221d5f7b-4a46-4bd5-bdf1-698d3a91c208" providerId="ADAL" clId="{D90324C1-6CE4-4C28-B886-AED0B666B37F}" dt="2024-06-05T01:24:39.490" v="5833"/>
          <ac:graphicFrameMkLst>
            <pc:docMk/>
            <pc:sldMk cId="3270237152" sldId="600"/>
            <ac:graphicFrameMk id="100" creationId="{99CA0BDF-69CB-A2C4-699E-E5A410C99D89}"/>
          </ac:graphicFrameMkLst>
        </pc:graphicFrameChg>
        <pc:graphicFrameChg chg="add del mod replST">
          <ac:chgData name="Grace, Morgan (Brisbane)" userId="221d5f7b-4a46-4bd5-bdf1-698d3a91c208" providerId="ADAL" clId="{D90324C1-6CE4-4C28-B886-AED0B666B37F}" dt="2024-06-05T01:24:42.677" v="6073"/>
          <ac:graphicFrameMkLst>
            <pc:docMk/>
            <pc:sldMk cId="3270237152" sldId="600"/>
            <ac:graphicFrameMk id="103" creationId="{5B5E1721-A6CC-E926-8FE0-C237A7B275AD}"/>
          </ac:graphicFrameMkLst>
        </pc:graphicFrameChg>
        <pc:graphicFrameChg chg="add del mod replST">
          <ac:chgData name="Grace, Morgan (Brisbane)" userId="221d5f7b-4a46-4bd5-bdf1-698d3a91c208" providerId="ADAL" clId="{D90324C1-6CE4-4C28-B886-AED0B666B37F}" dt="2024-06-05T01:41:59.319" v="6978"/>
          <ac:graphicFrameMkLst>
            <pc:docMk/>
            <pc:sldMk cId="3270237152" sldId="600"/>
            <ac:graphicFrameMk id="105" creationId="{BE4CB40B-F43B-7791-1AB5-9340A65E131E}"/>
          </ac:graphicFrameMkLst>
        </pc:graphicFrameChg>
        <pc:graphicFrameChg chg="add del mod replST">
          <ac:chgData name="Grace, Morgan (Brisbane)" userId="221d5f7b-4a46-4bd5-bdf1-698d3a91c208" providerId="ADAL" clId="{D90324C1-6CE4-4C28-B886-AED0B666B37F}" dt="2024-06-05T01:44:22.836" v="7195"/>
          <ac:graphicFrameMkLst>
            <pc:docMk/>
            <pc:sldMk cId="3270237152" sldId="600"/>
            <ac:graphicFrameMk id="108" creationId="{B7044AB8-70D1-0594-1350-8B32D39D9C47}"/>
          </ac:graphicFrameMkLst>
        </pc:graphicFrameChg>
        <pc:graphicFrameChg chg="add del mod replST">
          <ac:chgData name="Grace, Morgan (Brisbane)" userId="221d5f7b-4a46-4bd5-bdf1-698d3a91c208" providerId="ADAL" clId="{D90324C1-6CE4-4C28-B886-AED0B666B37F}" dt="2024-06-05T01:44:24.758" v="7590"/>
          <ac:graphicFrameMkLst>
            <pc:docMk/>
            <pc:sldMk cId="3270237152" sldId="600"/>
            <ac:graphicFrameMk id="110" creationId="{2BD1124B-5C72-C0C2-D5DB-B1ECC54E6859}"/>
          </ac:graphicFrameMkLst>
        </pc:graphicFrameChg>
        <pc:graphicFrameChg chg="add del mod replST">
          <ac:chgData name="Grace, Morgan (Brisbane)" userId="221d5f7b-4a46-4bd5-bdf1-698d3a91c208" providerId="ADAL" clId="{D90324C1-6CE4-4C28-B886-AED0B666B37F}" dt="2024-06-05T01:46:37.280" v="7905"/>
          <ac:graphicFrameMkLst>
            <pc:docMk/>
            <pc:sldMk cId="3270237152" sldId="600"/>
            <ac:graphicFrameMk id="116" creationId="{A49F8643-8838-B1BA-9F22-400F8663A9E5}"/>
          </ac:graphicFrameMkLst>
        </pc:graphicFrameChg>
        <pc:graphicFrameChg chg="add del mod replST">
          <ac:chgData name="Grace, Morgan (Brisbane)" userId="221d5f7b-4a46-4bd5-bdf1-698d3a91c208" providerId="ADAL" clId="{D90324C1-6CE4-4C28-B886-AED0B666B37F}" dt="2024-06-05T01:46:40.336" v="8090"/>
          <ac:graphicFrameMkLst>
            <pc:docMk/>
            <pc:sldMk cId="3270237152" sldId="600"/>
            <ac:graphicFrameMk id="120" creationId="{57CE0785-8945-A8B4-B66A-B4B56EDA9CC6}"/>
          </ac:graphicFrameMkLst>
        </pc:graphicFrameChg>
        <pc:graphicFrameChg chg="add del mod replST">
          <ac:chgData name="Grace, Morgan (Brisbane)" userId="221d5f7b-4a46-4bd5-bdf1-698d3a91c208" providerId="ADAL" clId="{D90324C1-6CE4-4C28-B886-AED0B666B37F}" dt="2024-06-05T01:46:41.764" v="8266"/>
          <ac:graphicFrameMkLst>
            <pc:docMk/>
            <pc:sldMk cId="3270237152" sldId="600"/>
            <ac:graphicFrameMk id="122" creationId="{53BE1FAB-D56B-7BD4-4092-B95925B947E3}"/>
          </ac:graphicFrameMkLst>
        </pc:graphicFrameChg>
        <pc:graphicFrameChg chg="add del mod replST">
          <ac:chgData name="Grace, Morgan (Brisbane)" userId="221d5f7b-4a46-4bd5-bdf1-698d3a91c208" providerId="ADAL" clId="{D90324C1-6CE4-4C28-B886-AED0B666B37F}" dt="2024-06-05T01:46:59.836" v="8901"/>
          <ac:graphicFrameMkLst>
            <pc:docMk/>
            <pc:sldMk cId="3270237152" sldId="600"/>
            <ac:graphicFrameMk id="124" creationId="{E989C9D7-A4B2-17B2-592B-533BBB932320}"/>
          </ac:graphicFrameMkLst>
        </pc:graphicFrameChg>
        <pc:graphicFrameChg chg="add mod replST delST">
          <ac:chgData name="Grace, Morgan (Brisbane)" userId="221d5f7b-4a46-4bd5-bdf1-698d3a91c208" providerId="ADAL" clId="{D90324C1-6CE4-4C28-B886-AED0B666B37F}" dt="2024-06-05T01:46:44.639" v="8606"/>
          <ac:graphicFrameMkLst>
            <pc:docMk/>
            <pc:sldMk cId="3270237152" sldId="600"/>
            <ac:graphicFrameMk id="127" creationId="{B359FEFF-A96C-F36A-D8B3-E51B9ACB0E11}"/>
          </ac:graphicFrameMkLst>
        </pc:graphicFrameChg>
        <pc:graphicFrameChg chg="add del mod replST">
          <ac:chgData name="Grace, Morgan (Brisbane)" userId="221d5f7b-4a46-4bd5-bdf1-698d3a91c208" providerId="ADAL" clId="{D90324C1-6CE4-4C28-B886-AED0B666B37F}" dt="2024-06-05T01:47:09.487" v="9107"/>
          <ac:graphicFrameMkLst>
            <pc:docMk/>
            <pc:sldMk cId="3270237152" sldId="600"/>
            <ac:graphicFrameMk id="130" creationId="{EFBBDB61-0E5D-EB32-22FF-C28BAD147BF8}"/>
          </ac:graphicFrameMkLst>
        </pc:graphicFrameChg>
        <pc:graphicFrameChg chg="add del mod replST">
          <ac:chgData name="Grace, Morgan (Brisbane)" userId="221d5f7b-4a46-4bd5-bdf1-698d3a91c208" providerId="ADAL" clId="{D90324C1-6CE4-4C28-B886-AED0B666B37F}" dt="2024-06-05T01:47:10.726" v="9260"/>
          <ac:graphicFrameMkLst>
            <pc:docMk/>
            <pc:sldMk cId="3270237152" sldId="600"/>
            <ac:graphicFrameMk id="133" creationId="{43E9556F-EAF0-36D2-D398-D9AF3BCE6692}"/>
          </ac:graphicFrameMkLst>
        </pc:graphicFrameChg>
        <pc:graphicFrameChg chg="add del mod replST">
          <ac:chgData name="Grace, Morgan (Brisbane)" userId="221d5f7b-4a46-4bd5-bdf1-698d3a91c208" providerId="ADAL" clId="{D90324C1-6CE4-4C28-B886-AED0B666B37F}" dt="2024-06-05T01:47:49.278" v="11760"/>
          <ac:graphicFrameMkLst>
            <pc:docMk/>
            <pc:sldMk cId="3270237152" sldId="600"/>
            <ac:graphicFrameMk id="135" creationId="{5E7D05C7-9645-1F5F-D076-A54AFFE6B79C}"/>
          </ac:graphicFrameMkLst>
        </pc:graphicFrameChg>
        <pc:graphicFrameChg chg="add del mod replST delST">
          <ac:chgData name="Grace, Morgan (Brisbane)" userId="221d5f7b-4a46-4bd5-bdf1-698d3a91c208" providerId="ADAL" clId="{D90324C1-6CE4-4C28-B886-AED0B666B37F}" dt="2024-06-05T01:47:37.477" v="10785"/>
          <ac:graphicFrameMkLst>
            <pc:docMk/>
            <pc:sldMk cId="3270237152" sldId="600"/>
            <ac:graphicFrameMk id="137" creationId="{26842A2F-C87B-6B24-4ED0-1D2CA1358A98}"/>
          </ac:graphicFrameMkLst>
        </pc:graphicFrameChg>
        <pc:graphicFrameChg chg="add del mod replST delST">
          <ac:chgData name="Grace, Morgan (Brisbane)" userId="221d5f7b-4a46-4bd5-bdf1-698d3a91c208" providerId="ADAL" clId="{D90324C1-6CE4-4C28-B886-AED0B666B37F}" dt="2024-06-05T01:47:37.477" v="10785"/>
          <ac:graphicFrameMkLst>
            <pc:docMk/>
            <pc:sldMk cId="3270237152" sldId="600"/>
            <ac:graphicFrameMk id="139" creationId="{64E98768-CEB0-8F7E-CBE0-78603AA8079B}"/>
          </ac:graphicFrameMkLst>
        </pc:graphicFrameChg>
        <pc:graphicFrameChg chg="add del mod replST delST">
          <ac:chgData name="Grace, Morgan (Brisbane)" userId="221d5f7b-4a46-4bd5-bdf1-698d3a91c208" providerId="ADAL" clId="{D90324C1-6CE4-4C28-B886-AED0B666B37F}" dt="2024-06-05T01:47:34.451" v="10267"/>
          <ac:graphicFrameMkLst>
            <pc:docMk/>
            <pc:sldMk cId="3270237152" sldId="600"/>
            <ac:graphicFrameMk id="141" creationId="{6D2A682A-6E0A-532B-BB8E-7DDC71D9B491}"/>
          </ac:graphicFrameMkLst>
        </pc:graphicFrameChg>
        <pc:graphicFrameChg chg="add mod replST delST">
          <ac:chgData name="Grace, Morgan (Brisbane)" userId="221d5f7b-4a46-4bd5-bdf1-698d3a91c208" providerId="ADAL" clId="{D90324C1-6CE4-4C28-B886-AED0B666B37F}" dt="2024-06-05T01:47:34.451" v="10267"/>
          <ac:graphicFrameMkLst>
            <pc:docMk/>
            <pc:sldMk cId="3270237152" sldId="600"/>
            <ac:graphicFrameMk id="143" creationId="{CF94534B-91E3-A846-7E60-D3733419709D}"/>
          </ac:graphicFrameMkLst>
        </pc:graphicFrameChg>
        <pc:graphicFrameChg chg="add mod replST delST">
          <ac:chgData name="Grace, Morgan (Brisbane)" userId="221d5f7b-4a46-4bd5-bdf1-698d3a91c208" providerId="ADAL" clId="{D90324C1-6CE4-4C28-B886-AED0B666B37F}" dt="2024-06-05T01:47:37.477" v="10785"/>
          <ac:graphicFrameMkLst>
            <pc:docMk/>
            <pc:sldMk cId="3270237152" sldId="600"/>
            <ac:graphicFrameMk id="145" creationId="{06AD9C54-0A31-8F21-9C78-A44E890D0CEB}"/>
          </ac:graphicFrameMkLst>
        </pc:graphicFrameChg>
        <pc:graphicFrameChg chg="add del mod replST delST">
          <ac:chgData name="Grace, Morgan (Brisbane)" userId="221d5f7b-4a46-4bd5-bdf1-698d3a91c208" providerId="ADAL" clId="{D90324C1-6CE4-4C28-B886-AED0B666B37F}" dt="2024-06-05T01:47:49.278" v="11760"/>
          <ac:graphicFrameMkLst>
            <pc:docMk/>
            <pc:sldMk cId="3270237152" sldId="600"/>
            <ac:graphicFrameMk id="148" creationId="{178D5C04-28A7-681A-D20E-CBFF650776AA}"/>
          </ac:graphicFrameMkLst>
        </pc:graphicFrameChg>
        <pc:graphicFrameChg chg="add del mod replST delST">
          <ac:chgData name="Grace, Morgan (Brisbane)" userId="221d5f7b-4a46-4bd5-bdf1-698d3a91c208" providerId="ADAL" clId="{D90324C1-6CE4-4C28-B886-AED0B666B37F}" dt="2024-06-05T01:47:58.536" v="11911"/>
          <ac:graphicFrameMkLst>
            <pc:docMk/>
            <pc:sldMk cId="3270237152" sldId="600"/>
            <ac:graphicFrameMk id="150" creationId="{3984A04C-AAE2-0897-1070-69DC13B1590B}"/>
          </ac:graphicFrameMkLst>
        </pc:graphicFrameChg>
        <pc:graphicFrameChg chg="add del mod replST">
          <ac:chgData name="Grace, Morgan (Brisbane)" userId="221d5f7b-4a46-4bd5-bdf1-698d3a91c208" providerId="ADAL" clId="{D90324C1-6CE4-4C28-B886-AED0B666B37F}" dt="2024-06-05T01:47:59.540" v="12041"/>
          <ac:graphicFrameMkLst>
            <pc:docMk/>
            <pc:sldMk cId="3270237152" sldId="600"/>
            <ac:graphicFrameMk id="152" creationId="{BB3145A7-6E33-91BB-7532-7E00B7E09663}"/>
          </ac:graphicFrameMkLst>
        </pc:graphicFrameChg>
        <pc:graphicFrameChg chg="add del mod replST">
          <ac:chgData name="Grace, Morgan (Brisbane)" userId="221d5f7b-4a46-4bd5-bdf1-698d3a91c208" providerId="ADAL" clId="{D90324C1-6CE4-4C28-B886-AED0B666B37F}" dt="2024-06-05T01:48:01.531" v="12243"/>
          <ac:graphicFrameMkLst>
            <pc:docMk/>
            <pc:sldMk cId="3270237152" sldId="600"/>
            <ac:graphicFrameMk id="154" creationId="{26758434-36FE-FE5C-E097-BB9A1FE65D93}"/>
          </ac:graphicFrameMkLst>
        </pc:graphicFrameChg>
        <pc:graphicFrameChg chg="add del mod replST">
          <ac:chgData name="Grace, Morgan (Brisbane)" userId="221d5f7b-4a46-4bd5-bdf1-698d3a91c208" providerId="ADAL" clId="{D90324C1-6CE4-4C28-B886-AED0B666B37F}" dt="2024-06-05T01:48:06.354" v="12373"/>
          <ac:graphicFrameMkLst>
            <pc:docMk/>
            <pc:sldMk cId="3270237152" sldId="600"/>
            <ac:graphicFrameMk id="156" creationId="{257ED67B-E939-862A-B9AC-2145F4F43119}"/>
          </ac:graphicFrameMkLst>
        </pc:graphicFrameChg>
        <pc:graphicFrameChg chg="add del mod replST">
          <ac:chgData name="Grace, Morgan (Brisbane)" userId="221d5f7b-4a46-4bd5-bdf1-698d3a91c208" providerId="ADAL" clId="{D90324C1-6CE4-4C28-B886-AED0B666B37F}" dt="2024-06-05T01:48:07.272" v="12561"/>
          <ac:graphicFrameMkLst>
            <pc:docMk/>
            <pc:sldMk cId="3270237152" sldId="600"/>
            <ac:graphicFrameMk id="158" creationId="{0BD7E996-46EF-F410-27E1-38163BDAE9A0}"/>
          </ac:graphicFrameMkLst>
        </pc:graphicFrameChg>
        <pc:graphicFrameChg chg="add del mod replST">
          <ac:chgData name="Grace, Morgan (Brisbane)" userId="221d5f7b-4a46-4bd5-bdf1-698d3a91c208" providerId="ADAL" clId="{D90324C1-6CE4-4C28-B886-AED0B666B37F}" dt="2024-06-05T01:48:09.159" v="12694"/>
          <ac:graphicFrameMkLst>
            <pc:docMk/>
            <pc:sldMk cId="3270237152" sldId="600"/>
            <ac:graphicFrameMk id="161" creationId="{F2E64665-A75F-1C23-2FD5-C82D06022BAD}"/>
          </ac:graphicFrameMkLst>
        </pc:graphicFrameChg>
        <pc:graphicFrameChg chg="add del mod replST">
          <ac:chgData name="Grace, Morgan (Brisbane)" userId="221d5f7b-4a46-4bd5-bdf1-698d3a91c208" providerId="ADAL" clId="{D90324C1-6CE4-4C28-B886-AED0B666B37F}" dt="2024-06-05T01:48:14.414" v="12824"/>
          <ac:graphicFrameMkLst>
            <pc:docMk/>
            <pc:sldMk cId="3270237152" sldId="600"/>
            <ac:graphicFrameMk id="163" creationId="{D2900D15-8553-5632-9766-9449601ECEAF}"/>
          </ac:graphicFrameMkLst>
        </pc:graphicFrameChg>
        <pc:graphicFrameChg chg="add del mod replST">
          <ac:chgData name="Grace, Morgan (Brisbane)" userId="221d5f7b-4a46-4bd5-bdf1-698d3a91c208" providerId="ADAL" clId="{D90324C1-6CE4-4C28-B886-AED0B666B37F}" dt="2024-06-05T01:48:27.289" v="12954"/>
          <ac:graphicFrameMkLst>
            <pc:docMk/>
            <pc:sldMk cId="3270237152" sldId="600"/>
            <ac:graphicFrameMk id="165" creationId="{B99D8A6F-C6AF-2901-BE35-25003DBE9136}"/>
          </ac:graphicFrameMkLst>
        </pc:graphicFrameChg>
        <pc:graphicFrameChg chg="add del mod replST">
          <ac:chgData name="Grace, Morgan (Brisbane)" userId="221d5f7b-4a46-4bd5-bdf1-698d3a91c208" providerId="ADAL" clId="{D90324C1-6CE4-4C28-B886-AED0B666B37F}" dt="2024-06-05T01:48:36.762" v="13084"/>
          <ac:graphicFrameMkLst>
            <pc:docMk/>
            <pc:sldMk cId="3270237152" sldId="600"/>
            <ac:graphicFrameMk id="167" creationId="{F7E67B45-DDB6-669C-55ED-674FB63B5116}"/>
          </ac:graphicFrameMkLst>
        </pc:graphicFrameChg>
        <pc:graphicFrameChg chg="add del mod replST">
          <ac:chgData name="Grace, Morgan (Brisbane)" userId="221d5f7b-4a46-4bd5-bdf1-698d3a91c208" providerId="ADAL" clId="{D90324C1-6CE4-4C28-B886-AED0B666B37F}" dt="2024-06-05T01:49:05.398" v="13214"/>
          <ac:graphicFrameMkLst>
            <pc:docMk/>
            <pc:sldMk cId="3270237152" sldId="600"/>
            <ac:graphicFrameMk id="169" creationId="{2528B89D-8968-35FE-9A9D-EF6D5F8BECA4}"/>
          </ac:graphicFrameMkLst>
        </pc:graphicFrameChg>
        <pc:graphicFrameChg chg="add del mod replST">
          <ac:chgData name="Grace, Morgan (Brisbane)" userId="221d5f7b-4a46-4bd5-bdf1-698d3a91c208" providerId="ADAL" clId="{D90324C1-6CE4-4C28-B886-AED0B666B37F}" dt="2024-06-05T01:49:15.633" v="13344"/>
          <ac:graphicFrameMkLst>
            <pc:docMk/>
            <pc:sldMk cId="3270237152" sldId="600"/>
            <ac:graphicFrameMk id="171" creationId="{B8A88FC5-D73C-657D-7D9A-E8027C99CE18}"/>
          </ac:graphicFrameMkLst>
        </pc:graphicFrameChg>
        <pc:graphicFrameChg chg="add del mod replST">
          <ac:chgData name="Grace, Morgan (Brisbane)" userId="221d5f7b-4a46-4bd5-bdf1-698d3a91c208" providerId="ADAL" clId="{D90324C1-6CE4-4C28-B886-AED0B666B37F}" dt="2024-06-05T01:51:46.311" v="13479"/>
          <ac:graphicFrameMkLst>
            <pc:docMk/>
            <pc:sldMk cId="3270237152" sldId="600"/>
            <ac:graphicFrameMk id="173" creationId="{FC3125F4-B4FB-D6B1-B451-1CCFDD29A67F}"/>
          </ac:graphicFrameMkLst>
        </pc:graphicFrameChg>
        <pc:graphicFrameChg chg="add del mod replST">
          <ac:chgData name="Grace, Morgan (Brisbane)" userId="221d5f7b-4a46-4bd5-bdf1-698d3a91c208" providerId="ADAL" clId="{D90324C1-6CE4-4C28-B886-AED0B666B37F}" dt="2024-06-05T01:51:53.112" v="13863"/>
          <ac:graphicFrameMkLst>
            <pc:docMk/>
            <pc:sldMk cId="3270237152" sldId="600"/>
            <ac:graphicFrameMk id="175" creationId="{722D7153-B8BF-285A-446B-DD760A244F02}"/>
          </ac:graphicFrameMkLst>
        </pc:graphicFrameChg>
        <pc:graphicFrameChg chg="add del mod replST">
          <ac:chgData name="Grace, Morgan (Brisbane)" userId="221d5f7b-4a46-4bd5-bdf1-698d3a91c208" providerId="ADAL" clId="{D90324C1-6CE4-4C28-B886-AED0B666B37F}" dt="2024-06-05T01:51:54.051" v="13993"/>
          <ac:graphicFrameMkLst>
            <pc:docMk/>
            <pc:sldMk cId="3270237152" sldId="600"/>
            <ac:graphicFrameMk id="182" creationId="{AA725674-2331-8139-0253-4AB6A83662EE}"/>
          </ac:graphicFrameMkLst>
        </pc:graphicFrameChg>
        <pc:graphicFrameChg chg="add del mod replST">
          <ac:chgData name="Grace, Morgan (Brisbane)" userId="221d5f7b-4a46-4bd5-bdf1-698d3a91c208" providerId="ADAL" clId="{D90324C1-6CE4-4C28-B886-AED0B666B37F}" dt="2024-06-05T01:51:55.046" v="14128"/>
          <ac:graphicFrameMkLst>
            <pc:docMk/>
            <pc:sldMk cId="3270237152" sldId="600"/>
            <ac:graphicFrameMk id="184" creationId="{A385600E-603F-3913-EF55-006E8C46105D}"/>
          </ac:graphicFrameMkLst>
        </pc:graphicFrameChg>
        <pc:graphicFrameChg chg="add del mod replST">
          <ac:chgData name="Grace, Morgan (Brisbane)" userId="221d5f7b-4a46-4bd5-bdf1-698d3a91c208" providerId="ADAL" clId="{D90324C1-6CE4-4C28-B886-AED0B666B37F}" dt="2024-06-05T01:52:06.630" v="14512"/>
          <ac:graphicFrameMkLst>
            <pc:docMk/>
            <pc:sldMk cId="3270237152" sldId="600"/>
            <ac:graphicFrameMk id="186" creationId="{1A211670-AABE-6E2F-07E4-45B49BBB03CA}"/>
          </ac:graphicFrameMkLst>
        </pc:graphicFrameChg>
        <pc:graphicFrameChg chg="add del mod replST">
          <ac:chgData name="Grace, Morgan (Brisbane)" userId="221d5f7b-4a46-4bd5-bdf1-698d3a91c208" providerId="ADAL" clId="{D90324C1-6CE4-4C28-B886-AED0B666B37F}" dt="2024-06-05T01:52:13.113" v="14695"/>
          <ac:graphicFrameMkLst>
            <pc:docMk/>
            <pc:sldMk cId="3270237152" sldId="600"/>
            <ac:graphicFrameMk id="193" creationId="{53E0F89C-DA74-1B27-A97B-2CB760D65ABC}"/>
          </ac:graphicFrameMkLst>
        </pc:graphicFrameChg>
        <pc:graphicFrameChg chg="add del mod replST">
          <ac:chgData name="Grace, Morgan (Brisbane)" userId="221d5f7b-4a46-4bd5-bdf1-698d3a91c208" providerId="ADAL" clId="{D90324C1-6CE4-4C28-B886-AED0B666B37F}" dt="2024-06-05T01:52:16.634" v="14831"/>
          <ac:graphicFrameMkLst>
            <pc:docMk/>
            <pc:sldMk cId="3270237152" sldId="600"/>
            <ac:graphicFrameMk id="196" creationId="{AA4AF1A9-650E-62D9-A18E-A6BEF6C5B660}"/>
          </ac:graphicFrameMkLst>
        </pc:graphicFrameChg>
        <pc:graphicFrameChg chg="add del mod replST">
          <ac:chgData name="Grace, Morgan (Brisbane)" userId="221d5f7b-4a46-4bd5-bdf1-698d3a91c208" providerId="ADAL" clId="{D90324C1-6CE4-4C28-B886-AED0B666B37F}" dt="2024-06-05T01:52:19.240" v="14971"/>
          <ac:graphicFrameMkLst>
            <pc:docMk/>
            <pc:sldMk cId="3270237152" sldId="600"/>
            <ac:graphicFrameMk id="198" creationId="{DE03CF3C-86E7-AA9F-32DF-E409FB6A2D82}"/>
          </ac:graphicFrameMkLst>
        </pc:graphicFrameChg>
        <pc:graphicFrameChg chg="add del mod replST">
          <ac:chgData name="Grace, Morgan (Brisbane)" userId="221d5f7b-4a46-4bd5-bdf1-698d3a91c208" providerId="ADAL" clId="{D90324C1-6CE4-4C28-B886-AED0B666B37F}" dt="2024-06-05T01:52:20.791" v="15106"/>
          <ac:graphicFrameMkLst>
            <pc:docMk/>
            <pc:sldMk cId="3270237152" sldId="600"/>
            <ac:graphicFrameMk id="200" creationId="{2A498A92-81AB-0104-4910-45BFE9B84F15}"/>
          </ac:graphicFrameMkLst>
        </pc:graphicFrameChg>
        <pc:graphicFrameChg chg="add del mod replST">
          <ac:chgData name="Grace, Morgan (Brisbane)" userId="221d5f7b-4a46-4bd5-bdf1-698d3a91c208" providerId="ADAL" clId="{D90324C1-6CE4-4C28-B886-AED0B666B37F}" dt="2024-06-05T01:52:42.777" v="15724"/>
          <ac:graphicFrameMkLst>
            <pc:docMk/>
            <pc:sldMk cId="3270237152" sldId="600"/>
            <ac:graphicFrameMk id="202" creationId="{9B19EEC4-5A35-F69D-CFE2-81D86FD779E0}"/>
          </ac:graphicFrameMkLst>
        </pc:graphicFrameChg>
        <pc:graphicFrameChg chg="add mod replST delST">
          <ac:chgData name="Grace, Morgan (Brisbane)" userId="221d5f7b-4a46-4bd5-bdf1-698d3a91c208" providerId="ADAL" clId="{D90324C1-6CE4-4C28-B886-AED0B666B37F}" dt="2024-06-05T01:52:34.454" v="15572"/>
          <ac:graphicFrameMkLst>
            <pc:docMk/>
            <pc:sldMk cId="3270237152" sldId="600"/>
            <ac:graphicFrameMk id="208" creationId="{45E23EE8-5A78-5824-587B-17C5F8856E36}"/>
          </ac:graphicFrameMkLst>
        </pc:graphicFrameChg>
        <pc:graphicFrameChg chg="add del mod replST">
          <ac:chgData name="Grace, Morgan (Brisbane)" userId="221d5f7b-4a46-4bd5-bdf1-698d3a91c208" providerId="ADAL" clId="{D90324C1-6CE4-4C28-B886-AED0B666B37F}" dt="2024-06-05T01:52:53.464" v="15862"/>
          <ac:graphicFrameMkLst>
            <pc:docMk/>
            <pc:sldMk cId="3270237152" sldId="600"/>
            <ac:graphicFrameMk id="210" creationId="{36FA9B11-03DA-9A42-1FFA-B4DE16927745}"/>
          </ac:graphicFrameMkLst>
        </pc:graphicFrameChg>
        <pc:graphicFrameChg chg="add del mod replST">
          <ac:chgData name="Grace, Morgan (Brisbane)" userId="221d5f7b-4a46-4bd5-bdf1-698d3a91c208" providerId="ADAL" clId="{D90324C1-6CE4-4C28-B886-AED0B666B37F}" dt="2024-06-05T01:53:03.641" v="15985"/>
          <ac:graphicFrameMkLst>
            <pc:docMk/>
            <pc:sldMk cId="3270237152" sldId="600"/>
            <ac:graphicFrameMk id="212" creationId="{9673B418-E38A-8E83-6A23-7D567CBE43E9}"/>
          </ac:graphicFrameMkLst>
        </pc:graphicFrameChg>
        <pc:graphicFrameChg chg="add del mod replST">
          <ac:chgData name="Grace, Morgan (Brisbane)" userId="221d5f7b-4a46-4bd5-bdf1-698d3a91c208" providerId="ADAL" clId="{D90324C1-6CE4-4C28-B886-AED0B666B37F}" dt="2024-06-05T01:53:08.473" v="16160"/>
          <ac:graphicFrameMkLst>
            <pc:docMk/>
            <pc:sldMk cId="3270237152" sldId="600"/>
            <ac:graphicFrameMk id="214" creationId="{AA624C2D-073F-B8B2-64C5-162F8BDD2704}"/>
          </ac:graphicFrameMkLst>
        </pc:graphicFrameChg>
        <pc:graphicFrameChg chg="add del mod replST">
          <ac:chgData name="Grace, Morgan (Brisbane)" userId="221d5f7b-4a46-4bd5-bdf1-698d3a91c208" providerId="ADAL" clId="{D90324C1-6CE4-4C28-B886-AED0B666B37F}" dt="2024-06-05T01:53:10.006" v="16335"/>
          <ac:graphicFrameMkLst>
            <pc:docMk/>
            <pc:sldMk cId="3270237152" sldId="600"/>
            <ac:graphicFrameMk id="216" creationId="{49C08510-7D49-F22E-EB5F-82C63543AD27}"/>
          </ac:graphicFrameMkLst>
        </pc:graphicFrameChg>
        <pc:graphicFrameChg chg="add del mod replST">
          <ac:chgData name="Grace, Morgan (Brisbane)" userId="221d5f7b-4a46-4bd5-bdf1-698d3a91c208" providerId="ADAL" clId="{D90324C1-6CE4-4C28-B886-AED0B666B37F}" dt="2024-06-05T01:53:22.013" v="16471"/>
          <ac:graphicFrameMkLst>
            <pc:docMk/>
            <pc:sldMk cId="3270237152" sldId="600"/>
            <ac:graphicFrameMk id="218" creationId="{726D4EA0-B802-6F17-3F0F-CF3122E14BA4}"/>
          </ac:graphicFrameMkLst>
        </pc:graphicFrameChg>
        <pc:graphicFrameChg chg="add del mod replST">
          <ac:chgData name="Grace, Morgan (Brisbane)" userId="221d5f7b-4a46-4bd5-bdf1-698d3a91c208" providerId="ADAL" clId="{D90324C1-6CE4-4C28-B886-AED0B666B37F}" dt="2024-06-05T01:53:33.269" v="16839"/>
          <ac:graphicFrameMkLst>
            <pc:docMk/>
            <pc:sldMk cId="3270237152" sldId="600"/>
            <ac:graphicFrameMk id="220" creationId="{F276A7D0-25E8-77EE-944F-97043C27F5ED}"/>
          </ac:graphicFrameMkLst>
        </pc:graphicFrameChg>
        <pc:graphicFrameChg chg="add del mod replST">
          <ac:chgData name="Grace, Morgan (Brisbane)" userId="221d5f7b-4a46-4bd5-bdf1-698d3a91c208" providerId="ADAL" clId="{D90324C1-6CE4-4C28-B886-AED0B666B37F}" dt="2024-06-05T01:53:36.090" v="17025"/>
          <ac:graphicFrameMkLst>
            <pc:docMk/>
            <pc:sldMk cId="3270237152" sldId="600"/>
            <ac:graphicFrameMk id="222" creationId="{ACE373A0-E8F7-7280-14DC-483C05A78C8F}"/>
          </ac:graphicFrameMkLst>
        </pc:graphicFrameChg>
        <pc:graphicFrameChg chg="add del mod replST">
          <ac:chgData name="Grace, Morgan (Brisbane)" userId="221d5f7b-4a46-4bd5-bdf1-698d3a91c208" providerId="ADAL" clId="{D90324C1-6CE4-4C28-B886-AED0B666B37F}" dt="2024-06-05T01:54:08.670" v="17557"/>
          <ac:graphicFrameMkLst>
            <pc:docMk/>
            <pc:sldMk cId="3270237152" sldId="600"/>
            <ac:graphicFrameMk id="224" creationId="{A0590417-9832-6F20-F9EF-65438B071CC8}"/>
          </ac:graphicFrameMkLst>
        </pc:graphicFrameChg>
        <pc:graphicFrameChg chg="add del mod replST">
          <ac:chgData name="Grace, Morgan (Brisbane)" userId="221d5f7b-4a46-4bd5-bdf1-698d3a91c208" providerId="ADAL" clId="{D90324C1-6CE4-4C28-B886-AED0B666B37F}" dt="2024-06-05T01:54:12.846" v="17693"/>
          <ac:graphicFrameMkLst>
            <pc:docMk/>
            <pc:sldMk cId="3270237152" sldId="600"/>
            <ac:graphicFrameMk id="226" creationId="{C3463A31-D1E4-2919-AD7D-33526531CD0C}"/>
          </ac:graphicFrameMkLst>
        </pc:graphicFrameChg>
        <pc:graphicFrameChg chg="add del mod replST">
          <ac:chgData name="Grace, Morgan (Brisbane)" userId="221d5f7b-4a46-4bd5-bdf1-698d3a91c208" providerId="ADAL" clId="{D90324C1-6CE4-4C28-B886-AED0B666B37F}" dt="2024-06-05T01:54:17.070" v="17829"/>
          <ac:graphicFrameMkLst>
            <pc:docMk/>
            <pc:sldMk cId="3270237152" sldId="600"/>
            <ac:graphicFrameMk id="228" creationId="{39D52E1F-435A-1706-77BA-F4B7641DE2A7}"/>
          </ac:graphicFrameMkLst>
        </pc:graphicFrameChg>
        <pc:graphicFrameChg chg="add del mod replST">
          <ac:chgData name="Grace, Morgan (Brisbane)" userId="221d5f7b-4a46-4bd5-bdf1-698d3a91c208" providerId="ADAL" clId="{D90324C1-6CE4-4C28-B886-AED0B666B37F}" dt="2024-06-05T01:54:46.428" v="18568"/>
          <ac:graphicFrameMkLst>
            <pc:docMk/>
            <pc:sldMk cId="3270237152" sldId="600"/>
            <ac:graphicFrameMk id="230" creationId="{DEED8CE4-15D8-8104-40BB-D49CCED75BC8}"/>
          </ac:graphicFrameMkLst>
        </pc:graphicFrameChg>
        <pc:graphicFrameChg chg="add del mod replST">
          <ac:chgData name="Grace, Morgan (Brisbane)" userId="221d5f7b-4a46-4bd5-bdf1-698d3a91c208" providerId="ADAL" clId="{D90324C1-6CE4-4C28-B886-AED0B666B37F}" dt="2024-06-05T01:55:53.226" v="19002"/>
          <ac:graphicFrameMkLst>
            <pc:docMk/>
            <pc:sldMk cId="3270237152" sldId="600"/>
            <ac:graphicFrameMk id="232" creationId="{DB88351A-F312-173B-1514-459B4CD53354}"/>
          </ac:graphicFrameMkLst>
        </pc:graphicFrameChg>
        <pc:graphicFrameChg chg="add del mod replST">
          <ac:chgData name="Grace, Morgan (Brisbane)" userId="221d5f7b-4a46-4bd5-bdf1-698d3a91c208" providerId="ADAL" clId="{D90324C1-6CE4-4C28-B886-AED0B666B37F}" dt="2024-06-05T03:09:36.208" v="21533"/>
          <ac:graphicFrameMkLst>
            <pc:docMk/>
            <pc:sldMk cId="3270237152" sldId="600"/>
            <ac:graphicFrameMk id="234" creationId="{BF732B52-FBFC-C181-D376-D5FDF39B831A}"/>
          </ac:graphicFrameMkLst>
        </pc:graphicFrameChg>
        <pc:graphicFrameChg chg="add mod replST delST">
          <ac:chgData name="Grace, Morgan (Brisbane)" userId="221d5f7b-4a46-4bd5-bdf1-698d3a91c208" providerId="ADAL" clId="{D90324C1-6CE4-4C28-B886-AED0B666B37F}" dt="2024-06-05T03:01:46.906" v="19942"/>
          <ac:graphicFrameMkLst>
            <pc:docMk/>
            <pc:sldMk cId="3270237152" sldId="600"/>
            <ac:graphicFrameMk id="238" creationId="{718271D3-C6AB-A441-EAEF-8687E371606F}"/>
          </ac:graphicFrameMkLst>
        </pc:graphicFrameChg>
        <pc:cxnChg chg="add del mod ord replST delST">
          <ac:chgData name="Grace, Morgan (Brisbane)" userId="221d5f7b-4a46-4bd5-bdf1-698d3a91c208" providerId="ADAL" clId="{D90324C1-6CE4-4C28-B886-AED0B666B37F}" dt="2024-06-05T01:46:44.639" v="8606"/>
          <ac:cxnSpMkLst>
            <pc:docMk/>
            <pc:sldMk cId="3270237152" sldId="600"/>
            <ac:cxnSpMk id="126" creationId="{80F157FA-C59E-122D-F912-B037EDA11C24}"/>
          </ac:cxnSpMkLst>
        </pc:cxnChg>
        <pc:cxnChg chg="add del mod ord replST delST">
          <ac:chgData name="Grace, Morgan (Brisbane)" userId="221d5f7b-4a46-4bd5-bdf1-698d3a91c208" providerId="ADAL" clId="{D90324C1-6CE4-4C28-B886-AED0B666B37F}" dt="2024-06-05T01:52:34.454" v="15572"/>
          <ac:cxnSpMkLst>
            <pc:docMk/>
            <pc:sldMk cId="3270237152" sldId="600"/>
            <ac:cxnSpMk id="204" creationId="{00B09C4E-1E76-8DA4-A3A8-255C81858190}"/>
          </ac:cxnSpMkLst>
        </pc:cxnChg>
        <pc:cxnChg chg="add del mod ord replST delST">
          <ac:chgData name="Grace, Morgan (Brisbane)" userId="221d5f7b-4a46-4bd5-bdf1-698d3a91c208" providerId="ADAL" clId="{D90324C1-6CE4-4C28-B886-AED0B666B37F}" dt="2024-06-05T01:52:34.454" v="15572"/>
          <ac:cxnSpMkLst>
            <pc:docMk/>
            <pc:sldMk cId="3270237152" sldId="600"/>
            <ac:cxnSpMk id="205" creationId="{1ABB2F4A-6894-0A22-8053-7C9DB32C0A96}"/>
          </ac:cxnSpMkLst>
        </pc:cxnChg>
        <pc:cxnChg chg="add del mod ord replST delST">
          <ac:chgData name="Grace, Morgan (Brisbane)" userId="221d5f7b-4a46-4bd5-bdf1-698d3a91c208" providerId="ADAL" clId="{D90324C1-6CE4-4C28-B886-AED0B666B37F}" dt="2024-06-05T01:52:34.454" v="15572"/>
          <ac:cxnSpMkLst>
            <pc:docMk/>
            <pc:sldMk cId="3270237152" sldId="600"/>
            <ac:cxnSpMk id="206" creationId="{B99D2375-2155-EF7C-1636-0F8203196C93}"/>
          </ac:cxnSpMkLst>
        </pc:cxnChg>
        <pc:cxnChg chg="add del mod ord replST delST">
          <ac:chgData name="Grace, Morgan (Brisbane)" userId="221d5f7b-4a46-4bd5-bdf1-698d3a91c208" providerId="ADAL" clId="{D90324C1-6CE4-4C28-B886-AED0B666B37F}" dt="2024-06-05T01:52:34.454" v="15572"/>
          <ac:cxnSpMkLst>
            <pc:docMk/>
            <pc:sldMk cId="3270237152" sldId="600"/>
            <ac:cxnSpMk id="207" creationId="{386F57F9-EEB3-5288-2997-8DCBBD6987B0}"/>
          </ac:cxnSpMkLst>
        </pc:cxnChg>
      </pc:sldChg>
      <pc:sldChg chg="modSp del mod">
        <pc:chgData name="Grace, Morgan (Brisbane)" userId="221d5f7b-4a46-4bd5-bdf1-698d3a91c208" providerId="ADAL" clId="{D90324C1-6CE4-4C28-B886-AED0B666B37F}" dt="2024-06-05T04:58:39.443" v="23894" actId="2696"/>
        <pc:sldMkLst>
          <pc:docMk/>
          <pc:sldMk cId="60787988" sldId="601"/>
        </pc:sldMkLst>
        <pc:spChg chg="mod">
          <ac:chgData name="Grace, Morgan (Brisbane)" userId="221d5f7b-4a46-4bd5-bdf1-698d3a91c208" providerId="ADAL" clId="{D90324C1-6CE4-4C28-B886-AED0B666B37F}" dt="2024-06-05T04:58:36.519" v="23892" actId="21"/>
          <ac:spMkLst>
            <pc:docMk/>
            <pc:sldMk cId="60787988" sldId="601"/>
            <ac:spMk id="4" creationId="{52A6BA5E-4D24-4550-B96C-1B272D6DCEEF}"/>
          </ac:spMkLst>
        </pc:spChg>
      </pc:sldChg>
      <pc:sldChg chg="addSp delSp modSp mod modClrScheme chgLayout modNotes modNotesTx">
        <pc:chgData name="Grace, Morgan (Brisbane)" userId="221d5f7b-4a46-4bd5-bdf1-698d3a91c208" providerId="ADAL" clId="{D90324C1-6CE4-4C28-B886-AED0B666B37F}" dt="2024-06-25T01:21:41.040" v="128087" actId="21"/>
        <pc:sldMkLst>
          <pc:docMk/>
          <pc:sldMk cId="2973225441" sldId="602"/>
        </pc:sldMkLst>
        <pc:spChg chg="mod ord">
          <ac:chgData name="Grace, Morgan (Brisbane)" userId="221d5f7b-4a46-4bd5-bdf1-698d3a91c208" providerId="ADAL" clId="{D90324C1-6CE4-4C28-B886-AED0B666B37F}" dt="2024-06-06T05:44:56.791" v="47547"/>
          <ac:spMkLst>
            <pc:docMk/>
            <pc:sldMk cId="2973225441" sldId="602"/>
            <ac:spMk id="2" creationId="{C1E0C783-C1A7-4C16-8161-C0B0A65BA529}"/>
          </ac:spMkLst>
        </pc:spChg>
        <pc:spChg chg="mod ord">
          <ac:chgData name="Grace, Morgan (Brisbane)" userId="221d5f7b-4a46-4bd5-bdf1-698d3a91c208" providerId="ADAL" clId="{D90324C1-6CE4-4C28-B886-AED0B666B37F}" dt="2024-06-06T05:44:56.791" v="47549"/>
          <ac:spMkLst>
            <pc:docMk/>
            <pc:sldMk cId="2973225441" sldId="602"/>
            <ac:spMk id="3" creationId="{1A3BA682-1A11-452A-ACA1-03662AF854B9}"/>
          </ac:spMkLst>
        </pc:spChg>
        <pc:spChg chg="mod ord">
          <ac:chgData name="Grace, Morgan (Brisbane)" userId="221d5f7b-4a46-4bd5-bdf1-698d3a91c208" providerId="ADAL" clId="{D90324C1-6CE4-4C28-B886-AED0B666B37F}" dt="2024-06-19T04:54:24.393" v="124264" actId="113"/>
          <ac:spMkLst>
            <pc:docMk/>
            <pc:sldMk cId="2973225441" sldId="602"/>
            <ac:spMk id="4" creationId="{52A6BA5E-4D24-4550-B96C-1B272D6DCEEF}"/>
          </ac:spMkLst>
        </pc:spChg>
        <pc:spChg chg="add del mod ord">
          <ac:chgData name="Grace, Morgan (Brisbane)" userId="221d5f7b-4a46-4bd5-bdf1-698d3a91c208" providerId="ADAL" clId="{D90324C1-6CE4-4C28-B886-AED0B666B37F}" dt="2024-06-05T04:30:41.297" v="23623"/>
          <ac:spMkLst>
            <pc:docMk/>
            <pc:sldMk cId="2973225441" sldId="602"/>
            <ac:spMk id="5" creationId="{A325162E-C2D4-2188-E5C1-F9A6E5952BA1}"/>
          </ac:spMkLst>
        </pc:spChg>
        <pc:spChg chg="add mod ord">
          <ac:chgData name="Grace, Morgan (Brisbane)" userId="221d5f7b-4a46-4bd5-bdf1-698d3a91c208" providerId="ADAL" clId="{D90324C1-6CE4-4C28-B886-AED0B666B37F}" dt="2024-06-21T01:45:21.367" v="125513" actId="208"/>
          <ac:spMkLst>
            <pc:docMk/>
            <pc:sldMk cId="2973225441" sldId="602"/>
            <ac:spMk id="5" creationId="{AB991444-2087-51F6-C24B-9F1576CD34A8}"/>
          </ac:spMkLst>
        </pc:spChg>
        <pc:spChg chg="add del mod ord">
          <ac:chgData name="Grace, Morgan (Brisbane)" userId="221d5f7b-4a46-4bd5-bdf1-698d3a91c208" providerId="ADAL" clId="{D90324C1-6CE4-4C28-B886-AED0B666B37F}" dt="2024-06-05T04:30:41.297" v="23623"/>
          <ac:spMkLst>
            <pc:docMk/>
            <pc:sldMk cId="2973225441" sldId="602"/>
            <ac:spMk id="7" creationId="{8183A44F-DBB5-A0B3-B470-174740662F1C}"/>
          </ac:spMkLst>
        </pc:spChg>
        <pc:spChg chg="add del mod modVis">
          <ac:chgData name="Grace, Morgan (Brisbane)" userId="221d5f7b-4a46-4bd5-bdf1-698d3a91c208" providerId="ADAL" clId="{D90324C1-6CE4-4C28-B886-AED0B666B37F}" dt="2024-06-06T00:54:12.624" v="38326"/>
          <ac:spMkLst>
            <pc:docMk/>
            <pc:sldMk cId="2973225441" sldId="602"/>
            <ac:spMk id="7" creationId="{EFE081D7-C025-9E76-8406-2126CD6CF42B}"/>
          </ac:spMkLst>
        </pc:spChg>
        <pc:spChg chg="mod ord">
          <ac:chgData name="Grace, Morgan (Brisbane)" userId="221d5f7b-4a46-4bd5-bdf1-698d3a91c208" providerId="ADAL" clId="{D90324C1-6CE4-4C28-B886-AED0B666B37F}" dt="2024-06-06T05:44:56.791" v="47553"/>
          <ac:spMkLst>
            <pc:docMk/>
            <pc:sldMk cId="2973225441" sldId="602"/>
            <ac:spMk id="8" creationId="{12DEDA01-48D4-4AEC-A281-9F119E4DDA7C}"/>
          </ac:spMkLst>
        </pc:spChg>
        <pc:spChg chg="add del mod modVis">
          <ac:chgData name="Grace, Morgan (Brisbane)" userId="221d5f7b-4a46-4bd5-bdf1-698d3a91c208" providerId="ADAL" clId="{D90324C1-6CE4-4C28-B886-AED0B666B37F}" dt="2024-06-05T04:30:40.465" v="23615" actId="962"/>
          <ac:spMkLst>
            <pc:docMk/>
            <pc:sldMk cId="2973225441" sldId="602"/>
            <ac:spMk id="9" creationId="{6A77B499-C2BC-55A6-B23E-40D3DBFE5A5C}"/>
          </ac:spMkLst>
        </pc:spChg>
        <pc:spChg chg="add del mod">
          <ac:chgData name="Grace, Morgan (Brisbane)" userId="221d5f7b-4a46-4bd5-bdf1-698d3a91c208" providerId="ADAL" clId="{D90324C1-6CE4-4C28-B886-AED0B666B37F}" dt="2024-06-07T05:38:47.953" v="122819" actId="478"/>
          <ac:spMkLst>
            <pc:docMk/>
            <pc:sldMk cId="2973225441" sldId="602"/>
            <ac:spMk id="9" creationId="{6C9EDA7A-F93F-2C9D-DFF3-3540564594A5}"/>
          </ac:spMkLst>
        </pc:spChg>
        <pc:spChg chg="add del mod modVis">
          <ac:chgData name="Grace, Morgan (Brisbane)" userId="221d5f7b-4a46-4bd5-bdf1-698d3a91c208" providerId="ADAL" clId="{D90324C1-6CE4-4C28-B886-AED0B666B37F}" dt="2024-06-06T00:54:40.052" v="38580"/>
          <ac:spMkLst>
            <pc:docMk/>
            <pc:sldMk cId="2973225441" sldId="602"/>
            <ac:spMk id="9" creationId="{902964AF-B011-CAC3-D506-CF6933F2C429}"/>
          </ac:spMkLst>
        </pc:spChg>
        <pc:spChg chg="add mod replST">
          <ac:chgData name="Grace, Morgan (Brisbane)" userId="221d5f7b-4a46-4bd5-bdf1-698d3a91c208" providerId="ADAL" clId="{D90324C1-6CE4-4C28-B886-AED0B666B37F}" dt="2024-06-06T05:44:56.791" v="47564"/>
          <ac:spMkLst>
            <pc:docMk/>
            <pc:sldMk cId="2973225441" sldId="602"/>
            <ac:spMk id="10" creationId="{87DF0065-1E85-3CAE-AFF2-1B24507DE8EE}"/>
          </ac:spMkLst>
        </pc:spChg>
        <pc:spChg chg="add del mod modVis">
          <ac:chgData name="Grace, Morgan (Brisbane)" userId="221d5f7b-4a46-4bd5-bdf1-698d3a91c208" providerId="ADAL" clId="{D90324C1-6CE4-4C28-B886-AED0B666B37F}" dt="2024-06-05T05:03:39.746" v="24257"/>
          <ac:spMkLst>
            <pc:docMk/>
            <pc:sldMk cId="2973225441" sldId="602"/>
            <ac:spMk id="11" creationId="{3C321857-7537-3C46-B43D-812B63DB4D7C}"/>
          </ac:spMkLst>
        </pc:spChg>
        <pc:spChg chg="add mod replST">
          <ac:chgData name="Grace, Morgan (Brisbane)" userId="221d5f7b-4a46-4bd5-bdf1-698d3a91c208" providerId="ADAL" clId="{D90324C1-6CE4-4C28-B886-AED0B666B37F}" dt="2024-06-06T05:44:56.807" v="47565"/>
          <ac:spMkLst>
            <pc:docMk/>
            <pc:sldMk cId="2973225441" sldId="602"/>
            <ac:spMk id="12" creationId="{87DF0065-1E85-3CAE-AFF2-1B24507DE8EE}"/>
          </ac:spMkLst>
        </pc:spChg>
        <pc:spChg chg="add mod replST">
          <ac:chgData name="Grace, Morgan (Brisbane)" userId="221d5f7b-4a46-4bd5-bdf1-698d3a91c208" providerId="ADAL" clId="{D90324C1-6CE4-4C28-B886-AED0B666B37F}" dt="2024-06-06T05:44:56.791" v="47556"/>
          <ac:spMkLst>
            <pc:docMk/>
            <pc:sldMk cId="2973225441" sldId="602"/>
            <ac:spMk id="13" creationId="{87DF0065-1E85-3CAE-AFF2-1B24507DE8EE}"/>
          </ac:spMkLst>
        </pc:spChg>
        <pc:spChg chg="add del mod replST">
          <ac:chgData name="Grace, Morgan (Brisbane)" userId="221d5f7b-4a46-4bd5-bdf1-698d3a91c208" providerId="ADAL" clId="{D90324C1-6CE4-4C28-B886-AED0B666B37F}" dt="2024-06-05T05:03:46.762" v="24299"/>
          <ac:spMkLst>
            <pc:docMk/>
            <pc:sldMk cId="2973225441" sldId="602"/>
            <ac:spMk id="14" creationId="{87DF0065-1E85-3CAE-AFF2-1B24507DE8EE}"/>
          </ac:spMkLst>
        </pc:spChg>
        <pc:spChg chg="add del mod modVis">
          <ac:chgData name="Grace, Morgan (Brisbane)" userId="221d5f7b-4a46-4bd5-bdf1-698d3a91c208" providerId="ADAL" clId="{D90324C1-6CE4-4C28-B886-AED0B666B37F}" dt="2024-06-06T00:55:03.691" v="38632"/>
          <ac:spMkLst>
            <pc:docMk/>
            <pc:sldMk cId="2973225441" sldId="602"/>
            <ac:spMk id="14" creationId="{D2C90A08-715D-79A4-CAE8-54FFC27A8121}"/>
          </ac:spMkLst>
        </pc:spChg>
        <pc:spChg chg="add del mod replST">
          <ac:chgData name="Grace, Morgan (Brisbane)" userId="221d5f7b-4a46-4bd5-bdf1-698d3a91c208" providerId="ADAL" clId="{D90324C1-6CE4-4C28-B886-AED0B666B37F}" dt="2024-06-05T05:03:46.762" v="24301"/>
          <ac:spMkLst>
            <pc:docMk/>
            <pc:sldMk cId="2973225441" sldId="602"/>
            <ac:spMk id="15" creationId="{87DF0065-1E85-3CAE-AFF2-1B24507DE8EE}"/>
          </ac:spMkLst>
        </pc:spChg>
        <pc:spChg chg="add del mod modVis">
          <ac:chgData name="Grace, Morgan (Brisbane)" userId="221d5f7b-4a46-4bd5-bdf1-698d3a91c208" providerId="ADAL" clId="{D90324C1-6CE4-4C28-B886-AED0B666B37F}" dt="2024-06-06T00:55:09.607" v="38680"/>
          <ac:spMkLst>
            <pc:docMk/>
            <pc:sldMk cId="2973225441" sldId="602"/>
            <ac:spMk id="15" creationId="{DEC18316-52E6-29EF-D543-34D64A58D3BB}"/>
          </ac:spMkLst>
        </pc:spChg>
        <pc:spChg chg="add del mod modVis">
          <ac:chgData name="Grace, Morgan (Brisbane)" userId="221d5f7b-4a46-4bd5-bdf1-698d3a91c208" providerId="ADAL" clId="{D90324C1-6CE4-4C28-B886-AED0B666B37F}" dt="2024-06-06T00:55:30.058" v="38794"/>
          <ac:spMkLst>
            <pc:docMk/>
            <pc:sldMk cId="2973225441" sldId="602"/>
            <ac:spMk id="16" creationId="{7DE66AB7-0200-4363-3068-98E3B9B21DB2}"/>
          </ac:spMkLst>
        </pc:spChg>
        <pc:spChg chg="add mod ord replST">
          <ac:chgData name="Grace, Morgan (Brisbane)" userId="221d5f7b-4a46-4bd5-bdf1-698d3a91c208" providerId="ADAL" clId="{D90324C1-6CE4-4C28-B886-AED0B666B37F}" dt="2024-06-06T05:44:56.791" v="47562"/>
          <ac:spMkLst>
            <pc:docMk/>
            <pc:sldMk cId="2973225441" sldId="602"/>
            <ac:spMk id="17" creationId="{99246F94-4F56-7671-DE6D-9DB6F9F84368}"/>
          </ac:spMkLst>
        </pc:spChg>
        <pc:spChg chg="add mod ord replST">
          <ac:chgData name="Grace, Morgan (Brisbane)" userId="221d5f7b-4a46-4bd5-bdf1-698d3a91c208" providerId="ADAL" clId="{D90324C1-6CE4-4C28-B886-AED0B666B37F}" dt="2024-06-06T05:44:56.791" v="47563"/>
          <ac:spMkLst>
            <pc:docMk/>
            <pc:sldMk cId="2973225441" sldId="602"/>
            <ac:spMk id="18" creationId="{DEA953AE-547F-96DF-9C5C-AABF4CCA9479}"/>
          </ac:spMkLst>
        </pc:spChg>
        <pc:spChg chg="add del mod modVis">
          <ac:chgData name="Grace, Morgan (Brisbane)" userId="221d5f7b-4a46-4bd5-bdf1-698d3a91c208" providerId="ADAL" clId="{D90324C1-6CE4-4C28-B886-AED0B666B37F}" dt="2024-06-05T05:03:46.796" v="24329"/>
          <ac:spMkLst>
            <pc:docMk/>
            <pc:sldMk cId="2973225441" sldId="602"/>
            <ac:spMk id="19" creationId="{0E7364CA-921D-2A0A-73EF-FAEC97303638}"/>
          </ac:spMkLst>
        </pc:spChg>
        <pc:spChg chg="add del mod modVis">
          <ac:chgData name="Grace, Morgan (Brisbane)" userId="221d5f7b-4a46-4bd5-bdf1-698d3a91c208" providerId="ADAL" clId="{D90324C1-6CE4-4C28-B886-AED0B666B37F}" dt="2024-06-06T00:55:38.401" v="38842"/>
          <ac:spMkLst>
            <pc:docMk/>
            <pc:sldMk cId="2973225441" sldId="602"/>
            <ac:spMk id="20" creationId="{F00ED01D-DE34-4A35-60EF-46B8EB42EF18}"/>
          </ac:spMkLst>
        </pc:spChg>
        <pc:spChg chg="add mod replST">
          <ac:chgData name="Grace, Morgan (Brisbane)" userId="221d5f7b-4a46-4bd5-bdf1-698d3a91c208" providerId="ADAL" clId="{D90324C1-6CE4-4C28-B886-AED0B666B37F}" dt="2024-06-06T05:44:56.791" v="47557"/>
          <ac:spMkLst>
            <pc:docMk/>
            <pc:sldMk cId="2973225441" sldId="602"/>
            <ac:spMk id="21" creationId="{9E457972-2C34-1C65-FA09-128CF52769EC}"/>
          </ac:spMkLst>
        </pc:spChg>
        <pc:spChg chg="add del mod modVis">
          <ac:chgData name="Grace, Morgan (Brisbane)" userId="221d5f7b-4a46-4bd5-bdf1-698d3a91c208" providerId="ADAL" clId="{D90324C1-6CE4-4C28-B886-AED0B666B37F}" dt="2024-06-06T00:55:42.026" v="38880"/>
          <ac:spMkLst>
            <pc:docMk/>
            <pc:sldMk cId="2973225441" sldId="602"/>
            <ac:spMk id="22" creationId="{7EDE9518-44C3-C10E-C030-888F15F9D494}"/>
          </ac:spMkLst>
        </pc:spChg>
        <pc:spChg chg="add del mod modVis">
          <ac:chgData name="Grace, Morgan (Brisbane)" userId="221d5f7b-4a46-4bd5-bdf1-698d3a91c208" providerId="ADAL" clId="{D90324C1-6CE4-4C28-B886-AED0B666B37F}" dt="2024-06-05T05:03:49.829" v="24402"/>
          <ac:spMkLst>
            <pc:docMk/>
            <pc:sldMk cId="2973225441" sldId="602"/>
            <ac:spMk id="22" creationId="{EE885F59-09F4-333F-F6E3-2FC959C71B1E}"/>
          </ac:spMkLst>
        </pc:spChg>
        <pc:spChg chg="add del mod modVis">
          <ac:chgData name="Grace, Morgan (Brisbane)" userId="221d5f7b-4a46-4bd5-bdf1-698d3a91c208" providerId="ADAL" clId="{D90324C1-6CE4-4C28-B886-AED0B666B37F}" dt="2024-06-06T00:55:59.079" v="39451"/>
          <ac:spMkLst>
            <pc:docMk/>
            <pc:sldMk cId="2973225441" sldId="602"/>
            <ac:spMk id="23" creationId="{360FCB0C-4D8B-AB0A-D83E-4482D238298C}"/>
          </ac:spMkLst>
        </pc:spChg>
        <pc:spChg chg="add mod replST">
          <ac:chgData name="Grace, Morgan (Brisbane)" userId="221d5f7b-4a46-4bd5-bdf1-698d3a91c208" providerId="ADAL" clId="{D90324C1-6CE4-4C28-B886-AED0B666B37F}" dt="2024-06-06T05:44:56.791" v="47558"/>
          <ac:spMkLst>
            <pc:docMk/>
            <pc:sldMk cId="2973225441" sldId="602"/>
            <ac:spMk id="24" creationId="{E49BE409-C69B-25CC-2FB6-CF986A2B82A0}"/>
          </ac:spMkLst>
        </pc:spChg>
        <pc:spChg chg="add del mod replST">
          <ac:chgData name="Grace, Morgan (Brisbane)" userId="221d5f7b-4a46-4bd5-bdf1-698d3a91c208" providerId="ADAL" clId="{D90324C1-6CE4-4C28-B886-AED0B666B37F}" dt="2024-06-06T00:56:00.599" v="39499"/>
          <ac:spMkLst>
            <pc:docMk/>
            <pc:sldMk cId="2973225441" sldId="602"/>
            <ac:spMk id="25" creationId="{87DF0065-1E85-3CAE-AFF2-1B24507DE8EE}"/>
          </ac:spMkLst>
        </pc:spChg>
        <pc:spChg chg="add del mod modVis">
          <ac:chgData name="Grace, Morgan (Brisbane)" userId="221d5f7b-4a46-4bd5-bdf1-698d3a91c208" providerId="ADAL" clId="{D90324C1-6CE4-4C28-B886-AED0B666B37F}" dt="2024-06-05T05:03:55.163" v="24477"/>
          <ac:spMkLst>
            <pc:docMk/>
            <pc:sldMk cId="2973225441" sldId="602"/>
            <ac:spMk id="25" creationId="{FDDF3E47-7D3F-F5FC-4C03-5473C1743DAD}"/>
          </ac:spMkLst>
        </pc:spChg>
        <pc:spChg chg="add del mod replST">
          <ac:chgData name="Grace, Morgan (Brisbane)" userId="221d5f7b-4a46-4bd5-bdf1-698d3a91c208" providerId="ADAL" clId="{D90324C1-6CE4-4C28-B886-AED0B666B37F}" dt="2024-06-06T00:56:00.599" v="39500"/>
          <ac:spMkLst>
            <pc:docMk/>
            <pc:sldMk cId="2973225441" sldId="602"/>
            <ac:spMk id="26" creationId="{87DF0065-1E85-3CAE-AFF2-1B24507DE8EE}"/>
          </ac:spMkLst>
        </pc:spChg>
        <pc:spChg chg="add mod replST">
          <ac:chgData name="Grace, Morgan (Brisbane)" userId="221d5f7b-4a46-4bd5-bdf1-698d3a91c208" providerId="ADAL" clId="{D90324C1-6CE4-4C28-B886-AED0B666B37F}" dt="2024-06-06T05:44:56.791" v="47559"/>
          <ac:spMkLst>
            <pc:docMk/>
            <pc:sldMk cId="2973225441" sldId="602"/>
            <ac:spMk id="27" creationId="{43794426-D7AD-D4C7-BF40-61AD15C79F89}"/>
          </ac:spMkLst>
        </pc:spChg>
        <pc:spChg chg="add del mod modVis">
          <ac:chgData name="Grace, Morgan (Brisbane)" userId="221d5f7b-4a46-4bd5-bdf1-698d3a91c208" providerId="ADAL" clId="{D90324C1-6CE4-4C28-B886-AED0B666B37F}" dt="2024-06-05T05:03:57.163" v="24564"/>
          <ac:spMkLst>
            <pc:docMk/>
            <pc:sldMk cId="2973225441" sldId="602"/>
            <ac:spMk id="28" creationId="{320795E8-D8EE-96B0-4D7F-F212BF7C46B1}"/>
          </ac:spMkLst>
        </pc:spChg>
        <pc:spChg chg="add del mod replST">
          <ac:chgData name="Grace, Morgan (Brisbane)" userId="221d5f7b-4a46-4bd5-bdf1-698d3a91c208" providerId="ADAL" clId="{D90324C1-6CE4-4C28-B886-AED0B666B37F}" dt="2024-06-06T00:56:00.599" v="39501"/>
          <ac:spMkLst>
            <pc:docMk/>
            <pc:sldMk cId="2973225441" sldId="602"/>
            <ac:spMk id="28" creationId="{87DF0065-1E85-3CAE-AFF2-1B24507DE8EE}"/>
          </ac:spMkLst>
        </pc:spChg>
        <pc:spChg chg="add del mod replST">
          <ac:chgData name="Grace, Morgan (Brisbane)" userId="221d5f7b-4a46-4bd5-bdf1-698d3a91c208" providerId="ADAL" clId="{D90324C1-6CE4-4C28-B886-AED0B666B37F}" dt="2024-06-06T00:56:00.599" v="39502"/>
          <ac:spMkLst>
            <pc:docMk/>
            <pc:sldMk cId="2973225441" sldId="602"/>
            <ac:spMk id="29" creationId="{87DF0065-1E85-3CAE-AFF2-1B24507DE8EE}"/>
          </ac:spMkLst>
        </pc:spChg>
        <pc:spChg chg="add mod replST">
          <ac:chgData name="Grace, Morgan (Brisbane)" userId="221d5f7b-4a46-4bd5-bdf1-698d3a91c208" providerId="ADAL" clId="{D90324C1-6CE4-4C28-B886-AED0B666B37F}" dt="2024-06-06T05:44:56.791" v="47560"/>
          <ac:spMkLst>
            <pc:docMk/>
            <pc:sldMk cId="2973225441" sldId="602"/>
            <ac:spMk id="30" creationId="{5C041C36-AC17-374E-8148-DF70515AD40A}"/>
          </ac:spMkLst>
        </pc:spChg>
        <pc:spChg chg="add del mod modVis">
          <ac:chgData name="Grace, Morgan (Brisbane)" userId="221d5f7b-4a46-4bd5-bdf1-698d3a91c208" providerId="ADAL" clId="{D90324C1-6CE4-4C28-B886-AED0B666B37F}" dt="2024-06-05T05:03:59.729" v="24659"/>
          <ac:spMkLst>
            <pc:docMk/>
            <pc:sldMk cId="2973225441" sldId="602"/>
            <ac:spMk id="31" creationId="{551EB6D7-9058-590F-5068-001ABFECD7AE}"/>
          </ac:spMkLst>
        </pc:spChg>
        <pc:spChg chg="add del mod replST">
          <ac:chgData name="Grace, Morgan (Brisbane)" userId="221d5f7b-4a46-4bd5-bdf1-698d3a91c208" providerId="ADAL" clId="{D90324C1-6CE4-4C28-B886-AED0B666B37F}" dt="2024-06-06T00:56:00.599" v="39503"/>
          <ac:spMkLst>
            <pc:docMk/>
            <pc:sldMk cId="2973225441" sldId="602"/>
            <ac:spMk id="31" creationId="{87DF0065-1E85-3CAE-AFF2-1B24507DE8EE}"/>
          </ac:spMkLst>
        </pc:spChg>
        <pc:spChg chg="add mod replST">
          <ac:chgData name="Grace, Morgan (Brisbane)" userId="221d5f7b-4a46-4bd5-bdf1-698d3a91c208" providerId="ADAL" clId="{D90324C1-6CE4-4C28-B886-AED0B666B37F}" dt="2024-06-06T05:44:56.791" v="47561"/>
          <ac:spMkLst>
            <pc:docMk/>
            <pc:sldMk cId="2973225441" sldId="602"/>
            <ac:spMk id="33" creationId="{A8A31612-70B0-9C5B-EDF1-0A29EC81FB31}"/>
          </ac:spMkLst>
        </pc:spChg>
        <pc:spChg chg="add del mod modVis">
          <ac:chgData name="Grace, Morgan (Brisbane)" userId="221d5f7b-4a46-4bd5-bdf1-698d3a91c208" providerId="ADAL" clId="{D90324C1-6CE4-4C28-B886-AED0B666B37F}" dt="2024-06-05T05:04:03.062" v="24750"/>
          <ac:spMkLst>
            <pc:docMk/>
            <pc:sldMk cId="2973225441" sldId="602"/>
            <ac:spMk id="34" creationId="{EFCD380C-54A8-51DC-60D5-1E73E78A72E6}"/>
          </ac:spMkLst>
        </pc:spChg>
        <pc:spChg chg="add del mod modVis">
          <ac:chgData name="Grace, Morgan (Brisbane)" userId="221d5f7b-4a46-4bd5-bdf1-698d3a91c208" providerId="ADAL" clId="{D90324C1-6CE4-4C28-B886-AED0B666B37F}" dt="2024-06-05T05:04:25.331" v="24822"/>
          <ac:spMkLst>
            <pc:docMk/>
            <pc:sldMk cId="2973225441" sldId="602"/>
            <ac:spMk id="36" creationId="{D41DC4F9-0BDB-A166-A95C-3E8FFD1C4E15}"/>
          </ac:spMkLst>
        </pc:spChg>
        <pc:spChg chg="add del mod modVis">
          <ac:chgData name="Grace, Morgan (Brisbane)" userId="221d5f7b-4a46-4bd5-bdf1-698d3a91c208" providerId="ADAL" clId="{D90324C1-6CE4-4C28-B886-AED0B666B37F}" dt="2024-06-05T05:04:28.346" v="24894"/>
          <ac:spMkLst>
            <pc:docMk/>
            <pc:sldMk cId="2973225441" sldId="602"/>
            <ac:spMk id="38" creationId="{B9174BBD-6447-2F1A-7025-18D3F3FC95FE}"/>
          </ac:spMkLst>
        </pc:spChg>
        <pc:spChg chg="add del mod modVis">
          <ac:chgData name="Grace, Morgan (Brisbane)" userId="221d5f7b-4a46-4bd5-bdf1-698d3a91c208" providerId="ADAL" clId="{D90324C1-6CE4-4C28-B886-AED0B666B37F}" dt="2024-06-05T05:05:12.279" v="24962"/>
          <ac:spMkLst>
            <pc:docMk/>
            <pc:sldMk cId="2973225441" sldId="602"/>
            <ac:spMk id="40" creationId="{5D25EAFE-2984-8E36-9994-4F3C48A43A0C}"/>
          </ac:spMkLst>
        </pc:spChg>
        <pc:spChg chg="add del mod modVis">
          <ac:chgData name="Grace, Morgan (Brisbane)" userId="221d5f7b-4a46-4bd5-bdf1-698d3a91c208" providerId="ADAL" clId="{D90324C1-6CE4-4C28-B886-AED0B666B37F}" dt="2024-06-05T05:05:17.312" v="25023"/>
          <ac:spMkLst>
            <pc:docMk/>
            <pc:sldMk cId="2973225441" sldId="602"/>
            <ac:spMk id="42" creationId="{33BF1746-E7F9-E969-F41C-90A89F7166AC}"/>
          </ac:spMkLst>
        </pc:spChg>
        <pc:spChg chg="add del mod modVis">
          <ac:chgData name="Grace, Morgan (Brisbane)" userId="221d5f7b-4a46-4bd5-bdf1-698d3a91c208" providerId="ADAL" clId="{D90324C1-6CE4-4C28-B886-AED0B666B37F}" dt="2024-06-05T05:05:18.814" v="25084"/>
          <ac:spMkLst>
            <pc:docMk/>
            <pc:sldMk cId="2973225441" sldId="602"/>
            <ac:spMk id="44" creationId="{D605CCEC-71E5-77AD-9231-E70B6C86D4C2}"/>
          </ac:spMkLst>
        </pc:spChg>
        <pc:spChg chg="add del mod modVis">
          <ac:chgData name="Grace, Morgan (Brisbane)" userId="221d5f7b-4a46-4bd5-bdf1-698d3a91c208" providerId="ADAL" clId="{D90324C1-6CE4-4C28-B886-AED0B666B37F}" dt="2024-06-05T05:05:27.014" v="25145"/>
          <ac:spMkLst>
            <pc:docMk/>
            <pc:sldMk cId="2973225441" sldId="602"/>
            <ac:spMk id="46" creationId="{ADA12C8A-8241-EBBF-F789-DE6D1F1D4874}"/>
          </ac:spMkLst>
        </pc:spChg>
        <pc:spChg chg="add del mod modVis">
          <ac:chgData name="Grace, Morgan (Brisbane)" userId="221d5f7b-4a46-4bd5-bdf1-698d3a91c208" providerId="ADAL" clId="{D90324C1-6CE4-4C28-B886-AED0B666B37F}" dt="2024-06-05T05:05:29.931" v="25206"/>
          <ac:spMkLst>
            <pc:docMk/>
            <pc:sldMk cId="2973225441" sldId="602"/>
            <ac:spMk id="48" creationId="{C0DAA061-A17C-49C9-18B6-77E835A4494E}"/>
          </ac:spMkLst>
        </pc:spChg>
        <pc:spChg chg="add del mod modVis">
          <ac:chgData name="Grace, Morgan (Brisbane)" userId="221d5f7b-4a46-4bd5-bdf1-698d3a91c208" providerId="ADAL" clId="{D90324C1-6CE4-4C28-B886-AED0B666B37F}" dt="2024-06-05T05:05:33.697" v="25267"/>
          <ac:spMkLst>
            <pc:docMk/>
            <pc:sldMk cId="2973225441" sldId="602"/>
            <ac:spMk id="50" creationId="{752E9A3B-6861-493D-3940-7FF25DFBDC5B}"/>
          </ac:spMkLst>
        </pc:spChg>
        <pc:spChg chg="add del mod modVis">
          <ac:chgData name="Grace, Morgan (Brisbane)" userId="221d5f7b-4a46-4bd5-bdf1-698d3a91c208" providerId="ADAL" clId="{D90324C1-6CE4-4C28-B886-AED0B666B37F}" dt="2024-06-05T05:05:37.013" v="25328"/>
          <ac:spMkLst>
            <pc:docMk/>
            <pc:sldMk cId="2973225441" sldId="602"/>
            <ac:spMk id="52" creationId="{A4EE2BCF-31D1-903A-A375-7CBB6DA33F54}"/>
          </ac:spMkLst>
        </pc:spChg>
        <pc:spChg chg="add del mod modVis">
          <ac:chgData name="Grace, Morgan (Brisbane)" userId="221d5f7b-4a46-4bd5-bdf1-698d3a91c208" providerId="ADAL" clId="{D90324C1-6CE4-4C28-B886-AED0B666B37F}" dt="2024-06-05T05:05:40.079" v="25389"/>
          <ac:spMkLst>
            <pc:docMk/>
            <pc:sldMk cId="2973225441" sldId="602"/>
            <ac:spMk id="54" creationId="{CBD81416-6024-98E0-76C7-82D2DD36C388}"/>
          </ac:spMkLst>
        </pc:spChg>
        <pc:spChg chg="add del mod modVis">
          <ac:chgData name="Grace, Morgan (Brisbane)" userId="221d5f7b-4a46-4bd5-bdf1-698d3a91c208" providerId="ADAL" clId="{D90324C1-6CE4-4C28-B886-AED0B666B37F}" dt="2024-06-05T05:05:48.996" v="25450"/>
          <ac:spMkLst>
            <pc:docMk/>
            <pc:sldMk cId="2973225441" sldId="602"/>
            <ac:spMk id="56" creationId="{3D2F23B3-056F-2C82-205D-DA7DA74F2038}"/>
          </ac:spMkLst>
        </pc:spChg>
        <pc:spChg chg="add del mod modVis">
          <ac:chgData name="Grace, Morgan (Brisbane)" userId="221d5f7b-4a46-4bd5-bdf1-698d3a91c208" providerId="ADAL" clId="{D90324C1-6CE4-4C28-B886-AED0B666B37F}" dt="2024-06-05T05:05:52.627" v="25511"/>
          <ac:spMkLst>
            <pc:docMk/>
            <pc:sldMk cId="2973225441" sldId="602"/>
            <ac:spMk id="58" creationId="{6B3F930F-64AF-109C-64CD-677819A91F2F}"/>
          </ac:spMkLst>
        </pc:spChg>
        <pc:spChg chg="add del mod modVis">
          <ac:chgData name="Grace, Morgan (Brisbane)" userId="221d5f7b-4a46-4bd5-bdf1-698d3a91c208" providerId="ADAL" clId="{D90324C1-6CE4-4C28-B886-AED0B666B37F}" dt="2024-06-05T05:05:55.083" v="25572"/>
          <ac:spMkLst>
            <pc:docMk/>
            <pc:sldMk cId="2973225441" sldId="602"/>
            <ac:spMk id="60" creationId="{6BD4E1DF-A184-176B-C243-34B7EBD86015}"/>
          </ac:spMkLst>
        </pc:spChg>
        <pc:spChg chg="add del mod modVis">
          <ac:chgData name="Grace, Morgan (Brisbane)" userId="221d5f7b-4a46-4bd5-bdf1-698d3a91c208" providerId="ADAL" clId="{D90324C1-6CE4-4C28-B886-AED0B666B37F}" dt="2024-06-05T05:05:58.112" v="25633"/>
          <ac:spMkLst>
            <pc:docMk/>
            <pc:sldMk cId="2973225441" sldId="602"/>
            <ac:spMk id="62" creationId="{FB2648CA-1BFB-61BB-220D-64C0690E3E89}"/>
          </ac:spMkLst>
        </pc:spChg>
        <pc:spChg chg="add del mod modVis">
          <ac:chgData name="Grace, Morgan (Brisbane)" userId="221d5f7b-4a46-4bd5-bdf1-698d3a91c208" providerId="ADAL" clId="{D90324C1-6CE4-4C28-B886-AED0B666B37F}" dt="2024-06-05T05:06:01.049" v="25694"/>
          <ac:spMkLst>
            <pc:docMk/>
            <pc:sldMk cId="2973225441" sldId="602"/>
            <ac:spMk id="64" creationId="{23928E5A-8B91-8B14-9572-21561F55F2CC}"/>
          </ac:spMkLst>
        </pc:spChg>
        <pc:spChg chg="add del mod modVis">
          <ac:chgData name="Grace, Morgan (Brisbane)" userId="221d5f7b-4a46-4bd5-bdf1-698d3a91c208" providerId="ADAL" clId="{D90324C1-6CE4-4C28-B886-AED0B666B37F}" dt="2024-06-05T05:06:25.763" v="26364"/>
          <ac:spMkLst>
            <pc:docMk/>
            <pc:sldMk cId="2973225441" sldId="602"/>
            <ac:spMk id="69" creationId="{28955D44-7154-2CA9-ED81-7CC8D521F63F}"/>
          </ac:spMkLst>
        </pc:spChg>
        <pc:spChg chg="add del mod replST">
          <ac:chgData name="Grace, Morgan (Brisbane)" userId="221d5f7b-4a46-4bd5-bdf1-698d3a91c208" providerId="ADAL" clId="{D90324C1-6CE4-4C28-B886-AED0B666B37F}" dt="2024-06-05T05:06:31.646" v="26413"/>
          <ac:spMkLst>
            <pc:docMk/>
            <pc:sldMk cId="2973225441" sldId="602"/>
            <ac:spMk id="70" creationId="{87DF0065-1E85-3CAE-AFF2-1B24507DE8EE}"/>
          </ac:spMkLst>
        </pc:spChg>
        <pc:spChg chg="add del mod replST">
          <ac:chgData name="Grace, Morgan (Brisbane)" userId="221d5f7b-4a46-4bd5-bdf1-698d3a91c208" providerId="ADAL" clId="{D90324C1-6CE4-4C28-B886-AED0B666B37F}" dt="2024-06-05T05:06:31.646" v="26414"/>
          <ac:spMkLst>
            <pc:docMk/>
            <pc:sldMk cId="2973225441" sldId="602"/>
            <ac:spMk id="71" creationId="{87DF0065-1E85-3CAE-AFF2-1B24507DE8EE}"/>
          </ac:spMkLst>
        </pc:spChg>
        <pc:spChg chg="add del mod replST">
          <ac:chgData name="Grace, Morgan (Brisbane)" userId="221d5f7b-4a46-4bd5-bdf1-698d3a91c208" providerId="ADAL" clId="{D90324C1-6CE4-4C28-B886-AED0B666B37F}" dt="2024-06-05T05:06:31.646" v="26415"/>
          <ac:spMkLst>
            <pc:docMk/>
            <pc:sldMk cId="2973225441" sldId="602"/>
            <ac:spMk id="72" creationId="{87DF0065-1E85-3CAE-AFF2-1B24507DE8EE}"/>
          </ac:spMkLst>
        </pc:spChg>
        <pc:spChg chg="add del mod replST">
          <ac:chgData name="Grace, Morgan (Brisbane)" userId="221d5f7b-4a46-4bd5-bdf1-698d3a91c208" providerId="ADAL" clId="{D90324C1-6CE4-4C28-B886-AED0B666B37F}" dt="2024-06-05T05:06:31.646" v="26416"/>
          <ac:spMkLst>
            <pc:docMk/>
            <pc:sldMk cId="2973225441" sldId="602"/>
            <ac:spMk id="73" creationId="{87DF0065-1E85-3CAE-AFF2-1B24507DE8EE}"/>
          </ac:spMkLst>
        </pc:spChg>
        <pc:spChg chg="add del mod replST">
          <ac:chgData name="Grace, Morgan (Brisbane)" userId="221d5f7b-4a46-4bd5-bdf1-698d3a91c208" providerId="ADAL" clId="{D90324C1-6CE4-4C28-B886-AED0B666B37F}" dt="2024-06-05T05:06:31.646" v="26417"/>
          <ac:spMkLst>
            <pc:docMk/>
            <pc:sldMk cId="2973225441" sldId="602"/>
            <ac:spMk id="74" creationId="{87DF0065-1E85-3CAE-AFF2-1B24507DE8EE}"/>
          </ac:spMkLst>
        </pc:spChg>
        <pc:spChg chg="add del mod replST">
          <ac:chgData name="Grace, Morgan (Brisbane)" userId="221d5f7b-4a46-4bd5-bdf1-698d3a91c208" providerId="ADAL" clId="{D90324C1-6CE4-4C28-B886-AED0B666B37F}" dt="2024-06-05T05:06:31.646" v="26418"/>
          <ac:spMkLst>
            <pc:docMk/>
            <pc:sldMk cId="2973225441" sldId="602"/>
            <ac:spMk id="75" creationId="{87DF0065-1E85-3CAE-AFF2-1B24507DE8EE}"/>
          </ac:spMkLst>
        </pc:spChg>
        <pc:spChg chg="add del mod replST">
          <ac:chgData name="Grace, Morgan (Brisbane)" userId="221d5f7b-4a46-4bd5-bdf1-698d3a91c208" providerId="ADAL" clId="{D90324C1-6CE4-4C28-B886-AED0B666B37F}" dt="2024-06-05T05:06:31.646" v="26419"/>
          <ac:spMkLst>
            <pc:docMk/>
            <pc:sldMk cId="2973225441" sldId="602"/>
            <ac:spMk id="76" creationId="{87DF0065-1E85-3CAE-AFF2-1B24507DE8EE}"/>
          </ac:spMkLst>
        </pc:spChg>
        <pc:spChg chg="add del mod replST">
          <ac:chgData name="Grace, Morgan (Brisbane)" userId="221d5f7b-4a46-4bd5-bdf1-698d3a91c208" providerId="ADAL" clId="{D90324C1-6CE4-4C28-B886-AED0B666B37F}" dt="2024-06-05T05:06:31.646" v="26420"/>
          <ac:spMkLst>
            <pc:docMk/>
            <pc:sldMk cId="2973225441" sldId="602"/>
            <ac:spMk id="77" creationId="{87DF0065-1E85-3CAE-AFF2-1B24507DE8EE}"/>
          </ac:spMkLst>
        </pc:spChg>
        <pc:spChg chg="add del mod modVis">
          <ac:chgData name="Grace, Morgan (Brisbane)" userId="221d5f7b-4a46-4bd5-bdf1-698d3a91c208" providerId="ADAL" clId="{D90324C1-6CE4-4C28-B886-AED0B666B37F}" dt="2024-06-05T05:06:31.666" v="26451"/>
          <ac:spMkLst>
            <pc:docMk/>
            <pc:sldMk cId="2973225441" sldId="602"/>
            <ac:spMk id="79" creationId="{44A66612-C0AA-9D2F-51DA-0986AACFD7FF}"/>
          </ac:spMkLst>
        </pc:spChg>
        <pc:spChg chg="add del mod modVis">
          <ac:chgData name="Grace, Morgan (Brisbane)" userId="221d5f7b-4a46-4bd5-bdf1-698d3a91c208" providerId="ADAL" clId="{D90324C1-6CE4-4C28-B886-AED0B666B37F}" dt="2024-06-05T05:07:10.496" v="26567"/>
          <ac:spMkLst>
            <pc:docMk/>
            <pc:sldMk cId="2973225441" sldId="602"/>
            <ac:spMk id="81" creationId="{CEA1B558-2E78-FB89-9BA7-FD3CF76198C9}"/>
          </ac:spMkLst>
        </pc:spChg>
        <pc:spChg chg="add del mod modVis">
          <ac:chgData name="Grace, Morgan (Brisbane)" userId="221d5f7b-4a46-4bd5-bdf1-698d3a91c208" providerId="ADAL" clId="{D90324C1-6CE4-4C28-B886-AED0B666B37F}" dt="2024-06-05T05:07:14.345" v="26654"/>
          <ac:spMkLst>
            <pc:docMk/>
            <pc:sldMk cId="2973225441" sldId="602"/>
            <ac:spMk id="83" creationId="{C47A5E12-D31F-A035-139A-4F744D0599AE}"/>
          </ac:spMkLst>
        </pc:spChg>
        <pc:spChg chg="add del mod modVis">
          <ac:chgData name="Grace, Morgan (Brisbane)" userId="221d5f7b-4a46-4bd5-bdf1-698d3a91c208" providerId="ADAL" clId="{D90324C1-6CE4-4C28-B886-AED0B666B37F}" dt="2024-06-05T05:07:17.245" v="26731"/>
          <ac:spMkLst>
            <pc:docMk/>
            <pc:sldMk cId="2973225441" sldId="602"/>
            <ac:spMk id="85" creationId="{D16F3928-06B8-B831-509E-D351F731F4B4}"/>
          </ac:spMkLst>
        </pc:spChg>
        <pc:spChg chg="add del mod modVis">
          <ac:chgData name="Grace, Morgan (Brisbane)" userId="221d5f7b-4a46-4bd5-bdf1-698d3a91c208" providerId="ADAL" clId="{D90324C1-6CE4-4C28-B886-AED0B666B37F}" dt="2024-06-05T05:07:31.695" v="26802"/>
          <ac:spMkLst>
            <pc:docMk/>
            <pc:sldMk cId="2973225441" sldId="602"/>
            <ac:spMk id="87" creationId="{8D92E1E1-BBC7-F109-145B-6D4762610C7B}"/>
          </ac:spMkLst>
        </pc:spChg>
        <pc:spChg chg="add del mod modVis">
          <ac:chgData name="Grace, Morgan (Brisbane)" userId="221d5f7b-4a46-4bd5-bdf1-698d3a91c208" providerId="ADAL" clId="{D90324C1-6CE4-4C28-B886-AED0B666B37F}" dt="2024-06-05T05:07:33.079" v="27301"/>
          <ac:spMkLst>
            <pc:docMk/>
            <pc:sldMk cId="2973225441" sldId="602"/>
            <ac:spMk id="89" creationId="{EA7DE31B-C46D-5494-AD2A-D3F408B29692}"/>
          </ac:spMkLst>
        </pc:spChg>
        <pc:spChg chg="add del mod replST">
          <ac:chgData name="Grace, Morgan (Brisbane)" userId="221d5f7b-4a46-4bd5-bdf1-698d3a91c208" providerId="ADAL" clId="{D90324C1-6CE4-4C28-B886-AED0B666B37F}" dt="2024-06-05T05:07:34.979" v="27437"/>
          <ac:spMkLst>
            <pc:docMk/>
            <pc:sldMk cId="2973225441" sldId="602"/>
            <ac:spMk id="90" creationId="{87DF0065-1E85-3CAE-AFF2-1B24507DE8EE}"/>
          </ac:spMkLst>
        </pc:spChg>
        <pc:spChg chg="add del mod replST">
          <ac:chgData name="Grace, Morgan (Brisbane)" userId="221d5f7b-4a46-4bd5-bdf1-698d3a91c208" providerId="ADAL" clId="{D90324C1-6CE4-4C28-B886-AED0B666B37F}" dt="2024-06-05T05:07:34.979" v="27438"/>
          <ac:spMkLst>
            <pc:docMk/>
            <pc:sldMk cId="2973225441" sldId="602"/>
            <ac:spMk id="91" creationId="{87DF0065-1E85-3CAE-AFF2-1B24507DE8EE}"/>
          </ac:spMkLst>
        </pc:spChg>
        <pc:spChg chg="add del mod replST">
          <ac:chgData name="Grace, Morgan (Brisbane)" userId="221d5f7b-4a46-4bd5-bdf1-698d3a91c208" providerId="ADAL" clId="{D90324C1-6CE4-4C28-B886-AED0B666B37F}" dt="2024-06-05T05:07:34.979" v="27439"/>
          <ac:spMkLst>
            <pc:docMk/>
            <pc:sldMk cId="2973225441" sldId="602"/>
            <ac:spMk id="92" creationId="{87DF0065-1E85-3CAE-AFF2-1B24507DE8EE}"/>
          </ac:spMkLst>
        </pc:spChg>
        <pc:spChg chg="add del mod replST">
          <ac:chgData name="Grace, Morgan (Brisbane)" userId="221d5f7b-4a46-4bd5-bdf1-698d3a91c208" providerId="ADAL" clId="{D90324C1-6CE4-4C28-B886-AED0B666B37F}" dt="2024-06-05T05:07:34.979" v="27440"/>
          <ac:spMkLst>
            <pc:docMk/>
            <pc:sldMk cId="2973225441" sldId="602"/>
            <ac:spMk id="93" creationId="{87DF0065-1E85-3CAE-AFF2-1B24507DE8EE}"/>
          </ac:spMkLst>
        </pc:spChg>
        <pc:spChg chg="add del mod replST">
          <ac:chgData name="Grace, Morgan (Brisbane)" userId="221d5f7b-4a46-4bd5-bdf1-698d3a91c208" providerId="ADAL" clId="{D90324C1-6CE4-4C28-B886-AED0B666B37F}" dt="2024-06-05T05:07:34.994" v="27441"/>
          <ac:spMkLst>
            <pc:docMk/>
            <pc:sldMk cId="2973225441" sldId="602"/>
            <ac:spMk id="94" creationId="{87DF0065-1E85-3CAE-AFF2-1B24507DE8EE}"/>
          </ac:spMkLst>
        </pc:spChg>
        <pc:spChg chg="add del mod replST">
          <ac:chgData name="Grace, Morgan (Brisbane)" userId="221d5f7b-4a46-4bd5-bdf1-698d3a91c208" providerId="ADAL" clId="{D90324C1-6CE4-4C28-B886-AED0B666B37F}" dt="2024-06-05T05:07:34.994" v="27442"/>
          <ac:spMkLst>
            <pc:docMk/>
            <pc:sldMk cId="2973225441" sldId="602"/>
            <ac:spMk id="95" creationId="{87DF0065-1E85-3CAE-AFF2-1B24507DE8EE}"/>
          </ac:spMkLst>
        </pc:spChg>
        <pc:spChg chg="add del mod replST">
          <ac:chgData name="Grace, Morgan (Brisbane)" userId="221d5f7b-4a46-4bd5-bdf1-698d3a91c208" providerId="ADAL" clId="{D90324C1-6CE4-4C28-B886-AED0B666B37F}" dt="2024-06-05T05:07:34.995" v="27443"/>
          <ac:spMkLst>
            <pc:docMk/>
            <pc:sldMk cId="2973225441" sldId="602"/>
            <ac:spMk id="96" creationId="{87DF0065-1E85-3CAE-AFF2-1B24507DE8EE}"/>
          </ac:spMkLst>
        </pc:spChg>
        <pc:spChg chg="add del mod replST">
          <ac:chgData name="Grace, Morgan (Brisbane)" userId="221d5f7b-4a46-4bd5-bdf1-698d3a91c208" providerId="ADAL" clId="{D90324C1-6CE4-4C28-B886-AED0B666B37F}" dt="2024-06-05T05:07:34.996" v="27444"/>
          <ac:spMkLst>
            <pc:docMk/>
            <pc:sldMk cId="2973225441" sldId="602"/>
            <ac:spMk id="97" creationId="{87DF0065-1E85-3CAE-AFF2-1B24507DE8EE}"/>
          </ac:spMkLst>
        </pc:spChg>
        <pc:spChg chg="add del mod modVis">
          <ac:chgData name="Grace, Morgan (Brisbane)" userId="221d5f7b-4a46-4bd5-bdf1-698d3a91c208" providerId="ADAL" clId="{D90324C1-6CE4-4C28-B886-AED0B666B37F}" dt="2024-06-05T05:07:33.197" v="27388"/>
          <ac:spMkLst>
            <pc:docMk/>
            <pc:sldMk cId="2973225441" sldId="602"/>
            <ac:spMk id="99" creationId="{82943286-8274-D31C-9AB6-B988CA2E91A6}"/>
          </ac:spMkLst>
        </pc:spChg>
        <pc:spChg chg="add del mod modVis">
          <ac:chgData name="Grace, Morgan (Brisbane)" userId="221d5f7b-4a46-4bd5-bdf1-698d3a91c208" providerId="ADAL" clId="{D90324C1-6CE4-4C28-B886-AED0B666B37F}" dt="2024-06-05T05:07:35.019" v="27475"/>
          <ac:spMkLst>
            <pc:docMk/>
            <pc:sldMk cId="2973225441" sldId="602"/>
            <ac:spMk id="101" creationId="{8B3C5780-5D10-7873-0C0C-E3C71C2835CD}"/>
          </ac:spMkLst>
        </pc:spChg>
        <pc:spChg chg="add del mod modVis">
          <ac:chgData name="Grace, Morgan (Brisbane)" userId="221d5f7b-4a46-4bd5-bdf1-698d3a91c208" providerId="ADAL" clId="{D90324C1-6CE4-4C28-B886-AED0B666B37F}" dt="2024-06-05T05:07:38.362" v="27544"/>
          <ac:spMkLst>
            <pc:docMk/>
            <pc:sldMk cId="2973225441" sldId="602"/>
            <ac:spMk id="103" creationId="{D7D80061-45E3-67B5-1B0B-09199F90F96D}"/>
          </ac:spMkLst>
        </pc:spChg>
        <pc:spChg chg="add del mod modVis">
          <ac:chgData name="Grace, Morgan (Brisbane)" userId="221d5f7b-4a46-4bd5-bdf1-698d3a91c208" providerId="ADAL" clId="{D90324C1-6CE4-4C28-B886-AED0B666B37F}" dt="2024-06-05T05:07:45.549" v="27626"/>
          <ac:spMkLst>
            <pc:docMk/>
            <pc:sldMk cId="2973225441" sldId="602"/>
            <ac:spMk id="105" creationId="{01620E22-D890-4BF8-3E2C-CA06716F9EF9}"/>
          </ac:spMkLst>
        </pc:spChg>
        <pc:spChg chg="add del mod modVis">
          <ac:chgData name="Grace, Morgan (Brisbane)" userId="221d5f7b-4a46-4bd5-bdf1-698d3a91c208" providerId="ADAL" clId="{D90324C1-6CE4-4C28-B886-AED0B666B37F}" dt="2024-06-05T05:07:51.329" v="27695"/>
          <ac:spMkLst>
            <pc:docMk/>
            <pc:sldMk cId="2973225441" sldId="602"/>
            <ac:spMk id="107" creationId="{916267C1-FC65-4C7E-054F-64896AE04367}"/>
          </ac:spMkLst>
        </pc:spChg>
        <pc:spChg chg="add del mod modVis">
          <ac:chgData name="Grace, Morgan (Brisbane)" userId="221d5f7b-4a46-4bd5-bdf1-698d3a91c208" providerId="ADAL" clId="{D90324C1-6CE4-4C28-B886-AED0B666B37F}" dt="2024-06-05T05:07:56.845" v="27788"/>
          <ac:spMkLst>
            <pc:docMk/>
            <pc:sldMk cId="2973225441" sldId="602"/>
            <ac:spMk id="109" creationId="{07926E63-3B7A-81DE-8E60-1ADAAD44EE7C}"/>
          </ac:spMkLst>
        </pc:spChg>
        <pc:spChg chg="add del mod modVis">
          <ac:chgData name="Grace, Morgan (Brisbane)" userId="221d5f7b-4a46-4bd5-bdf1-698d3a91c208" providerId="ADAL" clId="{D90324C1-6CE4-4C28-B886-AED0B666B37F}" dt="2024-06-05T05:08:14.562" v="27921"/>
          <ac:spMkLst>
            <pc:docMk/>
            <pc:sldMk cId="2973225441" sldId="602"/>
            <ac:spMk id="111" creationId="{94D90933-A5D5-00BD-A3B2-384FC3253FC2}"/>
          </ac:spMkLst>
        </pc:spChg>
        <pc:spChg chg="add mod replST">
          <ac:chgData name="Grace, Morgan (Brisbane)" userId="221d5f7b-4a46-4bd5-bdf1-698d3a91c208" providerId="ADAL" clId="{D90324C1-6CE4-4C28-B886-AED0B666B37F}" dt="2024-06-06T05:44:56.791" v="47555"/>
          <ac:spMkLst>
            <pc:docMk/>
            <pc:sldMk cId="2973225441" sldId="602"/>
            <ac:spMk id="112" creationId="{87DF0065-1E85-3CAE-AFF2-1B24507DE8EE}"/>
          </ac:spMkLst>
        </pc:spChg>
        <pc:spChg chg="add del mod modVis">
          <ac:chgData name="Grace, Morgan (Brisbane)" userId="221d5f7b-4a46-4bd5-bdf1-698d3a91c208" providerId="ADAL" clId="{D90324C1-6CE4-4C28-B886-AED0B666B37F}" dt="2024-06-05T05:08:16.979" v="27997"/>
          <ac:spMkLst>
            <pc:docMk/>
            <pc:sldMk cId="2973225441" sldId="602"/>
            <ac:spMk id="114" creationId="{8DB25C14-DCBC-0006-3326-E8F64230A703}"/>
          </ac:spMkLst>
        </pc:spChg>
        <pc:spChg chg="add del mod modVis">
          <ac:chgData name="Grace, Morgan (Brisbane)" userId="221d5f7b-4a46-4bd5-bdf1-698d3a91c208" providerId="ADAL" clId="{D90324C1-6CE4-4C28-B886-AED0B666B37F}" dt="2024-06-05T05:08:20.032" v="28086"/>
          <ac:spMkLst>
            <pc:docMk/>
            <pc:sldMk cId="2973225441" sldId="602"/>
            <ac:spMk id="116" creationId="{8EB6D440-C641-ECDE-CBF0-8064C05A5593}"/>
          </ac:spMkLst>
        </pc:spChg>
        <pc:spChg chg="add del mod modVis">
          <ac:chgData name="Grace, Morgan (Brisbane)" userId="221d5f7b-4a46-4bd5-bdf1-698d3a91c208" providerId="ADAL" clId="{D90324C1-6CE4-4C28-B886-AED0B666B37F}" dt="2024-06-05T05:08:21.728" v="28161"/>
          <ac:spMkLst>
            <pc:docMk/>
            <pc:sldMk cId="2973225441" sldId="602"/>
            <ac:spMk id="118" creationId="{90C0D265-DF36-5685-CDE8-5C19AC6B2B95}"/>
          </ac:spMkLst>
        </pc:spChg>
        <pc:spChg chg="add del mod modVis">
          <ac:chgData name="Grace, Morgan (Brisbane)" userId="221d5f7b-4a46-4bd5-bdf1-698d3a91c208" providerId="ADAL" clId="{D90324C1-6CE4-4C28-B886-AED0B666B37F}" dt="2024-06-05T05:08:23.629" v="28237"/>
          <ac:spMkLst>
            <pc:docMk/>
            <pc:sldMk cId="2973225441" sldId="602"/>
            <ac:spMk id="120" creationId="{E5A43D85-DF28-89F3-1090-53CB70A7EB14}"/>
          </ac:spMkLst>
        </pc:spChg>
        <pc:spChg chg="add del mod modVis">
          <ac:chgData name="Grace, Morgan (Brisbane)" userId="221d5f7b-4a46-4bd5-bdf1-698d3a91c208" providerId="ADAL" clId="{D90324C1-6CE4-4C28-B886-AED0B666B37F}" dt="2024-06-05T05:08:25.529" v="28311"/>
          <ac:spMkLst>
            <pc:docMk/>
            <pc:sldMk cId="2973225441" sldId="602"/>
            <ac:spMk id="122" creationId="{5ED2087B-814B-3268-B969-E01389E27B7A}"/>
          </ac:spMkLst>
        </pc:spChg>
        <pc:spChg chg="add del mod modVis">
          <ac:chgData name="Grace, Morgan (Brisbane)" userId="221d5f7b-4a46-4bd5-bdf1-698d3a91c208" providerId="ADAL" clId="{D90324C1-6CE4-4C28-B886-AED0B666B37F}" dt="2024-06-05T05:08:26.879" v="28386"/>
          <ac:spMkLst>
            <pc:docMk/>
            <pc:sldMk cId="2973225441" sldId="602"/>
            <ac:spMk id="124" creationId="{56FF1DF8-5AAA-88E7-4D5B-B6BAD3AE3C26}"/>
          </ac:spMkLst>
        </pc:spChg>
        <pc:spChg chg="add del mod modVis">
          <ac:chgData name="Grace, Morgan (Brisbane)" userId="221d5f7b-4a46-4bd5-bdf1-698d3a91c208" providerId="ADAL" clId="{D90324C1-6CE4-4C28-B886-AED0B666B37F}" dt="2024-06-05T05:08:31.345" v="28467"/>
          <ac:spMkLst>
            <pc:docMk/>
            <pc:sldMk cId="2973225441" sldId="602"/>
            <ac:spMk id="126" creationId="{F3911A9A-DFE8-E24F-82EE-F6F7914E0D2D}"/>
          </ac:spMkLst>
        </pc:spChg>
        <pc:spChg chg="add del mod modVis">
          <ac:chgData name="Grace, Morgan (Brisbane)" userId="221d5f7b-4a46-4bd5-bdf1-698d3a91c208" providerId="ADAL" clId="{D90324C1-6CE4-4C28-B886-AED0B666B37F}" dt="2024-06-05T05:08:32.179" v="28541"/>
          <ac:spMkLst>
            <pc:docMk/>
            <pc:sldMk cId="2973225441" sldId="602"/>
            <ac:spMk id="128" creationId="{BE5CB637-FFCB-EB01-C0B5-1E943443D839}"/>
          </ac:spMkLst>
        </pc:spChg>
        <pc:spChg chg="add del mod modVis">
          <ac:chgData name="Grace, Morgan (Brisbane)" userId="221d5f7b-4a46-4bd5-bdf1-698d3a91c208" providerId="ADAL" clId="{D90324C1-6CE4-4C28-B886-AED0B666B37F}" dt="2024-06-05T05:08:33.528" v="28616"/>
          <ac:spMkLst>
            <pc:docMk/>
            <pc:sldMk cId="2973225441" sldId="602"/>
            <ac:spMk id="130" creationId="{B803A024-0D9B-DEA1-2D09-CE8A0AF48B9E}"/>
          </ac:spMkLst>
        </pc:spChg>
        <pc:spChg chg="add del mod modVis">
          <ac:chgData name="Grace, Morgan (Brisbane)" userId="221d5f7b-4a46-4bd5-bdf1-698d3a91c208" providerId="ADAL" clId="{D90324C1-6CE4-4C28-B886-AED0B666B37F}" dt="2024-06-05T05:08:34.678" v="28694"/>
          <ac:spMkLst>
            <pc:docMk/>
            <pc:sldMk cId="2973225441" sldId="602"/>
            <ac:spMk id="132" creationId="{AC86168D-A107-0175-6D78-B015444B14A8}"/>
          </ac:spMkLst>
        </pc:spChg>
        <pc:spChg chg="add del mod modVis">
          <ac:chgData name="Grace, Morgan (Brisbane)" userId="221d5f7b-4a46-4bd5-bdf1-698d3a91c208" providerId="ADAL" clId="{D90324C1-6CE4-4C28-B886-AED0B666B37F}" dt="2024-06-05T05:08:35.695" v="28770"/>
          <ac:spMkLst>
            <pc:docMk/>
            <pc:sldMk cId="2973225441" sldId="602"/>
            <ac:spMk id="134" creationId="{2F2B8847-3422-7064-B014-C1D9103267A9}"/>
          </ac:spMkLst>
        </pc:spChg>
        <pc:spChg chg="add del mod modVis">
          <ac:chgData name="Grace, Morgan (Brisbane)" userId="221d5f7b-4a46-4bd5-bdf1-698d3a91c208" providerId="ADAL" clId="{D90324C1-6CE4-4C28-B886-AED0B666B37F}" dt="2024-06-05T05:08:37.362" v="28848"/>
          <ac:spMkLst>
            <pc:docMk/>
            <pc:sldMk cId="2973225441" sldId="602"/>
            <ac:spMk id="136" creationId="{F266FA24-D371-E495-0DC9-CA4E4FCA4B59}"/>
          </ac:spMkLst>
        </pc:spChg>
        <pc:spChg chg="add del mod modVis">
          <ac:chgData name="Grace, Morgan (Brisbane)" userId="221d5f7b-4a46-4bd5-bdf1-698d3a91c208" providerId="ADAL" clId="{D90324C1-6CE4-4C28-B886-AED0B666B37F}" dt="2024-06-05T05:08:40.013" v="28925"/>
          <ac:spMkLst>
            <pc:docMk/>
            <pc:sldMk cId="2973225441" sldId="602"/>
            <ac:spMk id="138" creationId="{C7EB7A7A-D69C-37BB-F2E4-DE3618C1A6A7}"/>
          </ac:spMkLst>
        </pc:spChg>
        <pc:spChg chg="add del mod modVis">
          <ac:chgData name="Grace, Morgan (Brisbane)" userId="221d5f7b-4a46-4bd5-bdf1-698d3a91c208" providerId="ADAL" clId="{D90324C1-6CE4-4C28-B886-AED0B666B37F}" dt="2024-06-05T05:08:47.312" v="29011"/>
          <ac:spMkLst>
            <pc:docMk/>
            <pc:sldMk cId="2973225441" sldId="602"/>
            <ac:spMk id="140" creationId="{6470D497-A1B4-8737-D535-D55F37AA764F}"/>
          </ac:spMkLst>
        </pc:spChg>
        <pc:spChg chg="add del mod modVis">
          <ac:chgData name="Grace, Morgan (Brisbane)" userId="221d5f7b-4a46-4bd5-bdf1-698d3a91c208" providerId="ADAL" clId="{D90324C1-6CE4-4C28-B886-AED0B666B37F}" dt="2024-06-05T05:12:42.345" v="29205"/>
          <ac:spMkLst>
            <pc:docMk/>
            <pc:sldMk cId="2973225441" sldId="602"/>
            <ac:spMk id="142" creationId="{3C175C59-5989-D372-98D1-F4E26243E035}"/>
          </ac:spMkLst>
        </pc:spChg>
        <pc:spChg chg="add mod ord">
          <ac:chgData name="Grace, Morgan (Brisbane)" userId="221d5f7b-4a46-4bd5-bdf1-698d3a91c208" providerId="ADAL" clId="{D90324C1-6CE4-4C28-B886-AED0B666B37F}" dt="2024-06-06T05:44:56.807" v="47567"/>
          <ac:spMkLst>
            <pc:docMk/>
            <pc:sldMk cId="2973225441" sldId="602"/>
            <ac:spMk id="144" creationId="{049033C4-636C-DFC6-8BE5-608A72023A44}"/>
          </ac:spMkLst>
        </pc:spChg>
        <pc:spChg chg="add mod ord">
          <ac:chgData name="Grace, Morgan (Brisbane)" userId="221d5f7b-4a46-4bd5-bdf1-698d3a91c208" providerId="ADAL" clId="{D90324C1-6CE4-4C28-B886-AED0B666B37F}" dt="2024-06-06T05:44:56.807" v="47569"/>
          <ac:spMkLst>
            <pc:docMk/>
            <pc:sldMk cId="2973225441" sldId="602"/>
            <ac:spMk id="145" creationId="{398A94C8-A511-2A73-3443-0BEE8CAC29D2}"/>
          </ac:spMkLst>
        </pc:spChg>
        <pc:spChg chg="add del mod modVis">
          <ac:chgData name="Grace, Morgan (Brisbane)" userId="221d5f7b-4a46-4bd5-bdf1-698d3a91c208" providerId="ADAL" clId="{D90324C1-6CE4-4C28-B886-AED0B666B37F}" dt="2024-06-05T05:15:41.628" v="29452"/>
          <ac:spMkLst>
            <pc:docMk/>
            <pc:sldMk cId="2973225441" sldId="602"/>
            <ac:spMk id="146" creationId="{F40F8DB7-09BB-21FC-21EF-8DF07B7ED282}"/>
          </ac:spMkLst>
        </pc:spChg>
        <pc:spChg chg="add del mod modVis">
          <ac:chgData name="Grace, Morgan (Brisbane)" userId="221d5f7b-4a46-4bd5-bdf1-698d3a91c208" providerId="ADAL" clId="{D90324C1-6CE4-4C28-B886-AED0B666B37F}" dt="2024-06-05T05:17:31.584" v="29695"/>
          <ac:spMkLst>
            <pc:docMk/>
            <pc:sldMk cId="2973225441" sldId="602"/>
            <ac:spMk id="148" creationId="{C06428D2-7FA1-D2D1-D3F4-0DF29D60BB2F}"/>
          </ac:spMkLst>
        </pc:spChg>
        <pc:spChg chg="add del mod modVis">
          <ac:chgData name="Grace, Morgan (Brisbane)" userId="221d5f7b-4a46-4bd5-bdf1-698d3a91c208" providerId="ADAL" clId="{D90324C1-6CE4-4C28-B886-AED0B666B37F}" dt="2024-06-05T05:17:32.895" v="29784"/>
          <ac:spMkLst>
            <pc:docMk/>
            <pc:sldMk cId="2973225441" sldId="602"/>
            <ac:spMk id="150" creationId="{EBD7C317-685C-DBB8-0805-2C2C620DB85C}"/>
          </ac:spMkLst>
        </pc:spChg>
        <pc:spChg chg="add del mod modVis">
          <ac:chgData name="Grace, Morgan (Brisbane)" userId="221d5f7b-4a46-4bd5-bdf1-698d3a91c208" providerId="ADAL" clId="{D90324C1-6CE4-4C28-B886-AED0B666B37F}" dt="2024-06-05T05:18:35.027" v="29885"/>
          <ac:spMkLst>
            <pc:docMk/>
            <pc:sldMk cId="2973225441" sldId="602"/>
            <ac:spMk id="152" creationId="{9DD434A9-5991-1E7F-8738-967A32C4534C}"/>
          </ac:spMkLst>
        </pc:spChg>
        <pc:spChg chg="add del mod modVis">
          <ac:chgData name="Grace, Morgan (Brisbane)" userId="221d5f7b-4a46-4bd5-bdf1-698d3a91c208" providerId="ADAL" clId="{D90324C1-6CE4-4C28-B886-AED0B666B37F}" dt="2024-06-05T05:18:53.513" v="30000"/>
          <ac:spMkLst>
            <pc:docMk/>
            <pc:sldMk cId="2973225441" sldId="602"/>
            <ac:spMk id="154" creationId="{A888C02C-B8C3-E87B-2E47-C1CCB014FC33}"/>
          </ac:spMkLst>
        </pc:spChg>
        <pc:spChg chg="add del mod modVis">
          <ac:chgData name="Grace, Morgan (Brisbane)" userId="221d5f7b-4a46-4bd5-bdf1-698d3a91c208" providerId="ADAL" clId="{D90324C1-6CE4-4C28-B886-AED0B666B37F}" dt="2024-06-05T05:18:54.744" v="30078"/>
          <ac:spMkLst>
            <pc:docMk/>
            <pc:sldMk cId="2973225441" sldId="602"/>
            <ac:spMk id="156" creationId="{C7EAC871-423B-B6A1-60F3-32C994504110}"/>
          </ac:spMkLst>
        </pc:spChg>
        <pc:spChg chg="add del mod modVis">
          <ac:chgData name="Grace, Morgan (Brisbane)" userId="221d5f7b-4a46-4bd5-bdf1-698d3a91c208" providerId="ADAL" clId="{D90324C1-6CE4-4C28-B886-AED0B666B37F}" dt="2024-06-05T05:19:37.727" v="30245"/>
          <ac:spMkLst>
            <pc:docMk/>
            <pc:sldMk cId="2973225441" sldId="602"/>
            <ac:spMk id="158" creationId="{EE0E21D0-4F34-8D70-B4B0-91A9782352DF}"/>
          </ac:spMkLst>
        </pc:spChg>
        <pc:spChg chg="add del mod modVis">
          <ac:chgData name="Grace, Morgan (Brisbane)" userId="221d5f7b-4a46-4bd5-bdf1-698d3a91c208" providerId="ADAL" clId="{D90324C1-6CE4-4C28-B886-AED0B666B37F}" dt="2024-06-05T05:21:02.659" v="30477"/>
          <ac:spMkLst>
            <pc:docMk/>
            <pc:sldMk cId="2973225441" sldId="602"/>
            <ac:spMk id="160" creationId="{F4CB720D-6792-0A3A-7E97-1D9DDDBB4DA4}"/>
          </ac:spMkLst>
        </pc:spChg>
        <pc:spChg chg="add del mod ord replST">
          <ac:chgData name="Grace, Morgan (Brisbane)" userId="221d5f7b-4a46-4bd5-bdf1-698d3a91c208" providerId="ADAL" clId="{D90324C1-6CE4-4C28-B886-AED0B666B37F}" dt="2024-06-05T05:21:18.511" v="30788"/>
          <ac:spMkLst>
            <pc:docMk/>
            <pc:sldMk cId="2973225441" sldId="602"/>
            <ac:spMk id="161" creationId="{87DF0065-1E85-3CAE-AFF2-1B24507DE8EE}"/>
          </ac:spMkLst>
        </pc:spChg>
        <pc:spChg chg="add del mod modVis">
          <ac:chgData name="Grace, Morgan (Brisbane)" userId="221d5f7b-4a46-4bd5-bdf1-698d3a91c208" providerId="ADAL" clId="{D90324C1-6CE4-4C28-B886-AED0B666B37F}" dt="2024-06-05T05:21:09.909" v="30692"/>
          <ac:spMkLst>
            <pc:docMk/>
            <pc:sldMk cId="2973225441" sldId="602"/>
            <ac:spMk id="166" creationId="{5029CBDE-62EC-901A-B7F6-168E9ED8B3B8}"/>
          </ac:spMkLst>
        </pc:spChg>
        <pc:spChg chg="add del mod ord replST">
          <ac:chgData name="Grace, Morgan (Brisbane)" userId="221d5f7b-4a46-4bd5-bdf1-698d3a91c208" providerId="ADAL" clId="{D90324C1-6CE4-4C28-B886-AED0B666B37F}" dt="2024-06-05T05:21:17.472" v="30702"/>
          <ac:spMkLst>
            <pc:docMk/>
            <pc:sldMk cId="2973225441" sldId="602"/>
            <ac:spMk id="167" creationId="{87DF0065-1E85-3CAE-AFF2-1B24507DE8EE}"/>
          </ac:spMkLst>
        </pc:spChg>
        <pc:spChg chg="add del mod modVis">
          <ac:chgData name="Grace, Morgan (Brisbane)" userId="221d5f7b-4a46-4bd5-bdf1-698d3a91c208" providerId="ADAL" clId="{D90324C1-6CE4-4C28-B886-AED0B666B37F}" dt="2024-06-05T05:21:17.527" v="30784"/>
          <ac:spMkLst>
            <pc:docMk/>
            <pc:sldMk cId="2973225441" sldId="602"/>
            <ac:spMk id="172" creationId="{AEEC140D-0218-C634-8FEE-A7BD0DD436E3}"/>
          </ac:spMkLst>
        </pc:spChg>
        <pc:spChg chg="add del mod modVis">
          <ac:chgData name="Grace, Morgan (Brisbane)" userId="221d5f7b-4a46-4bd5-bdf1-698d3a91c208" providerId="ADAL" clId="{D90324C1-6CE4-4C28-B886-AED0B666B37F}" dt="2024-06-05T05:21:18.575" v="30867"/>
          <ac:spMkLst>
            <pc:docMk/>
            <pc:sldMk cId="2973225441" sldId="602"/>
            <ac:spMk id="174" creationId="{BA61AEE4-93F0-22C9-67FD-B7986EBCAFE4}"/>
          </ac:spMkLst>
        </pc:spChg>
        <pc:spChg chg="add del mod modVis">
          <ac:chgData name="Grace, Morgan (Brisbane)" userId="221d5f7b-4a46-4bd5-bdf1-698d3a91c208" providerId="ADAL" clId="{D90324C1-6CE4-4C28-B886-AED0B666B37F}" dt="2024-06-05T05:21:20.525" v="30948"/>
          <ac:spMkLst>
            <pc:docMk/>
            <pc:sldMk cId="2973225441" sldId="602"/>
            <ac:spMk id="176" creationId="{250B9FF8-EEE3-8263-6874-F5B41919F4C4}"/>
          </ac:spMkLst>
        </pc:spChg>
        <pc:spChg chg="add del mod">
          <ac:chgData name="Grace, Morgan (Brisbane)" userId="221d5f7b-4a46-4bd5-bdf1-698d3a91c208" providerId="ADAL" clId="{D90324C1-6CE4-4C28-B886-AED0B666B37F}" dt="2024-06-05T05:23:41.035" v="30976" actId="22"/>
          <ac:spMkLst>
            <pc:docMk/>
            <pc:sldMk cId="2973225441" sldId="602"/>
            <ac:spMk id="179" creationId="{5F7902F4-1C0B-7E3E-A9EF-FB5B20332BB2}"/>
          </ac:spMkLst>
        </pc:spChg>
        <pc:spChg chg="add del">
          <ac:chgData name="Grace, Morgan (Brisbane)" userId="221d5f7b-4a46-4bd5-bdf1-698d3a91c208" providerId="ADAL" clId="{D90324C1-6CE4-4C28-B886-AED0B666B37F}" dt="2024-06-05T05:23:44.002" v="30980" actId="22"/>
          <ac:spMkLst>
            <pc:docMk/>
            <pc:sldMk cId="2973225441" sldId="602"/>
            <ac:spMk id="181" creationId="{FA08479E-A2AE-FA0B-A065-A168F3C4D8F5}"/>
          </ac:spMkLst>
        </pc:spChg>
        <pc:spChg chg="add del mod">
          <ac:chgData name="Grace, Morgan (Brisbane)" userId="221d5f7b-4a46-4bd5-bdf1-698d3a91c208" providerId="ADAL" clId="{D90324C1-6CE4-4C28-B886-AED0B666B37F}" dt="2024-06-05T05:24:22.066" v="30992" actId="22"/>
          <ac:spMkLst>
            <pc:docMk/>
            <pc:sldMk cId="2973225441" sldId="602"/>
            <ac:spMk id="183" creationId="{1FEC07D9-3CD3-3AD1-F58C-49FAC5AD962D}"/>
          </ac:spMkLst>
        </pc:spChg>
        <pc:spChg chg="add mod ord">
          <ac:chgData name="Grace, Morgan (Brisbane)" userId="221d5f7b-4a46-4bd5-bdf1-698d3a91c208" providerId="ADAL" clId="{D90324C1-6CE4-4C28-B886-AED0B666B37F}" dt="2024-06-25T01:21:41.040" v="128087" actId="21"/>
          <ac:spMkLst>
            <pc:docMk/>
            <pc:sldMk cId="2973225441" sldId="602"/>
            <ac:spMk id="184" creationId="{508E7551-9F0E-42E3-33BE-E00592FEC47B}"/>
          </ac:spMkLst>
        </pc:spChg>
        <pc:spChg chg="mod ord topLvl">
          <ac:chgData name="Grace, Morgan (Brisbane)" userId="221d5f7b-4a46-4bd5-bdf1-698d3a91c208" providerId="ADAL" clId="{D90324C1-6CE4-4C28-B886-AED0B666B37F}" dt="2024-06-06T05:43:40.353" v="47490" actId="58"/>
          <ac:spMkLst>
            <pc:docMk/>
            <pc:sldMk cId="2973225441" sldId="602"/>
            <ac:spMk id="186" creationId="{11C6D2E0-02F2-FEFD-E9D6-432D1CCBF507}"/>
          </ac:spMkLst>
        </pc:spChg>
        <pc:spChg chg="del mod topLvl">
          <ac:chgData name="Grace, Morgan (Brisbane)" userId="221d5f7b-4a46-4bd5-bdf1-698d3a91c208" providerId="ADAL" clId="{D90324C1-6CE4-4C28-B886-AED0B666B37F}" dt="2024-06-05T05:25:30.930" v="31014" actId="478"/>
          <ac:spMkLst>
            <pc:docMk/>
            <pc:sldMk cId="2973225441" sldId="602"/>
            <ac:spMk id="187" creationId="{F4BC4FB1-3933-7602-2B83-A3BCD59C05A1}"/>
          </ac:spMkLst>
        </pc:spChg>
        <pc:spChg chg="mod ord topLvl">
          <ac:chgData name="Grace, Morgan (Brisbane)" userId="221d5f7b-4a46-4bd5-bdf1-698d3a91c208" providerId="ADAL" clId="{D90324C1-6CE4-4C28-B886-AED0B666B37F}" dt="2024-06-06T05:13:57.135" v="43631" actId="947"/>
          <ac:spMkLst>
            <pc:docMk/>
            <pc:sldMk cId="2973225441" sldId="602"/>
            <ac:spMk id="188" creationId="{78AF3393-8A6C-294D-BDF7-DA6351B11A6E}"/>
          </ac:spMkLst>
        </pc:spChg>
        <pc:spChg chg="mod ord topLvl">
          <ac:chgData name="Grace, Morgan (Brisbane)" userId="221d5f7b-4a46-4bd5-bdf1-698d3a91c208" providerId="ADAL" clId="{D90324C1-6CE4-4C28-B886-AED0B666B37F}" dt="2024-06-06T05:13:57.135" v="43629" actId="947"/>
          <ac:spMkLst>
            <pc:docMk/>
            <pc:sldMk cId="2973225441" sldId="602"/>
            <ac:spMk id="189" creationId="{4174A568-3D41-43B1-B558-365EA2F50629}"/>
          </ac:spMkLst>
        </pc:spChg>
        <pc:spChg chg="mod ord topLvl">
          <ac:chgData name="Grace, Morgan (Brisbane)" userId="221d5f7b-4a46-4bd5-bdf1-698d3a91c208" providerId="ADAL" clId="{D90324C1-6CE4-4C28-B886-AED0B666B37F}" dt="2024-06-06T05:13:57.135" v="43627" actId="947"/>
          <ac:spMkLst>
            <pc:docMk/>
            <pc:sldMk cId="2973225441" sldId="602"/>
            <ac:spMk id="190" creationId="{8813C9BB-205A-4E0E-4027-5408AB8A8658}"/>
          </ac:spMkLst>
        </pc:spChg>
        <pc:spChg chg="add mod ord">
          <ac:chgData name="Grace, Morgan (Brisbane)" userId="221d5f7b-4a46-4bd5-bdf1-698d3a91c208" providerId="ADAL" clId="{D90324C1-6CE4-4C28-B886-AED0B666B37F}" dt="2024-06-06T05:13:57.135" v="43635" actId="947"/>
          <ac:spMkLst>
            <pc:docMk/>
            <pc:sldMk cId="2973225441" sldId="602"/>
            <ac:spMk id="191" creationId="{CB7B30C8-A855-30EF-3216-214DA9FB998E}"/>
          </ac:spMkLst>
        </pc:spChg>
        <pc:spChg chg="add del mod modVis">
          <ac:chgData name="Grace, Morgan (Brisbane)" userId="221d5f7b-4a46-4bd5-bdf1-698d3a91c208" providerId="ADAL" clId="{D90324C1-6CE4-4C28-B886-AED0B666B37F}" dt="2024-06-05T05:34:03.241" v="31728"/>
          <ac:spMkLst>
            <pc:docMk/>
            <pc:sldMk cId="2973225441" sldId="602"/>
            <ac:spMk id="193" creationId="{71743A0D-53A7-5524-D040-C6083D3B32B2}"/>
          </ac:spMkLst>
        </pc:spChg>
        <pc:spChg chg="add del mod ord replST">
          <ac:chgData name="Grace, Morgan (Brisbane)" userId="221d5f7b-4a46-4bd5-bdf1-698d3a91c208" providerId="ADAL" clId="{D90324C1-6CE4-4C28-B886-AED0B666B37F}" dt="2024-06-05T05:35:23.891" v="33599"/>
          <ac:spMkLst>
            <pc:docMk/>
            <pc:sldMk cId="2973225441" sldId="602"/>
            <ac:spMk id="194" creationId="{87DF0065-1E85-3CAE-AFF2-1B24507DE8EE}"/>
          </ac:spMkLst>
        </pc:spChg>
        <pc:spChg chg="add del mod ord replST">
          <ac:chgData name="Grace, Morgan (Brisbane)" userId="221d5f7b-4a46-4bd5-bdf1-698d3a91c208" providerId="ADAL" clId="{D90324C1-6CE4-4C28-B886-AED0B666B37F}" dt="2024-06-05T05:35:23.891" v="33601"/>
          <ac:spMkLst>
            <pc:docMk/>
            <pc:sldMk cId="2973225441" sldId="602"/>
            <ac:spMk id="195" creationId="{87DF0065-1E85-3CAE-AFF2-1B24507DE8EE}"/>
          </ac:spMkLst>
        </pc:spChg>
        <pc:spChg chg="add del mod ord replST">
          <ac:chgData name="Grace, Morgan (Brisbane)" userId="221d5f7b-4a46-4bd5-bdf1-698d3a91c208" providerId="ADAL" clId="{D90324C1-6CE4-4C28-B886-AED0B666B37F}" dt="2024-06-05T05:35:23.891" v="33605"/>
          <ac:spMkLst>
            <pc:docMk/>
            <pc:sldMk cId="2973225441" sldId="602"/>
            <ac:spMk id="196" creationId="{87DF0065-1E85-3CAE-AFF2-1B24507DE8EE}"/>
          </ac:spMkLst>
        </pc:spChg>
        <pc:spChg chg="add del mod ord replST">
          <ac:chgData name="Grace, Morgan (Brisbane)" userId="221d5f7b-4a46-4bd5-bdf1-698d3a91c208" providerId="ADAL" clId="{D90324C1-6CE4-4C28-B886-AED0B666B37F}" dt="2024-06-05T05:35:23.891" v="33603"/>
          <ac:spMkLst>
            <pc:docMk/>
            <pc:sldMk cId="2973225441" sldId="602"/>
            <ac:spMk id="197" creationId="{87DF0065-1E85-3CAE-AFF2-1B24507DE8EE}"/>
          </ac:spMkLst>
        </pc:spChg>
        <pc:spChg chg="add del mod ord replST">
          <ac:chgData name="Grace, Morgan (Brisbane)" userId="221d5f7b-4a46-4bd5-bdf1-698d3a91c208" providerId="ADAL" clId="{D90324C1-6CE4-4C28-B886-AED0B666B37F}" dt="2024-06-05T05:35:23.891" v="33607"/>
          <ac:spMkLst>
            <pc:docMk/>
            <pc:sldMk cId="2973225441" sldId="602"/>
            <ac:spMk id="198" creationId="{87DF0065-1E85-3CAE-AFF2-1B24507DE8EE}"/>
          </ac:spMkLst>
        </pc:spChg>
        <pc:spChg chg="add del mod ord replST">
          <ac:chgData name="Grace, Morgan (Brisbane)" userId="221d5f7b-4a46-4bd5-bdf1-698d3a91c208" providerId="ADAL" clId="{D90324C1-6CE4-4C28-B886-AED0B666B37F}" dt="2024-06-05T05:35:23.907" v="33609"/>
          <ac:spMkLst>
            <pc:docMk/>
            <pc:sldMk cId="2973225441" sldId="602"/>
            <ac:spMk id="199" creationId="{87DF0065-1E85-3CAE-AFF2-1B24507DE8EE}"/>
          </ac:spMkLst>
        </pc:spChg>
        <pc:spChg chg="add del mod modVis">
          <ac:chgData name="Grace, Morgan (Brisbane)" userId="221d5f7b-4a46-4bd5-bdf1-698d3a91c208" providerId="ADAL" clId="{D90324C1-6CE4-4C28-B886-AED0B666B37F}" dt="2024-06-05T05:34:19.424" v="31867"/>
          <ac:spMkLst>
            <pc:docMk/>
            <pc:sldMk cId="2973225441" sldId="602"/>
            <ac:spMk id="201" creationId="{790BFFA9-7124-8BFB-34FE-60BB694BEB43}"/>
          </ac:spMkLst>
        </pc:spChg>
        <pc:spChg chg="add del mod modVis">
          <ac:chgData name="Grace, Morgan (Brisbane)" userId="221d5f7b-4a46-4bd5-bdf1-698d3a91c208" providerId="ADAL" clId="{D90324C1-6CE4-4C28-B886-AED0B666B37F}" dt="2024-06-05T05:35:08.474" v="32009"/>
          <ac:spMkLst>
            <pc:docMk/>
            <pc:sldMk cId="2973225441" sldId="602"/>
            <ac:spMk id="203" creationId="{AF983DCE-C1B6-F3AE-465E-C0363CA9B3FC}"/>
          </ac:spMkLst>
        </pc:spChg>
        <pc:spChg chg="add del mod modVis">
          <ac:chgData name="Grace, Morgan (Brisbane)" userId="221d5f7b-4a46-4bd5-bdf1-698d3a91c208" providerId="ADAL" clId="{D90324C1-6CE4-4C28-B886-AED0B666B37F}" dt="2024-06-05T05:35:10.174" v="32145"/>
          <ac:spMkLst>
            <pc:docMk/>
            <pc:sldMk cId="2973225441" sldId="602"/>
            <ac:spMk id="205" creationId="{DDD97A65-6337-1C02-C527-B7283250F91D}"/>
          </ac:spMkLst>
        </pc:spChg>
        <pc:spChg chg="add del mod modVis">
          <ac:chgData name="Grace, Morgan (Brisbane)" userId="221d5f7b-4a46-4bd5-bdf1-698d3a91c208" providerId="ADAL" clId="{D90324C1-6CE4-4C28-B886-AED0B666B37F}" dt="2024-06-05T05:35:11.791" v="32279"/>
          <ac:spMkLst>
            <pc:docMk/>
            <pc:sldMk cId="2973225441" sldId="602"/>
            <ac:spMk id="207" creationId="{E3820948-D895-3779-CD60-0A106404BA73}"/>
          </ac:spMkLst>
        </pc:spChg>
        <pc:spChg chg="add del mod modVis">
          <ac:chgData name="Grace, Morgan (Brisbane)" userId="221d5f7b-4a46-4bd5-bdf1-698d3a91c208" providerId="ADAL" clId="{D90324C1-6CE4-4C28-B886-AED0B666B37F}" dt="2024-06-05T05:35:16.584" v="32662"/>
          <ac:spMkLst>
            <pc:docMk/>
            <pc:sldMk cId="2973225441" sldId="602"/>
            <ac:spMk id="209" creationId="{A08AEC3A-5A99-6E53-9DB9-1AC2BA25B73D}"/>
          </ac:spMkLst>
        </pc:spChg>
        <pc:spChg chg="add del mod modVis">
          <ac:chgData name="Grace, Morgan (Brisbane)" userId="221d5f7b-4a46-4bd5-bdf1-698d3a91c208" providerId="ADAL" clId="{D90324C1-6CE4-4C28-B886-AED0B666B37F}" dt="2024-06-05T05:35:16.012" v="32591"/>
          <ac:spMkLst>
            <pc:docMk/>
            <pc:sldMk cId="2973225441" sldId="602"/>
            <ac:spMk id="211" creationId="{6413F4B6-55FA-5468-F315-90A28EDA53CE}"/>
          </ac:spMkLst>
        </pc:spChg>
        <pc:spChg chg="add del mod modVis">
          <ac:chgData name="Grace, Morgan (Brisbane)" userId="221d5f7b-4a46-4bd5-bdf1-698d3a91c208" providerId="ADAL" clId="{D90324C1-6CE4-4C28-B886-AED0B666B37F}" dt="2024-06-05T05:35:21.548" v="33595"/>
          <ac:spMkLst>
            <pc:docMk/>
            <pc:sldMk cId="2973225441" sldId="602"/>
            <ac:spMk id="213" creationId="{B18E9871-DF2A-75BE-A6BB-F91AC75416C9}"/>
          </ac:spMkLst>
        </pc:spChg>
        <pc:spChg chg="add del mod replST">
          <ac:chgData name="Grace, Morgan (Brisbane)" userId="221d5f7b-4a46-4bd5-bdf1-698d3a91c208" providerId="ADAL" clId="{D90324C1-6CE4-4C28-B886-AED0B666B37F}" dt="2024-06-05T05:35:23.941" v="33659"/>
          <ac:spMkLst>
            <pc:docMk/>
            <pc:sldMk cId="2973225441" sldId="602"/>
            <ac:spMk id="214" creationId="{87DF0065-1E85-3CAE-AFF2-1B24507DE8EE}"/>
          </ac:spMkLst>
        </pc:spChg>
        <pc:spChg chg="add del mod replST">
          <ac:chgData name="Grace, Morgan (Brisbane)" userId="221d5f7b-4a46-4bd5-bdf1-698d3a91c208" providerId="ADAL" clId="{D90324C1-6CE4-4C28-B886-AED0B666B37F}" dt="2024-06-05T05:35:23.956" v="33660"/>
          <ac:spMkLst>
            <pc:docMk/>
            <pc:sldMk cId="2973225441" sldId="602"/>
            <ac:spMk id="215" creationId="{87DF0065-1E85-3CAE-AFF2-1B24507DE8EE}"/>
          </ac:spMkLst>
        </pc:spChg>
        <pc:spChg chg="add del mod replST">
          <ac:chgData name="Grace, Morgan (Brisbane)" userId="221d5f7b-4a46-4bd5-bdf1-698d3a91c208" providerId="ADAL" clId="{D90324C1-6CE4-4C28-B886-AED0B666B37F}" dt="2024-06-05T05:35:23.956" v="33661"/>
          <ac:spMkLst>
            <pc:docMk/>
            <pc:sldMk cId="2973225441" sldId="602"/>
            <ac:spMk id="216" creationId="{87DF0065-1E85-3CAE-AFF2-1B24507DE8EE}"/>
          </ac:spMkLst>
        </pc:spChg>
        <pc:spChg chg="add del mod replST">
          <ac:chgData name="Grace, Morgan (Brisbane)" userId="221d5f7b-4a46-4bd5-bdf1-698d3a91c208" providerId="ADAL" clId="{D90324C1-6CE4-4C28-B886-AED0B666B37F}" dt="2024-06-05T05:35:23.957" v="33662"/>
          <ac:spMkLst>
            <pc:docMk/>
            <pc:sldMk cId="2973225441" sldId="602"/>
            <ac:spMk id="217" creationId="{87DF0065-1E85-3CAE-AFF2-1B24507DE8EE}"/>
          </ac:spMkLst>
        </pc:spChg>
        <pc:spChg chg="add del mod replST">
          <ac:chgData name="Grace, Morgan (Brisbane)" userId="221d5f7b-4a46-4bd5-bdf1-698d3a91c208" providerId="ADAL" clId="{D90324C1-6CE4-4C28-B886-AED0B666B37F}" dt="2024-06-05T05:35:23.957" v="33663"/>
          <ac:spMkLst>
            <pc:docMk/>
            <pc:sldMk cId="2973225441" sldId="602"/>
            <ac:spMk id="218" creationId="{87DF0065-1E85-3CAE-AFF2-1B24507DE8EE}"/>
          </ac:spMkLst>
        </pc:spChg>
        <pc:spChg chg="add del mod replST">
          <ac:chgData name="Grace, Morgan (Brisbane)" userId="221d5f7b-4a46-4bd5-bdf1-698d3a91c208" providerId="ADAL" clId="{D90324C1-6CE4-4C28-B886-AED0B666B37F}" dt="2024-06-05T05:35:23.957" v="33664"/>
          <ac:spMkLst>
            <pc:docMk/>
            <pc:sldMk cId="2973225441" sldId="602"/>
            <ac:spMk id="219" creationId="{87DF0065-1E85-3CAE-AFF2-1B24507DE8EE}"/>
          </ac:spMkLst>
        </pc:spChg>
        <pc:spChg chg="add del mod replST">
          <ac:chgData name="Grace, Morgan (Brisbane)" userId="221d5f7b-4a46-4bd5-bdf1-698d3a91c208" providerId="ADAL" clId="{D90324C1-6CE4-4C28-B886-AED0B666B37F}" dt="2024-06-05T05:35:23.957" v="33665"/>
          <ac:spMkLst>
            <pc:docMk/>
            <pc:sldMk cId="2973225441" sldId="602"/>
            <ac:spMk id="220" creationId="{87DF0065-1E85-3CAE-AFF2-1B24507DE8EE}"/>
          </ac:spMkLst>
        </pc:spChg>
        <pc:spChg chg="add del mod replST">
          <ac:chgData name="Grace, Morgan (Brisbane)" userId="221d5f7b-4a46-4bd5-bdf1-698d3a91c208" providerId="ADAL" clId="{D90324C1-6CE4-4C28-B886-AED0B666B37F}" dt="2024-06-05T05:35:23.957" v="33666"/>
          <ac:spMkLst>
            <pc:docMk/>
            <pc:sldMk cId="2973225441" sldId="602"/>
            <ac:spMk id="221" creationId="{87DF0065-1E85-3CAE-AFF2-1B24507DE8EE}"/>
          </ac:spMkLst>
        </pc:spChg>
        <pc:spChg chg="add del mod replST">
          <ac:chgData name="Grace, Morgan (Brisbane)" userId="221d5f7b-4a46-4bd5-bdf1-698d3a91c208" providerId="ADAL" clId="{D90324C1-6CE4-4C28-B886-AED0B666B37F}" dt="2024-06-05T05:35:23.957" v="33667"/>
          <ac:spMkLst>
            <pc:docMk/>
            <pc:sldMk cId="2973225441" sldId="602"/>
            <ac:spMk id="222" creationId="{87DF0065-1E85-3CAE-AFF2-1B24507DE8EE}"/>
          </ac:spMkLst>
        </pc:spChg>
        <pc:spChg chg="add del mod replST">
          <ac:chgData name="Grace, Morgan (Brisbane)" userId="221d5f7b-4a46-4bd5-bdf1-698d3a91c208" providerId="ADAL" clId="{D90324C1-6CE4-4C28-B886-AED0B666B37F}" dt="2024-06-05T05:35:23.957" v="33668"/>
          <ac:spMkLst>
            <pc:docMk/>
            <pc:sldMk cId="2973225441" sldId="602"/>
            <ac:spMk id="223" creationId="{87DF0065-1E85-3CAE-AFF2-1B24507DE8EE}"/>
          </ac:spMkLst>
        </pc:spChg>
        <pc:spChg chg="add del mod replST">
          <ac:chgData name="Grace, Morgan (Brisbane)" userId="221d5f7b-4a46-4bd5-bdf1-698d3a91c208" providerId="ADAL" clId="{D90324C1-6CE4-4C28-B886-AED0B666B37F}" dt="2024-06-06T00:56:00.599" v="39504"/>
          <ac:spMkLst>
            <pc:docMk/>
            <pc:sldMk cId="2973225441" sldId="602"/>
            <ac:spMk id="224" creationId="{87DF0065-1E85-3CAE-AFF2-1B24507DE8EE}"/>
          </ac:spMkLst>
        </pc:spChg>
        <pc:spChg chg="add del mod replST">
          <ac:chgData name="Grace, Morgan (Brisbane)" userId="221d5f7b-4a46-4bd5-bdf1-698d3a91c208" providerId="ADAL" clId="{D90324C1-6CE4-4C28-B886-AED0B666B37F}" dt="2024-06-06T00:56:00.599" v="39505"/>
          <ac:spMkLst>
            <pc:docMk/>
            <pc:sldMk cId="2973225441" sldId="602"/>
            <ac:spMk id="225" creationId="{87DF0065-1E85-3CAE-AFF2-1B24507DE8EE}"/>
          </ac:spMkLst>
        </pc:spChg>
        <pc:spChg chg="add del mod replST">
          <ac:chgData name="Grace, Morgan (Brisbane)" userId="221d5f7b-4a46-4bd5-bdf1-698d3a91c208" providerId="ADAL" clId="{D90324C1-6CE4-4C28-B886-AED0B666B37F}" dt="2024-06-06T00:56:00.599" v="39506"/>
          <ac:spMkLst>
            <pc:docMk/>
            <pc:sldMk cId="2973225441" sldId="602"/>
            <ac:spMk id="226" creationId="{87DF0065-1E85-3CAE-AFF2-1B24507DE8EE}"/>
          </ac:spMkLst>
        </pc:spChg>
        <pc:spChg chg="add del mod modVis">
          <ac:chgData name="Grace, Morgan (Brisbane)" userId="221d5f7b-4a46-4bd5-bdf1-698d3a91c208" providerId="ADAL" clId="{D90324C1-6CE4-4C28-B886-AED0B666B37F}" dt="2024-06-05T05:35:23.974" v="33710"/>
          <ac:spMkLst>
            <pc:docMk/>
            <pc:sldMk cId="2973225441" sldId="602"/>
            <ac:spMk id="227" creationId="{CB8383D9-3A54-45F3-F166-626FFEEABCC3}"/>
          </ac:spMkLst>
        </pc:spChg>
        <pc:spChg chg="add del mod modVis">
          <ac:chgData name="Grace, Morgan (Brisbane)" userId="221d5f7b-4a46-4bd5-bdf1-698d3a91c208" providerId="ADAL" clId="{D90324C1-6CE4-4C28-B886-AED0B666B37F}" dt="2024-06-06T00:56:00.636" v="39548"/>
          <ac:spMkLst>
            <pc:docMk/>
            <pc:sldMk cId="2973225441" sldId="602"/>
            <ac:spMk id="228" creationId="{989B1758-3ACC-B719-5401-3AD0F8971382}"/>
          </ac:spMkLst>
        </pc:spChg>
        <pc:spChg chg="add del mod modVis">
          <ac:chgData name="Grace, Morgan (Brisbane)" userId="221d5f7b-4a46-4bd5-bdf1-698d3a91c208" providerId="ADAL" clId="{D90324C1-6CE4-4C28-B886-AED0B666B37F}" dt="2024-06-05T05:35:43.974" v="33819"/>
          <ac:spMkLst>
            <pc:docMk/>
            <pc:sldMk cId="2973225441" sldId="602"/>
            <ac:spMk id="229" creationId="{F4624196-9722-3D64-B14B-5037E8A44D21}"/>
          </ac:spMkLst>
        </pc:spChg>
        <pc:spChg chg="add del mod modVis">
          <ac:chgData name="Grace, Morgan (Brisbane)" userId="221d5f7b-4a46-4bd5-bdf1-698d3a91c208" providerId="ADAL" clId="{D90324C1-6CE4-4C28-B886-AED0B666B37F}" dt="2024-06-06T00:56:06.147" v="39711"/>
          <ac:spMkLst>
            <pc:docMk/>
            <pc:sldMk cId="2973225441" sldId="602"/>
            <ac:spMk id="231" creationId="{CFD2BA77-9768-680C-F625-87372FE92164}"/>
          </ac:spMkLst>
        </pc:spChg>
        <pc:spChg chg="add del mod modVis">
          <ac:chgData name="Grace, Morgan (Brisbane)" userId="221d5f7b-4a46-4bd5-bdf1-698d3a91c208" providerId="ADAL" clId="{D90324C1-6CE4-4C28-B886-AED0B666B37F}" dt="2024-06-06T00:56:07.898" v="40360"/>
          <ac:spMkLst>
            <pc:docMk/>
            <pc:sldMk cId="2973225441" sldId="602"/>
            <ac:spMk id="233" creationId="{74068473-8FD4-C41C-1861-84A00E26F330}"/>
          </ac:spMkLst>
        </pc:spChg>
        <pc:spChg chg="add del mod replST">
          <ac:chgData name="Grace, Morgan (Brisbane)" userId="221d5f7b-4a46-4bd5-bdf1-698d3a91c208" providerId="ADAL" clId="{D90324C1-6CE4-4C28-B886-AED0B666B37F}" dt="2024-06-06T00:56:09.602" v="40408"/>
          <ac:spMkLst>
            <pc:docMk/>
            <pc:sldMk cId="2973225441" sldId="602"/>
            <ac:spMk id="234" creationId="{87DF0065-1E85-3CAE-AFF2-1B24507DE8EE}"/>
          </ac:spMkLst>
        </pc:spChg>
        <pc:spChg chg="add del mod replST">
          <ac:chgData name="Grace, Morgan (Brisbane)" userId="221d5f7b-4a46-4bd5-bdf1-698d3a91c208" providerId="ADAL" clId="{D90324C1-6CE4-4C28-B886-AED0B666B37F}" dt="2024-06-06T00:56:09.602" v="40409"/>
          <ac:spMkLst>
            <pc:docMk/>
            <pc:sldMk cId="2973225441" sldId="602"/>
            <ac:spMk id="235" creationId="{87DF0065-1E85-3CAE-AFF2-1B24507DE8EE}"/>
          </ac:spMkLst>
        </pc:spChg>
        <pc:spChg chg="add del mod replST">
          <ac:chgData name="Grace, Morgan (Brisbane)" userId="221d5f7b-4a46-4bd5-bdf1-698d3a91c208" providerId="ADAL" clId="{D90324C1-6CE4-4C28-B886-AED0B666B37F}" dt="2024-06-06T00:56:09.602" v="40410"/>
          <ac:spMkLst>
            <pc:docMk/>
            <pc:sldMk cId="2973225441" sldId="602"/>
            <ac:spMk id="236" creationId="{87DF0065-1E85-3CAE-AFF2-1B24507DE8EE}"/>
          </ac:spMkLst>
        </pc:spChg>
        <pc:spChg chg="add del mod replST">
          <ac:chgData name="Grace, Morgan (Brisbane)" userId="221d5f7b-4a46-4bd5-bdf1-698d3a91c208" providerId="ADAL" clId="{D90324C1-6CE4-4C28-B886-AED0B666B37F}" dt="2024-06-06T00:56:09.602" v="40411"/>
          <ac:spMkLst>
            <pc:docMk/>
            <pc:sldMk cId="2973225441" sldId="602"/>
            <ac:spMk id="237" creationId="{87DF0065-1E85-3CAE-AFF2-1B24507DE8EE}"/>
          </ac:spMkLst>
        </pc:spChg>
        <pc:spChg chg="add del mod replST">
          <ac:chgData name="Grace, Morgan (Brisbane)" userId="221d5f7b-4a46-4bd5-bdf1-698d3a91c208" providerId="ADAL" clId="{D90324C1-6CE4-4C28-B886-AED0B666B37F}" dt="2024-06-06T00:56:09.604" v="40412"/>
          <ac:spMkLst>
            <pc:docMk/>
            <pc:sldMk cId="2973225441" sldId="602"/>
            <ac:spMk id="238" creationId="{87DF0065-1E85-3CAE-AFF2-1B24507DE8EE}"/>
          </ac:spMkLst>
        </pc:spChg>
        <pc:spChg chg="add del mod replST">
          <ac:chgData name="Grace, Morgan (Brisbane)" userId="221d5f7b-4a46-4bd5-bdf1-698d3a91c208" providerId="ADAL" clId="{D90324C1-6CE4-4C28-B886-AED0B666B37F}" dt="2024-06-06T00:56:09.604" v="40413"/>
          <ac:spMkLst>
            <pc:docMk/>
            <pc:sldMk cId="2973225441" sldId="602"/>
            <ac:spMk id="239" creationId="{87DF0065-1E85-3CAE-AFF2-1B24507DE8EE}"/>
          </ac:spMkLst>
        </pc:spChg>
        <pc:spChg chg="add del mod replST">
          <ac:chgData name="Grace, Morgan (Brisbane)" userId="221d5f7b-4a46-4bd5-bdf1-698d3a91c208" providerId="ADAL" clId="{D90324C1-6CE4-4C28-B886-AED0B666B37F}" dt="2024-06-06T00:56:09.604" v="40414"/>
          <ac:spMkLst>
            <pc:docMk/>
            <pc:sldMk cId="2973225441" sldId="602"/>
            <ac:spMk id="240" creationId="{87DF0065-1E85-3CAE-AFF2-1B24507DE8EE}"/>
          </ac:spMkLst>
        </pc:spChg>
        <pc:spChg chg="add del mod replST">
          <ac:chgData name="Grace, Morgan (Brisbane)" userId="221d5f7b-4a46-4bd5-bdf1-698d3a91c208" providerId="ADAL" clId="{D90324C1-6CE4-4C28-B886-AED0B666B37F}" dt="2024-06-06T00:56:09.605" v="40415"/>
          <ac:spMkLst>
            <pc:docMk/>
            <pc:sldMk cId="2973225441" sldId="602"/>
            <ac:spMk id="241" creationId="{87DF0065-1E85-3CAE-AFF2-1B24507DE8EE}"/>
          </ac:spMkLst>
        </pc:spChg>
        <pc:spChg chg="add del mod modVis">
          <ac:chgData name="Grace, Morgan (Brisbane)" userId="221d5f7b-4a46-4bd5-bdf1-698d3a91c208" providerId="ADAL" clId="{D90324C1-6CE4-4C28-B886-AED0B666B37F}" dt="2024-06-06T00:56:09.633" v="40457"/>
          <ac:spMkLst>
            <pc:docMk/>
            <pc:sldMk cId="2973225441" sldId="602"/>
            <ac:spMk id="243" creationId="{3A6DC072-2294-8640-6FD4-9C9FFE432237}"/>
          </ac:spMkLst>
        </pc:spChg>
        <pc:spChg chg="add mod ord">
          <ac:chgData name="Grace, Morgan (Brisbane)" userId="221d5f7b-4a46-4bd5-bdf1-698d3a91c208" providerId="ADAL" clId="{D90324C1-6CE4-4C28-B886-AED0B666B37F}" dt="2024-06-06T05:44:56.791" v="47545"/>
          <ac:spMkLst>
            <pc:docMk/>
            <pc:sldMk cId="2973225441" sldId="602"/>
            <ac:spMk id="245" creationId="{6C77E369-F469-64DD-3DEE-64A809965D46}"/>
          </ac:spMkLst>
        </pc:spChg>
        <pc:spChg chg="add del mod modVis">
          <ac:chgData name="Grace, Morgan (Brisbane)" userId="221d5f7b-4a46-4bd5-bdf1-698d3a91c208" providerId="ADAL" clId="{D90324C1-6CE4-4C28-B886-AED0B666B37F}" dt="2024-06-06T00:57:26.074" v="40749"/>
          <ac:spMkLst>
            <pc:docMk/>
            <pc:sldMk cId="2973225441" sldId="602"/>
            <ac:spMk id="246" creationId="{09BBD9DB-3773-5B80-8554-A139B3A8966B}"/>
          </ac:spMkLst>
        </pc:spChg>
        <pc:spChg chg="del mod modVis">
          <ac:chgData name="Grace, Morgan (Brisbane)" userId="221d5f7b-4a46-4bd5-bdf1-698d3a91c208" providerId="ADAL" clId="{D90324C1-6CE4-4C28-B886-AED0B666B37F}" dt="2024-06-06T05:14:01.546" v="46181" actId="478"/>
          <ac:spMkLst>
            <pc:docMk/>
            <pc:sldMk cId="2973225441" sldId="602"/>
            <ac:spMk id="248" creationId="{D773E2E1-6613-8D41-1484-938464F7A347}"/>
          </ac:spMkLst>
        </pc:spChg>
        <pc:spChg chg="add del mod modVis">
          <ac:chgData name="Grace, Morgan (Brisbane)" userId="221d5f7b-4a46-4bd5-bdf1-698d3a91c208" providerId="ADAL" clId="{D90324C1-6CE4-4C28-B886-AED0B666B37F}" dt="2024-06-06T05:44:56.807" v="47577"/>
          <ac:spMkLst>
            <pc:docMk/>
            <pc:sldMk cId="2973225441" sldId="602"/>
            <ac:spMk id="250" creationId="{5A6BB921-84E2-96BF-4F27-9664954B90AA}"/>
          </ac:spMkLst>
        </pc:spChg>
        <pc:grpChg chg="add del mod">
          <ac:chgData name="Grace, Morgan (Brisbane)" userId="221d5f7b-4a46-4bd5-bdf1-698d3a91c208" providerId="ADAL" clId="{D90324C1-6CE4-4C28-B886-AED0B666B37F}" dt="2024-06-05T05:25:29.147" v="31013" actId="165"/>
          <ac:grpSpMkLst>
            <pc:docMk/>
            <pc:sldMk cId="2973225441" sldId="602"/>
            <ac:grpSpMk id="185" creationId="{C65D2701-7CF8-A4F2-2036-74A32C4EACFB}"/>
          </ac:grpSpMkLst>
        </pc:grpChg>
        <pc:grpChg chg="add mod ord">
          <ac:chgData name="Grace, Morgan (Brisbane)" userId="221d5f7b-4a46-4bd5-bdf1-698d3a91c208" providerId="ADAL" clId="{D90324C1-6CE4-4C28-B886-AED0B666B37F}" dt="2024-06-06T05:44:56.807" v="47573"/>
          <ac:grpSpMkLst>
            <pc:docMk/>
            <pc:sldMk cId="2973225441" sldId="602"/>
            <ac:grpSpMk id="192" creationId="{DBD1E96A-5653-8D6B-7FFB-0A5BFBE23700}"/>
          </ac:grpSpMkLst>
        </pc:grpChg>
        <pc:graphicFrameChg chg="mod">
          <ac:chgData name="Grace, Morgan (Brisbane)" userId="221d5f7b-4a46-4bd5-bdf1-698d3a91c208" providerId="ADAL" clId="{D90324C1-6CE4-4C28-B886-AED0B666B37F}" dt="2024-06-06T05:44:56.807" v="47579"/>
          <ac:graphicFrameMkLst>
            <pc:docMk/>
            <pc:sldMk cId="2973225441" sldId="602"/>
            <ac:graphicFrameMk id="6" creationId="{CF0DE03F-4A9E-4211-865E-9C5ABC9CB821}"/>
          </ac:graphicFrameMkLst>
        </pc:graphicFrameChg>
        <pc:graphicFrameChg chg="add del mod replST">
          <ac:chgData name="Grace, Morgan (Brisbane)" userId="221d5f7b-4a46-4bd5-bdf1-698d3a91c208" providerId="ADAL" clId="{D90324C1-6CE4-4C28-B886-AED0B666B37F}" dt="2024-06-06T00:55:30.026" v="38754"/>
          <ac:graphicFrameMkLst>
            <pc:docMk/>
            <pc:sldMk cId="2973225441" sldId="602"/>
            <ac:graphicFrameMk id="11" creationId="{871E1D6E-194C-B376-09FC-CD15F63D92B5}"/>
          </ac:graphicFrameMkLst>
        </pc:graphicFrameChg>
        <pc:graphicFrameChg chg="add del mod replST">
          <ac:chgData name="Grace, Morgan (Brisbane)" userId="221d5f7b-4a46-4bd5-bdf1-698d3a91c208" providerId="ADAL" clId="{D90324C1-6CE4-4C28-B886-AED0B666B37F}" dt="2024-06-05T05:03:46.779" v="24305"/>
          <ac:graphicFrameMkLst>
            <pc:docMk/>
            <pc:sldMk cId="2973225441" sldId="602"/>
            <ac:graphicFrameMk id="16" creationId="{3035EF9D-99D5-4C0A-8775-AE5621EB2119}"/>
          </ac:graphicFrameMkLst>
        </pc:graphicFrameChg>
        <pc:graphicFrameChg chg="add del mod replST">
          <ac:chgData name="Grace, Morgan (Brisbane)" userId="221d5f7b-4a46-4bd5-bdf1-698d3a91c208" providerId="ADAL" clId="{D90324C1-6CE4-4C28-B886-AED0B666B37F}" dt="2024-06-06T00:55:59.064" v="39403"/>
          <ac:graphicFrameMkLst>
            <pc:docMk/>
            <pc:sldMk cId="2973225441" sldId="602"/>
            <ac:graphicFrameMk id="19" creationId="{B5014F64-337F-49F1-6274-C91AF04EEA8C}"/>
          </ac:graphicFrameMkLst>
        </pc:graphicFrameChg>
        <pc:graphicFrameChg chg="add del mod replST">
          <ac:chgData name="Grace, Morgan (Brisbane)" userId="221d5f7b-4a46-4bd5-bdf1-698d3a91c208" providerId="ADAL" clId="{D90324C1-6CE4-4C28-B886-AED0B666B37F}" dt="2024-06-05T05:03:49.812" v="24377"/>
          <ac:graphicFrameMkLst>
            <pc:docMk/>
            <pc:sldMk cId="2973225441" sldId="602"/>
            <ac:graphicFrameMk id="20" creationId="{8A6E31E8-2572-4F21-CE4C-A4DA941BA32C}"/>
          </ac:graphicFrameMkLst>
        </pc:graphicFrameChg>
        <pc:graphicFrameChg chg="add del mod replST">
          <ac:chgData name="Grace, Morgan (Brisbane)" userId="221d5f7b-4a46-4bd5-bdf1-698d3a91c208" providerId="ADAL" clId="{D90324C1-6CE4-4C28-B886-AED0B666B37F}" dt="2024-06-05T05:03:55.146" v="24451"/>
          <ac:graphicFrameMkLst>
            <pc:docMk/>
            <pc:sldMk cId="2973225441" sldId="602"/>
            <ac:graphicFrameMk id="23" creationId="{34863B47-26BC-5C65-870A-CEEAE0A3E047}"/>
          </ac:graphicFrameMkLst>
        </pc:graphicFrameChg>
        <pc:graphicFrameChg chg="add del mod replST">
          <ac:chgData name="Grace, Morgan (Brisbane)" userId="221d5f7b-4a46-4bd5-bdf1-698d3a91c208" providerId="ADAL" clId="{D90324C1-6CE4-4C28-B886-AED0B666B37F}" dt="2024-06-05T05:03:57.146" v="24529"/>
          <ac:graphicFrameMkLst>
            <pc:docMk/>
            <pc:sldMk cId="2973225441" sldId="602"/>
            <ac:graphicFrameMk id="26" creationId="{81DE3CA7-74BA-757F-396B-D5DC9F14DB36}"/>
          </ac:graphicFrameMkLst>
        </pc:graphicFrameChg>
        <pc:graphicFrameChg chg="add del mod replST">
          <ac:chgData name="Grace, Morgan (Brisbane)" userId="221d5f7b-4a46-4bd5-bdf1-698d3a91c208" providerId="ADAL" clId="{D90324C1-6CE4-4C28-B886-AED0B666B37F}" dt="2024-06-05T05:03:59.712" v="24623"/>
          <ac:graphicFrameMkLst>
            <pc:docMk/>
            <pc:sldMk cId="2973225441" sldId="602"/>
            <ac:graphicFrameMk id="29" creationId="{0A44F6D1-78DB-03B4-ED89-BA2263B01965}"/>
          </ac:graphicFrameMkLst>
        </pc:graphicFrameChg>
        <pc:graphicFrameChg chg="add del mod replST">
          <ac:chgData name="Grace, Morgan (Brisbane)" userId="221d5f7b-4a46-4bd5-bdf1-698d3a91c208" providerId="ADAL" clId="{D90324C1-6CE4-4C28-B886-AED0B666B37F}" dt="2024-06-05T05:04:03.029" v="24721"/>
          <ac:graphicFrameMkLst>
            <pc:docMk/>
            <pc:sldMk cId="2973225441" sldId="602"/>
            <ac:graphicFrameMk id="32" creationId="{34653472-3259-F7B2-2D62-D9258ED8C73C}"/>
          </ac:graphicFrameMkLst>
        </pc:graphicFrameChg>
        <pc:graphicFrameChg chg="add del mod replST">
          <ac:chgData name="Grace, Morgan (Brisbane)" userId="221d5f7b-4a46-4bd5-bdf1-698d3a91c208" providerId="ADAL" clId="{D90324C1-6CE4-4C28-B886-AED0B666B37F}" dt="2024-06-05T05:04:25.312" v="24791"/>
          <ac:graphicFrameMkLst>
            <pc:docMk/>
            <pc:sldMk cId="2973225441" sldId="602"/>
            <ac:graphicFrameMk id="35" creationId="{9717F1D6-A0D0-39A9-773D-94B52C822613}"/>
          </ac:graphicFrameMkLst>
        </pc:graphicFrameChg>
        <pc:graphicFrameChg chg="add del mod replST">
          <ac:chgData name="Grace, Morgan (Brisbane)" userId="221d5f7b-4a46-4bd5-bdf1-698d3a91c208" providerId="ADAL" clId="{D90324C1-6CE4-4C28-B886-AED0B666B37F}" dt="2024-06-05T05:04:28.333" v="24863"/>
          <ac:graphicFrameMkLst>
            <pc:docMk/>
            <pc:sldMk cId="2973225441" sldId="602"/>
            <ac:graphicFrameMk id="37" creationId="{BA45DB5E-F3E0-04A2-F84E-4EA1342347D4}"/>
          </ac:graphicFrameMkLst>
        </pc:graphicFrameChg>
        <pc:graphicFrameChg chg="add del mod replST">
          <ac:chgData name="Grace, Morgan (Brisbane)" userId="221d5f7b-4a46-4bd5-bdf1-698d3a91c208" providerId="ADAL" clId="{D90324C1-6CE4-4C28-B886-AED0B666B37F}" dt="2024-06-05T05:05:12.262" v="24933"/>
          <ac:graphicFrameMkLst>
            <pc:docMk/>
            <pc:sldMk cId="2973225441" sldId="602"/>
            <ac:graphicFrameMk id="39" creationId="{DF5E1A67-3C69-CF5A-BAB5-AAA6250D0A02}"/>
          </ac:graphicFrameMkLst>
        </pc:graphicFrameChg>
        <pc:graphicFrameChg chg="add del mod replST">
          <ac:chgData name="Grace, Morgan (Brisbane)" userId="221d5f7b-4a46-4bd5-bdf1-698d3a91c208" providerId="ADAL" clId="{D90324C1-6CE4-4C28-B886-AED0B666B37F}" dt="2024-06-05T05:05:17.296" v="24994"/>
          <ac:graphicFrameMkLst>
            <pc:docMk/>
            <pc:sldMk cId="2973225441" sldId="602"/>
            <ac:graphicFrameMk id="41" creationId="{CA1DD7EC-D06A-C830-402E-D353BC83E513}"/>
          </ac:graphicFrameMkLst>
        </pc:graphicFrameChg>
        <pc:graphicFrameChg chg="add del mod replST">
          <ac:chgData name="Grace, Morgan (Brisbane)" userId="221d5f7b-4a46-4bd5-bdf1-698d3a91c208" providerId="ADAL" clId="{D90324C1-6CE4-4C28-B886-AED0B666B37F}" dt="2024-06-05T05:05:18.799" v="25055"/>
          <ac:graphicFrameMkLst>
            <pc:docMk/>
            <pc:sldMk cId="2973225441" sldId="602"/>
            <ac:graphicFrameMk id="43" creationId="{FAFF1DA3-F6DE-0345-5626-6C276FC8F2DE}"/>
          </ac:graphicFrameMkLst>
        </pc:graphicFrameChg>
        <pc:graphicFrameChg chg="add del mod replST">
          <ac:chgData name="Grace, Morgan (Brisbane)" userId="221d5f7b-4a46-4bd5-bdf1-698d3a91c208" providerId="ADAL" clId="{D90324C1-6CE4-4C28-B886-AED0B666B37F}" dt="2024-06-05T05:05:26.981" v="25116"/>
          <ac:graphicFrameMkLst>
            <pc:docMk/>
            <pc:sldMk cId="2973225441" sldId="602"/>
            <ac:graphicFrameMk id="45" creationId="{14354290-352D-D941-6461-450DB886189A}"/>
          </ac:graphicFrameMkLst>
        </pc:graphicFrameChg>
        <pc:graphicFrameChg chg="add del mod replST">
          <ac:chgData name="Grace, Morgan (Brisbane)" userId="221d5f7b-4a46-4bd5-bdf1-698d3a91c208" providerId="ADAL" clId="{D90324C1-6CE4-4C28-B886-AED0B666B37F}" dt="2024-06-05T05:05:29.914" v="25177"/>
          <ac:graphicFrameMkLst>
            <pc:docMk/>
            <pc:sldMk cId="2973225441" sldId="602"/>
            <ac:graphicFrameMk id="47" creationId="{71F1DA36-C9B2-022B-73C2-686CF39EBFF0}"/>
          </ac:graphicFrameMkLst>
        </pc:graphicFrameChg>
        <pc:graphicFrameChg chg="add del mod replST">
          <ac:chgData name="Grace, Morgan (Brisbane)" userId="221d5f7b-4a46-4bd5-bdf1-698d3a91c208" providerId="ADAL" clId="{D90324C1-6CE4-4C28-B886-AED0B666B37F}" dt="2024-06-05T05:05:33.672" v="25238"/>
          <ac:graphicFrameMkLst>
            <pc:docMk/>
            <pc:sldMk cId="2973225441" sldId="602"/>
            <ac:graphicFrameMk id="49" creationId="{84D79BF0-1668-9660-CBDF-413B1F000BBB}"/>
          </ac:graphicFrameMkLst>
        </pc:graphicFrameChg>
        <pc:graphicFrameChg chg="add del mod replST">
          <ac:chgData name="Grace, Morgan (Brisbane)" userId="221d5f7b-4a46-4bd5-bdf1-698d3a91c208" providerId="ADAL" clId="{D90324C1-6CE4-4C28-B886-AED0B666B37F}" dt="2024-06-05T05:05:36.979" v="25299"/>
          <ac:graphicFrameMkLst>
            <pc:docMk/>
            <pc:sldMk cId="2973225441" sldId="602"/>
            <ac:graphicFrameMk id="51" creationId="{3AAF8C9B-31CB-1900-BE3F-F7A06DC04498}"/>
          </ac:graphicFrameMkLst>
        </pc:graphicFrameChg>
        <pc:graphicFrameChg chg="add del mod replST">
          <ac:chgData name="Grace, Morgan (Brisbane)" userId="221d5f7b-4a46-4bd5-bdf1-698d3a91c208" providerId="ADAL" clId="{D90324C1-6CE4-4C28-B886-AED0B666B37F}" dt="2024-06-05T05:05:40.046" v="25360"/>
          <ac:graphicFrameMkLst>
            <pc:docMk/>
            <pc:sldMk cId="2973225441" sldId="602"/>
            <ac:graphicFrameMk id="53" creationId="{685FA035-FB52-7952-6C3E-BE11B6FD8115}"/>
          </ac:graphicFrameMkLst>
        </pc:graphicFrameChg>
        <pc:graphicFrameChg chg="add del mod replST">
          <ac:chgData name="Grace, Morgan (Brisbane)" userId="221d5f7b-4a46-4bd5-bdf1-698d3a91c208" providerId="ADAL" clId="{D90324C1-6CE4-4C28-B886-AED0B666B37F}" dt="2024-06-05T05:05:48.979" v="25421"/>
          <ac:graphicFrameMkLst>
            <pc:docMk/>
            <pc:sldMk cId="2973225441" sldId="602"/>
            <ac:graphicFrameMk id="55" creationId="{71D0342F-9485-3E9F-CA9E-6588AF2A1BAF}"/>
          </ac:graphicFrameMkLst>
        </pc:graphicFrameChg>
        <pc:graphicFrameChg chg="add del mod replST">
          <ac:chgData name="Grace, Morgan (Brisbane)" userId="221d5f7b-4a46-4bd5-bdf1-698d3a91c208" providerId="ADAL" clId="{D90324C1-6CE4-4C28-B886-AED0B666B37F}" dt="2024-06-05T05:05:52.597" v="25482"/>
          <ac:graphicFrameMkLst>
            <pc:docMk/>
            <pc:sldMk cId="2973225441" sldId="602"/>
            <ac:graphicFrameMk id="57" creationId="{2CB43D97-CEAB-EAAB-18E5-C4F15C798162}"/>
          </ac:graphicFrameMkLst>
        </pc:graphicFrameChg>
        <pc:graphicFrameChg chg="add del mod replST">
          <ac:chgData name="Grace, Morgan (Brisbane)" userId="221d5f7b-4a46-4bd5-bdf1-698d3a91c208" providerId="ADAL" clId="{D90324C1-6CE4-4C28-B886-AED0B666B37F}" dt="2024-06-05T05:05:55.064" v="25543"/>
          <ac:graphicFrameMkLst>
            <pc:docMk/>
            <pc:sldMk cId="2973225441" sldId="602"/>
            <ac:graphicFrameMk id="59" creationId="{C0D29071-1A9E-52FB-DF96-F5A3CD8D2854}"/>
          </ac:graphicFrameMkLst>
        </pc:graphicFrameChg>
        <pc:graphicFrameChg chg="add del mod replST">
          <ac:chgData name="Grace, Morgan (Brisbane)" userId="221d5f7b-4a46-4bd5-bdf1-698d3a91c208" providerId="ADAL" clId="{D90324C1-6CE4-4C28-B886-AED0B666B37F}" dt="2024-06-05T05:05:58.084" v="25604"/>
          <ac:graphicFrameMkLst>
            <pc:docMk/>
            <pc:sldMk cId="2973225441" sldId="602"/>
            <ac:graphicFrameMk id="61" creationId="{4562B77C-A1A2-849F-B700-26ED28F52614}"/>
          </ac:graphicFrameMkLst>
        </pc:graphicFrameChg>
        <pc:graphicFrameChg chg="add del mod replST">
          <ac:chgData name="Grace, Morgan (Brisbane)" userId="221d5f7b-4a46-4bd5-bdf1-698d3a91c208" providerId="ADAL" clId="{D90324C1-6CE4-4C28-B886-AED0B666B37F}" dt="2024-06-05T05:06:01.035" v="25665"/>
          <ac:graphicFrameMkLst>
            <pc:docMk/>
            <pc:sldMk cId="2973225441" sldId="602"/>
            <ac:graphicFrameMk id="63" creationId="{387EE894-EE91-7D3C-0FE6-FEDFB1D782D0}"/>
          </ac:graphicFrameMkLst>
        </pc:graphicFrameChg>
        <pc:graphicFrameChg chg="add del mod replST">
          <ac:chgData name="Grace, Morgan (Brisbane)" userId="221d5f7b-4a46-4bd5-bdf1-698d3a91c208" providerId="ADAL" clId="{D90324C1-6CE4-4C28-B886-AED0B666B37F}" dt="2024-06-05T05:06:10.229" v="25731"/>
          <ac:graphicFrameMkLst>
            <pc:docMk/>
            <pc:sldMk cId="2973225441" sldId="602"/>
            <ac:graphicFrameMk id="65" creationId="{9C4726A7-9C81-024C-315A-D9BED1DBFDE5}"/>
          </ac:graphicFrameMkLst>
        </pc:graphicFrameChg>
        <pc:graphicFrameChg chg="add del mod replST">
          <ac:chgData name="Grace, Morgan (Brisbane)" userId="221d5f7b-4a46-4bd5-bdf1-698d3a91c208" providerId="ADAL" clId="{D90324C1-6CE4-4C28-B886-AED0B666B37F}" dt="2024-06-05T05:06:11.862" v="25784"/>
          <ac:graphicFrameMkLst>
            <pc:docMk/>
            <pc:sldMk cId="2973225441" sldId="602"/>
            <ac:graphicFrameMk id="66" creationId="{B01316AC-315B-CF68-299D-3DB89E37F7FF}"/>
          </ac:graphicFrameMkLst>
        </pc:graphicFrameChg>
        <pc:graphicFrameChg chg="add del mod replST">
          <ac:chgData name="Grace, Morgan (Brisbane)" userId="221d5f7b-4a46-4bd5-bdf1-698d3a91c208" providerId="ADAL" clId="{D90324C1-6CE4-4C28-B886-AED0B666B37F}" dt="2024-06-05T05:06:22.212" v="25824"/>
          <ac:graphicFrameMkLst>
            <pc:docMk/>
            <pc:sldMk cId="2973225441" sldId="602"/>
            <ac:graphicFrameMk id="67" creationId="{F251FCF0-ED9B-B3D3-CF67-D786BACE0F65}"/>
          </ac:graphicFrameMkLst>
        </pc:graphicFrameChg>
        <pc:graphicFrameChg chg="add del mod replST">
          <ac:chgData name="Grace, Morgan (Brisbane)" userId="221d5f7b-4a46-4bd5-bdf1-698d3a91c208" providerId="ADAL" clId="{D90324C1-6CE4-4C28-B886-AED0B666B37F}" dt="2024-06-05T05:06:25.746" v="26327"/>
          <ac:graphicFrameMkLst>
            <pc:docMk/>
            <pc:sldMk cId="2973225441" sldId="602"/>
            <ac:graphicFrameMk id="68" creationId="{49F09251-4FCC-08DD-374D-AA26B206C9C5}"/>
          </ac:graphicFrameMkLst>
        </pc:graphicFrameChg>
        <pc:graphicFrameChg chg="add del mod replST">
          <ac:chgData name="Grace, Morgan (Brisbane)" userId="221d5f7b-4a46-4bd5-bdf1-698d3a91c208" providerId="ADAL" clId="{D90324C1-6CE4-4C28-B886-AED0B666B37F}" dt="2024-06-05T05:06:31.646" v="26422"/>
          <ac:graphicFrameMkLst>
            <pc:docMk/>
            <pc:sldMk cId="2973225441" sldId="602"/>
            <ac:graphicFrameMk id="78" creationId="{2D14FED7-3D2F-B404-D708-1848B8F233E4}"/>
          </ac:graphicFrameMkLst>
        </pc:graphicFrameChg>
        <pc:graphicFrameChg chg="add del mod replST">
          <ac:chgData name="Grace, Morgan (Brisbane)" userId="221d5f7b-4a46-4bd5-bdf1-698d3a91c208" providerId="ADAL" clId="{D90324C1-6CE4-4C28-B886-AED0B666B37F}" dt="2024-06-05T05:07:10.479" v="26532"/>
          <ac:graphicFrameMkLst>
            <pc:docMk/>
            <pc:sldMk cId="2973225441" sldId="602"/>
            <ac:graphicFrameMk id="80" creationId="{35FC107E-169C-BB72-6267-1AF5471D798A}"/>
          </ac:graphicFrameMkLst>
        </pc:graphicFrameChg>
        <pc:graphicFrameChg chg="add del mod replST">
          <ac:chgData name="Grace, Morgan (Brisbane)" userId="221d5f7b-4a46-4bd5-bdf1-698d3a91c208" providerId="ADAL" clId="{D90324C1-6CE4-4C28-B886-AED0B666B37F}" dt="2024-06-05T05:07:14.312" v="26609"/>
          <ac:graphicFrameMkLst>
            <pc:docMk/>
            <pc:sldMk cId="2973225441" sldId="602"/>
            <ac:graphicFrameMk id="82" creationId="{CF7448F4-0552-F027-F450-CE72870965E1}"/>
          </ac:graphicFrameMkLst>
        </pc:graphicFrameChg>
        <pc:graphicFrameChg chg="add del mod replST">
          <ac:chgData name="Grace, Morgan (Brisbane)" userId="221d5f7b-4a46-4bd5-bdf1-698d3a91c208" providerId="ADAL" clId="{D90324C1-6CE4-4C28-B886-AED0B666B37F}" dt="2024-06-05T05:07:17.229" v="26696"/>
          <ac:graphicFrameMkLst>
            <pc:docMk/>
            <pc:sldMk cId="2973225441" sldId="602"/>
            <ac:graphicFrameMk id="84" creationId="{C50F6BAA-4159-D48D-C2DC-5B7500A384F7}"/>
          </ac:graphicFrameMkLst>
        </pc:graphicFrameChg>
        <pc:graphicFrameChg chg="add del mod replST">
          <ac:chgData name="Grace, Morgan (Brisbane)" userId="221d5f7b-4a46-4bd5-bdf1-698d3a91c208" providerId="ADAL" clId="{D90324C1-6CE4-4C28-B886-AED0B666B37F}" dt="2024-06-05T05:07:31.679" v="26773"/>
          <ac:graphicFrameMkLst>
            <pc:docMk/>
            <pc:sldMk cId="2973225441" sldId="602"/>
            <ac:graphicFrameMk id="86" creationId="{F3826AC2-3F9E-A4CA-E552-87E900437415}"/>
          </ac:graphicFrameMkLst>
        </pc:graphicFrameChg>
        <pc:graphicFrameChg chg="add del mod replST">
          <ac:chgData name="Grace, Morgan (Brisbane)" userId="221d5f7b-4a46-4bd5-bdf1-698d3a91c208" providerId="ADAL" clId="{D90324C1-6CE4-4C28-B886-AED0B666B37F}" dt="2024-06-05T05:07:33.062" v="27264"/>
          <ac:graphicFrameMkLst>
            <pc:docMk/>
            <pc:sldMk cId="2973225441" sldId="602"/>
            <ac:graphicFrameMk id="88" creationId="{F0F25227-01BB-AD63-81E7-4BED95ECC2A8}"/>
          </ac:graphicFrameMkLst>
        </pc:graphicFrameChg>
        <pc:graphicFrameChg chg="add del mod replST">
          <ac:chgData name="Grace, Morgan (Brisbane)" userId="221d5f7b-4a46-4bd5-bdf1-698d3a91c208" providerId="ADAL" clId="{D90324C1-6CE4-4C28-B886-AED0B666B37F}" dt="2024-06-05T05:07:33.179" v="27351"/>
          <ac:graphicFrameMkLst>
            <pc:docMk/>
            <pc:sldMk cId="2973225441" sldId="602"/>
            <ac:graphicFrameMk id="98" creationId="{CC5C5EF2-4515-4D41-57C8-EE82013A870A}"/>
          </ac:graphicFrameMkLst>
        </pc:graphicFrameChg>
        <pc:graphicFrameChg chg="add del mod replST">
          <ac:chgData name="Grace, Morgan (Brisbane)" userId="221d5f7b-4a46-4bd5-bdf1-698d3a91c208" providerId="ADAL" clId="{D90324C1-6CE4-4C28-B886-AED0B666B37F}" dt="2024-06-05T05:07:34.996" v="27446"/>
          <ac:graphicFrameMkLst>
            <pc:docMk/>
            <pc:sldMk cId="2973225441" sldId="602"/>
            <ac:graphicFrameMk id="100" creationId="{884C6A57-2637-5582-AC68-0C37F7B3A6AF}"/>
          </ac:graphicFrameMkLst>
        </pc:graphicFrameChg>
        <pc:graphicFrameChg chg="add del mod replST">
          <ac:chgData name="Grace, Morgan (Brisbane)" userId="221d5f7b-4a46-4bd5-bdf1-698d3a91c208" providerId="ADAL" clId="{D90324C1-6CE4-4C28-B886-AED0B666B37F}" dt="2024-06-05T05:07:38.345" v="27515"/>
          <ac:graphicFrameMkLst>
            <pc:docMk/>
            <pc:sldMk cId="2973225441" sldId="602"/>
            <ac:graphicFrameMk id="102" creationId="{877BFF1B-7984-DBDA-99EF-0FE911F642A1}"/>
          </ac:graphicFrameMkLst>
        </pc:graphicFrameChg>
        <pc:graphicFrameChg chg="add del mod replST">
          <ac:chgData name="Grace, Morgan (Brisbane)" userId="221d5f7b-4a46-4bd5-bdf1-698d3a91c208" providerId="ADAL" clId="{D90324C1-6CE4-4C28-B886-AED0B666B37F}" dt="2024-06-05T05:07:45.529" v="27597"/>
          <ac:graphicFrameMkLst>
            <pc:docMk/>
            <pc:sldMk cId="2973225441" sldId="602"/>
            <ac:graphicFrameMk id="104" creationId="{6A247F14-614D-4FE0-325E-0CAC1987E8C5}"/>
          </ac:graphicFrameMkLst>
        </pc:graphicFrameChg>
        <pc:graphicFrameChg chg="add del mod replST">
          <ac:chgData name="Grace, Morgan (Brisbane)" userId="221d5f7b-4a46-4bd5-bdf1-698d3a91c208" providerId="ADAL" clId="{D90324C1-6CE4-4C28-B886-AED0B666B37F}" dt="2024-06-05T05:07:51.312" v="27666"/>
          <ac:graphicFrameMkLst>
            <pc:docMk/>
            <pc:sldMk cId="2973225441" sldId="602"/>
            <ac:graphicFrameMk id="106" creationId="{D38A492B-544B-6E99-FA9D-AD80A9E41A0B}"/>
          </ac:graphicFrameMkLst>
        </pc:graphicFrameChg>
        <pc:graphicFrameChg chg="add del mod replST">
          <ac:chgData name="Grace, Morgan (Brisbane)" userId="221d5f7b-4a46-4bd5-bdf1-698d3a91c208" providerId="ADAL" clId="{D90324C1-6CE4-4C28-B886-AED0B666B37F}" dt="2024-06-05T05:07:56.829" v="27759"/>
          <ac:graphicFrameMkLst>
            <pc:docMk/>
            <pc:sldMk cId="2973225441" sldId="602"/>
            <ac:graphicFrameMk id="108" creationId="{73A93E5B-39FA-AAA7-E67F-8783E2264385}"/>
          </ac:graphicFrameMkLst>
        </pc:graphicFrameChg>
        <pc:graphicFrameChg chg="add del mod replST">
          <ac:chgData name="Grace, Morgan (Brisbane)" userId="221d5f7b-4a46-4bd5-bdf1-698d3a91c208" providerId="ADAL" clId="{D90324C1-6CE4-4C28-B886-AED0B666B37F}" dt="2024-06-05T05:08:14.545" v="27881"/>
          <ac:graphicFrameMkLst>
            <pc:docMk/>
            <pc:sldMk cId="2973225441" sldId="602"/>
            <ac:graphicFrameMk id="110" creationId="{DE68155A-594A-0570-9B2A-F1758036708A}"/>
          </ac:graphicFrameMkLst>
        </pc:graphicFrameChg>
        <pc:graphicFrameChg chg="add del mod replST">
          <ac:chgData name="Grace, Morgan (Brisbane)" userId="221d5f7b-4a46-4bd5-bdf1-698d3a91c208" providerId="ADAL" clId="{D90324C1-6CE4-4C28-B886-AED0B666B37F}" dt="2024-06-05T05:08:16.945" v="27967"/>
          <ac:graphicFrameMkLst>
            <pc:docMk/>
            <pc:sldMk cId="2973225441" sldId="602"/>
            <ac:graphicFrameMk id="113" creationId="{EB5608F8-F96E-DAAD-1945-6B855250B3E8}"/>
          </ac:graphicFrameMkLst>
        </pc:graphicFrameChg>
        <pc:graphicFrameChg chg="add del mod replST">
          <ac:chgData name="Grace, Morgan (Brisbane)" userId="221d5f7b-4a46-4bd5-bdf1-698d3a91c208" providerId="ADAL" clId="{D90324C1-6CE4-4C28-B886-AED0B666B37F}" dt="2024-06-05T05:08:20.012" v="28056"/>
          <ac:graphicFrameMkLst>
            <pc:docMk/>
            <pc:sldMk cId="2973225441" sldId="602"/>
            <ac:graphicFrameMk id="115" creationId="{90C0C160-B706-18DB-CC78-92B63272A43E}"/>
          </ac:graphicFrameMkLst>
        </pc:graphicFrameChg>
        <pc:graphicFrameChg chg="add del mod replST">
          <ac:chgData name="Grace, Morgan (Brisbane)" userId="221d5f7b-4a46-4bd5-bdf1-698d3a91c208" providerId="ADAL" clId="{D90324C1-6CE4-4C28-B886-AED0B666B37F}" dt="2024-06-05T05:08:21.712" v="28131"/>
          <ac:graphicFrameMkLst>
            <pc:docMk/>
            <pc:sldMk cId="2973225441" sldId="602"/>
            <ac:graphicFrameMk id="117" creationId="{020CF810-C6B8-6902-E15C-C326F948194F}"/>
          </ac:graphicFrameMkLst>
        </pc:graphicFrameChg>
        <pc:graphicFrameChg chg="add del mod replST">
          <ac:chgData name="Grace, Morgan (Brisbane)" userId="221d5f7b-4a46-4bd5-bdf1-698d3a91c208" providerId="ADAL" clId="{D90324C1-6CE4-4C28-B886-AED0B666B37F}" dt="2024-06-05T05:08:23.612" v="28207"/>
          <ac:graphicFrameMkLst>
            <pc:docMk/>
            <pc:sldMk cId="2973225441" sldId="602"/>
            <ac:graphicFrameMk id="119" creationId="{B2D2CBFF-F4B3-1C70-4185-AD2EE569C3DD}"/>
          </ac:graphicFrameMkLst>
        </pc:graphicFrameChg>
        <pc:graphicFrameChg chg="add del mod replST">
          <ac:chgData name="Grace, Morgan (Brisbane)" userId="221d5f7b-4a46-4bd5-bdf1-698d3a91c208" providerId="ADAL" clId="{D90324C1-6CE4-4C28-B886-AED0B666B37F}" dt="2024-06-05T05:08:25.512" v="28281"/>
          <ac:graphicFrameMkLst>
            <pc:docMk/>
            <pc:sldMk cId="2973225441" sldId="602"/>
            <ac:graphicFrameMk id="121" creationId="{9EEDA240-BC74-6B94-3981-7B408F1B8057}"/>
          </ac:graphicFrameMkLst>
        </pc:graphicFrameChg>
        <pc:graphicFrameChg chg="add del mod replST">
          <ac:chgData name="Grace, Morgan (Brisbane)" userId="221d5f7b-4a46-4bd5-bdf1-698d3a91c208" providerId="ADAL" clId="{D90324C1-6CE4-4C28-B886-AED0B666B37F}" dt="2024-06-05T05:08:26.845" v="28356"/>
          <ac:graphicFrameMkLst>
            <pc:docMk/>
            <pc:sldMk cId="2973225441" sldId="602"/>
            <ac:graphicFrameMk id="123" creationId="{94D01BEE-8963-01C5-E874-DB145EFB449F}"/>
          </ac:graphicFrameMkLst>
        </pc:graphicFrameChg>
        <pc:graphicFrameChg chg="add del mod replST">
          <ac:chgData name="Grace, Morgan (Brisbane)" userId="221d5f7b-4a46-4bd5-bdf1-698d3a91c208" providerId="ADAL" clId="{D90324C1-6CE4-4C28-B886-AED0B666B37F}" dt="2024-06-05T05:08:31.312" v="28437"/>
          <ac:graphicFrameMkLst>
            <pc:docMk/>
            <pc:sldMk cId="2973225441" sldId="602"/>
            <ac:graphicFrameMk id="125" creationId="{A374EA19-ECB9-CB16-F894-9608E536B511}"/>
          </ac:graphicFrameMkLst>
        </pc:graphicFrameChg>
        <pc:graphicFrameChg chg="add del mod replST">
          <ac:chgData name="Grace, Morgan (Brisbane)" userId="221d5f7b-4a46-4bd5-bdf1-698d3a91c208" providerId="ADAL" clId="{D90324C1-6CE4-4C28-B886-AED0B666B37F}" dt="2024-06-05T05:08:32.162" v="28511"/>
          <ac:graphicFrameMkLst>
            <pc:docMk/>
            <pc:sldMk cId="2973225441" sldId="602"/>
            <ac:graphicFrameMk id="127" creationId="{236040BE-8154-EBD5-8824-BE5AEC9B8CA2}"/>
          </ac:graphicFrameMkLst>
        </pc:graphicFrameChg>
        <pc:graphicFrameChg chg="add del mod replST">
          <ac:chgData name="Grace, Morgan (Brisbane)" userId="221d5f7b-4a46-4bd5-bdf1-698d3a91c208" providerId="ADAL" clId="{D90324C1-6CE4-4C28-B886-AED0B666B37F}" dt="2024-06-05T05:08:33.512" v="28586"/>
          <ac:graphicFrameMkLst>
            <pc:docMk/>
            <pc:sldMk cId="2973225441" sldId="602"/>
            <ac:graphicFrameMk id="129" creationId="{CDED6115-78FC-B8BA-3D11-DBFD641EFE92}"/>
          </ac:graphicFrameMkLst>
        </pc:graphicFrameChg>
        <pc:graphicFrameChg chg="add del mod replST">
          <ac:chgData name="Grace, Morgan (Brisbane)" userId="221d5f7b-4a46-4bd5-bdf1-698d3a91c208" providerId="ADAL" clId="{D90324C1-6CE4-4C28-B886-AED0B666B37F}" dt="2024-06-05T05:08:34.662" v="28664"/>
          <ac:graphicFrameMkLst>
            <pc:docMk/>
            <pc:sldMk cId="2973225441" sldId="602"/>
            <ac:graphicFrameMk id="131" creationId="{A8316843-620E-F532-9FD6-4A1234DDC361}"/>
          </ac:graphicFrameMkLst>
        </pc:graphicFrameChg>
        <pc:graphicFrameChg chg="add del mod replST">
          <ac:chgData name="Grace, Morgan (Brisbane)" userId="221d5f7b-4a46-4bd5-bdf1-698d3a91c208" providerId="ADAL" clId="{D90324C1-6CE4-4C28-B886-AED0B666B37F}" dt="2024-06-05T05:08:35.679" v="28740"/>
          <ac:graphicFrameMkLst>
            <pc:docMk/>
            <pc:sldMk cId="2973225441" sldId="602"/>
            <ac:graphicFrameMk id="133" creationId="{8A3472B4-EBEF-1AA1-3C92-D6441045C506}"/>
          </ac:graphicFrameMkLst>
        </pc:graphicFrameChg>
        <pc:graphicFrameChg chg="add del mod replST">
          <ac:chgData name="Grace, Morgan (Brisbane)" userId="221d5f7b-4a46-4bd5-bdf1-698d3a91c208" providerId="ADAL" clId="{D90324C1-6CE4-4C28-B886-AED0B666B37F}" dt="2024-06-05T05:08:37.346" v="28818"/>
          <ac:graphicFrameMkLst>
            <pc:docMk/>
            <pc:sldMk cId="2973225441" sldId="602"/>
            <ac:graphicFrameMk id="135" creationId="{E3BA9F09-3179-2BFE-CA5C-091CFEC5A920}"/>
          </ac:graphicFrameMkLst>
        </pc:graphicFrameChg>
        <pc:graphicFrameChg chg="add del mod replST">
          <ac:chgData name="Grace, Morgan (Brisbane)" userId="221d5f7b-4a46-4bd5-bdf1-698d3a91c208" providerId="ADAL" clId="{D90324C1-6CE4-4C28-B886-AED0B666B37F}" dt="2024-06-05T05:08:39.996" v="28895"/>
          <ac:graphicFrameMkLst>
            <pc:docMk/>
            <pc:sldMk cId="2973225441" sldId="602"/>
            <ac:graphicFrameMk id="137" creationId="{3A426913-F1A7-0F50-5572-684AA4F4F350}"/>
          </ac:graphicFrameMkLst>
        </pc:graphicFrameChg>
        <pc:graphicFrameChg chg="add del mod replST">
          <ac:chgData name="Grace, Morgan (Brisbane)" userId="221d5f7b-4a46-4bd5-bdf1-698d3a91c208" providerId="ADAL" clId="{D90324C1-6CE4-4C28-B886-AED0B666B37F}" dt="2024-06-05T05:08:47.278" v="28981"/>
          <ac:graphicFrameMkLst>
            <pc:docMk/>
            <pc:sldMk cId="2973225441" sldId="602"/>
            <ac:graphicFrameMk id="139" creationId="{6CBC2385-0B1D-2DC2-E7F9-A17EA60F719D}"/>
          </ac:graphicFrameMkLst>
        </pc:graphicFrameChg>
        <pc:graphicFrameChg chg="add del mod replST">
          <ac:chgData name="Grace, Morgan (Brisbane)" userId="221d5f7b-4a46-4bd5-bdf1-698d3a91c208" providerId="ADAL" clId="{D90324C1-6CE4-4C28-B886-AED0B666B37F}" dt="2024-06-05T05:12:42.311" v="29175"/>
          <ac:graphicFrameMkLst>
            <pc:docMk/>
            <pc:sldMk cId="2973225441" sldId="602"/>
            <ac:graphicFrameMk id="141" creationId="{09FCB2A0-273D-34A6-B8B5-75BD63A75B31}"/>
          </ac:graphicFrameMkLst>
        </pc:graphicFrameChg>
        <pc:graphicFrameChg chg="add del mod replST">
          <ac:chgData name="Grace, Morgan (Brisbane)" userId="221d5f7b-4a46-4bd5-bdf1-698d3a91c208" providerId="ADAL" clId="{D90324C1-6CE4-4C28-B886-AED0B666B37F}" dt="2024-06-05T05:15:41.596" v="29418"/>
          <ac:graphicFrameMkLst>
            <pc:docMk/>
            <pc:sldMk cId="2973225441" sldId="602"/>
            <ac:graphicFrameMk id="143" creationId="{D1854EAB-8A0B-97D5-C8B8-7D260C2279C1}"/>
          </ac:graphicFrameMkLst>
        </pc:graphicFrameChg>
        <pc:graphicFrameChg chg="add del mod replST">
          <ac:chgData name="Grace, Morgan (Brisbane)" userId="221d5f7b-4a46-4bd5-bdf1-698d3a91c208" providerId="ADAL" clId="{D90324C1-6CE4-4C28-B886-AED0B666B37F}" dt="2024-06-05T05:17:31.564" v="29661"/>
          <ac:graphicFrameMkLst>
            <pc:docMk/>
            <pc:sldMk cId="2973225441" sldId="602"/>
            <ac:graphicFrameMk id="147" creationId="{F7BB8B01-A223-B617-B04F-91AC728904D4}"/>
          </ac:graphicFrameMkLst>
        </pc:graphicFrameChg>
        <pc:graphicFrameChg chg="add del mod replST">
          <ac:chgData name="Grace, Morgan (Brisbane)" userId="221d5f7b-4a46-4bd5-bdf1-698d3a91c208" providerId="ADAL" clId="{D90324C1-6CE4-4C28-B886-AED0B666B37F}" dt="2024-06-05T05:17:32.878" v="29750"/>
          <ac:graphicFrameMkLst>
            <pc:docMk/>
            <pc:sldMk cId="2973225441" sldId="602"/>
            <ac:graphicFrameMk id="149" creationId="{CC678BCF-43E2-AD36-98B9-C8315AFC78BE}"/>
          </ac:graphicFrameMkLst>
        </pc:graphicFrameChg>
        <pc:graphicFrameChg chg="add del mod replST">
          <ac:chgData name="Grace, Morgan (Brisbane)" userId="221d5f7b-4a46-4bd5-bdf1-698d3a91c208" providerId="ADAL" clId="{D90324C1-6CE4-4C28-B886-AED0B666B37F}" dt="2024-06-05T05:18:35.010" v="29847"/>
          <ac:graphicFrameMkLst>
            <pc:docMk/>
            <pc:sldMk cId="2973225441" sldId="602"/>
            <ac:graphicFrameMk id="151" creationId="{DFF1B0E1-AAE0-4BF1-FD8E-787F9166415A}"/>
          </ac:graphicFrameMkLst>
        </pc:graphicFrameChg>
        <pc:graphicFrameChg chg="add del mod replST">
          <ac:chgData name="Grace, Morgan (Brisbane)" userId="221d5f7b-4a46-4bd5-bdf1-698d3a91c208" providerId="ADAL" clId="{D90324C1-6CE4-4C28-B886-AED0B666B37F}" dt="2024-06-05T05:18:53.478" v="29966"/>
          <ac:graphicFrameMkLst>
            <pc:docMk/>
            <pc:sldMk cId="2973225441" sldId="602"/>
            <ac:graphicFrameMk id="153" creationId="{4807F066-9F9D-A7A4-0931-E8F0CBB41F2E}"/>
          </ac:graphicFrameMkLst>
        </pc:graphicFrameChg>
        <pc:graphicFrameChg chg="add del mod replST">
          <ac:chgData name="Grace, Morgan (Brisbane)" userId="221d5f7b-4a46-4bd5-bdf1-698d3a91c208" providerId="ADAL" clId="{D90324C1-6CE4-4C28-B886-AED0B666B37F}" dt="2024-06-05T05:18:54.711" v="30044"/>
          <ac:graphicFrameMkLst>
            <pc:docMk/>
            <pc:sldMk cId="2973225441" sldId="602"/>
            <ac:graphicFrameMk id="155" creationId="{01B27E52-10DF-F8EC-40E4-1DB61D5E8ABA}"/>
          </ac:graphicFrameMkLst>
        </pc:graphicFrameChg>
        <pc:graphicFrameChg chg="add del mod replST">
          <ac:chgData name="Grace, Morgan (Brisbane)" userId="221d5f7b-4a46-4bd5-bdf1-698d3a91c208" providerId="ADAL" clId="{D90324C1-6CE4-4C28-B886-AED0B666B37F}" dt="2024-06-05T05:19:37.711" v="30211"/>
          <ac:graphicFrameMkLst>
            <pc:docMk/>
            <pc:sldMk cId="2973225441" sldId="602"/>
            <ac:graphicFrameMk id="157" creationId="{0BAE9ED1-05E8-0F78-917C-BF823C6A2D03}"/>
          </ac:graphicFrameMkLst>
        </pc:graphicFrameChg>
        <pc:graphicFrameChg chg="add del mod replST">
          <ac:chgData name="Grace, Morgan (Brisbane)" userId="221d5f7b-4a46-4bd5-bdf1-698d3a91c208" providerId="ADAL" clId="{D90324C1-6CE4-4C28-B886-AED0B666B37F}" dt="2024-06-05T05:21:02.626" v="30424"/>
          <ac:graphicFrameMkLst>
            <pc:docMk/>
            <pc:sldMk cId="2973225441" sldId="602"/>
            <ac:graphicFrameMk id="159" creationId="{62C9233C-7869-087E-1A49-7F439BDE4E16}"/>
          </ac:graphicFrameMkLst>
        </pc:graphicFrameChg>
        <pc:graphicFrameChg chg="add del mod replST">
          <ac:chgData name="Grace, Morgan (Brisbane)" userId="221d5f7b-4a46-4bd5-bdf1-698d3a91c208" providerId="ADAL" clId="{D90324C1-6CE4-4C28-B886-AED0B666B37F}" dt="2024-06-05T05:21:09.864" v="30631"/>
          <ac:graphicFrameMkLst>
            <pc:docMk/>
            <pc:sldMk cId="2973225441" sldId="602"/>
            <ac:graphicFrameMk id="165" creationId="{EFA0C78E-3C15-D476-BDB9-EA55581F367A}"/>
          </ac:graphicFrameMkLst>
        </pc:graphicFrameChg>
        <pc:graphicFrameChg chg="add del mod replST">
          <ac:chgData name="Grace, Morgan (Brisbane)" userId="221d5f7b-4a46-4bd5-bdf1-698d3a91c208" providerId="ADAL" clId="{D90324C1-6CE4-4C28-B886-AED0B666B37F}" dt="2024-06-05T05:21:17.509" v="30742"/>
          <ac:graphicFrameMkLst>
            <pc:docMk/>
            <pc:sldMk cId="2973225441" sldId="602"/>
            <ac:graphicFrameMk id="171" creationId="{ABBD3806-F52F-D813-1BF7-4273770CEA4F}"/>
          </ac:graphicFrameMkLst>
        </pc:graphicFrameChg>
        <pc:graphicFrameChg chg="add del mod replST">
          <ac:chgData name="Grace, Morgan (Brisbane)" userId="221d5f7b-4a46-4bd5-bdf1-698d3a91c208" providerId="ADAL" clId="{D90324C1-6CE4-4C28-B886-AED0B666B37F}" dt="2024-06-05T05:21:18.558" v="30827"/>
          <ac:graphicFrameMkLst>
            <pc:docMk/>
            <pc:sldMk cId="2973225441" sldId="602"/>
            <ac:graphicFrameMk id="173" creationId="{E29527BA-8E60-C998-CD51-6B142E0ECEA4}"/>
          </ac:graphicFrameMkLst>
        </pc:graphicFrameChg>
        <pc:graphicFrameChg chg="add del mod replST">
          <ac:chgData name="Grace, Morgan (Brisbane)" userId="221d5f7b-4a46-4bd5-bdf1-698d3a91c208" providerId="ADAL" clId="{D90324C1-6CE4-4C28-B886-AED0B666B37F}" dt="2024-06-05T05:21:20.497" v="30914"/>
          <ac:graphicFrameMkLst>
            <pc:docMk/>
            <pc:sldMk cId="2973225441" sldId="602"/>
            <ac:graphicFrameMk id="175" creationId="{F2A1F949-C773-EE83-EFD1-9A688BC859CD}"/>
          </ac:graphicFrameMkLst>
        </pc:graphicFrameChg>
        <pc:graphicFrameChg chg="add del mod replST">
          <ac:chgData name="Grace, Morgan (Brisbane)" userId="221d5f7b-4a46-4bd5-bdf1-698d3a91c208" providerId="ADAL" clId="{D90324C1-6CE4-4C28-B886-AED0B666B37F}" dt="2024-06-05T05:34:03.208" v="31668"/>
          <ac:graphicFrameMkLst>
            <pc:docMk/>
            <pc:sldMk cId="2973225441" sldId="602"/>
            <ac:graphicFrameMk id="177" creationId="{0FABE03A-5B01-AA44-A4F4-5E85016996F0}"/>
          </ac:graphicFrameMkLst>
        </pc:graphicFrameChg>
        <pc:graphicFrameChg chg="add del mod replST">
          <ac:chgData name="Grace, Morgan (Brisbane)" userId="221d5f7b-4a46-4bd5-bdf1-698d3a91c208" providerId="ADAL" clId="{D90324C1-6CE4-4C28-B886-AED0B666B37F}" dt="2024-06-05T05:34:19.408" v="31817"/>
          <ac:graphicFrameMkLst>
            <pc:docMk/>
            <pc:sldMk cId="2973225441" sldId="602"/>
            <ac:graphicFrameMk id="200" creationId="{23ECD9D0-5FBF-0AAF-A33F-0B365BC87002}"/>
          </ac:graphicFrameMkLst>
        </pc:graphicFrameChg>
        <pc:graphicFrameChg chg="add del mod replST">
          <ac:chgData name="Grace, Morgan (Brisbane)" userId="221d5f7b-4a46-4bd5-bdf1-698d3a91c208" providerId="ADAL" clId="{D90324C1-6CE4-4C28-B886-AED0B666B37F}" dt="2024-06-05T05:35:08.440" v="31959"/>
          <ac:graphicFrameMkLst>
            <pc:docMk/>
            <pc:sldMk cId="2973225441" sldId="602"/>
            <ac:graphicFrameMk id="202" creationId="{116C21AE-CCDD-6A55-CFF0-805D98D0F792}"/>
          </ac:graphicFrameMkLst>
        </pc:graphicFrameChg>
        <pc:graphicFrameChg chg="add del mod replST">
          <ac:chgData name="Grace, Morgan (Brisbane)" userId="221d5f7b-4a46-4bd5-bdf1-698d3a91c208" providerId="ADAL" clId="{D90324C1-6CE4-4C28-B886-AED0B666B37F}" dt="2024-06-05T05:35:10.141" v="32095"/>
          <ac:graphicFrameMkLst>
            <pc:docMk/>
            <pc:sldMk cId="2973225441" sldId="602"/>
            <ac:graphicFrameMk id="204" creationId="{A9902092-236B-25B5-6055-AAA9ADCEC312}"/>
          </ac:graphicFrameMkLst>
        </pc:graphicFrameChg>
        <pc:graphicFrameChg chg="add del mod replST">
          <ac:chgData name="Grace, Morgan (Brisbane)" userId="221d5f7b-4a46-4bd5-bdf1-698d3a91c208" providerId="ADAL" clId="{D90324C1-6CE4-4C28-B886-AED0B666B37F}" dt="2024-06-05T05:35:11.757" v="32229"/>
          <ac:graphicFrameMkLst>
            <pc:docMk/>
            <pc:sldMk cId="2973225441" sldId="602"/>
            <ac:graphicFrameMk id="206" creationId="{65E2A635-51A9-CE0D-B4D9-56136ADFDA56}"/>
          </ac:graphicFrameMkLst>
        </pc:graphicFrameChg>
        <pc:graphicFrameChg chg="add del mod replST">
          <ac:chgData name="Grace, Morgan (Brisbane)" userId="221d5f7b-4a46-4bd5-bdf1-698d3a91c208" providerId="ADAL" clId="{D90324C1-6CE4-4C28-B886-AED0B666B37F}" dt="2024-06-05T05:35:21.518" v="33529"/>
          <ac:graphicFrameMkLst>
            <pc:docMk/>
            <pc:sldMk cId="2973225441" sldId="602"/>
            <ac:graphicFrameMk id="208" creationId="{3F07A359-56A2-3960-CA74-2CFA1D2BD1E9}"/>
          </ac:graphicFrameMkLst>
        </pc:graphicFrameChg>
        <pc:graphicFrameChg chg="add del mod replST delST">
          <ac:chgData name="Grace, Morgan (Brisbane)" userId="221d5f7b-4a46-4bd5-bdf1-698d3a91c208" providerId="ADAL" clId="{D90324C1-6CE4-4C28-B886-AED0B666B37F}" dt="2024-06-05T05:35:16.584" v="32662"/>
          <ac:graphicFrameMkLst>
            <pc:docMk/>
            <pc:sldMk cId="2973225441" sldId="602"/>
            <ac:graphicFrameMk id="210" creationId="{58EFC7B0-416D-C268-7A2A-FAFDB2902C0A}"/>
          </ac:graphicFrameMkLst>
        </pc:graphicFrameChg>
        <pc:graphicFrameChg chg="add mod replST delST">
          <ac:chgData name="Grace, Morgan (Brisbane)" userId="221d5f7b-4a46-4bd5-bdf1-698d3a91c208" providerId="ADAL" clId="{D90324C1-6CE4-4C28-B886-AED0B666B37F}" dt="2024-06-05T05:35:16.012" v="32591"/>
          <ac:graphicFrameMkLst>
            <pc:docMk/>
            <pc:sldMk cId="2973225441" sldId="602"/>
            <ac:graphicFrameMk id="212" creationId="{71F41868-9A1B-6199-5EAB-6D2ACD45FAAD}"/>
          </ac:graphicFrameMkLst>
        </pc:graphicFrameChg>
        <pc:graphicFrameChg chg="add del mod replST">
          <ac:chgData name="Grace, Morgan (Brisbane)" userId="221d5f7b-4a46-4bd5-bdf1-698d3a91c208" providerId="ADAL" clId="{D90324C1-6CE4-4C28-B886-AED0B666B37F}" dt="2024-06-05T05:35:23.957" v="33672"/>
          <ac:graphicFrameMkLst>
            <pc:docMk/>
            <pc:sldMk cId="2973225441" sldId="602"/>
            <ac:graphicFrameMk id="226" creationId="{C7DB3898-590E-6088-FB20-60D12F41E1B0}"/>
          </ac:graphicFrameMkLst>
        </pc:graphicFrameChg>
        <pc:graphicFrameChg chg="add del mod replST">
          <ac:chgData name="Grace, Morgan (Brisbane)" userId="221d5f7b-4a46-4bd5-bdf1-698d3a91c208" providerId="ADAL" clId="{D90324C1-6CE4-4C28-B886-AED0B666B37F}" dt="2024-06-06T00:56:00.599" v="39508"/>
          <ac:graphicFrameMkLst>
            <pc:docMk/>
            <pc:sldMk cId="2973225441" sldId="602"/>
            <ac:graphicFrameMk id="227" creationId="{8D56E4E6-5E4E-FF03-FBFD-B32C536F2900}"/>
          </ac:graphicFrameMkLst>
        </pc:graphicFrameChg>
        <pc:graphicFrameChg chg="add del mod replST">
          <ac:chgData name="Grace, Morgan (Brisbane)" userId="221d5f7b-4a46-4bd5-bdf1-698d3a91c208" providerId="ADAL" clId="{D90324C1-6CE4-4C28-B886-AED0B666B37F}" dt="2024-06-05T05:35:43.924" v="33769"/>
          <ac:graphicFrameMkLst>
            <pc:docMk/>
            <pc:sldMk cId="2973225441" sldId="602"/>
            <ac:graphicFrameMk id="228" creationId="{0A9C152D-CB6A-1358-C7BF-DA68089D4F90}"/>
          </ac:graphicFrameMkLst>
        </pc:graphicFrameChg>
        <pc:graphicFrameChg chg="add del mod replST">
          <ac:chgData name="Grace, Morgan (Brisbane)" userId="221d5f7b-4a46-4bd5-bdf1-698d3a91c208" providerId="ADAL" clId="{D90324C1-6CE4-4C28-B886-AED0B666B37F}" dt="2024-06-06T00:56:07.867" v="40312"/>
          <ac:graphicFrameMkLst>
            <pc:docMk/>
            <pc:sldMk cId="2973225441" sldId="602"/>
            <ac:graphicFrameMk id="229" creationId="{FD64169A-8C7C-D0C8-D980-A434A0903EED}"/>
          </ac:graphicFrameMkLst>
        </pc:graphicFrameChg>
        <pc:graphicFrameChg chg="add del mod replST">
          <ac:chgData name="Grace, Morgan (Brisbane)" userId="221d5f7b-4a46-4bd5-bdf1-698d3a91c208" providerId="ADAL" clId="{D90324C1-6CE4-4C28-B886-AED0B666B37F}" dt="2024-06-06T00:54:40.021" v="38518"/>
          <ac:graphicFrameMkLst>
            <pc:docMk/>
            <pc:sldMk cId="2973225441" sldId="602"/>
            <ac:graphicFrameMk id="230" creationId="{91FE8CAF-811A-7E2D-5813-BE3DED310BAB}"/>
          </ac:graphicFrameMkLst>
        </pc:graphicFrameChg>
        <pc:graphicFrameChg chg="add mod replST delST">
          <ac:chgData name="Grace, Morgan (Brisbane)" userId="221d5f7b-4a46-4bd5-bdf1-698d3a91c208" providerId="ADAL" clId="{D90324C1-6CE4-4C28-B886-AED0B666B37F}" dt="2024-06-06T00:56:06.147" v="39711"/>
          <ac:graphicFrameMkLst>
            <pc:docMk/>
            <pc:sldMk cId="2973225441" sldId="602"/>
            <ac:graphicFrameMk id="232" creationId="{AE8AD5AF-C809-6D5A-ADC9-7C0DEA5791CE}"/>
          </ac:graphicFrameMkLst>
        </pc:graphicFrameChg>
        <pc:graphicFrameChg chg="add del mod replST">
          <ac:chgData name="Grace, Morgan (Brisbane)" userId="221d5f7b-4a46-4bd5-bdf1-698d3a91c208" providerId="ADAL" clId="{D90324C1-6CE4-4C28-B886-AED0B666B37F}" dt="2024-06-06T00:56:09.607" v="40417"/>
          <ac:graphicFrameMkLst>
            <pc:docMk/>
            <pc:sldMk cId="2973225441" sldId="602"/>
            <ac:graphicFrameMk id="242" creationId="{EE404117-F935-8856-5A37-AFA6B0398BE0}"/>
          </ac:graphicFrameMkLst>
        </pc:graphicFrameChg>
        <pc:graphicFrameChg chg="add del mod replST">
          <ac:chgData name="Grace, Morgan (Brisbane)" userId="221d5f7b-4a46-4bd5-bdf1-698d3a91c208" providerId="ADAL" clId="{D90324C1-6CE4-4C28-B886-AED0B666B37F}" dt="2024-06-06T00:57:26.059" v="40707"/>
          <ac:graphicFrameMkLst>
            <pc:docMk/>
            <pc:sldMk cId="2973225441" sldId="602"/>
            <ac:graphicFrameMk id="244" creationId="{495CD749-BF2B-3EC1-FDAC-E76B24121AB5}"/>
          </ac:graphicFrameMkLst>
        </pc:graphicFrameChg>
        <pc:graphicFrameChg chg="add del mod replST">
          <ac:chgData name="Grace, Morgan (Brisbane)" userId="221d5f7b-4a46-4bd5-bdf1-698d3a91c208" providerId="ADAL" clId="{D90324C1-6CE4-4C28-B886-AED0B666B37F}" dt="2024-06-06T05:14:00.118" v="45581" actId="478"/>
          <ac:graphicFrameMkLst>
            <pc:docMk/>
            <pc:sldMk cId="2973225441" sldId="602"/>
            <ac:graphicFrameMk id="247" creationId="{BF6C705E-3049-6E4C-40BB-4E869AA3499A}"/>
          </ac:graphicFrameMkLst>
        </pc:graphicFrameChg>
        <pc:graphicFrameChg chg="del mod replST">
          <ac:chgData name="Grace, Morgan (Brisbane)" userId="221d5f7b-4a46-4bd5-bdf1-698d3a91c208" providerId="ADAL" clId="{D90324C1-6CE4-4C28-B886-AED0B666B37F}" dt="2024-06-06T05:44:56.784" v="47535"/>
          <ac:graphicFrameMkLst>
            <pc:docMk/>
            <pc:sldMk cId="2973225441" sldId="602"/>
            <ac:graphicFrameMk id="249" creationId="{D59CE550-F5CD-99C7-3146-E7F4CBDCC8A4}"/>
          </ac:graphicFrameMkLst>
        </pc:graphicFrameChg>
        <pc:graphicFrameChg chg="add mod replST">
          <ac:chgData name="Grace, Morgan (Brisbane)" userId="221d5f7b-4a46-4bd5-bdf1-698d3a91c208" providerId="ADAL" clId="{D90324C1-6CE4-4C28-B886-AED0B666B37F}" dt="2024-06-06T05:44:56.791" v="47554"/>
          <ac:graphicFrameMkLst>
            <pc:docMk/>
            <pc:sldMk cId="2973225441" sldId="602"/>
            <ac:graphicFrameMk id="251" creationId="{1C976EBD-33A9-F4C9-1E21-1FF099BF61E2}"/>
          </ac:graphicFrameMkLst>
        </pc:graphicFrameChg>
        <pc:cxnChg chg="add del mod ord replST">
          <ac:chgData name="Grace, Morgan (Brisbane)" userId="221d5f7b-4a46-4bd5-bdf1-698d3a91c208" providerId="ADAL" clId="{D90324C1-6CE4-4C28-B886-AED0B666B37F}" dt="2024-06-05T05:21:20.462" v="30875"/>
          <ac:cxnSpMkLst>
            <pc:docMk/>
            <pc:sldMk cId="2973225441" sldId="602"/>
            <ac:cxnSpMk id="162" creationId="{DB64F9B2-B69B-8155-3D5A-2D26DE17B0DC}"/>
          </ac:cxnSpMkLst>
        </pc:cxnChg>
        <pc:cxnChg chg="add del mod ord replST">
          <ac:chgData name="Grace, Morgan (Brisbane)" userId="221d5f7b-4a46-4bd5-bdf1-698d3a91c208" providerId="ADAL" clId="{D90324C1-6CE4-4C28-B886-AED0B666B37F}" dt="2024-06-05T05:21:20.462" v="30873"/>
          <ac:cxnSpMkLst>
            <pc:docMk/>
            <pc:sldMk cId="2973225441" sldId="602"/>
            <ac:cxnSpMk id="163" creationId="{59EC066B-108A-122E-7EA5-B423A8303E31}"/>
          </ac:cxnSpMkLst>
        </pc:cxnChg>
        <pc:cxnChg chg="add del mod ord replST">
          <ac:chgData name="Grace, Morgan (Brisbane)" userId="221d5f7b-4a46-4bd5-bdf1-698d3a91c208" providerId="ADAL" clId="{D90324C1-6CE4-4C28-B886-AED0B666B37F}" dt="2024-06-05T05:21:20.462" v="30871"/>
          <ac:cxnSpMkLst>
            <pc:docMk/>
            <pc:sldMk cId="2973225441" sldId="602"/>
            <ac:cxnSpMk id="164" creationId="{43369256-7235-594E-DB2D-8DA85738CC33}"/>
          </ac:cxnSpMkLst>
        </pc:cxnChg>
        <pc:cxnChg chg="add del mod ord replST">
          <ac:chgData name="Grace, Morgan (Brisbane)" userId="221d5f7b-4a46-4bd5-bdf1-698d3a91c208" providerId="ADAL" clId="{D90324C1-6CE4-4C28-B886-AED0B666B37F}" dt="2024-06-05T05:21:17.472" v="30700"/>
          <ac:cxnSpMkLst>
            <pc:docMk/>
            <pc:sldMk cId="2973225441" sldId="602"/>
            <ac:cxnSpMk id="168" creationId="{9BECC0D5-C861-593D-C670-93FA42395BC8}"/>
          </ac:cxnSpMkLst>
        </pc:cxnChg>
        <pc:cxnChg chg="add del mod ord replST">
          <ac:chgData name="Grace, Morgan (Brisbane)" userId="221d5f7b-4a46-4bd5-bdf1-698d3a91c208" providerId="ADAL" clId="{D90324C1-6CE4-4C28-B886-AED0B666B37F}" dt="2024-06-05T05:21:17.459" v="30698"/>
          <ac:cxnSpMkLst>
            <pc:docMk/>
            <pc:sldMk cId="2973225441" sldId="602"/>
            <ac:cxnSpMk id="169" creationId="{B12A374C-4AE2-8D1E-6EB0-26E0C99F2202}"/>
          </ac:cxnSpMkLst>
        </pc:cxnChg>
        <pc:cxnChg chg="add del mod ord replST">
          <ac:chgData name="Grace, Morgan (Brisbane)" userId="221d5f7b-4a46-4bd5-bdf1-698d3a91c208" providerId="ADAL" clId="{D90324C1-6CE4-4C28-B886-AED0B666B37F}" dt="2024-06-05T05:21:17.459" v="30696"/>
          <ac:cxnSpMkLst>
            <pc:docMk/>
            <pc:sldMk cId="2973225441" sldId="602"/>
            <ac:cxnSpMk id="170" creationId="{FC0EED1E-764D-69B8-A861-47DAD726DDB4}"/>
          </ac:cxnSpMkLst>
        </pc:cxnChg>
      </pc:sldChg>
      <pc:sldChg chg="addSp delSp modSp mod modClrScheme chgLayout modNotes modNotesTx">
        <pc:chgData name="Grace, Morgan (Brisbane)" userId="221d5f7b-4a46-4bd5-bdf1-698d3a91c208" providerId="ADAL" clId="{D90324C1-6CE4-4C28-B886-AED0B666B37F}" dt="2024-06-25T01:23:55.616" v="128137" actId="1076"/>
        <pc:sldMkLst>
          <pc:docMk/>
          <pc:sldMk cId="1544571019" sldId="603"/>
        </pc:sldMkLst>
        <pc:spChg chg="mod ord">
          <ac:chgData name="Grace, Morgan (Brisbane)" userId="221d5f7b-4a46-4bd5-bdf1-698d3a91c208" providerId="ADAL" clId="{D90324C1-6CE4-4C28-B886-AED0B666B37F}" dt="2024-06-24T03:58:08.950" v="128015" actId="948"/>
          <ac:spMkLst>
            <pc:docMk/>
            <pc:sldMk cId="1544571019" sldId="603"/>
            <ac:spMk id="2" creationId="{C1E0C783-C1A7-4C16-8161-C0B0A65BA529}"/>
          </ac:spMkLst>
        </pc:spChg>
        <pc:spChg chg="mod ord">
          <ac:chgData name="Grace, Morgan (Brisbane)" userId="221d5f7b-4a46-4bd5-bdf1-698d3a91c208" providerId="ADAL" clId="{D90324C1-6CE4-4C28-B886-AED0B666B37F}" dt="2024-06-06T05:30:15.979" v="46859"/>
          <ac:spMkLst>
            <pc:docMk/>
            <pc:sldMk cId="1544571019" sldId="603"/>
            <ac:spMk id="3" creationId="{1A3BA682-1A11-452A-ACA1-03662AF854B9}"/>
          </ac:spMkLst>
        </pc:spChg>
        <pc:spChg chg="add del mod modVis">
          <ac:chgData name="Grace, Morgan (Brisbane)" userId="221d5f7b-4a46-4bd5-bdf1-698d3a91c208" providerId="ADAL" clId="{D90324C1-6CE4-4C28-B886-AED0B666B37F}" dt="2024-06-23T23:36:41.374" v="126715"/>
          <ac:spMkLst>
            <pc:docMk/>
            <pc:sldMk cId="1544571019" sldId="603"/>
            <ac:spMk id="3" creationId="{75C2B02A-895E-37CC-DBFC-53E2BF1B7B55}"/>
          </ac:spMkLst>
        </pc:spChg>
        <pc:spChg chg="del mod ord">
          <ac:chgData name="Grace, Morgan (Brisbane)" userId="221d5f7b-4a46-4bd5-bdf1-698d3a91c208" providerId="ADAL" clId="{D90324C1-6CE4-4C28-B886-AED0B666B37F}" dt="2024-06-23T23:36:47.966" v="126719" actId="478"/>
          <ac:spMkLst>
            <pc:docMk/>
            <pc:sldMk cId="1544571019" sldId="603"/>
            <ac:spMk id="4" creationId="{52A6BA5E-4D24-4550-B96C-1B272D6DCEEF}"/>
          </ac:spMkLst>
        </pc:spChg>
        <pc:spChg chg="add mod topLvl">
          <ac:chgData name="Grace, Morgan (Brisbane)" userId="221d5f7b-4a46-4bd5-bdf1-698d3a91c208" providerId="ADAL" clId="{D90324C1-6CE4-4C28-B886-AED0B666B37F}" dt="2024-06-24T03:40:32.721" v="127546"/>
          <ac:spMkLst>
            <pc:docMk/>
            <pc:sldMk cId="1544571019" sldId="603"/>
            <ac:spMk id="6" creationId="{BC167B7D-8629-BEF3-F84B-C3F1A8C99AA7}"/>
          </ac:spMkLst>
        </pc:spChg>
        <pc:spChg chg="mod ord">
          <ac:chgData name="Grace, Morgan (Brisbane)" userId="221d5f7b-4a46-4bd5-bdf1-698d3a91c208" providerId="ADAL" clId="{D90324C1-6CE4-4C28-B886-AED0B666B37F}" dt="2024-06-25T01:23:50.217" v="128136" actId="14100"/>
          <ac:spMkLst>
            <pc:docMk/>
            <pc:sldMk cId="1544571019" sldId="603"/>
            <ac:spMk id="7" creationId="{78C30762-5DD3-40AF-97FB-8EE9816DB0FD}"/>
          </ac:spMkLst>
        </pc:spChg>
        <pc:spChg chg="add mod topLvl">
          <ac:chgData name="Grace, Morgan (Brisbane)" userId="221d5f7b-4a46-4bd5-bdf1-698d3a91c208" providerId="ADAL" clId="{D90324C1-6CE4-4C28-B886-AED0B666B37F}" dt="2024-06-24T03:40:17.313" v="127532" actId="5793"/>
          <ac:spMkLst>
            <pc:docMk/>
            <pc:sldMk cId="1544571019" sldId="603"/>
            <ac:spMk id="8" creationId="{649C1CC0-BE14-5FFD-C7FF-727053D292C9}"/>
          </ac:spMkLst>
        </pc:spChg>
        <pc:spChg chg="mod">
          <ac:chgData name="Grace, Morgan (Brisbane)" userId="221d5f7b-4a46-4bd5-bdf1-698d3a91c208" providerId="ADAL" clId="{D90324C1-6CE4-4C28-B886-AED0B666B37F}" dt="2024-06-05T05:55:59.193" v="34315"/>
          <ac:spMkLst>
            <pc:docMk/>
            <pc:sldMk cId="1544571019" sldId="603"/>
            <ac:spMk id="8" creationId="{7E209EE2-AC4C-B812-C5F2-9C73EEE60244}"/>
          </ac:spMkLst>
        </pc:spChg>
        <pc:spChg chg="add mod topLvl">
          <ac:chgData name="Grace, Morgan (Brisbane)" userId="221d5f7b-4a46-4bd5-bdf1-698d3a91c208" providerId="ADAL" clId="{D90324C1-6CE4-4C28-B886-AED0B666B37F}" dt="2024-06-24T03:40:35.106" v="127548"/>
          <ac:spMkLst>
            <pc:docMk/>
            <pc:sldMk cId="1544571019" sldId="603"/>
            <ac:spMk id="9" creationId="{089014D3-2A7F-003D-F96D-FBD64E4044F6}"/>
          </ac:spMkLst>
        </pc:spChg>
        <pc:spChg chg="mod">
          <ac:chgData name="Grace, Morgan (Brisbane)" userId="221d5f7b-4a46-4bd5-bdf1-698d3a91c208" providerId="ADAL" clId="{D90324C1-6CE4-4C28-B886-AED0B666B37F}" dt="2024-06-05T05:55:59.193" v="34315"/>
          <ac:spMkLst>
            <pc:docMk/>
            <pc:sldMk cId="1544571019" sldId="603"/>
            <ac:spMk id="9" creationId="{25E5B236-AD8B-5595-1D48-A8CC41067C57}"/>
          </ac:spMkLst>
        </pc:spChg>
        <pc:spChg chg="mod">
          <ac:chgData name="Grace, Morgan (Brisbane)" userId="221d5f7b-4a46-4bd5-bdf1-698d3a91c208" providerId="ADAL" clId="{D90324C1-6CE4-4C28-B886-AED0B666B37F}" dt="2024-06-05T05:55:59.193" v="34315"/>
          <ac:spMkLst>
            <pc:docMk/>
            <pc:sldMk cId="1544571019" sldId="603"/>
            <ac:spMk id="10" creationId="{23EA44DA-C6DC-8278-2FC2-C1F234A2B005}"/>
          </ac:spMkLst>
        </pc:spChg>
        <pc:spChg chg="add mod topLvl">
          <ac:chgData name="Grace, Morgan (Brisbane)" userId="221d5f7b-4a46-4bd5-bdf1-698d3a91c208" providerId="ADAL" clId="{D90324C1-6CE4-4C28-B886-AED0B666B37F}" dt="2024-06-24T03:40:20.979" v="127536" actId="5793"/>
          <ac:spMkLst>
            <pc:docMk/>
            <pc:sldMk cId="1544571019" sldId="603"/>
            <ac:spMk id="10" creationId="{31A99B64-B55B-8872-FD39-9AA6623CC2CB}"/>
          </ac:spMkLst>
        </pc:spChg>
        <pc:spChg chg="mod">
          <ac:chgData name="Grace, Morgan (Brisbane)" userId="221d5f7b-4a46-4bd5-bdf1-698d3a91c208" providerId="ADAL" clId="{D90324C1-6CE4-4C28-B886-AED0B666B37F}" dt="2024-06-05T05:55:59.193" v="34315"/>
          <ac:spMkLst>
            <pc:docMk/>
            <pc:sldMk cId="1544571019" sldId="603"/>
            <ac:spMk id="11" creationId="{71414B50-687B-4F02-05A3-4950EE3ECFC3}"/>
          </ac:spMkLst>
        </pc:spChg>
        <pc:spChg chg="add mod topLvl">
          <ac:chgData name="Grace, Morgan (Brisbane)" userId="221d5f7b-4a46-4bd5-bdf1-698d3a91c208" providerId="ADAL" clId="{D90324C1-6CE4-4C28-B886-AED0B666B37F}" dt="2024-06-24T03:39:35.037" v="127510" actId="58"/>
          <ac:spMkLst>
            <pc:docMk/>
            <pc:sldMk cId="1544571019" sldId="603"/>
            <ac:spMk id="11" creationId="{F1F6085C-0673-C428-06A2-677DA22EEE63}"/>
          </ac:spMkLst>
        </pc:spChg>
        <pc:spChg chg="add mod topLvl">
          <ac:chgData name="Grace, Morgan (Brisbane)" userId="221d5f7b-4a46-4bd5-bdf1-698d3a91c208" providerId="ADAL" clId="{D90324C1-6CE4-4C28-B886-AED0B666B37F}" dt="2024-06-24T03:40:25.398" v="127544" actId="5793"/>
          <ac:spMkLst>
            <pc:docMk/>
            <pc:sldMk cId="1544571019" sldId="603"/>
            <ac:spMk id="12" creationId="{8C583BE9-0803-D76C-0670-AAD3109C87E3}"/>
          </ac:spMkLst>
        </pc:spChg>
        <pc:spChg chg="mod">
          <ac:chgData name="Grace, Morgan (Brisbane)" userId="221d5f7b-4a46-4bd5-bdf1-698d3a91c208" providerId="ADAL" clId="{D90324C1-6CE4-4C28-B886-AED0B666B37F}" dt="2024-06-05T05:55:59.193" v="34315"/>
          <ac:spMkLst>
            <pc:docMk/>
            <pc:sldMk cId="1544571019" sldId="603"/>
            <ac:spMk id="12" creationId="{DC612C76-02E5-561C-0033-AF85D99AB414}"/>
          </ac:spMkLst>
        </pc:spChg>
        <pc:spChg chg="add mod">
          <ac:chgData name="Grace, Morgan (Brisbane)" userId="221d5f7b-4a46-4bd5-bdf1-698d3a91c208" providerId="ADAL" clId="{D90324C1-6CE4-4C28-B886-AED0B666B37F}" dt="2024-06-23T23:43:31.094" v="126795" actId="571"/>
          <ac:spMkLst>
            <pc:docMk/>
            <pc:sldMk cId="1544571019" sldId="603"/>
            <ac:spMk id="13" creationId="{3BCB3EC5-1BA9-E710-9B18-67A09903B4AB}"/>
          </ac:spMkLst>
        </pc:spChg>
        <pc:spChg chg="add del mod">
          <ac:chgData name="Grace, Morgan (Brisbane)" userId="221d5f7b-4a46-4bd5-bdf1-698d3a91c208" providerId="ADAL" clId="{D90324C1-6CE4-4C28-B886-AED0B666B37F}" dt="2024-06-06T05:28:50.855" v="46806" actId="478"/>
          <ac:spMkLst>
            <pc:docMk/>
            <pc:sldMk cId="1544571019" sldId="603"/>
            <ac:spMk id="13" creationId="{5D1F983F-3F6D-B409-1A12-CDF872CCFAD0}"/>
          </ac:spMkLst>
        </pc:spChg>
        <pc:spChg chg="add del mod ord">
          <ac:chgData name="Grace, Morgan (Brisbane)" userId="221d5f7b-4a46-4bd5-bdf1-698d3a91c208" providerId="ADAL" clId="{D90324C1-6CE4-4C28-B886-AED0B666B37F}" dt="2024-06-23T23:44:04.557" v="126811" actId="478"/>
          <ac:spMkLst>
            <pc:docMk/>
            <pc:sldMk cId="1544571019" sldId="603"/>
            <ac:spMk id="14" creationId="{1DB62E85-174F-9218-AE11-5D7F196721B8}"/>
          </ac:spMkLst>
        </pc:spChg>
        <pc:spChg chg="add del mod modVis">
          <ac:chgData name="Grace, Morgan (Brisbane)" userId="221d5f7b-4a46-4bd5-bdf1-698d3a91c208" providerId="ADAL" clId="{D90324C1-6CE4-4C28-B886-AED0B666B37F}" dt="2024-06-05T06:40:57.005" v="34511"/>
          <ac:spMkLst>
            <pc:docMk/>
            <pc:sldMk cId="1544571019" sldId="603"/>
            <ac:spMk id="14" creationId="{8A9DE3B3-1F43-27AF-A2AD-2D989F8D3F39}"/>
          </ac:spMkLst>
        </pc:spChg>
        <pc:spChg chg="del mod topLvl">
          <ac:chgData name="Grace, Morgan (Brisbane)" userId="221d5f7b-4a46-4bd5-bdf1-698d3a91c208" providerId="ADAL" clId="{D90324C1-6CE4-4C28-B886-AED0B666B37F}" dt="2024-06-23T23:33:42.588" v="126628" actId="21"/>
          <ac:spMkLst>
            <pc:docMk/>
            <pc:sldMk cId="1544571019" sldId="603"/>
            <ac:spMk id="18" creationId="{F0C06BD5-3055-623F-84A0-059396BA2C49}"/>
          </ac:spMkLst>
        </pc:spChg>
        <pc:spChg chg="del mod topLvl">
          <ac:chgData name="Grace, Morgan (Brisbane)" userId="221d5f7b-4a46-4bd5-bdf1-698d3a91c208" providerId="ADAL" clId="{D90324C1-6CE4-4C28-B886-AED0B666B37F}" dt="2024-06-23T23:33:42.588" v="126628" actId="21"/>
          <ac:spMkLst>
            <pc:docMk/>
            <pc:sldMk cId="1544571019" sldId="603"/>
            <ac:spMk id="19" creationId="{95C25204-B636-5A7B-F937-8F603DB6CF00}"/>
          </ac:spMkLst>
        </pc:spChg>
        <pc:spChg chg="del mod topLvl">
          <ac:chgData name="Grace, Morgan (Brisbane)" userId="221d5f7b-4a46-4bd5-bdf1-698d3a91c208" providerId="ADAL" clId="{D90324C1-6CE4-4C28-B886-AED0B666B37F}" dt="2024-06-21T00:58:20.574" v="124954" actId="478"/>
          <ac:spMkLst>
            <pc:docMk/>
            <pc:sldMk cId="1544571019" sldId="603"/>
            <ac:spMk id="20" creationId="{8D4D434C-D53A-3E18-A7AD-2D35306296CA}"/>
          </ac:spMkLst>
        </pc:spChg>
        <pc:spChg chg="add mod">
          <ac:chgData name="Grace, Morgan (Brisbane)" userId="221d5f7b-4a46-4bd5-bdf1-698d3a91c208" providerId="ADAL" clId="{D90324C1-6CE4-4C28-B886-AED0B666B37F}" dt="2024-06-23T23:43:31.094" v="126795" actId="571"/>
          <ac:spMkLst>
            <pc:docMk/>
            <pc:sldMk cId="1544571019" sldId="603"/>
            <ac:spMk id="20" creationId="{A856F828-4020-1088-3552-F9E93E844784}"/>
          </ac:spMkLst>
        </pc:spChg>
        <pc:spChg chg="add del mod">
          <ac:chgData name="Grace, Morgan (Brisbane)" userId="221d5f7b-4a46-4bd5-bdf1-698d3a91c208" providerId="ADAL" clId="{D90324C1-6CE4-4C28-B886-AED0B666B37F}" dt="2024-06-06T00:49:20.448" v="38056" actId="22"/>
          <ac:spMkLst>
            <pc:docMk/>
            <pc:sldMk cId="1544571019" sldId="603"/>
            <ac:spMk id="20" creationId="{BCF78050-2A73-A67B-9FE5-4BB694A20D04}"/>
          </ac:spMkLst>
        </pc:spChg>
        <pc:spChg chg="add del mod modVis">
          <ac:chgData name="Grace, Morgan (Brisbane)" userId="221d5f7b-4a46-4bd5-bdf1-698d3a91c208" providerId="ADAL" clId="{D90324C1-6CE4-4C28-B886-AED0B666B37F}" dt="2024-06-06T01:03:13.329" v="40779"/>
          <ac:spMkLst>
            <pc:docMk/>
            <pc:sldMk cId="1544571019" sldId="603"/>
            <ac:spMk id="21" creationId="{61D8A013-98B3-2A95-9106-13F9B14D9D08}"/>
          </ac:spMkLst>
        </pc:spChg>
        <pc:spChg chg="del mod topLvl">
          <ac:chgData name="Grace, Morgan (Brisbane)" userId="221d5f7b-4a46-4bd5-bdf1-698d3a91c208" providerId="ADAL" clId="{D90324C1-6CE4-4C28-B886-AED0B666B37F}" dt="2024-06-23T23:33:42.588" v="126628" actId="21"/>
          <ac:spMkLst>
            <pc:docMk/>
            <pc:sldMk cId="1544571019" sldId="603"/>
            <ac:spMk id="21" creationId="{E7B2C0FB-3213-47FD-6ABE-F56B76DEA8D2}"/>
          </ac:spMkLst>
        </pc:spChg>
        <pc:spChg chg="add mod">
          <ac:chgData name="Grace, Morgan (Brisbane)" userId="221d5f7b-4a46-4bd5-bdf1-698d3a91c208" providerId="ADAL" clId="{D90324C1-6CE4-4C28-B886-AED0B666B37F}" dt="2024-06-23T23:43:31.094" v="126795" actId="571"/>
          <ac:spMkLst>
            <pc:docMk/>
            <pc:sldMk cId="1544571019" sldId="603"/>
            <ac:spMk id="22" creationId="{FA848A5F-B45C-6BB0-2586-54867E0E1911}"/>
          </ac:spMkLst>
        </pc:spChg>
        <pc:spChg chg="del mod topLvl">
          <ac:chgData name="Grace, Morgan (Brisbane)" userId="221d5f7b-4a46-4bd5-bdf1-698d3a91c208" providerId="ADAL" clId="{D90324C1-6CE4-4C28-B886-AED0B666B37F}" dt="2024-06-21T01:03:06.716" v="125096" actId="478"/>
          <ac:spMkLst>
            <pc:docMk/>
            <pc:sldMk cId="1544571019" sldId="603"/>
            <ac:spMk id="23" creationId="{081F3D0A-9CEE-16EE-781B-F8646EB09015}"/>
          </ac:spMkLst>
        </pc:spChg>
        <pc:spChg chg="del mod modVis">
          <ac:chgData name="Grace, Morgan (Brisbane)" userId="221d5f7b-4a46-4bd5-bdf1-698d3a91c208" providerId="ADAL" clId="{D90324C1-6CE4-4C28-B886-AED0B666B37F}" dt="2024-06-06T05:14:01.500" v="46168" actId="478"/>
          <ac:spMkLst>
            <pc:docMk/>
            <pc:sldMk cId="1544571019" sldId="603"/>
            <ac:spMk id="23" creationId="{BD39F352-2206-D27E-9CC8-F7FC87C6D936}"/>
          </ac:spMkLst>
        </pc:spChg>
        <pc:spChg chg="add del mod topLvl">
          <ac:chgData name="Grace, Morgan (Brisbane)" userId="221d5f7b-4a46-4bd5-bdf1-698d3a91c208" providerId="ADAL" clId="{D90324C1-6CE4-4C28-B886-AED0B666B37F}" dt="2024-06-23T23:33:42.588" v="126628" actId="21"/>
          <ac:spMkLst>
            <pc:docMk/>
            <pc:sldMk cId="1544571019" sldId="603"/>
            <ac:spMk id="24" creationId="{1C780AC4-35FF-8D5E-0D30-3E3E8678F9A4}"/>
          </ac:spMkLst>
        </pc:spChg>
        <pc:spChg chg="add del mod modVis">
          <ac:chgData name="Grace, Morgan (Brisbane)" userId="221d5f7b-4a46-4bd5-bdf1-698d3a91c208" providerId="ADAL" clId="{D90324C1-6CE4-4C28-B886-AED0B666B37F}" dt="2024-06-06T05:28:56.266" v="46833"/>
          <ac:spMkLst>
            <pc:docMk/>
            <pc:sldMk cId="1544571019" sldId="603"/>
            <ac:spMk id="24" creationId="{CBFC8E42-804A-36F4-9609-D0E1AC7E285A}"/>
          </ac:spMkLst>
        </pc:spChg>
        <pc:spChg chg="add mod ord topLvl">
          <ac:chgData name="Grace, Morgan (Brisbane)" userId="221d5f7b-4a46-4bd5-bdf1-698d3a91c208" providerId="ADAL" clId="{D90324C1-6CE4-4C28-B886-AED0B666B37F}" dt="2024-06-25T01:23:55.616" v="128137" actId="1076"/>
          <ac:spMkLst>
            <pc:docMk/>
            <pc:sldMk cId="1544571019" sldId="603"/>
            <ac:spMk id="25" creationId="{AD2A99DF-92C6-2484-6A8F-08561CB9F3DB}"/>
          </ac:spMkLst>
        </pc:spChg>
        <pc:spChg chg="add del mod topLvl">
          <ac:chgData name="Grace, Morgan (Brisbane)" userId="221d5f7b-4a46-4bd5-bdf1-698d3a91c208" providerId="ADAL" clId="{D90324C1-6CE4-4C28-B886-AED0B666B37F}" dt="2024-06-23T23:33:42.588" v="126628" actId="21"/>
          <ac:spMkLst>
            <pc:docMk/>
            <pc:sldMk cId="1544571019" sldId="603"/>
            <ac:spMk id="26" creationId="{7A8E6C83-DEA1-ED15-0478-6F2633618877}"/>
          </ac:spMkLst>
        </pc:spChg>
        <pc:spChg chg="add del mod topLvl">
          <ac:chgData name="Grace, Morgan (Brisbane)" userId="221d5f7b-4a46-4bd5-bdf1-698d3a91c208" providerId="ADAL" clId="{D90324C1-6CE4-4C28-B886-AED0B666B37F}" dt="2024-06-23T23:33:42.588" v="126628" actId="21"/>
          <ac:spMkLst>
            <pc:docMk/>
            <pc:sldMk cId="1544571019" sldId="603"/>
            <ac:spMk id="27" creationId="{ABE80822-18C8-9A2A-C055-73F280B344C4}"/>
          </ac:spMkLst>
        </pc:spChg>
        <pc:spChg chg="add del mod topLvl">
          <ac:chgData name="Grace, Morgan (Brisbane)" userId="221d5f7b-4a46-4bd5-bdf1-698d3a91c208" providerId="ADAL" clId="{D90324C1-6CE4-4C28-B886-AED0B666B37F}" dt="2024-06-23T23:33:42.588" v="126628" actId="21"/>
          <ac:spMkLst>
            <pc:docMk/>
            <pc:sldMk cId="1544571019" sldId="603"/>
            <ac:spMk id="28" creationId="{26E0FFBF-1CFF-F782-5B21-CB9BB9318715}"/>
          </ac:spMkLst>
        </pc:spChg>
        <pc:spChg chg="add del mod topLvl">
          <ac:chgData name="Grace, Morgan (Brisbane)" userId="221d5f7b-4a46-4bd5-bdf1-698d3a91c208" providerId="ADAL" clId="{D90324C1-6CE4-4C28-B886-AED0B666B37F}" dt="2024-06-23T23:33:42.588" v="126628" actId="21"/>
          <ac:spMkLst>
            <pc:docMk/>
            <pc:sldMk cId="1544571019" sldId="603"/>
            <ac:spMk id="29" creationId="{FB86A97F-0776-11ED-561A-2A0939A85AEA}"/>
          </ac:spMkLst>
        </pc:spChg>
        <pc:spChg chg="add del mod ord">
          <ac:chgData name="Grace, Morgan (Brisbane)" userId="221d5f7b-4a46-4bd5-bdf1-698d3a91c208" providerId="ADAL" clId="{D90324C1-6CE4-4C28-B886-AED0B666B37F}" dt="2024-06-23T23:44:29.277" v="126843" actId="700"/>
          <ac:spMkLst>
            <pc:docMk/>
            <pc:sldMk cId="1544571019" sldId="603"/>
            <ac:spMk id="30" creationId="{98181012-99CF-1C6E-EA1A-6E85A430AA96}"/>
          </ac:spMkLst>
        </pc:spChg>
        <pc:spChg chg="add mod">
          <ac:chgData name="Grace, Morgan (Brisbane)" userId="221d5f7b-4a46-4bd5-bdf1-698d3a91c208" providerId="ADAL" clId="{D90324C1-6CE4-4C28-B886-AED0B666B37F}" dt="2024-06-23T23:35:36.477" v="126652" actId="27636"/>
          <ac:spMkLst>
            <pc:docMk/>
            <pc:sldMk cId="1544571019" sldId="603"/>
            <ac:spMk id="31" creationId="{692620F4-C851-70C2-4C5D-DC1A0BE8E1D9}"/>
          </ac:spMkLst>
        </pc:spChg>
        <pc:spChg chg="add del mod modVis">
          <ac:chgData name="Grace, Morgan (Brisbane)" userId="221d5f7b-4a46-4bd5-bdf1-698d3a91c208" providerId="ADAL" clId="{D90324C1-6CE4-4C28-B886-AED0B666B37F}" dt="2024-06-23T23:44:27.785" v="126840"/>
          <ac:spMkLst>
            <pc:docMk/>
            <pc:sldMk cId="1544571019" sldId="603"/>
            <ac:spMk id="33" creationId="{FFE6586D-96F8-C73C-D664-C6AFD3F4307F}"/>
          </ac:spMkLst>
        </pc:spChg>
        <pc:spChg chg="add del mod modVis">
          <ac:chgData name="Grace, Morgan (Brisbane)" userId="221d5f7b-4a46-4bd5-bdf1-698d3a91c208" providerId="ADAL" clId="{D90324C1-6CE4-4C28-B886-AED0B666B37F}" dt="2024-06-23T23:44:29.804" v="126869"/>
          <ac:spMkLst>
            <pc:docMk/>
            <pc:sldMk cId="1544571019" sldId="603"/>
            <ac:spMk id="34" creationId="{2B945009-AF47-34CA-29B9-1B4DAF83EE03}"/>
          </ac:spMkLst>
        </pc:spChg>
        <pc:spChg chg="add del mod modVis">
          <ac:chgData name="Grace, Morgan (Brisbane)" userId="221d5f7b-4a46-4bd5-bdf1-698d3a91c208" providerId="ADAL" clId="{D90324C1-6CE4-4C28-B886-AED0B666B37F}" dt="2024-06-21T01:35:56.364" v="125421" actId="962"/>
          <ac:spMkLst>
            <pc:docMk/>
            <pc:sldMk cId="1544571019" sldId="603"/>
            <ac:spMk id="34" creationId="{3A307DC4-C4A4-DBFA-6212-0B3CA4EF077C}"/>
          </ac:spMkLst>
        </pc:spChg>
        <pc:spChg chg="add mod">
          <ac:chgData name="Grace, Morgan (Brisbane)" userId="221d5f7b-4a46-4bd5-bdf1-698d3a91c208" providerId="ADAL" clId="{D90324C1-6CE4-4C28-B886-AED0B666B37F}" dt="2024-06-23T23:46:00.315" v="126913" actId="571"/>
          <ac:spMkLst>
            <pc:docMk/>
            <pc:sldMk cId="1544571019" sldId="603"/>
            <ac:spMk id="36" creationId="{174FB1D7-6C85-22C2-7C70-24377D4B7509}"/>
          </ac:spMkLst>
        </pc:spChg>
        <pc:spChg chg="mod ord">
          <ac:chgData name="Grace, Morgan (Brisbane)" userId="221d5f7b-4a46-4bd5-bdf1-698d3a91c208" providerId="ADAL" clId="{D90324C1-6CE4-4C28-B886-AED0B666B37F}" dt="2024-06-23T23:44:29.277" v="126843" actId="700"/>
          <ac:spMkLst>
            <pc:docMk/>
            <pc:sldMk cId="1544571019" sldId="603"/>
            <ac:spMk id="37" creationId="{1D8B7F6E-F688-5DA2-4841-A4B0659F391C}"/>
          </ac:spMkLst>
        </pc:spChg>
        <pc:spChg chg="mod ord">
          <ac:chgData name="Grace, Morgan (Brisbane)" userId="221d5f7b-4a46-4bd5-bdf1-698d3a91c208" providerId="ADAL" clId="{D90324C1-6CE4-4C28-B886-AED0B666B37F}" dt="2024-06-23T23:44:29.277" v="126843" actId="700"/>
          <ac:spMkLst>
            <pc:docMk/>
            <pc:sldMk cId="1544571019" sldId="603"/>
            <ac:spMk id="38" creationId="{808435EE-241C-4C5D-A8AA-2147FFCB8DA3}"/>
          </ac:spMkLst>
        </pc:spChg>
        <pc:spChg chg="add del mod modVis">
          <ac:chgData name="Grace, Morgan (Brisbane)" userId="221d5f7b-4a46-4bd5-bdf1-698d3a91c208" providerId="ADAL" clId="{D90324C1-6CE4-4C28-B886-AED0B666B37F}" dt="2024-06-24T03:41:44.432" v="127601" actId="962"/>
          <ac:spMkLst>
            <pc:docMk/>
            <pc:sldMk cId="1544571019" sldId="603"/>
            <ac:spMk id="40" creationId="{F1C9BF91-4E3B-CC19-3ADD-0605FF3689F0}"/>
          </ac:spMkLst>
        </pc:spChg>
        <pc:spChg chg="add del mod modVis">
          <ac:chgData name="Grace, Morgan (Brisbane)" userId="221d5f7b-4a46-4bd5-bdf1-698d3a91c208" providerId="ADAL" clId="{D90324C1-6CE4-4C28-B886-AED0B666B37F}" dt="2024-06-24T03:58:08.981" v="128039"/>
          <ac:spMkLst>
            <pc:docMk/>
            <pc:sldMk cId="1544571019" sldId="603"/>
            <ac:spMk id="41" creationId="{0DC3536D-364D-E7B8-F879-0F201576F9AD}"/>
          </ac:spMkLst>
        </pc:spChg>
        <pc:spChg chg="add mod">
          <ac:chgData name="Grace, Morgan (Brisbane)" userId="221d5f7b-4a46-4bd5-bdf1-698d3a91c208" providerId="ADAL" clId="{D90324C1-6CE4-4C28-B886-AED0B666B37F}" dt="2024-06-24T03:58:33.897" v="128043"/>
          <ac:spMkLst>
            <pc:docMk/>
            <pc:sldMk cId="1544571019" sldId="603"/>
            <ac:spMk id="42" creationId="{8839524C-F644-8406-03B1-5E0133B93818}"/>
          </ac:spMkLst>
        </pc:spChg>
        <pc:spChg chg="add mod">
          <ac:chgData name="Grace, Morgan (Brisbane)" userId="221d5f7b-4a46-4bd5-bdf1-698d3a91c208" providerId="ADAL" clId="{D90324C1-6CE4-4C28-B886-AED0B666B37F}" dt="2024-06-24T03:58:33.897" v="128043"/>
          <ac:spMkLst>
            <pc:docMk/>
            <pc:sldMk cId="1544571019" sldId="603"/>
            <ac:spMk id="43" creationId="{9E25B9EB-5C8A-8619-9308-669588AB518C}"/>
          </ac:spMkLst>
        </pc:spChg>
        <pc:grpChg chg="add del mod">
          <ac:chgData name="Grace, Morgan (Brisbane)" userId="221d5f7b-4a46-4bd5-bdf1-698d3a91c208" providerId="ADAL" clId="{D90324C1-6CE4-4C28-B886-AED0B666B37F}" dt="2024-06-05T05:56:08.577" v="34317" actId="478"/>
          <ac:grpSpMkLst>
            <pc:docMk/>
            <pc:sldMk cId="1544571019" sldId="603"/>
            <ac:grpSpMk id="6" creationId="{F6678C8D-E811-73AF-86A3-AB0E7A7A3A25}"/>
          </ac:grpSpMkLst>
        </pc:grpChg>
        <pc:grpChg chg="add del mod">
          <ac:chgData name="Grace, Morgan (Brisbane)" userId="221d5f7b-4a46-4bd5-bdf1-698d3a91c208" providerId="ADAL" clId="{D90324C1-6CE4-4C28-B886-AED0B666B37F}" dt="2024-06-21T00:57:07.321" v="124903" actId="165"/>
          <ac:grpSpMkLst>
            <pc:docMk/>
            <pc:sldMk cId="1544571019" sldId="603"/>
            <ac:grpSpMk id="13" creationId="{9E7C945F-EB83-E53C-F738-6EC75CF78E61}"/>
          </ac:grpSpMkLst>
        </pc:grpChg>
        <pc:grpChg chg="add del mod topLvl">
          <ac:chgData name="Grace, Morgan (Brisbane)" userId="221d5f7b-4a46-4bd5-bdf1-698d3a91c208" providerId="ADAL" clId="{D90324C1-6CE4-4C28-B886-AED0B666B37F}" dt="2024-06-23T23:43:10.399" v="126790" actId="165"/>
          <ac:grpSpMkLst>
            <pc:docMk/>
            <pc:sldMk cId="1544571019" sldId="603"/>
            <ac:grpSpMk id="15" creationId="{591C26D8-EA03-2A39-0875-D65E0290B268}"/>
          </ac:grpSpMkLst>
        </pc:grpChg>
        <pc:grpChg chg="add del mod topLvl">
          <ac:chgData name="Grace, Morgan (Brisbane)" userId="221d5f7b-4a46-4bd5-bdf1-698d3a91c208" providerId="ADAL" clId="{D90324C1-6CE4-4C28-B886-AED0B666B37F}" dt="2024-06-23T23:43:10.399" v="126790" actId="165"/>
          <ac:grpSpMkLst>
            <pc:docMk/>
            <pc:sldMk cId="1544571019" sldId="603"/>
            <ac:grpSpMk id="16" creationId="{7EF9B704-7A66-BE68-B8DA-E9D936942D25}"/>
          </ac:grpSpMkLst>
        </pc:grpChg>
        <pc:grpChg chg="add del mod topLvl">
          <ac:chgData name="Grace, Morgan (Brisbane)" userId="221d5f7b-4a46-4bd5-bdf1-698d3a91c208" providerId="ADAL" clId="{D90324C1-6CE4-4C28-B886-AED0B666B37F}" dt="2024-06-23T23:43:10.399" v="126790" actId="165"/>
          <ac:grpSpMkLst>
            <pc:docMk/>
            <pc:sldMk cId="1544571019" sldId="603"/>
            <ac:grpSpMk id="17" creationId="{B388C1FC-F9CF-0B9A-A8E4-5B2153E385D6}"/>
          </ac:grpSpMkLst>
        </pc:grpChg>
        <pc:grpChg chg="add del mod">
          <ac:chgData name="Grace, Morgan (Brisbane)" userId="221d5f7b-4a46-4bd5-bdf1-698d3a91c208" providerId="ADAL" clId="{D90324C1-6CE4-4C28-B886-AED0B666B37F}" dt="2024-06-06T03:41:56.412" v="41007" actId="165"/>
          <ac:grpSpMkLst>
            <pc:docMk/>
            <pc:sldMk cId="1544571019" sldId="603"/>
            <ac:grpSpMk id="18" creationId="{16F21AD4-9699-D100-3C0B-DA09B0434D1E}"/>
          </ac:grpSpMkLst>
        </pc:grpChg>
        <pc:grpChg chg="add del mod ord">
          <ac:chgData name="Grace, Morgan (Brisbane)" userId="221d5f7b-4a46-4bd5-bdf1-698d3a91c208" providerId="ADAL" clId="{D90324C1-6CE4-4C28-B886-AED0B666B37F}" dt="2024-06-21T01:21:04.321" v="125301" actId="165"/>
          <ac:grpSpMkLst>
            <pc:docMk/>
            <pc:sldMk cId="1544571019" sldId="603"/>
            <ac:grpSpMk id="22" creationId="{108A4E6C-4680-3FD5-F8CD-7CF6AAC98A96}"/>
          </ac:grpSpMkLst>
        </pc:grpChg>
        <pc:grpChg chg="add del mod">
          <ac:chgData name="Grace, Morgan (Brisbane)" userId="221d5f7b-4a46-4bd5-bdf1-698d3a91c208" providerId="ADAL" clId="{D90324C1-6CE4-4C28-B886-AED0B666B37F}" dt="2024-06-23T23:44:53.533" v="126882" actId="165"/>
          <ac:grpSpMkLst>
            <pc:docMk/>
            <pc:sldMk cId="1544571019" sldId="603"/>
            <ac:grpSpMk id="23" creationId="{D8E3DE52-E454-DB05-EB53-8A30BA6148F0}"/>
          </ac:grpSpMkLst>
        </pc:grpChg>
        <pc:grpChg chg="add del mod">
          <ac:chgData name="Grace, Morgan (Brisbane)" userId="221d5f7b-4a46-4bd5-bdf1-698d3a91c208" providerId="ADAL" clId="{D90324C1-6CE4-4C28-B886-AED0B666B37F}" dt="2024-06-21T01:07:03.815" v="125181" actId="165"/>
          <ac:grpSpMkLst>
            <pc:docMk/>
            <pc:sldMk cId="1544571019" sldId="603"/>
            <ac:grpSpMk id="30" creationId="{87964490-EE71-20D8-E922-3BBD5428318B}"/>
          </ac:grpSpMkLst>
        </pc:grpChg>
        <pc:grpChg chg="add del mod">
          <ac:chgData name="Grace, Morgan (Brisbane)" userId="221d5f7b-4a46-4bd5-bdf1-698d3a91c208" providerId="ADAL" clId="{D90324C1-6CE4-4C28-B886-AED0B666B37F}" dt="2024-06-23T23:43:02.510" v="126789" actId="165"/>
          <ac:grpSpMkLst>
            <pc:docMk/>
            <pc:sldMk cId="1544571019" sldId="603"/>
            <ac:grpSpMk id="32" creationId="{49B59C29-9A11-2946-63C8-51CCD4C992C5}"/>
          </ac:grpSpMkLst>
        </pc:grpChg>
        <pc:grpChg chg="add del mod">
          <ac:chgData name="Grace, Morgan (Brisbane)" userId="221d5f7b-4a46-4bd5-bdf1-698d3a91c208" providerId="ADAL" clId="{D90324C1-6CE4-4C28-B886-AED0B666B37F}" dt="2024-06-21T01:29:09.351" v="125350" actId="165"/>
          <ac:grpSpMkLst>
            <pc:docMk/>
            <pc:sldMk cId="1544571019" sldId="603"/>
            <ac:grpSpMk id="33" creationId="{4919E39B-EA7D-F970-6B7D-C56AC844CF63}"/>
          </ac:grpSpMkLst>
        </pc:grpChg>
        <pc:grpChg chg="add del mod">
          <ac:chgData name="Grace, Morgan (Brisbane)" userId="221d5f7b-4a46-4bd5-bdf1-698d3a91c208" providerId="ADAL" clId="{D90324C1-6CE4-4C28-B886-AED0B666B37F}" dt="2024-06-21T01:40:52.556" v="125481" actId="165"/>
          <ac:grpSpMkLst>
            <pc:docMk/>
            <pc:sldMk cId="1544571019" sldId="603"/>
            <ac:grpSpMk id="35" creationId="{3DAA2813-B062-39E5-2930-15A9CC0E7D3A}"/>
          </ac:grpSpMkLst>
        </pc:grpChg>
        <pc:grpChg chg="add mod topLvl">
          <ac:chgData name="Grace, Morgan (Brisbane)" userId="221d5f7b-4a46-4bd5-bdf1-698d3a91c208" providerId="ADAL" clId="{D90324C1-6CE4-4C28-B886-AED0B666B37F}" dt="2024-06-25T01:23:48.012" v="128135" actId="1076"/>
          <ac:grpSpMkLst>
            <pc:docMk/>
            <pc:sldMk cId="1544571019" sldId="603"/>
            <ac:grpSpMk id="35" creationId="{49F64B10-CCA3-23F7-39E6-0A3E59773FB3}"/>
          </ac:grpSpMkLst>
        </pc:grpChg>
        <pc:grpChg chg="add del mod">
          <ac:chgData name="Grace, Morgan (Brisbane)" userId="221d5f7b-4a46-4bd5-bdf1-698d3a91c208" providerId="ADAL" clId="{D90324C1-6CE4-4C28-B886-AED0B666B37F}" dt="2024-06-21T05:42:35.348" v="126013" actId="165"/>
          <ac:grpSpMkLst>
            <pc:docMk/>
            <pc:sldMk cId="1544571019" sldId="603"/>
            <ac:grpSpMk id="36" creationId="{3DAF0933-F5F6-7C39-C7A1-97F8BE6BCFBE}"/>
          </ac:grpSpMkLst>
        </pc:grpChg>
        <pc:grpChg chg="add del mod">
          <ac:chgData name="Grace, Morgan (Brisbane)" userId="221d5f7b-4a46-4bd5-bdf1-698d3a91c208" providerId="ADAL" clId="{D90324C1-6CE4-4C28-B886-AED0B666B37F}" dt="2024-06-24T03:38:18.404" v="127487" actId="165"/>
          <ac:grpSpMkLst>
            <pc:docMk/>
            <pc:sldMk cId="1544571019" sldId="603"/>
            <ac:grpSpMk id="39" creationId="{864DE60C-33A9-8A4D-C6B0-C5687389C300}"/>
          </ac:grpSpMkLst>
        </pc:grpChg>
        <pc:graphicFrameChg chg="mod">
          <ac:chgData name="Grace, Morgan (Brisbane)" userId="221d5f7b-4a46-4bd5-bdf1-698d3a91c208" providerId="ADAL" clId="{D90324C1-6CE4-4C28-B886-AED0B666B37F}" dt="2024-06-24T03:58:08.981" v="128041"/>
          <ac:graphicFrameMkLst>
            <pc:docMk/>
            <pc:sldMk cId="1544571019" sldId="603"/>
            <ac:graphicFrameMk id="5" creationId="{825AFD8B-E08C-4ACB-B3A9-30EE1C0E2D08}"/>
          </ac:graphicFrameMkLst>
        </pc:graphicFrameChg>
      </pc:sldChg>
      <pc:sldChg chg="addSp delSp modSp del mod modClrScheme chgLayout modNotes modNotesTx">
        <pc:chgData name="Grace, Morgan (Brisbane)" userId="221d5f7b-4a46-4bd5-bdf1-698d3a91c208" providerId="ADAL" clId="{D90324C1-6CE4-4C28-B886-AED0B666B37F}" dt="2024-06-24T03:58:38.461" v="128045" actId="2696"/>
        <pc:sldMkLst>
          <pc:docMk/>
          <pc:sldMk cId="3640700558" sldId="604"/>
        </pc:sldMkLst>
        <pc:spChg chg="mod ord">
          <ac:chgData name="Grace, Morgan (Brisbane)" userId="221d5f7b-4a46-4bd5-bdf1-698d3a91c208" providerId="ADAL" clId="{D90324C1-6CE4-4C28-B886-AED0B666B37F}" dt="2024-06-21T06:12:04.528" v="126501" actId="948"/>
          <ac:spMkLst>
            <pc:docMk/>
            <pc:sldMk cId="3640700558" sldId="604"/>
            <ac:spMk id="2" creationId="{C1E0C783-C1A7-4C16-8161-C0B0A65BA529}"/>
          </ac:spMkLst>
        </pc:spChg>
        <pc:spChg chg="mod ord">
          <ac:chgData name="Grace, Morgan (Brisbane)" userId="221d5f7b-4a46-4bd5-bdf1-698d3a91c208" providerId="ADAL" clId="{D90324C1-6CE4-4C28-B886-AED0B666B37F}" dt="2024-06-06T05:14:57.719" v="46358"/>
          <ac:spMkLst>
            <pc:docMk/>
            <pc:sldMk cId="3640700558" sldId="604"/>
            <ac:spMk id="3" creationId="{1A3BA682-1A11-452A-ACA1-03662AF854B9}"/>
          </ac:spMkLst>
        </pc:spChg>
        <pc:spChg chg="add mod">
          <ac:chgData name="Grace, Morgan (Brisbane)" userId="221d5f7b-4a46-4bd5-bdf1-698d3a91c208" providerId="ADAL" clId="{D90324C1-6CE4-4C28-B886-AED0B666B37F}" dt="2024-06-24T03:44:31.875" v="127725" actId="14100"/>
          <ac:spMkLst>
            <pc:docMk/>
            <pc:sldMk cId="3640700558" sldId="604"/>
            <ac:spMk id="3" creationId="{F0908B13-A0A5-0E09-7F85-1BE273182E88}"/>
          </ac:spMkLst>
        </pc:spChg>
        <pc:spChg chg="add mod">
          <ac:chgData name="Grace, Morgan (Brisbane)" userId="221d5f7b-4a46-4bd5-bdf1-698d3a91c208" providerId="ADAL" clId="{D90324C1-6CE4-4C28-B886-AED0B666B37F}" dt="2024-06-24T02:06:07.205" v="127410" actId="14100"/>
          <ac:spMkLst>
            <pc:docMk/>
            <pc:sldMk cId="3640700558" sldId="604"/>
            <ac:spMk id="4" creationId="{0CA110F8-CB82-0637-2060-CF6C296F6E6F}"/>
          </ac:spMkLst>
        </pc:spChg>
        <pc:spChg chg="del mod ord">
          <ac:chgData name="Grace, Morgan (Brisbane)" userId="221d5f7b-4a46-4bd5-bdf1-698d3a91c208" providerId="ADAL" clId="{D90324C1-6CE4-4C28-B886-AED0B666B37F}" dt="2024-06-21T05:43:15.019" v="126015" actId="478"/>
          <ac:spMkLst>
            <pc:docMk/>
            <pc:sldMk cId="3640700558" sldId="604"/>
            <ac:spMk id="4" creationId="{52A6BA5E-4D24-4550-B96C-1B272D6DCEEF}"/>
          </ac:spMkLst>
        </pc:spChg>
        <pc:spChg chg="add del mod modVis">
          <ac:chgData name="Grace, Morgan (Brisbane)" userId="221d5f7b-4a46-4bd5-bdf1-698d3a91c208" providerId="ADAL" clId="{D90324C1-6CE4-4C28-B886-AED0B666B37F}" dt="2024-06-05T06:41:00.271" v="34539"/>
          <ac:spMkLst>
            <pc:docMk/>
            <pc:sldMk cId="3640700558" sldId="604"/>
            <ac:spMk id="5" creationId="{717A3B42-2A5F-B135-E710-39B3DFD708E6}"/>
          </ac:spMkLst>
        </pc:spChg>
        <pc:spChg chg="add del mod">
          <ac:chgData name="Grace, Morgan (Brisbane)" userId="221d5f7b-4a46-4bd5-bdf1-698d3a91c208" providerId="ADAL" clId="{D90324C1-6CE4-4C28-B886-AED0B666B37F}" dt="2024-06-07T04:15:38.859" v="54280"/>
          <ac:spMkLst>
            <pc:docMk/>
            <pc:sldMk cId="3640700558" sldId="604"/>
            <ac:spMk id="5" creationId="{F83CC69B-9829-A836-5708-877714C448BD}"/>
          </ac:spMkLst>
        </pc:spChg>
        <pc:spChg chg="mod ord">
          <ac:chgData name="Grace, Morgan (Brisbane)" userId="221d5f7b-4a46-4bd5-bdf1-698d3a91c208" providerId="ADAL" clId="{D90324C1-6CE4-4C28-B886-AED0B666B37F}" dt="2024-06-21T06:12:04.001" v="126500" actId="700"/>
          <ac:spMkLst>
            <pc:docMk/>
            <pc:sldMk cId="3640700558" sldId="604"/>
            <ac:spMk id="5" creationId="{F9DE87FA-F9B7-DC92-CBD7-126402E64243}"/>
          </ac:spMkLst>
        </pc:spChg>
        <pc:spChg chg="mod ord">
          <ac:chgData name="Grace, Morgan (Brisbane)" userId="221d5f7b-4a46-4bd5-bdf1-698d3a91c208" providerId="ADAL" clId="{D90324C1-6CE4-4C28-B886-AED0B666B37F}" dt="2024-06-21T06:12:04.001" v="126500" actId="700"/>
          <ac:spMkLst>
            <pc:docMk/>
            <pc:sldMk cId="3640700558" sldId="604"/>
            <ac:spMk id="7" creationId="{CA5F0393-C9EB-18FD-2AB2-91DB38410A27}"/>
          </ac:spMkLst>
        </pc:spChg>
        <pc:spChg chg="add del mod">
          <ac:chgData name="Grace, Morgan (Brisbane)" userId="221d5f7b-4a46-4bd5-bdf1-698d3a91c208" providerId="ADAL" clId="{D90324C1-6CE4-4C28-B886-AED0B666B37F}" dt="2024-06-07T04:17:51.206" v="54416" actId="21"/>
          <ac:spMkLst>
            <pc:docMk/>
            <pc:sldMk cId="3640700558" sldId="604"/>
            <ac:spMk id="7" creationId="{F118D861-56D0-983B-7B06-AA44862BF91E}"/>
          </ac:spMkLst>
        </pc:spChg>
        <pc:spChg chg="add del mod">
          <ac:chgData name="Grace, Morgan (Brisbane)" userId="221d5f7b-4a46-4bd5-bdf1-698d3a91c208" providerId="ADAL" clId="{D90324C1-6CE4-4C28-B886-AED0B666B37F}" dt="2024-06-24T03:44:45.157" v="127726" actId="478"/>
          <ac:spMkLst>
            <pc:docMk/>
            <pc:sldMk cId="3640700558" sldId="604"/>
            <ac:spMk id="8" creationId="{E17999F3-3C33-8EDE-A6CE-E11C15FEB854}"/>
          </ac:spMkLst>
        </pc:spChg>
        <pc:spChg chg="del mod ord">
          <ac:chgData name="Grace, Morgan (Brisbane)" userId="221d5f7b-4a46-4bd5-bdf1-698d3a91c208" providerId="ADAL" clId="{D90324C1-6CE4-4C28-B886-AED0B666B37F}" dt="2024-06-21T05:43:50.263" v="126020" actId="478"/>
          <ac:spMkLst>
            <pc:docMk/>
            <pc:sldMk cId="3640700558" sldId="604"/>
            <ac:spMk id="8" creationId="{FC3C61F0-1536-423B-9577-CCEFD0123D94}"/>
          </ac:spMkLst>
        </pc:spChg>
        <pc:spChg chg="del mod modVis">
          <ac:chgData name="Grace, Morgan (Brisbane)" userId="221d5f7b-4a46-4bd5-bdf1-698d3a91c208" providerId="ADAL" clId="{D90324C1-6CE4-4C28-B886-AED0B666B37F}" dt="2024-06-06T05:14:01.562" v="46185" actId="478"/>
          <ac:spMkLst>
            <pc:docMk/>
            <pc:sldMk cId="3640700558" sldId="604"/>
            <ac:spMk id="9" creationId="{6DDA48E7-EADD-B264-E999-B8956459FB15}"/>
          </ac:spMkLst>
        </pc:spChg>
        <pc:spChg chg="add mod ord">
          <ac:chgData name="Grace, Morgan (Brisbane)" userId="221d5f7b-4a46-4bd5-bdf1-698d3a91c208" providerId="ADAL" clId="{D90324C1-6CE4-4C28-B886-AED0B666B37F}" dt="2024-06-24T03:44:31.875" v="127725" actId="14100"/>
          <ac:spMkLst>
            <pc:docMk/>
            <pc:sldMk cId="3640700558" sldId="604"/>
            <ac:spMk id="9" creationId="{E65C16FF-07AA-D8B4-F60D-1BD5D2A3709C}"/>
          </ac:spMkLst>
        </pc:spChg>
        <pc:spChg chg="add del mod ord">
          <ac:chgData name="Grace, Morgan (Brisbane)" userId="221d5f7b-4a46-4bd5-bdf1-698d3a91c208" providerId="ADAL" clId="{D90324C1-6CE4-4C28-B886-AED0B666B37F}" dt="2024-06-21T06:12:01.937" v="126499" actId="478"/>
          <ac:spMkLst>
            <pc:docMk/>
            <pc:sldMk cId="3640700558" sldId="604"/>
            <ac:spMk id="10" creationId="{4A2C5374-7962-B28C-F981-64786A8FBCCD}"/>
          </ac:spMkLst>
        </pc:spChg>
        <pc:spChg chg="add mod">
          <ac:chgData name="Grace, Morgan (Brisbane)" userId="221d5f7b-4a46-4bd5-bdf1-698d3a91c208" providerId="ADAL" clId="{D90324C1-6CE4-4C28-B886-AED0B666B37F}" dt="2024-06-24T03:44:31.875" v="127725" actId="14100"/>
          <ac:spMkLst>
            <pc:docMk/>
            <pc:sldMk cId="3640700558" sldId="604"/>
            <ac:spMk id="10" creationId="{B98D460E-A280-C116-73A1-22E853368713}"/>
          </ac:spMkLst>
        </pc:spChg>
        <pc:spChg chg="add mod">
          <ac:chgData name="Grace, Morgan (Brisbane)" userId="221d5f7b-4a46-4bd5-bdf1-698d3a91c208" providerId="ADAL" clId="{D90324C1-6CE4-4C28-B886-AED0B666B37F}" dt="2024-06-24T03:44:31.875" v="127725" actId="14100"/>
          <ac:spMkLst>
            <pc:docMk/>
            <pc:sldMk cId="3640700558" sldId="604"/>
            <ac:spMk id="11" creationId="{ADF0BA30-CD14-0DAF-278D-2AF710F518E9}"/>
          </ac:spMkLst>
        </pc:spChg>
        <pc:spChg chg="add del mod">
          <ac:chgData name="Grace, Morgan (Brisbane)" userId="221d5f7b-4a46-4bd5-bdf1-698d3a91c208" providerId="ADAL" clId="{D90324C1-6CE4-4C28-B886-AED0B666B37F}" dt="2024-06-21T05:37:36.014" v="125783" actId="478"/>
          <ac:spMkLst>
            <pc:docMk/>
            <pc:sldMk cId="3640700558" sldId="604"/>
            <ac:spMk id="11" creationId="{D1992CC0-1E51-6DFC-7634-C6EEB2153BD6}"/>
          </ac:spMkLst>
        </pc:spChg>
        <pc:spChg chg="add mod">
          <ac:chgData name="Grace, Morgan (Brisbane)" userId="221d5f7b-4a46-4bd5-bdf1-698d3a91c208" providerId="ADAL" clId="{D90324C1-6CE4-4C28-B886-AED0B666B37F}" dt="2024-06-24T03:44:31.875" v="127725" actId="14100"/>
          <ac:spMkLst>
            <pc:docMk/>
            <pc:sldMk cId="3640700558" sldId="604"/>
            <ac:spMk id="12" creationId="{59FF4BB8-72CC-E9A0-3E8E-7EF061838E73}"/>
          </ac:spMkLst>
        </pc:spChg>
        <pc:spChg chg="add del mod">
          <ac:chgData name="Grace, Morgan (Brisbane)" userId="221d5f7b-4a46-4bd5-bdf1-698d3a91c208" providerId="ADAL" clId="{D90324C1-6CE4-4C28-B886-AED0B666B37F}" dt="2024-06-21T05:36:53.987" v="125766" actId="478"/>
          <ac:spMkLst>
            <pc:docMk/>
            <pc:sldMk cId="3640700558" sldId="604"/>
            <ac:spMk id="12" creationId="{6C015D14-82B6-F7B9-0109-362C8641449A}"/>
          </ac:spMkLst>
        </pc:spChg>
        <pc:spChg chg="add del mod ord">
          <ac:chgData name="Grace, Morgan (Brisbane)" userId="221d5f7b-4a46-4bd5-bdf1-698d3a91c208" providerId="ADAL" clId="{D90324C1-6CE4-4C28-B886-AED0B666B37F}" dt="2024-06-24T03:44:45.157" v="127726" actId="478"/>
          <ac:spMkLst>
            <pc:docMk/>
            <pc:sldMk cId="3640700558" sldId="604"/>
            <ac:spMk id="13" creationId="{2205A168-F66E-5908-A4FE-E8C1A03DD478}"/>
          </ac:spMkLst>
        </pc:spChg>
        <pc:spChg chg="add del mod ord">
          <ac:chgData name="Grace, Morgan (Brisbane)" userId="221d5f7b-4a46-4bd5-bdf1-698d3a91c208" providerId="ADAL" clId="{D90324C1-6CE4-4C28-B886-AED0B666B37F}" dt="2024-06-24T03:44:45.157" v="127726" actId="478"/>
          <ac:spMkLst>
            <pc:docMk/>
            <pc:sldMk cId="3640700558" sldId="604"/>
            <ac:spMk id="14" creationId="{7B58839F-736F-5A93-C12D-499F036334AA}"/>
          </ac:spMkLst>
        </pc:spChg>
        <pc:spChg chg="add del mod ord">
          <ac:chgData name="Grace, Morgan (Brisbane)" userId="221d5f7b-4a46-4bd5-bdf1-698d3a91c208" providerId="ADAL" clId="{D90324C1-6CE4-4C28-B886-AED0B666B37F}" dt="2024-06-24T03:44:45.157" v="127726" actId="478"/>
          <ac:spMkLst>
            <pc:docMk/>
            <pc:sldMk cId="3640700558" sldId="604"/>
            <ac:spMk id="15" creationId="{2076D734-851A-0012-3769-AB9BB538F4E0}"/>
          </ac:spMkLst>
        </pc:spChg>
        <pc:spChg chg="add mod ord">
          <ac:chgData name="Grace, Morgan (Brisbane)" userId="221d5f7b-4a46-4bd5-bdf1-698d3a91c208" providerId="ADAL" clId="{D90324C1-6CE4-4C28-B886-AED0B666B37F}" dt="2024-06-24T03:43:11.126" v="127695" actId="1076"/>
          <ac:spMkLst>
            <pc:docMk/>
            <pc:sldMk cId="3640700558" sldId="604"/>
            <ac:spMk id="16" creationId="{B9D024CA-D0EE-FCE4-D570-EC807FB59658}"/>
          </ac:spMkLst>
        </pc:spChg>
        <pc:spChg chg="add del mod">
          <ac:chgData name="Grace, Morgan (Brisbane)" userId="221d5f7b-4a46-4bd5-bdf1-698d3a91c208" providerId="ADAL" clId="{D90324C1-6CE4-4C28-B886-AED0B666B37F}" dt="2024-06-06T05:16:53.089" v="46473"/>
          <ac:spMkLst>
            <pc:docMk/>
            <pc:sldMk cId="3640700558" sldId="604"/>
            <ac:spMk id="16" creationId="{DA7D8D95-B359-EF98-E1A4-F7F6AA04C16E}"/>
          </ac:spMkLst>
        </pc:spChg>
        <pc:spChg chg="add del mod">
          <ac:chgData name="Grace, Morgan (Brisbane)" userId="221d5f7b-4a46-4bd5-bdf1-698d3a91c208" providerId="ADAL" clId="{D90324C1-6CE4-4C28-B886-AED0B666B37F}" dt="2024-06-06T05:24:28.870" v="46761" actId="478"/>
          <ac:spMkLst>
            <pc:docMk/>
            <pc:sldMk cId="3640700558" sldId="604"/>
            <ac:spMk id="17" creationId="{810ADAB2-25C4-86BE-F98B-3FEA3991AA73}"/>
          </ac:spMkLst>
        </pc:spChg>
        <pc:spChg chg="add del mod modVis">
          <ac:chgData name="Grace, Morgan (Brisbane)" userId="221d5f7b-4a46-4bd5-bdf1-698d3a91c208" providerId="ADAL" clId="{D90324C1-6CE4-4C28-B886-AED0B666B37F}" dt="2024-06-21T05:40:07.885" v="125891"/>
          <ac:spMkLst>
            <pc:docMk/>
            <pc:sldMk cId="3640700558" sldId="604"/>
            <ac:spMk id="17" creationId="{CE6C947A-4103-BB24-998B-DDDBE9B89658}"/>
          </ac:spMkLst>
        </pc:spChg>
        <pc:spChg chg="add del mod">
          <ac:chgData name="Grace, Morgan (Brisbane)" userId="221d5f7b-4a46-4bd5-bdf1-698d3a91c208" providerId="ADAL" clId="{D90324C1-6CE4-4C28-B886-AED0B666B37F}" dt="2024-06-21T05:37:36.014" v="125783" actId="478"/>
          <ac:spMkLst>
            <pc:docMk/>
            <pc:sldMk cId="3640700558" sldId="604"/>
            <ac:spMk id="18" creationId="{A7B8A84E-7E12-C79C-B569-C997C405AA06}"/>
          </ac:spMkLst>
        </pc:spChg>
        <pc:spChg chg="add del mod">
          <ac:chgData name="Grace, Morgan (Brisbane)" userId="221d5f7b-4a46-4bd5-bdf1-698d3a91c208" providerId="ADAL" clId="{D90324C1-6CE4-4C28-B886-AED0B666B37F}" dt="2024-06-21T05:36:53.987" v="125766" actId="478"/>
          <ac:spMkLst>
            <pc:docMk/>
            <pc:sldMk cId="3640700558" sldId="604"/>
            <ac:spMk id="19" creationId="{19E25888-F31B-C9CB-8383-F25CF547A3ED}"/>
          </ac:spMkLst>
        </pc:spChg>
        <pc:spChg chg="add del mod ord">
          <ac:chgData name="Grace, Morgan (Brisbane)" userId="221d5f7b-4a46-4bd5-bdf1-698d3a91c208" providerId="ADAL" clId="{D90324C1-6CE4-4C28-B886-AED0B666B37F}" dt="2024-06-24T01:03:05.184" v="127228" actId="478"/>
          <ac:spMkLst>
            <pc:docMk/>
            <pc:sldMk cId="3640700558" sldId="604"/>
            <ac:spMk id="20" creationId="{D349DB9C-D7C0-8CAB-1A9F-BF69A48B2077}"/>
          </ac:spMkLst>
        </pc:spChg>
        <pc:spChg chg="add mod ord">
          <ac:chgData name="Grace, Morgan (Brisbane)" userId="221d5f7b-4a46-4bd5-bdf1-698d3a91c208" providerId="ADAL" clId="{D90324C1-6CE4-4C28-B886-AED0B666B37F}" dt="2024-06-24T03:44:31.875" v="127725" actId="14100"/>
          <ac:spMkLst>
            <pc:docMk/>
            <pc:sldMk cId="3640700558" sldId="604"/>
            <ac:spMk id="21" creationId="{05A6BD4B-366A-7960-8A59-6FCF7E635225}"/>
          </ac:spMkLst>
        </pc:spChg>
        <pc:spChg chg="add mod ord">
          <ac:chgData name="Grace, Morgan (Brisbane)" userId="221d5f7b-4a46-4bd5-bdf1-698d3a91c208" providerId="ADAL" clId="{D90324C1-6CE4-4C28-B886-AED0B666B37F}" dt="2024-06-24T03:44:31.875" v="127725" actId="14100"/>
          <ac:spMkLst>
            <pc:docMk/>
            <pc:sldMk cId="3640700558" sldId="604"/>
            <ac:spMk id="22" creationId="{110D0AF8-2F1A-5755-A2E0-5F6502AC4D94}"/>
          </ac:spMkLst>
        </pc:spChg>
        <pc:spChg chg="add del mod ord">
          <ac:chgData name="Grace, Morgan (Brisbane)" userId="221d5f7b-4a46-4bd5-bdf1-698d3a91c208" providerId="ADAL" clId="{D90324C1-6CE4-4C28-B886-AED0B666B37F}" dt="2024-06-21T05:58:11.864" v="126252" actId="478"/>
          <ac:spMkLst>
            <pc:docMk/>
            <pc:sldMk cId="3640700558" sldId="604"/>
            <ac:spMk id="23" creationId="{2989BE1A-7F54-4782-BFD3-F5C317D99ABE}"/>
          </ac:spMkLst>
        </pc:spChg>
        <pc:spChg chg="add mod ord">
          <ac:chgData name="Grace, Morgan (Brisbane)" userId="221d5f7b-4a46-4bd5-bdf1-698d3a91c208" providerId="ADAL" clId="{D90324C1-6CE4-4C28-B886-AED0B666B37F}" dt="2024-06-24T02:07:54.867" v="127437" actId="1076"/>
          <ac:spMkLst>
            <pc:docMk/>
            <pc:sldMk cId="3640700558" sldId="604"/>
            <ac:spMk id="24" creationId="{41749448-A528-6B03-1AC1-964D7CCE2AD1}"/>
          </ac:spMkLst>
        </pc:spChg>
        <pc:spChg chg="add del mod">
          <ac:chgData name="Grace, Morgan (Brisbane)" userId="221d5f7b-4a46-4bd5-bdf1-698d3a91c208" providerId="ADAL" clId="{D90324C1-6CE4-4C28-B886-AED0B666B37F}" dt="2024-06-06T05:40:29.967" v="47460" actId="478"/>
          <ac:spMkLst>
            <pc:docMk/>
            <pc:sldMk cId="3640700558" sldId="604"/>
            <ac:spMk id="24" creationId="{EFE31081-ABB5-98A1-B112-9B4A81426907}"/>
          </ac:spMkLst>
        </pc:spChg>
        <pc:spChg chg="add del mod">
          <ac:chgData name="Grace, Morgan (Brisbane)" userId="221d5f7b-4a46-4bd5-bdf1-698d3a91c208" providerId="ADAL" clId="{D90324C1-6CE4-4C28-B886-AED0B666B37F}" dt="2024-06-06T05:40:27.777" v="47459" actId="478"/>
          <ac:spMkLst>
            <pc:docMk/>
            <pc:sldMk cId="3640700558" sldId="604"/>
            <ac:spMk id="25" creationId="{9B56B85B-02D5-7710-7191-553F40211AE9}"/>
          </ac:spMkLst>
        </pc:spChg>
        <pc:spChg chg="add mod ord">
          <ac:chgData name="Grace, Morgan (Brisbane)" userId="221d5f7b-4a46-4bd5-bdf1-698d3a91c208" providerId="ADAL" clId="{D90324C1-6CE4-4C28-B886-AED0B666B37F}" dt="2024-06-24T02:06:07.205" v="127410" actId="14100"/>
          <ac:spMkLst>
            <pc:docMk/>
            <pc:sldMk cId="3640700558" sldId="604"/>
            <ac:spMk id="25" creationId="{C20A5AB2-6F07-72DB-129A-7B8D5DB3AFF2}"/>
          </ac:spMkLst>
        </pc:spChg>
        <pc:spChg chg="add mod">
          <ac:chgData name="Grace, Morgan (Brisbane)" userId="221d5f7b-4a46-4bd5-bdf1-698d3a91c208" providerId="ADAL" clId="{D90324C1-6CE4-4C28-B886-AED0B666B37F}" dt="2024-06-21T05:40:41.078" v="125901" actId="571"/>
          <ac:spMkLst>
            <pc:docMk/>
            <pc:sldMk cId="3640700558" sldId="604"/>
            <ac:spMk id="26" creationId="{2D093C19-6536-E1F6-7791-A1BC26C58392}"/>
          </ac:spMkLst>
        </pc:spChg>
        <pc:spChg chg="add del mod">
          <ac:chgData name="Grace, Morgan (Brisbane)" userId="221d5f7b-4a46-4bd5-bdf1-698d3a91c208" providerId="ADAL" clId="{D90324C1-6CE4-4C28-B886-AED0B666B37F}" dt="2024-06-06T05:40:27.777" v="47459" actId="478"/>
          <ac:spMkLst>
            <pc:docMk/>
            <pc:sldMk cId="3640700558" sldId="604"/>
            <ac:spMk id="26" creationId="{BBC4CD45-25A5-303B-6454-8CA6FD4148CC}"/>
          </ac:spMkLst>
        </pc:spChg>
        <pc:spChg chg="add del mod ord">
          <ac:chgData name="Grace, Morgan (Brisbane)" userId="221d5f7b-4a46-4bd5-bdf1-698d3a91c208" providerId="ADAL" clId="{D90324C1-6CE4-4C28-B886-AED0B666B37F}" dt="2024-06-21T05:43:13.740" v="126014" actId="478"/>
          <ac:spMkLst>
            <pc:docMk/>
            <pc:sldMk cId="3640700558" sldId="604"/>
            <ac:spMk id="27" creationId="{D380C56B-C0A9-8D41-8014-5E6937C9981F}"/>
          </ac:spMkLst>
        </pc:spChg>
        <pc:spChg chg="add mod">
          <ac:chgData name="Grace, Morgan (Brisbane)" userId="221d5f7b-4a46-4bd5-bdf1-698d3a91c208" providerId="ADAL" clId="{D90324C1-6CE4-4C28-B886-AED0B666B37F}" dt="2024-06-21T05:40:41.078" v="125901" actId="571"/>
          <ac:spMkLst>
            <pc:docMk/>
            <pc:sldMk cId="3640700558" sldId="604"/>
            <ac:spMk id="28" creationId="{4D6FB879-2509-10D4-4F7D-F15C27EED95E}"/>
          </ac:spMkLst>
        </pc:spChg>
        <pc:spChg chg="add del mod">
          <ac:chgData name="Grace, Morgan (Brisbane)" userId="221d5f7b-4a46-4bd5-bdf1-698d3a91c208" providerId="ADAL" clId="{D90324C1-6CE4-4C28-B886-AED0B666B37F}" dt="2024-06-06T05:39:49.947" v="47419" actId="478"/>
          <ac:spMkLst>
            <pc:docMk/>
            <pc:sldMk cId="3640700558" sldId="604"/>
            <ac:spMk id="28" creationId="{4E52788A-4290-9EC3-B5D8-3D87737C59E4}"/>
          </ac:spMkLst>
        </pc:spChg>
        <pc:spChg chg="add mod">
          <ac:chgData name="Grace, Morgan (Brisbane)" userId="221d5f7b-4a46-4bd5-bdf1-698d3a91c208" providerId="ADAL" clId="{D90324C1-6CE4-4C28-B886-AED0B666B37F}" dt="2024-06-21T05:40:41.078" v="125901" actId="571"/>
          <ac:spMkLst>
            <pc:docMk/>
            <pc:sldMk cId="3640700558" sldId="604"/>
            <ac:spMk id="29" creationId="{4C0242DB-7A47-8459-2422-040250B222D5}"/>
          </ac:spMkLst>
        </pc:spChg>
        <pc:spChg chg="add del mod">
          <ac:chgData name="Grace, Morgan (Brisbane)" userId="221d5f7b-4a46-4bd5-bdf1-698d3a91c208" providerId="ADAL" clId="{D90324C1-6CE4-4C28-B886-AED0B666B37F}" dt="2024-06-06T05:39:49.947" v="47419" actId="478"/>
          <ac:spMkLst>
            <pc:docMk/>
            <pc:sldMk cId="3640700558" sldId="604"/>
            <ac:spMk id="29" creationId="{4E8E7327-8349-BBE2-81A8-F127DE83EB18}"/>
          </ac:spMkLst>
        </pc:spChg>
        <pc:spChg chg="add mod">
          <ac:chgData name="Grace, Morgan (Brisbane)" userId="221d5f7b-4a46-4bd5-bdf1-698d3a91c208" providerId="ADAL" clId="{D90324C1-6CE4-4C28-B886-AED0B666B37F}" dt="2024-06-21T05:40:41.078" v="125901" actId="571"/>
          <ac:spMkLst>
            <pc:docMk/>
            <pc:sldMk cId="3640700558" sldId="604"/>
            <ac:spMk id="30" creationId="{84B913D3-1AFE-CDA3-38D6-444F4FA51235}"/>
          </ac:spMkLst>
        </pc:spChg>
        <pc:spChg chg="add del mod">
          <ac:chgData name="Grace, Morgan (Brisbane)" userId="221d5f7b-4a46-4bd5-bdf1-698d3a91c208" providerId="ADAL" clId="{D90324C1-6CE4-4C28-B886-AED0B666B37F}" dt="2024-06-06T05:39:49.947" v="47419" actId="478"/>
          <ac:spMkLst>
            <pc:docMk/>
            <pc:sldMk cId="3640700558" sldId="604"/>
            <ac:spMk id="30" creationId="{BDE99193-B9F9-F954-EA30-1DD4638F35F2}"/>
          </ac:spMkLst>
        </pc:spChg>
        <pc:spChg chg="add mod">
          <ac:chgData name="Grace, Morgan (Brisbane)" userId="221d5f7b-4a46-4bd5-bdf1-698d3a91c208" providerId="ADAL" clId="{D90324C1-6CE4-4C28-B886-AED0B666B37F}" dt="2024-06-21T05:40:41.078" v="125901" actId="571"/>
          <ac:spMkLst>
            <pc:docMk/>
            <pc:sldMk cId="3640700558" sldId="604"/>
            <ac:spMk id="31" creationId="{B5EEF746-5555-BCC9-9984-4281C0F3828A}"/>
          </ac:spMkLst>
        </pc:spChg>
        <pc:spChg chg="add del mod">
          <ac:chgData name="Grace, Morgan (Brisbane)" userId="221d5f7b-4a46-4bd5-bdf1-698d3a91c208" providerId="ADAL" clId="{D90324C1-6CE4-4C28-B886-AED0B666B37F}" dt="2024-06-21T05:43:17.941" v="126016" actId="478"/>
          <ac:spMkLst>
            <pc:docMk/>
            <pc:sldMk cId="3640700558" sldId="604"/>
            <ac:spMk id="33" creationId="{01BA15ED-0860-6DD8-A975-53B9568C4559}"/>
          </ac:spMkLst>
        </pc:spChg>
        <pc:spChg chg="add del mod">
          <ac:chgData name="Grace, Morgan (Brisbane)" userId="221d5f7b-4a46-4bd5-bdf1-698d3a91c208" providerId="ADAL" clId="{D90324C1-6CE4-4C28-B886-AED0B666B37F}" dt="2024-06-21T05:43:52.784" v="126021" actId="478"/>
          <ac:spMkLst>
            <pc:docMk/>
            <pc:sldMk cId="3640700558" sldId="604"/>
            <ac:spMk id="35" creationId="{0636190D-10A3-D057-933B-E62E69C30DEF}"/>
          </ac:spMkLst>
        </pc:spChg>
        <pc:spChg chg="add del">
          <ac:chgData name="Grace, Morgan (Brisbane)" userId="221d5f7b-4a46-4bd5-bdf1-698d3a91c208" providerId="ADAL" clId="{D90324C1-6CE4-4C28-B886-AED0B666B37F}" dt="2024-06-21T05:47:11.610" v="126047" actId="22"/>
          <ac:spMkLst>
            <pc:docMk/>
            <pc:sldMk cId="3640700558" sldId="604"/>
            <ac:spMk id="37" creationId="{1E207A7B-539E-CD37-4FE4-448DDBA5D100}"/>
          </ac:spMkLst>
        </pc:spChg>
        <pc:spChg chg="add del mod">
          <ac:chgData name="Grace, Morgan (Brisbane)" userId="221d5f7b-4a46-4bd5-bdf1-698d3a91c208" providerId="ADAL" clId="{D90324C1-6CE4-4C28-B886-AED0B666B37F}" dt="2024-06-24T01:02:20.706" v="127188" actId="478"/>
          <ac:spMkLst>
            <pc:docMk/>
            <pc:sldMk cId="3640700558" sldId="604"/>
            <ac:spMk id="38" creationId="{6121F324-3794-FAE6-1486-0DC3A26A57BF}"/>
          </ac:spMkLst>
        </pc:spChg>
        <pc:spChg chg="add mod">
          <ac:chgData name="Grace, Morgan (Brisbane)" userId="221d5f7b-4a46-4bd5-bdf1-698d3a91c208" providerId="ADAL" clId="{D90324C1-6CE4-4C28-B886-AED0B666B37F}" dt="2024-06-24T03:44:31.875" v="127725" actId="14100"/>
          <ac:spMkLst>
            <pc:docMk/>
            <pc:sldMk cId="3640700558" sldId="604"/>
            <ac:spMk id="39" creationId="{98BBF6C0-4565-0FFE-9E80-364C37A4F5E4}"/>
          </ac:spMkLst>
        </pc:spChg>
        <pc:spChg chg="add mod">
          <ac:chgData name="Grace, Morgan (Brisbane)" userId="221d5f7b-4a46-4bd5-bdf1-698d3a91c208" providerId="ADAL" clId="{D90324C1-6CE4-4C28-B886-AED0B666B37F}" dt="2024-06-24T03:44:31.875" v="127725" actId="14100"/>
          <ac:spMkLst>
            <pc:docMk/>
            <pc:sldMk cId="3640700558" sldId="604"/>
            <ac:spMk id="40" creationId="{D0B926AF-64CD-1BF8-09CB-8F6167BB51DE}"/>
          </ac:spMkLst>
        </pc:spChg>
        <pc:spChg chg="add del">
          <ac:chgData name="Grace, Morgan (Brisbane)" userId="221d5f7b-4a46-4bd5-bdf1-698d3a91c208" providerId="ADAL" clId="{D90324C1-6CE4-4C28-B886-AED0B666B37F}" dt="2024-06-21T05:50:09.431" v="126158" actId="22"/>
          <ac:spMkLst>
            <pc:docMk/>
            <pc:sldMk cId="3640700558" sldId="604"/>
            <ac:spMk id="42" creationId="{190BB073-4042-1174-565C-D60D02B4A4E5}"/>
          </ac:spMkLst>
        </pc:spChg>
        <pc:spChg chg="add mod">
          <ac:chgData name="Grace, Morgan (Brisbane)" userId="221d5f7b-4a46-4bd5-bdf1-698d3a91c208" providerId="ADAL" clId="{D90324C1-6CE4-4C28-B886-AED0B666B37F}" dt="2024-06-24T03:44:31.875" v="127725" actId="14100"/>
          <ac:spMkLst>
            <pc:docMk/>
            <pc:sldMk cId="3640700558" sldId="604"/>
            <ac:spMk id="43" creationId="{0403AB99-6355-1DCC-A0CB-449C04C2CE17}"/>
          </ac:spMkLst>
        </pc:spChg>
        <pc:spChg chg="add del mod">
          <ac:chgData name="Grace, Morgan (Brisbane)" userId="221d5f7b-4a46-4bd5-bdf1-698d3a91c208" providerId="ADAL" clId="{D90324C1-6CE4-4C28-B886-AED0B666B37F}" dt="2024-06-24T03:42:41.643" v="127647" actId="478"/>
          <ac:spMkLst>
            <pc:docMk/>
            <pc:sldMk cId="3640700558" sldId="604"/>
            <ac:spMk id="44" creationId="{3746F40B-5CD2-8105-D7AE-CAA1AD257B2E}"/>
          </ac:spMkLst>
        </pc:spChg>
        <pc:spChg chg="add mod">
          <ac:chgData name="Grace, Morgan (Brisbane)" userId="221d5f7b-4a46-4bd5-bdf1-698d3a91c208" providerId="ADAL" clId="{D90324C1-6CE4-4C28-B886-AED0B666B37F}" dt="2024-06-24T03:50:35.633" v="127761" actId="21"/>
          <ac:spMkLst>
            <pc:docMk/>
            <pc:sldMk cId="3640700558" sldId="604"/>
            <ac:spMk id="45" creationId="{AB026AC2-7395-743B-68A6-0A989FDB42F9}"/>
          </ac:spMkLst>
        </pc:spChg>
        <pc:spChg chg="add del mod modVis">
          <ac:chgData name="Grace, Morgan (Brisbane)" userId="221d5f7b-4a46-4bd5-bdf1-698d3a91c208" providerId="ADAL" clId="{D90324C1-6CE4-4C28-B886-AED0B666B37F}" dt="2024-06-21T05:57:53.482" v="126249"/>
          <ac:spMkLst>
            <pc:docMk/>
            <pc:sldMk cId="3640700558" sldId="604"/>
            <ac:spMk id="46" creationId="{345AA812-AF29-A8E3-7B40-24496B5494E2}"/>
          </ac:spMkLst>
        </pc:spChg>
        <pc:spChg chg="add mod ord">
          <ac:chgData name="Grace, Morgan (Brisbane)" userId="221d5f7b-4a46-4bd5-bdf1-698d3a91c208" providerId="ADAL" clId="{D90324C1-6CE4-4C28-B886-AED0B666B37F}" dt="2024-06-24T00:59:59.977" v="127170" actId="14100"/>
          <ac:spMkLst>
            <pc:docMk/>
            <pc:sldMk cId="3640700558" sldId="604"/>
            <ac:spMk id="47" creationId="{D38FDAAB-D517-9982-3764-4ACE7E0601FA}"/>
          </ac:spMkLst>
        </pc:spChg>
        <pc:spChg chg="add del mod modVis">
          <ac:chgData name="Grace, Morgan (Brisbane)" userId="221d5f7b-4a46-4bd5-bdf1-698d3a91c208" providerId="ADAL" clId="{D90324C1-6CE4-4C28-B886-AED0B666B37F}" dt="2024-06-21T06:12:04.559" v="126525"/>
          <ac:spMkLst>
            <pc:docMk/>
            <pc:sldMk cId="3640700558" sldId="604"/>
            <ac:spMk id="48" creationId="{CD5FE095-895C-6941-C2AD-A95DCC148413}"/>
          </ac:spMkLst>
        </pc:spChg>
        <pc:graphicFrameChg chg="mod">
          <ac:chgData name="Grace, Morgan (Brisbane)" userId="221d5f7b-4a46-4bd5-bdf1-698d3a91c208" providerId="ADAL" clId="{D90324C1-6CE4-4C28-B886-AED0B666B37F}" dt="2024-06-21T06:12:04.559" v="126527"/>
          <ac:graphicFrameMkLst>
            <pc:docMk/>
            <pc:sldMk cId="3640700558" sldId="604"/>
            <ac:graphicFrameMk id="6" creationId="{44A1C16C-2003-47F1-BAF1-138B351CAA9C}"/>
          </ac:graphicFrameMkLst>
        </pc:graphicFrameChg>
        <pc:graphicFrameChg chg="add del mod modGraphic">
          <ac:chgData name="Grace, Morgan (Brisbane)" userId="221d5f7b-4a46-4bd5-bdf1-698d3a91c208" providerId="ADAL" clId="{D90324C1-6CE4-4C28-B886-AED0B666B37F}" dt="2024-06-24T03:50:32.954" v="127759" actId="1076"/>
          <ac:graphicFrameMkLst>
            <pc:docMk/>
            <pc:sldMk cId="3640700558" sldId="604"/>
            <ac:graphicFrameMk id="17" creationId="{8067AAAE-CAAB-C6D0-2A41-2BD89AF10AED}"/>
          </ac:graphicFrameMkLst>
        </pc:graphicFrameChg>
        <pc:picChg chg="add del mod">
          <ac:chgData name="Grace, Morgan (Brisbane)" userId="221d5f7b-4a46-4bd5-bdf1-698d3a91c208" providerId="ADAL" clId="{D90324C1-6CE4-4C28-B886-AED0B666B37F}" dt="2024-06-06T01:35:55.770" v="40813" actId="478"/>
          <ac:picMkLst>
            <pc:docMk/>
            <pc:sldMk cId="3640700558" sldId="604"/>
            <ac:picMk id="7" creationId="{0828D4A8-5B3F-8828-0AB9-FFA46A29C3A2}"/>
          </ac:picMkLst>
        </pc:picChg>
      </pc:sldChg>
      <pc:sldChg chg="addSp delSp modSp del mod modNotes">
        <pc:chgData name="Grace, Morgan (Brisbane)" userId="221d5f7b-4a46-4bd5-bdf1-698d3a91c208" providerId="ADAL" clId="{D90324C1-6CE4-4C28-B886-AED0B666B37F}" dt="2024-06-06T05:27:38.707" v="46793" actId="2696"/>
        <pc:sldMkLst>
          <pc:docMk/>
          <pc:sldMk cId="2196723608" sldId="605"/>
        </pc:sldMkLst>
        <pc:spChg chg="mod">
          <ac:chgData name="Grace, Morgan (Brisbane)" userId="221d5f7b-4a46-4bd5-bdf1-698d3a91c208" providerId="ADAL" clId="{D90324C1-6CE4-4C28-B886-AED0B666B37F}" dt="2024-06-06T05:13:59.601" v="45255" actId="948"/>
          <ac:spMkLst>
            <pc:docMk/>
            <pc:sldMk cId="2196723608" sldId="605"/>
            <ac:spMk id="2" creationId="{C1E0C783-C1A7-4C16-8161-C0B0A65BA529}"/>
          </ac:spMkLst>
        </pc:spChg>
        <pc:spChg chg="mod">
          <ac:chgData name="Grace, Morgan (Brisbane)" userId="221d5f7b-4a46-4bd5-bdf1-698d3a91c208" providerId="ADAL" clId="{D90324C1-6CE4-4C28-B886-AED0B666B37F}" dt="2024-06-06T05:13:57.182" v="43669" actId="947"/>
          <ac:spMkLst>
            <pc:docMk/>
            <pc:sldMk cId="2196723608" sldId="605"/>
            <ac:spMk id="3" creationId="{1A3BA682-1A11-452A-ACA1-03662AF854B9}"/>
          </ac:spMkLst>
        </pc:spChg>
        <pc:spChg chg="mod">
          <ac:chgData name="Grace, Morgan (Brisbane)" userId="221d5f7b-4a46-4bd5-bdf1-698d3a91c208" providerId="ADAL" clId="{D90324C1-6CE4-4C28-B886-AED0B666B37F}" dt="2024-06-06T05:13:57.182" v="43671" actId="947"/>
          <ac:spMkLst>
            <pc:docMk/>
            <pc:sldMk cId="2196723608" sldId="605"/>
            <ac:spMk id="4" creationId="{52A6BA5E-4D24-4550-B96C-1B272D6DCEEF}"/>
          </ac:spMkLst>
        </pc:spChg>
        <pc:spChg chg="add del mod modVis">
          <ac:chgData name="Grace, Morgan (Brisbane)" userId="221d5f7b-4a46-4bd5-bdf1-698d3a91c208" providerId="ADAL" clId="{D90324C1-6CE4-4C28-B886-AED0B666B37F}" dt="2024-06-06T01:37:36.720" v="40839"/>
          <ac:spMkLst>
            <pc:docMk/>
            <pc:sldMk cId="2196723608" sldId="605"/>
            <ac:spMk id="5" creationId="{157385D8-EF61-F316-9C0B-4F73F241615F}"/>
          </ac:spMkLst>
        </pc:spChg>
        <pc:spChg chg="del mod modVis">
          <ac:chgData name="Grace, Morgan (Brisbane)" userId="221d5f7b-4a46-4bd5-bdf1-698d3a91c208" providerId="ADAL" clId="{D90324C1-6CE4-4C28-B886-AED0B666B37F}" dt="2024-06-06T05:14:01.578" v="46189" actId="478"/>
          <ac:spMkLst>
            <pc:docMk/>
            <pc:sldMk cId="2196723608" sldId="605"/>
            <ac:spMk id="7" creationId="{30DF8F23-0AAF-5471-DDAC-06BAA6FCED82}"/>
          </ac:spMkLst>
        </pc:spChg>
        <pc:spChg chg="mod">
          <ac:chgData name="Grace, Morgan (Brisbane)" userId="221d5f7b-4a46-4bd5-bdf1-698d3a91c208" providerId="ADAL" clId="{D90324C1-6CE4-4C28-B886-AED0B666B37F}" dt="2024-06-06T05:13:57.182" v="43673" actId="947"/>
          <ac:spMkLst>
            <pc:docMk/>
            <pc:sldMk cId="2196723608" sldId="605"/>
            <ac:spMk id="14" creationId="{0E6DE341-191D-4A77-A2CC-1FED7A4A1047}"/>
          </ac:spMkLst>
        </pc:spChg>
        <pc:graphicFrameChg chg="mod">
          <ac:chgData name="Grace, Morgan (Brisbane)" userId="221d5f7b-4a46-4bd5-bdf1-698d3a91c208" providerId="ADAL" clId="{D90324C1-6CE4-4C28-B886-AED0B666B37F}" dt="2024-06-06T05:14:01.578" v="46190" actId="1076"/>
          <ac:graphicFrameMkLst>
            <pc:docMk/>
            <pc:sldMk cId="2196723608" sldId="605"/>
            <ac:graphicFrameMk id="6" creationId="{C3D55862-B143-4E9B-B3C7-9527C1E53B1D}"/>
          </ac:graphicFrameMkLst>
        </pc:graphicFrameChg>
      </pc:sldChg>
      <pc:sldChg chg="addSp delSp modSp mod ord modClrScheme modShow chgLayout modNotes">
        <pc:chgData name="Grace, Morgan (Brisbane)" userId="221d5f7b-4a46-4bd5-bdf1-698d3a91c208" providerId="ADAL" clId="{D90324C1-6CE4-4C28-B886-AED0B666B37F}" dt="2024-06-10T05:58:51.992" v="123278"/>
        <pc:sldMkLst>
          <pc:docMk/>
          <pc:sldMk cId="3603461109" sldId="609"/>
        </pc:sldMkLst>
        <pc:spChg chg="del mod ord">
          <ac:chgData name="Grace, Morgan (Brisbane)" userId="221d5f7b-4a46-4bd5-bdf1-698d3a91c208" providerId="ADAL" clId="{D90324C1-6CE4-4C28-B886-AED0B666B37F}" dt="2024-06-05T05:51:55.543" v="34216" actId="478"/>
          <ac:spMkLst>
            <pc:docMk/>
            <pc:sldMk cId="3603461109" sldId="609"/>
            <ac:spMk id="2" creationId="{1A97E502-F5A0-4C30-8C2C-00D665647210}"/>
          </ac:spMkLst>
        </pc:spChg>
        <pc:spChg chg="add mod">
          <ac:chgData name="Grace, Morgan (Brisbane)" userId="221d5f7b-4a46-4bd5-bdf1-698d3a91c208" providerId="ADAL" clId="{D90324C1-6CE4-4C28-B886-AED0B666B37F}" dt="2024-06-10T05:45:28.903" v="123017" actId="20577"/>
          <ac:spMkLst>
            <pc:docMk/>
            <pc:sldMk cId="3603461109" sldId="609"/>
            <ac:spMk id="2" creationId="{32E14B26-82CD-7503-3016-170196095CB6}"/>
          </ac:spMkLst>
        </pc:spChg>
        <pc:spChg chg="add del mod ord">
          <ac:chgData name="Grace, Morgan (Brisbane)" userId="221d5f7b-4a46-4bd5-bdf1-698d3a91c208" providerId="ADAL" clId="{D90324C1-6CE4-4C28-B886-AED0B666B37F}" dt="2024-06-10T05:58:41.027" v="123273" actId="478"/>
          <ac:spMkLst>
            <pc:docMk/>
            <pc:sldMk cId="3603461109" sldId="609"/>
            <ac:spMk id="3" creationId="{EFFA4EDE-F9D2-450C-B3D0-779DB7F9AC7B}"/>
          </ac:spMkLst>
        </pc:spChg>
        <pc:spChg chg="add del mod ord">
          <ac:chgData name="Grace, Morgan (Brisbane)" userId="221d5f7b-4a46-4bd5-bdf1-698d3a91c208" providerId="ADAL" clId="{D90324C1-6CE4-4C28-B886-AED0B666B37F}" dt="2024-06-05T05:55:04.878" v="34307" actId="478"/>
          <ac:spMkLst>
            <pc:docMk/>
            <pc:sldMk cId="3603461109" sldId="609"/>
            <ac:spMk id="5" creationId="{23153FD6-9E0A-D823-FFB3-A59BA5F14F21}"/>
          </ac:spMkLst>
        </pc:spChg>
        <pc:graphicFrameChg chg="add mod ord modVis replST">
          <ac:chgData name="Grace, Morgan (Brisbane)" userId="221d5f7b-4a46-4bd5-bdf1-698d3a91c208" providerId="ADAL" clId="{D90324C1-6CE4-4C28-B886-AED0B666B37F}" dt="2024-06-06T05:14:01.578" v="46188" actId="1076"/>
          <ac:graphicFrameMkLst>
            <pc:docMk/>
            <pc:sldMk cId="3603461109" sldId="609"/>
            <ac:graphicFrameMk id="4" creationId="{0D4192B9-C5A4-F349-8DFD-C58248F1C9B9}"/>
          </ac:graphicFrameMkLst>
        </pc:graphicFrameChg>
      </pc:sldChg>
      <pc:sldChg chg="addSp delSp modSp del mod ord modShow modNotes">
        <pc:chgData name="Grace, Morgan (Brisbane)" userId="221d5f7b-4a46-4bd5-bdf1-698d3a91c208" providerId="ADAL" clId="{D90324C1-6CE4-4C28-B886-AED0B666B37F}" dt="2024-06-24T03:37:22.345" v="127469" actId="2696"/>
        <pc:sldMkLst>
          <pc:docMk/>
          <pc:sldMk cId="456822617" sldId="610"/>
        </pc:sldMkLst>
        <pc:spChg chg="mod">
          <ac:chgData name="Grace, Morgan (Brisbane)" userId="221d5f7b-4a46-4bd5-bdf1-698d3a91c208" providerId="ADAL" clId="{D90324C1-6CE4-4C28-B886-AED0B666B37F}" dt="2024-06-06T05:13:59.617" v="45274" actId="948"/>
          <ac:spMkLst>
            <pc:docMk/>
            <pc:sldMk cId="456822617" sldId="610"/>
            <ac:spMk id="2" creationId="{C1E0C783-C1A7-4C16-8161-C0B0A65BA529}"/>
          </ac:spMkLst>
        </pc:spChg>
        <pc:spChg chg="mod">
          <ac:chgData name="Grace, Morgan (Brisbane)" userId="221d5f7b-4a46-4bd5-bdf1-698d3a91c208" providerId="ADAL" clId="{D90324C1-6CE4-4C28-B886-AED0B666B37F}" dt="2024-06-06T05:13:57.198" v="43677" actId="947"/>
          <ac:spMkLst>
            <pc:docMk/>
            <pc:sldMk cId="456822617" sldId="610"/>
            <ac:spMk id="3" creationId="{1A3BA682-1A11-452A-ACA1-03662AF854B9}"/>
          </ac:spMkLst>
        </pc:spChg>
        <pc:spChg chg="mod">
          <ac:chgData name="Grace, Morgan (Brisbane)" userId="221d5f7b-4a46-4bd5-bdf1-698d3a91c208" providerId="ADAL" clId="{D90324C1-6CE4-4C28-B886-AED0B666B37F}" dt="2024-06-06T05:47:52.418" v="47585" actId="403"/>
          <ac:spMkLst>
            <pc:docMk/>
            <pc:sldMk cId="456822617" sldId="610"/>
            <ac:spMk id="4" creationId="{52A6BA5E-4D24-4550-B96C-1B272D6DCEEF}"/>
          </ac:spMkLst>
        </pc:spChg>
        <pc:spChg chg="add del mod modVis">
          <ac:chgData name="Grace, Morgan (Brisbane)" userId="221d5f7b-4a46-4bd5-bdf1-698d3a91c208" providerId="ADAL" clId="{D90324C1-6CE4-4C28-B886-AED0B666B37F}" dt="2024-06-06T01:37:39.001" v="40867"/>
          <ac:spMkLst>
            <pc:docMk/>
            <pc:sldMk cId="456822617" sldId="610"/>
            <ac:spMk id="5" creationId="{A7C8E26A-8C28-9DE5-4A30-87D5B7D0FC24}"/>
          </ac:spMkLst>
        </pc:spChg>
        <pc:spChg chg="del mod modVis">
          <ac:chgData name="Grace, Morgan (Brisbane)" userId="221d5f7b-4a46-4bd5-bdf1-698d3a91c208" providerId="ADAL" clId="{D90324C1-6CE4-4C28-B886-AED0B666B37F}" dt="2024-06-06T05:14:01.578" v="46191" actId="478"/>
          <ac:spMkLst>
            <pc:docMk/>
            <pc:sldMk cId="456822617" sldId="610"/>
            <ac:spMk id="7" creationId="{1F28C03A-79A6-32B7-8D15-0807D7AA1FBB}"/>
          </ac:spMkLst>
        </pc:spChg>
        <pc:spChg chg="mod">
          <ac:chgData name="Grace, Morgan (Brisbane)" userId="221d5f7b-4a46-4bd5-bdf1-698d3a91c208" providerId="ADAL" clId="{D90324C1-6CE4-4C28-B886-AED0B666B37F}" dt="2024-06-06T05:48:56.664" v="47655" actId="20577"/>
          <ac:spMkLst>
            <pc:docMk/>
            <pc:sldMk cId="456822617" sldId="610"/>
            <ac:spMk id="11" creationId="{31DE6FC6-5491-46B6-AFE7-26E4A9AEFE73}"/>
          </ac:spMkLst>
        </pc:spChg>
        <pc:graphicFrameChg chg="mod">
          <ac:chgData name="Grace, Morgan (Brisbane)" userId="221d5f7b-4a46-4bd5-bdf1-698d3a91c208" providerId="ADAL" clId="{D90324C1-6CE4-4C28-B886-AED0B666B37F}" dt="2024-06-06T05:14:01.578" v="46192" actId="1076"/>
          <ac:graphicFrameMkLst>
            <pc:docMk/>
            <pc:sldMk cId="456822617" sldId="610"/>
            <ac:graphicFrameMk id="6" creationId="{C3D55862-B143-4E9B-B3C7-9527C1E53B1D}"/>
          </ac:graphicFrameMkLst>
        </pc:graphicFrameChg>
      </pc:sldChg>
      <pc:sldChg chg="addSp delSp modSp mod modClrScheme chgLayout modNotes modNotesTx">
        <pc:chgData name="Grace, Morgan (Brisbane)" userId="221d5f7b-4a46-4bd5-bdf1-698d3a91c208" providerId="ADAL" clId="{D90324C1-6CE4-4C28-B886-AED0B666B37F}" dt="2024-06-24T03:58:42.197" v="128048"/>
        <pc:sldMkLst>
          <pc:docMk/>
          <pc:sldMk cId="3911953156" sldId="612"/>
        </pc:sldMkLst>
        <pc:spChg chg="mod ord">
          <ac:chgData name="Grace, Morgan (Brisbane)" userId="221d5f7b-4a46-4bd5-bdf1-698d3a91c208" providerId="ADAL" clId="{D90324C1-6CE4-4C28-B886-AED0B666B37F}" dt="2024-06-21T06:11:32.572" v="126490" actId="948"/>
          <ac:spMkLst>
            <pc:docMk/>
            <pc:sldMk cId="3911953156" sldId="612"/>
            <ac:spMk id="2" creationId="{C1E0C783-C1A7-4C16-8161-C0B0A65BA529}"/>
          </ac:spMkLst>
        </pc:spChg>
        <pc:spChg chg="add del mod">
          <ac:chgData name="Grace, Morgan (Brisbane)" userId="221d5f7b-4a46-4bd5-bdf1-698d3a91c208" providerId="ADAL" clId="{D90324C1-6CE4-4C28-B886-AED0B666B37F}" dt="2024-06-24T03:58:42.197" v="128048"/>
          <ac:spMkLst>
            <pc:docMk/>
            <pc:sldMk cId="3911953156" sldId="612"/>
            <ac:spMk id="3" creationId="{17BBF780-F58C-6674-5111-C5285D559F15}"/>
          </ac:spMkLst>
        </pc:spChg>
        <pc:spChg chg="mod">
          <ac:chgData name="Grace, Morgan (Brisbane)" userId="221d5f7b-4a46-4bd5-bdf1-698d3a91c208" providerId="ADAL" clId="{D90324C1-6CE4-4C28-B886-AED0B666B37F}" dt="2024-06-06T05:13:57.167" v="43659" actId="947"/>
          <ac:spMkLst>
            <pc:docMk/>
            <pc:sldMk cId="3911953156" sldId="612"/>
            <ac:spMk id="3" creationId="{1A3BA682-1A11-452A-ACA1-03662AF854B9}"/>
          </ac:spMkLst>
        </pc:spChg>
        <pc:spChg chg="mod ord">
          <ac:chgData name="Grace, Morgan (Brisbane)" userId="221d5f7b-4a46-4bd5-bdf1-698d3a91c208" providerId="ADAL" clId="{D90324C1-6CE4-4C28-B886-AED0B666B37F}" dt="2024-06-21T06:11:39.400" v="126497" actId="403"/>
          <ac:spMkLst>
            <pc:docMk/>
            <pc:sldMk cId="3911953156" sldId="612"/>
            <ac:spMk id="4" creationId="{52A6BA5E-4D24-4550-B96C-1B272D6DCEEF}"/>
          </ac:spMkLst>
        </pc:spChg>
        <pc:spChg chg="add del mod">
          <ac:chgData name="Grace, Morgan (Brisbane)" userId="221d5f7b-4a46-4bd5-bdf1-698d3a91c208" providerId="ADAL" clId="{D90324C1-6CE4-4C28-B886-AED0B666B37F}" dt="2024-06-24T03:58:42.197" v="128048"/>
          <ac:spMkLst>
            <pc:docMk/>
            <pc:sldMk cId="3911953156" sldId="612"/>
            <ac:spMk id="5" creationId="{54F5B53B-1640-A460-CAE7-6EABB6F23667}"/>
          </ac:spMkLst>
        </pc:spChg>
        <pc:spChg chg="del mod ord">
          <ac:chgData name="Grace, Morgan (Brisbane)" userId="221d5f7b-4a46-4bd5-bdf1-698d3a91c208" providerId="ADAL" clId="{D90324C1-6CE4-4C28-B886-AED0B666B37F}" dt="2024-06-21T06:03:37.430" v="126351" actId="700"/>
          <ac:spMkLst>
            <pc:docMk/>
            <pc:sldMk cId="3911953156" sldId="612"/>
            <ac:spMk id="5" creationId="{EA413029-F132-443B-9A7A-223228B9CB78}"/>
          </ac:spMkLst>
        </pc:spChg>
        <pc:spChg chg="mod ord">
          <ac:chgData name="Grace, Morgan (Brisbane)" userId="221d5f7b-4a46-4bd5-bdf1-698d3a91c208" providerId="ADAL" clId="{D90324C1-6CE4-4C28-B886-AED0B666B37F}" dt="2024-06-21T06:07:41.244" v="126398" actId="700"/>
          <ac:spMkLst>
            <pc:docMk/>
            <pc:sldMk cId="3911953156" sldId="612"/>
            <ac:spMk id="7" creationId="{C4834784-05EE-5DD1-D5A4-63B6FB3606D2}"/>
          </ac:spMkLst>
        </pc:spChg>
        <pc:spChg chg="mod ord">
          <ac:chgData name="Grace, Morgan (Brisbane)" userId="221d5f7b-4a46-4bd5-bdf1-698d3a91c208" providerId="ADAL" clId="{D90324C1-6CE4-4C28-B886-AED0B666B37F}" dt="2024-06-21T06:07:41.244" v="126398" actId="700"/>
          <ac:spMkLst>
            <pc:docMk/>
            <pc:sldMk cId="3911953156" sldId="612"/>
            <ac:spMk id="8" creationId="{AE7F770D-CC4E-BE96-756E-DC7C7DCAB0BC}"/>
          </ac:spMkLst>
        </pc:spChg>
        <pc:spChg chg="add del mod ord">
          <ac:chgData name="Grace, Morgan (Brisbane)" userId="221d5f7b-4a46-4bd5-bdf1-698d3a91c208" providerId="ADAL" clId="{D90324C1-6CE4-4C28-B886-AED0B666B37F}" dt="2024-06-21T06:07:31.578" v="126390"/>
          <ac:spMkLst>
            <pc:docMk/>
            <pc:sldMk cId="3911953156" sldId="612"/>
            <ac:spMk id="14" creationId="{313E2869-8519-2015-064C-81B864A1BDF4}"/>
          </ac:spMkLst>
        </pc:spChg>
        <pc:spChg chg="add del mod ord">
          <ac:chgData name="Grace, Morgan (Brisbane)" userId="221d5f7b-4a46-4bd5-bdf1-698d3a91c208" providerId="ADAL" clId="{D90324C1-6CE4-4C28-B886-AED0B666B37F}" dt="2024-06-21T06:07:37.518" v="126391" actId="700"/>
          <ac:spMkLst>
            <pc:docMk/>
            <pc:sldMk cId="3911953156" sldId="612"/>
            <ac:spMk id="15" creationId="{2837C38D-8B24-CDB3-D2B2-068EA1B0F870}"/>
          </ac:spMkLst>
        </pc:spChg>
        <pc:spChg chg="add del mod ord">
          <ac:chgData name="Grace, Morgan (Brisbane)" userId="221d5f7b-4a46-4bd5-bdf1-698d3a91c208" providerId="ADAL" clId="{D90324C1-6CE4-4C28-B886-AED0B666B37F}" dt="2024-06-21T06:07:37.518" v="126391" actId="700"/>
          <ac:spMkLst>
            <pc:docMk/>
            <pc:sldMk cId="3911953156" sldId="612"/>
            <ac:spMk id="16" creationId="{0A03B05A-A65A-96A9-C904-FCE8FA3E4A92}"/>
          </ac:spMkLst>
        </pc:spChg>
        <pc:spChg chg="add del mod ord">
          <ac:chgData name="Grace, Morgan (Brisbane)" userId="221d5f7b-4a46-4bd5-bdf1-698d3a91c208" providerId="ADAL" clId="{D90324C1-6CE4-4C28-B886-AED0B666B37F}" dt="2024-06-21T06:07:37.518" v="126391" actId="700"/>
          <ac:spMkLst>
            <pc:docMk/>
            <pc:sldMk cId="3911953156" sldId="612"/>
            <ac:spMk id="17" creationId="{45249226-9E4D-64C6-313D-2AE54FAAD279}"/>
          </ac:spMkLst>
        </pc:spChg>
        <pc:spChg chg="add del mod ord">
          <ac:chgData name="Grace, Morgan (Brisbane)" userId="221d5f7b-4a46-4bd5-bdf1-698d3a91c208" providerId="ADAL" clId="{D90324C1-6CE4-4C28-B886-AED0B666B37F}" dt="2024-06-21T06:07:37.518" v="126391" actId="700"/>
          <ac:spMkLst>
            <pc:docMk/>
            <pc:sldMk cId="3911953156" sldId="612"/>
            <ac:spMk id="18" creationId="{0AE676B2-35E3-CB32-8225-B840B5D49090}"/>
          </ac:spMkLst>
        </pc:spChg>
        <pc:spChg chg="add del mod ord">
          <ac:chgData name="Grace, Morgan (Brisbane)" userId="221d5f7b-4a46-4bd5-bdf1-698d3a91c208" providerId="ADAL" clId="{D90324C1-6CE4-4C28-B886-AED0B666B37F}" dt="2024-06-21T06:07:37.518" v="126391" actId="700"/>
          <ac:spMkLst>
            <pc:docMk/>
            <pc:sldMk cId="3911953156" sldId="612"/>
            <ac:spMk id="19" creationId="{AF23D841-777B-9EA0-09F9-6C12286BA4DE}"/>
          </ac:spMkLst>
        </pc:spChg>
        <pc:spChg chg="add del mod ord">
          <ac:chgData name="Grace, Morgan (Brisbane)" userId="221d5f7b-4a46-4bd5-bdf1-698d3a91c208" providerId="ADAL" clId="{D90324C1-6CE4-4C28-B886-AED0B666B37F}" dt="2024-06-21T06:07:37.518" v="126391" actId="700"/>
          <ac:spMkLst>
            <pc:docMk/>
            <pc:sldMk cId="3911953156" sldId="612"/>
            <ac:spMk id="20" creationId="{BB76A5F2-5147-1C7B-2620-F474F57E9D74}"/>
          </ac:spMkLst>
        </pc:spChg>
        <pc:spChg chg="add del mod ord">
          <ac:chgData name="Grace, Morgan (Brisbane)" userId="221d5f7b-4a46-4bd5-bdf1-698d3a91c208" providerId="ADAL" clId="{D90324C1-6CE4-4C28-B886-AED0B666B37F}" dt="2024-06-21T06:07:37.518" v="126391" actId="700"/>
          <ac:spMkLst>
            <pc:docMk/>
            <pc:sldMk cId="3911953156" sldId="612"/>
            <ac:spMk id="21" creationId="{B9FB59FB-79CF-368D-73F7-51E02AC5B1CF}"/>
          </ac:spMkLst>
        </pc:spChg>
        <pc:spChg chg="add del mod ord">
          <ac:chgData name="Grace, Morgan (Brisbane)" userId="221d5f7b-4a46-4bd5-bdf1-698d3a91c208" providerId="ADAL" clId="{D90324C1-6CE4-4C28-B886-AED0B666B37F}" dt="2024-06-21T06:07:37.518" v="126391" actId="700"/>
          <ac:spMkLst>
            <pc:docMk/>
            <pc:sldMk cId="3911953156" sldId="612"/>
            <ac:spMk id="22" creationId="{8CC38940-F171-4874-4603-41FF2FEFFA31}"/>
          </ac:spMkLst>
        </pc:spChg>
        <pc:spChg chg="add del mod ord">
          <ac:chgData name="Grace, Morgan (Brisbane)" userId="221d5f7b-4a46-4bd5-bdf1-698d3a91c208" providerId="ADAL" clId="{D90324C1-6CE4-4C28-B886-AED0B666B37F}" dt="2024-06-21T06:07:37.518" v="126391" actId="700"/>
          <ac:spMkLst>
            <pc:docMk/>
            <pc:sldMk cId="3911953156" sldId="612"/>
            <ac:spMk id="23" creationId="{FFC78573-9C0C-A9F2-01D1-BD6191F7ED1F}"/>
          </ac:spMkLst>
        </pc:spChg>
        <pc:spChg chg="add del mod ord">
          <ac:chgData name="Grace, Morgan (Brisbane)" userId="221d5f7b-4a46-4bd5-bdf1-698d3a91c208" providerId="ADAL" clId="{D90324C1-6CE4-4C28-B886-AED0B666B37F}" dt="2024-06-21T06:07:37.518" v="126391" actId="700"/>
          <ac:spMkLst>
            <pc:docMk/>
            <pc:sldMk cId="3911953156" sldId="612"/>
            <ac:spMk id="24" creationId="{E81BD9FC-86E5-F0CA-7FDA-8A051BFA2743}"/>
          </ac:spMkLst>
        </pc:spChg>
        <pc:spChg chg="add del mod ord">
          <ac:chgData name="Grace, Morgan (Brisbane)" userId="221d5f7b-4a46-4bd5-bdf1-698d3a91c208" providerId="ADAL" clId="{D90324C1-6CE4-4C28-B886-AED0B666B37F}" dt="2024-06-21T06:07:37.518" v="126391" actId="700"/>
          <ac:spMkLst>
            <pc:docMk/>
            <pc:sldMk cId="3911953156" sldId="612"/>
            <ac:spMk id="25" creationId="{2D41EE64-956E-733E-1557-82EEF9096EAC}"/>
          </ac:spMkLst>
        </pc:spChg>
        <pc:spChg chg="add del mod ord">
          <ac:chgData name="Grace, Morgan (Brisbane)" userId="221d5f7b-4a46-4bd5-bdf1-698d3a91c208" providerId="ADAL" clId="{D90324C1-6CE4-4C28-B886-AED0B666B37F}" dt="2024-06-21T06:07:37.518" v="126391" actId="700"/>
          <ac:spMkLst>
            <pc:docMk/>
            <pc:sldMk cId="3911953156" sldId="612"/>
            <ac:spMk id="26" creationId="{9495F600-506B-0540-5236-368A6D09BB14}"/>
          </ac:spMkLst>
        </pc:spChg>
        <pc:spChg chg="add del mod ord">
          <ac:chgData name="Grace, Morgan (Brisbane)" userId="221d5f7b-4a46-4bd5-bdf1-698d3a91c208" providerId="ADAL" clId="{D90324C1-6CE4-4C28-B886-AED0B666B37F}" dt="2024-06-21T06:07:41.244" v="126398" actId="700"/>
          <ac:spMkLst>
            <pc:docMk/>
            <pc:sldMk cId="3911953156" sldId="612"/>
            <ac:spMk id="28" creationId="{FA38697A-A19D-8BB6-2D9A-BF41EA533396}"/>
          </ac:spMkLst>
        </pc:spChg>
        <pc:spChg chg="add del mod ord">
          <ac:chgData name="Grace, Morgan (Brisbane)" userId="221d5f7b-4a46-4bd5-bdf1-698d3a91c208" providerId="ADAL" clId="{D90324C1-6CE4-4C28-B886-AED0B666B37F}" dt="2024-06-21T06:07:41.244" v="126398" actId="700"/>
          <ac:spMkLst>
            <pc:docMk/>
            <pc:sldMk cId="3911953156" sldId="612"/>
            <ac:spMk id="29" creationId="{1CD5C6A0-D9A1-B91D-8075-45AD22211CEB}"/>
          </ac:spMkLst>
        </pc:spChg>
        <pc:spChg chg="add del mod ord">
          <ac:chgData name="Grace, Morgan (Brisbane)" userId="221d5f7b-4a46-4bd5-bdf1-698d3a91c208" providerId="ADAL" clId="{D90324C1-6CE4-4C28-B886-AED0B666B37F}" dt="2024-06-21T06:07:53.374" v="126406" actId="478"/>
          <ac:spMkLst>
            <pc:docMk/>
            <pc:sldMk cId="3911953156" sldId="612"/>
            <ac:spMk id="30" creationId="{BA57E9E2-6C57-36BA-DDE4-D764C1E5DCF0}"/>
          </ac:spMkLst>
        </pc:spChg>
        <pc:spChg chg="add mod ord">
          <ac:chgData name="Grace, Morgan (Brisbane)" userId="221d5f7b-4a46-4bd5-bdf1-698d3a91c208" providerId="ADAL" clId="{D90324C1-6CE4-4C28-B886-AED0B666B37F}" dt="2024-06-21T06:10:38.108" v="126475" actId="1076"/>
          <ac:spMkLst>
            <pc:docMk/>
            <pc:sldMk cId="3911953156" sldId="612"/>
            <ac:spMk id="31" creationId="{FB8B91B7-7A05-2DDA-DF36-5EEC24F5F14C}"/>
          </ac:spMkLst>
        </pc:spChg>
        <pc:graphicFrameChg chg="mod">
          <ac:chgData name="Grace, Morgan (Brisbane)" userId="221d5f7b-4a46-4bd5-bdf1-698d3a91c208" providerId="ADAL" clId="{D90324C1-6CE4-4C28-B886-AED0B666B37F}" dt="2024-06-21T06:11:32.577" v="126494"/>
          <ac:graphicFrameMkLst>
            <pc:docMk/>
            <pc:sldMk cId="3911953156" sldId="612"/>
            <ac:graphicFrameMk id="6" creationId="{C3D55862-B143-4E9B-B3C7-9527C1E53B1D}"/>
          </ac:graphicFrameMkLst>
        </pc:graphicFrameChg>
        <pc:graphicFrameChg chg="add del mod">
          <ac:chgData name="Grace, Morgan (Brisbane)" userId="221d5f7b-4a46-4bd5-bdf1-698d3a91c208" providerId="ADAL" clId="{D90324C1-6CE4-4C28-B886-AED0B666B37F}" dt="2024-06-21T06:05:55.936" v="126370" actId="12084"/>
          <ac:graphicFrameMkLst>
            <pc:docMk/>
            <pc:sldMk cId="3911953156" sldId="612"/>
            <ac:graphicFrameMk id="13" creationId="{EAEC64B5-79EA-0F79-ACD6-85FD469FA574}"/>
          </ac:graphicFrameMkLst>
        </pc:graphicFrameChg>
        <pc:picChg chg="add del mod">
          <ac:chgData name="Grace, Morgan (Brisbane)" userId="221d5f7b-4a46-4bd5-bdf1-698d3a91c208" providerId="ADAL" clId="{D90324C1-6CE4-4C28-B886-AED0B666B37F}" dt="2024-06-21T06:07:30.970" v="126388" actId="21"/>
          <ac:picMkLst>
            <pc:docMk/>
            <pc:sldMk cId="3911953156" sldId="612"/>
            <ac:picMk id="10" creationId="{C1DFB3F6-2B6E-7508-3A5B-805E8DC7B8A3}"/>
          </ac:picMkLst>
        </pc:picChg>
        <pc:picChg chg="add del mod modCrop">
          <ac:chgData name="Grace, Morgan (Brisbane)" userId="221d5f7b-4a46-4bd5-bdf1-698d3a91c208" providerId="ADAL" clId="{D90324C1-6CE4-4C28-B886-AED0B666B37F}" dt="2024-06-21T06:06:18.177" v="126378" actId="478"/>
          <ac:picMkLst>
            <pc:docMk/>
            <pc:sldMk cId="3911953156" sldId="612"/>
            <ac:picMk id="12" creationId="{E231CC68-2BFE-203C-53FB-9C26CB4F63C8}"/>
          </ac:picMkLst>
        </pc:picChg>
        <pc:picChg chg="add mod ord modCrop">
          <ac:chgData name="Grace, Morgan (Brisbane)" userId="221d5f7b-4a46-4bd5-bdf1-698d3a91c208" providerId="ADAL" clId="{D90324C1-6CE4-4C28-B886-AED0B666B37F}" dt="2024-06-21T06:10:46.392" v="126476" actId="18131"/>
          <ac:picMkLst>
            <pc:docMk/>
            <pc:sldMk cId="3911953156" sldId="612"/>
            <ac:picMk id="27" creationId="{B773C049-A3F6-F33D-9CEB-836264E84CFD}"/>
          </ac:picMkLst>
        </pc:picChg>
      </pc:sldChg>
      <pc:sldChg chg="addSp delSp modSp del mod ord modClrScheme modShow chgLayout modNotes">
        <pc:chgData name="Grace, Morgan (Brisbane)" userId="221d5f7b-4a46-4bd5-bdf1-698d3a91c208" providerId="ADAL" clId="{D90324C1-6CE4-4C28-B886-AED0B666B37F}" dt="2024-06-24T03:37:22.345" v="127469" actId="2696"/>
        <pc:sldMkLst>
          <pc:docMk/>
          <pc:sldMk cId="3752179608" sldId="613"/>
        </pc:sldMkLst>
        <pc:spChg chg="del mod ord">
          <ac:chgData name="Grace, Morgan (Brisbane)" userId="221d5f7b-4a46-4bd5-bdf1-698d3a91c208" providerId="ADAL" clId="{D90324C1-6CE4-4C28-B886-AED0B666B37F}" dt="2024-06-10T05:45:47.468" v="123019" actId="478"/>
          <ac:spMkLst>
            <pc:docMk/>
            <pc:sldMk cId="3752179608" sldId="613"/>
            <ac:spMk id="2" creationId="{05124F91-D094-4CDE-ABE9-E2FD235FEF00}"/>
          </ac:spMkLst>
        </pc:spChg>
        <pc:spChg chg="mod ord">
          <ac:chgData name="Grace, Morgan (Brisbane)" userId="221d5f7b-4a46-4bd5-bdf1-698d3a91c208" providerId="ADAL" clId="{D90324C1-6CE4-4C28-B886-AED0B666B37F}" dt="2024-06-10T06:00:29.488" v="123358" actId="700"/>
          <ac:spMkLst>
            <pc:docMk/>
            <pc:sldMk cId="3752179608" sldId="613"/>
            <ac:spMk id="3" creationId="{FFF8A1A6-7128-4687-BBD1-476258DEFBD9}"/>
          </ac:spMkLst>
        </pc:spChg>
        <pc:spChg chg="del mod ord">
          <ac:chgData name="Grace, Morgan (Brisbane)" userId="221d5f7b-4a46-4bd5-bdf1-698d3a91c208" providerId="ADAL" clId="{D90324C1-6CE4-4C28-B886-AED0B666B37F}" dt="2024-06-10T05:45:53.707" v="123024" actId="700"/>
          <ac:spMkLst>
            <pc:docMk/>
            <pc:sldMk cId="3752179608" sldId="613"/>
            <ac:spMk id="4" creationId="{8ED34369-8CB8-4B88-95E0-9F71B7441F2F}"/>
          </ac:spMkLst>
        </pc:spChg>
        <pc:spChg chg="add mod ord">
          <ac:chgData name="Grace, Morgan (Brisbane)" userId="221d5f7b-4a46-4bd5-bdf1-698d3a91c208" providerId="ADAL" clId="{D90324C1-6CE4-4C28-B886-AED0B666B37F}" dt="2024-06-10T06:00:59.415" v="123378" actId="1035"/>
          <ac:spMkLst>
            <pc:docMk/>
            <pc:sldMk cId="3752179608" sldId="613"/>
            <ac:spMk id="7" creationId="{E744FFA4-480B-D05E-004B-D1ED1B892FBD}"/>
          </ac:spMkLst>
        </pc:spChg>
        <pc:spChg chg="add del mod">
          <ac:chgData name="Grace, Morgan (Brisbane)" userId="221d5f7b-4a46-4bd5-bdf1-698d3a91c208" providerId="ADAL" clId="{D90324C1-6CE4-4C28-B886-AED0B666B37F}" dt="2024-06-10T05:45:53.707" v="123024" actId="700"/>
          <ac:spMkLst>
            <pc:docMk/>
            <pc:sldMk cId="3752179608" sldId="613"/>
            <ac:spMk id="9" creationId="{BADF8CA9-7922-517A-DB06-E1DBABAB2EB2}"/>
          </ac:spMkLst>
        </pc:spChg>
        <pc:spChg chg="add del mod">
          <ac:chgData name="Grace, Morgan (Brisbane)" userId="221d5f7b-4a46-4bd5-bdf1-698d3a91c208" providerId="ADAL" clId="{D90324C1-6CE4-4C28-B886-AED0B666B37F}" dt="2024-06-10T05:47:07.669" v="123055" actId="478"/>
          <ac:spMkLst>
            <pc:docMk/>
            <pc:sldMk cId="3752179608" sldId="613"/>
            <ac:spMk id="10" creationId="{47B40D1D-54FD-4F1D-639F-3C978AC2015E}"/>
          </ac:spMkLst>
        </pc:spChg>
        <pc:spChg chg="add mod">
          <ac:chgData name="Grace, Morgan (Brisbane)" userId="221d5f7b-4a46-4bd5-bdf1-698d3a91c208" providerId="ADAL" clId="{D90324C1-6CE4-4C28-B886-AED0B666B37F}" dt="2024-06-10T06:01:21.065" v="123382" actId="1076"/>
          <ac:spMkLst>
            <pc:docMk/>
            <pc:sldMk cId="3752179608" sldId="613"/>
            <ac:spMk id="15" creationId="{0FD72F40-4599-7C2C-201A-2E7E047B30E9}"/>
          </ac:spMkLst>
        </pc:spChg>
        <pc:graphicFrameChg chg="mod">
          <ac:chgData name="Grace, Morgan (Brisbane)" userId="221d5f7b-4a46-4bd5-bdf1-698d3a91c208" providerId="ADAL" clId="{D90324C1-6CE4-4C28-B886-AED0B666B37F}" dt="2024-06-10T05:55:24.993" v="123230"/>
          <ac:graphicFrameMkLst>
            <pc:docMk/>
            <pc:sldMk cId="3752179608" sldId="613"/>
            <ac:graphicFrameMk id="5" creationId="{87AF52D3-BAC1-4140-BE9F-40B710E59282}"/>
          </ac:graphicFrameMkLst>
        </pc:graphicFrameChg>
        <pc:picChg chg="add del mod ord modCrop">
          <ac:chgData name="Grace, Morgan (Brisbane)" userId="221d5f7b-4a46-4bd5-bdf1-698d3a91c208" providerId="ADAL" clId="{D90324C1-6CE4-4C28-B886-AED0B666B37F}" dt="2024-06-10T06:00:31.909" v="123359" actId="478"/>
          <ac:picMkLst>
            <pc:docMk/>
            <pc:sldMk cId="3752179608" sldId="613"/>
            <ac:picMk id="6" creationId="{B27A2AC5-DE35-3599-2642-A1D0A6B249C9}"/>
          </ac:picMkLst>
        </pc:picChg>
        <pc:picChg chg="add del mod ord">
          <ac:chgData name="Grace, Morgan (Brisbane)" userId="221d5f7b-4a46-4bd5-bdf1-698d3a91c208" providerId="ADAL" clId="{D90324C1-6CE4-4C28-B886-AED0B666B37F}" dt="2024-06-10T05:54:39.508" v="123163" actId="478"/>
          <ac:picMkLst>
            <pc:docMk/>
            <pc:sldMk cId="3752179608" sldId="613"/>
            <ac:picMk id="11" creationId="{73F91C81-C4E4-5DCA-A8DE-7B4343B62014}"/>
          </ac:picMkLst>
        </pc:picChg>
        <pc:picChg chg="add del mod ord modCrop">
          <ac:chgData name="Grace, Morgan (Brisbane)" userId="221d5f7b-4a46-4bd5-bdf1-698d3a91c208" providerId="ADAL" clId="{D90324C1-6CE4-4C28-B886-AED0B666B37F}" dt="2024-06-10T05:56:03.721" v="123238" actId="478"/>
          <ac:picMkLst>
            <pc:docMk/>
            <pc:sldMk cId="3752179608" sldId="613"/>
            <ac:picMk id="12" creationId="{ABF3066A-75A1-95B1-36D4-F0CDE6980E23}"/>
          </ac:picMkLst>
        </pc:picChg>
        <pc:picChg chg="add del mod ord">
          <ac:chgData name="Grace, Morgan (Brisbane)" userId="221d5f7b-4a46-4bd5-bdf1-698d3a91c208" providerId="ADAL" clId="{D90324C1-6CE4-4C28-B886-AED0B666B37F}" dt="2024-06-10T05:56:06.131" v="123239" actId="478"/>
          <ac:picMkLst>
            <pc:docMk/>
            <pc:sldMk cId="3752179608" sldId="613"/>
            <ac:picMk id="13" creationId="{3E57720F-873E-40F7-3022-8190EB639B5B}"/>
          </ac:picMkLst>
        </pc:picChg>
        <pc:picChg chg="add del mod">
          <ac:chgData name="Grace, Morgan (Brisbane)" userId="221d5f7b-4a46-4bd5-bdf1-698d3a91c208" providerId="ADAL" clId="{D90324C1-6CE4-4C28-B886-AED0B666B37F}" dt="2024-06-10T06:00:33.198" v="123360" actId="478"/>
          <ac:picMkLst>
            <pc:docMk/>
            <pc:sldMk cId="3752179608" sldId="613"/>
            <ac:picMk id="14" creationId="{A4F3AB49-2265-313C-B759-9D26C4131BCE}"/>
          </ac:picMkLst>
        </pc:picChg>
      </pc:sldChg>
      <pc:sldChg chg="addSp delSp modSp new del mod">
        <pc:chgData name="Grace, Morgan (Brisbane)" userId="221d5f7b-4a46-4bd5-bdf1-698d3a91c208" providerId="ADAL" clId="{D90324C1-6CE4-4C28-B886-AED0B666B37F}" dt="2024-06-05T03:07:43.782" v="20438" actId="2696"/>
        <pc:sldMkLst>
          <pc:docMk/>
          <pc:sldMk cId="2917445770" sldId="614"/>
        </pc:sldMkLst>
        <pc:spChg chg="mod ord">
          <ac:chgData name="Grace, Morgan (Brisbane)" userId="221d5f7b-4a46-4bd5-bdf1-698d3a91c208" providerId="ADAL" clId="{D90324C1-6CE4-4C28-B886-AED0B666B37F}" dt="2024-06-05T03:05:37.406" v="20355"/>
          <ac:spMkLst>
            <pc:docMk/>
            <pc:sldMk cId="2917445770" sldId="614"/>
            <ac:spMk id="2" creationId="{2B0AA6CF-3409-8200-1601-B3C4A2E6368C}"/>
          </ac:spMkLst>
        </pc:spChg>
        <pc:spChg chg="mod ord">
          <ac:chgData name="Grace, Morgan (Brisbane)" userId="221d5f7b-4a46-4bd5-bdf1-698d3a91c208" providerId="ADAL" clId="{D90324C1-6CE4-4C28-B886-AED0B666B37F}" dt="2024-06-05T03:05:37.406" v="20357"/>
          <ac:spMkLst>
            <pc:docMk/>
            <pc:sldMk cId="2917445770" sldId="614"/>
            <ac:spMk id="3" creationId="{40C36303-0182-7E9F-BA78-376BA6EA12D8}"/>
          </ac:spMkLst>
        </pc:spChg>
        <pc:spChg chg="mod ord">
          <ac:chgData name="Grace, Morgan (Brisbane)" userId="221d5f7b-4a46-4bd5-bdf1-698d3a91c208" providerId="ADAL" clId="{D90324C1-6CE4-4C28-B886-AED0B666B37F}" dt="2024-06-05T03:05:37.406" v="20359"/>
          <ac:spMkLst>
            <pc:docMk/>
            <pc:sldMk cId="2917445770" sldId="614"/>
            <ac:spMk id="4" creationId="{48EB17A6-45C5-655C-F777-A251772FD971}"/>
          </ac:spMkLst>
        </pc:spChg>
        <pc:spChg chg="mod ord">
          <ac:chgData name="Grace, Morgan (Brisbane)" userId="221d5f7b-4a46-4bd5-bdf1-698d3a91c208" providerId="ADAL" clId="{D90324C1-6CE4-4C28-B886-AED0B666B37F}" dt="2024-06-05T03:05:37.413" v="20361"/>
          <ac:spMkLst>
            <pc:docMk/>
            <pc:sldMk cId="2917445770" sldId="614"/>
            <ac:spMk id="5" creationId="{A5E0CDC3-F8DE-B702-AC54-C5E7E32EFFD6}"/>
          </ac:spMkLst>
        </pc:spChg>
        <pc:spChg chg="add mod ord">
          <ac:chgData name="Grace, Morgan (Brisbane)" userId="221d5f7b-4a46-4bd5-bdf1-698d3a91c208" providerId="ADAL" clId="{D90324C1-6CE4-4C28-B886-AED0B666B37F}" dt="2024-06-05T03:05:37.413" v="20363"/>
          <ac:spMkLst>
            <pc:docMk/>
            <pc:sldMk cId="2917445770" sldId="614"/>
            <ac:spMk id="7" creationId="{2FB715F5-B834-1188-2993-43DAD80BD128}"/>
          </ac:spMkLst>
        </pc:spChg>
        <pc:spChg chg="add mod replST">
          <ac:chgData name="Grace, Morgan (Brisbane)" userId="221d5f7b-4a46-4bd5-bdf1-698d3a91c208" providerId="ADAL" clId="{D90324C1-6CE4-4C28-B886-AED0B666B37F}" dt="2024-06-05T03:05:37.414" v="20365"/>
          <ac:spMkLst>
            <pc:docMk/>
            <pc:sldMk cId="2917445770" sldId="614"/>
            <ac:spMk id="9" creationId="{30BC18D4-89DE-C9CF-8ADE-EB54E090C629}"/>
          </ac:spMkLst>
        </pc:spChg>
        <pc:spChg chg="add mod replST">
          <ac:chgData name="Grace, Morgan (Brisbane)" userId="221d5f7b-4a46-4bd5-bdf1-698d3a91c208" providerId="ADAL" clId="{D90324C1-6CE4-4C28-B886-AED0B666B37F}" dt="2024-06-05T03:05:37.415" v="20366"/>
          <ac:spMkLst>
            <pc:docMk/>
            <pc:sldMk cId="2917445770" sldId="614"/>
            <ac:spMk id="10" creationId="{35C873A1-0546-B62D-BF76-62EAFD47EFC1}"/>
          </ac:spMkLst>
        </pc:spChg>
        <pc:spChg chg="add mod replST">
          <ac:chgData name="Grace, Morgan (Brisbane)" userId="221d5f7b-4a46-4bd5-bdf1-698d3a91c208" providerId="ADAL" clId="{D90324C1-6CE4-4C28-B886-AED0B666B37F}" dt="2024-06-05T03:05:37.415" v="20367"/>
          <ac:spMkLst>
            <pc:docMk/>
            <pc:sldMk cId="2917445770" sldId="614"/>
            <ac:spMk id="11" creationId="{09FF4571-8935-C0AD-30A3-AEAD1EED976C}"/>
          </ac:spMkLst>
        </pc:spChg>
        <pc:spChg chg="add mod replST">
          <ac:chgData name="Grace, Morgan (Brisbane)" userId="221d5f7b-4a46-4bd5-bdf1-698d3a91c208" providerId="ADAL" clId="{D90324C1-6CE4-4C28-B886-AED0B666B37F}" dt="2024-06-05T03:05:37.415" v="20368"/>
          <ac:spMkLst>
            <pc:docMk/>
            <pc:sldMk cId="2917445770" sldId="614"/>
            <ac:spMk id="12" creationId="{E3C6163B-C988-A85A-1BF9-0FF2870E6A3F}"/>
          </ac:spMkLst>
        </pc:spChg>
        <pc:spChg chg="add mod replST">
          <ac:chgData name="Grace, Morgan (Brisbane)" userId="221d5f7b-4a46-4bd5-bdf1-698d3a91c208" providerId="ADAL" clId="{D90324C1-6CE4-4C28-B886-AED0B666B37F}" dt="2024-06-05T03:05:37.415" v="20369"/>
          <ac:spMkLst>
            <pc:docMk/>
            <pc:sldMk cId="2917445770" sldId="614"/>
            <ac:spMk id="13" creationId="{CEA93D37-5BD8-BA6B-6E1E-EB545FC41BDD}"/>
          </ac:spMkLst>
        </pc:spChg>
        <pc:spChg chg="add mod replST">
          <ac:chgData name="Grace, Morgan (Brisbane)" userId="221d5f7b-4a46-4bd5-bdf1-698d3a91c208" providerId="ADAL" clId="{D90324C1-6CE4-4C28-B886-AED0B666B37F}" dt="2024-06-05T03:05:37.415" v="20370"/>
          <ac:spMkLst>
            <pc:docMk/>
            <pc:sldMk cId="2917445770" sldId="614"/>
            <ac:spMk id="14" creationId="{13F5D36D-1EDC-7E97-10CD-2DB00BFBAEA1}"/>
          </ac:spMkLst>
        </pc:spChg>
        <pc:spChg chg="add mod replST">
          <ac:chgData name="Grace, Morgan (Brisbane)" userId="221d5f7b-4a46-4bd5-bdf1-698d3a91c208" providerId="ADAL" clId="{D90324C1-6CE4-4C28-B886-AED0B666B37F}" dt="2024-06-05T03:05:37.415" v="20371"/>
          <ac:spMkLst>
            <pc:docMk/>
            <pc:sldMk cId="2917445770" sldId="614"/>
            <ac:spMk id="15" creationId="{BF0752D5-D283-9C12-9B4D-F9FDAA6BEA20}"/>
          </ac:spMkLst>
        </pc:spChg>
        <pc:spChg chg="add mod replST">
          <ac:chgData name="Grace, Morgan (Brisbane)" userId="221d5f7b-4a46-4bd5-bdf1-698d3a91c208" providerId="ADAL" clId="{D90324C1-6CE4-4C28-B886-AED0B666B37F}" dt="2024-06-05T03:05:37.415" v="20372"/>
          <ac:spMkLst>
            <pc:docMk/>
            <pc:sldMk cId="2917445770" sldId="614"/>
            <ac:spMk id="16" creationId="{DDBA69DD-86D6-4842-800C-F294AC00A76F}"/>
          </ac:spMkLst>
        </pc:spChg>
        <pc:spChg chg="add mod replST">
          <ac:chgData name="Grace, Morgan (Brisbane)" userId="221d5f7b-4a46-4bd5-bdf1-698d3a91c208" providerId="ADAL" clId="{D90324C1-6CE4-4C28-B886-AED0B666B37F}" dt="2024-06-05T03:05:37.415" v="20373"/>
          <ac:spMkLst>
            <pc:docMk/>
            <pc:sldMk cId="2917445770" sldId="614"/>
            <ac:spMk id="17" creationId="{DD85C5FB-2517-E543-0E2A-91BE0311E665}"/>
          </ac:spMkLst>
        </pc:spChg>
        <pc:spChg chg="add mod replST">
          <ac:chgData name="Grace, Morgan (Brisbane)" userId="221d5f7b-4a46-4bd5-bdf1-698d3a91c208" providerId="ADAL" clId="{D90324C1-6CE4-4C28-B886-AED0B666B37F}" dt="2024-06-05T03:05:37.415" v="20374"/>
          <ac:spMkLst>
            <pc:docMk/>
            <pc:sldMk cId="2917445770" sldId="614"/>
            <ac:spMk id="18" creationId="{4B652715-068D-7861-8E60-9CD6DE49B3E3}"/>
          </ac:spMkLst>
        </pc:spChg>
        <pc:spChg chg="add mod replST">
          <ac:chgData name="Grace, Morgan (Brisbane)" userId="221d5f7b-4a46-4bd5-bdf1-698d3a91c208" providerId="ADAL" clId="{D90324C1-6CE4-4C28-B886-AED0B666B37F}" dt="2024-06-05T03:05:37.415" v="20375"/>
          <ac:spMkLst>
            <pc:docMk/>
            <pc:sldMk cId="2917445770" sldId="614"/>
            <ac:spMk id="19" creationId="{971663F9-AD05-5499-E09A-72796E2F7E58}"/>
          </ac:spMkLst>
        </pc:spChg>
        <pc:spChg chg="add mod replST">
          <ac:chgData name="Grace, Morgan (Brisbane)" userId="221d5f7b-4a46-4bd5-bdf1-698d3a91c208" providerId="ADAL" clId="{D90324C1-6CE4-4C28-B886-AED0B666B37F}" dt="2024-06-05T03:05:37.415" v="20376"/>
          <ac:spMkLst>
            <pc:docMk/>
            <pc:sldMk cId="2917445770" sldId="614"/>
            <ac:spMk id="20" creationId="{7806BC13-C0AA-2542-14C0-75155A857E1B}"/>
          </ac:spMkLst>
        </pc:spChg>
        <pc:spChg chg="add mod replST">
          <ac:chgData name="Grace, Morgan (Brisbane)" userId="221d5f7b-4a46-4bd5-bdf1-698d3a91c208" providerId="ADAL" clId="{D90324C1-6CE4-4C28-B886-AED0B666B37F}" dt="2024-06-05T03:05:37.415" v="20377"/>
          <ac:spMkLst>
            <pc:docMk/>
            <pc:sldMk cId="2917445770" sldId="614"/>
            <ac:spMk id="21" creationId="{644E692E-72F4-F599-4116-C7AF3CC967C3}"/>
          </ac:spMkLst>
        </pc:spChg>
        <pc:spChg chg="add mod ord replST">
          <ac:chgData name="Grace, Morgan (Brisbane)" userId="221d5f7b-4a46-4bd5-bdf1-698d3a91c208" providerId="ADAL" clId="{D90324C1-6CE4-4C28-B886-AED0B666B37F}" dt="2024-06-05T03:05:37.415" v="20379"/>
          <ac:spMkLst>
            <pc:docMk/>
            <pc:sldMk cId="2917445770" sldId="614"/>
            <ac:spMk id="22" creationId="{083F0B6C-86DE-DCC5-5E9E-EF60992446B1}"/>
          </ac:spMkLst>
        </pc:spChg>
        <pc:spChg chg="add mod ord replST">
          <ac:chgData name="Grace, Morgan (Brisbane)" userId="221d5f7b-4a46-4bd5-bdf1-698d3a91c208" providerId="ADAL" clId="{D90324C1-6CE4-4C28-B886-AED0B666B37F}" dt="2024-06-05T03:05:37.415" v="20381"/>
          <ac:spMkLst>
            <pc:docMk/>
            <pc:sldMk cId="2917445770" sldId="614"/>
            <ac:spMk id="23" creationId="{431B2EBE-4A63-4194-1915-F0A27C5A95AC}"/>
          </ac:spMkLst>
        </pc:spChg>
        <pc:spChg chg="add mod ord replST">
          <ac:chgData name="Grace, Morgan (Brisbane)" userId="221d5f7b-4a46-4bd5-bdf1-698d3a91c208" providerId="ADAL" clId="{D90324C1-6CE4-4C28-B886-AED0B666B37F}" dt="2024-06-05T03:05:37.415" v="20383"/>
          <ac:spMkLst>
            <pc:docMk/>
            <pc:sldMk cId="2917445770" sldId="614"/>
            <ac:spMk id="24" creationId="{9353160B-F2B3-132A-4F80-6DA2AEBC6A54}"/>
          </ac:spMkLst>
        </pc:spChg>
        <pc:spChg chg="add mod ord replST">
          <ac:chgData name="Grace, Morgan (Brisbane)" userId="221d5f7b-4a46-4bd5-bdf1-698d3a91c208" providerId="ADAL" clId="{D90324C1-6CE4-4C28-B886-AED0B666B37F}" dt="2024-06-05T03:05:37.415" v="20385"/>
          <ac:spMkLst>
            <pc:docMk/>
            <pc:sldMk cId="2917445770" sldId="614"/>
            <ac:spMk id="25" creationId="{8A7986F0-1667-740E-8D20-D9FF38D38062}"/>
          </ac:spMkLst>
        </pc:spChg>
        <pc:spChg chg="add mod ord replST">
          <ac:chgData name="Grace, Morgan (Brisbane)" userId="221d5f7b-4a46-4bd5-bdf1-698d3a91c208" providerId="ADAL" clId="{D90324C1-6CE4-4C28-B886-AED0B666B37F}" dt="2024-06-05T03:05:37.415" v="20387"/>
          <ac:spMkLst>
            <pc:docMk/>
            <pc:sldMk cId="2917445770" sldId="614"/>
            <ac:spMk id="26" creationId="{2F85112A-0FAA-E5F9-B15E-91DB863CCFE4}"/>
          </ac:spMkLst>
        </pc:spChg>
        <pc:spChg chg="add mod ord replST">
          <ac:chgData name="Grace, Morgan (Brisbane)" userId="221d5f7b-4a46-4bd5-bdf1-698d3a91c208" providerId="ADAL" clId="{D90324C1-6CE4-4C28-B886-AED0B666B37F}" dt="2024-06-05T03:05:37.415" v="20389"/>
          <ac:spMkLst>
            <pc:docMk/>
            <pc:sldMk cId="2917445770" sldId="614"/>
            <ac:spMk id="27" creationId="{779BC8A0-21BD-15BE-1582-0ADCAAD1E692}"/>
          </ac:spMkLst>
        </pc:spChg>
        <pc:spChg chg="add mod replST">
          <ac:chgData name="Grace, Morgan (Brisbane)" userId="221d5f7b-4a46-4bd5-bdf1-698d3a91c208" providerId="ADAL" clId="{D90324C1-6CE4-4C28-B886-AED0B666B37F}" dt="2024-06-05T03:05:37.415" v="20390"/>
          <ac:spMkLst>
            <pc:docMk/>
            <pc:sldMk cId="2917445770" sldId="614"/>
            <ac:spMk id="28" creationId="{CC69A400-3E11-C8F9-ABD9-F2CE903C4099}"/>
          </ac:spMkLst>
        </pc:spChg>
        <pc:spChg chg="add mod replST">
          <ac:chgData name="Grace, Morgan (Brisbane)" userId="221d5f7b-4a46-4bd5-bdf1-698d3a91c208" providerId="ADAL" clId="{D90324C1-6CE4-4C28-B886-AED0B666B37F}" dt="2024-06-05T03:05:37.415" v="20391"/>
          <ac:spMkLst>
            <pc:docMk/>
            <pc:sldMk cId="2917445770" sldId="614"/>
            <ac:spMk id="29" creationId="{5FCA0B17-0D33-C0ED-751D-D6737CF50071}"/>
          </ac:spMkLst>
        </pc:spChg>
        <pc:spChg chg="add mod replST">
          <ac:chgData name="Grace, Morgan (Brisbane)" userId="221d5f7b-4a46-4bd5-bdf1-698d3a91c208" providerId="ADAL" clId="{D90324C1-6CE4-4C28-B886-AED0B666B37F}" dt="2024-06-05T03:05:37.415" v="20392"/>
          <ac:spMkLst>
            <pc:docMk/>
            <pc:sldMk cId="2917445770" sldId="614"/>
            <ac:spMk id="30" creationId="{89C5E152-806C-F34F-BEBD-EBB81D9D2D8C}"/>
          </ac:spMkLst>
        </pc:spChg>
        <pc:spChg chg="add mod replST">
          <ac:chgData name="Grace, Morgan (Brisbane)" userId="221d5f7b-4a46-4bd5-bdf1-698d3a91c208" providerId="ADAL" clId="{D90324C1-6CE4-4C28-B886-AED0B666B37F}" dt="2024-06-05T03:05:37.415" v="20393"/>
          <ac:spMkLst>
            <pc:docMk/>
            <pc:sldMk cId="2917445770" sldId="614"/>
            <ac:spMk id="31" creationId="{DE932293-0554-3611-2B37-2F148AF90E8A}"/>
          </ac:spMkLst>
        </pc:spChg>
        <pc:spChg chg="add mod replST">
          <ac:chgData name="Grace, Morgan (Brisbane)" userId="221d5f7b-4a46-4bd5-bdf1-698d3a91c208" providerId="ADAL" clId="{D90324C1-6CE4-4C28-B886-AED0B666B37F}" dt="2024-06-05T03:05:37.415" v="20394"/>
          <ac:spMkLst>
            <pc:docMk/>
            <pc:sldMk cId="2917445770" sldId="614"/>
            <ac:spMk id="32" creationId="{BE66F138-BB9E-02C9-EC14-95C8D1D3427D}"/>
          </ac:spMkLst>
        </pc:spChg>
        <pc:spChg chg="add mod replST">
          <ac:chgData name="Grace, Morgan (Brisbane)" userId="221d5f7b-4a46-4bd5-bdf1-698d3a91c208" providerId="ADAL" clId="{D90324C1-6CE4-4C28-B886-AED0B666B37F}" dt="2024-06-05T03:05:37.415" v="20395"/>
          <ac:spMkLst>
            <pc:docMk/>
            <pc:sldMk cId="2917445770" sldId="614"/>
            <ac:spMk id="33" creationId="{57319A0C-ED6E-E0A8-0FEF-2F507880AB34}"/>
          </ac:spMkLst>
        </pc:spChg>
        <pc:spChg chg="add mod ord">
          <ac:chgData name="Grace, Morgan (Brisbane)" userId="221d5f7b-4a46-4bd5-bdf1-698d3a91c208" providerId="ADAL" clId="{D90324C1-6CE4-4C28-B886-AED0B666B37F}" dt="2024-06-05T03:05:37.422" v="20397"/>
          <ac:spMkLst>
            <pc:docMk/>
            <pc:sldMk cId="2917445770" sldId="614"/>
            <ac:spMk id="34" creationId="{01661377-5BDD-3C73-3EC1-E90BD0F5B3E1}"/>
          </ac:spMkLst>
        </pc:spChg>
        <pc:spChg chg="add mod ord">
          <ac:chgData name="Grace, Morgan (Brisbane)" userId="221d5f7b-4a46-4bd5-bdf1-698d3a91c208" providerId="ADAL" clId="{D90324C1-6CE4-4C28-B886-AED0B666B37F}" dt="2024-06-05T03:05:37.422" v="20399"/>
          <ac:spMkLst>
            <pc:docMk/>
            <pc:sldMk cId="2917445770" sldId="614"/>
            <ac:spMk id="35" creationId="{89EE5879-0832-4E8F-F551-CA1E37652ADF}"/>
          </ac:spMkLst>
        </pc:spChg>
        <pc:spChg chg="add del mod modVis">
          <ac:chgData name="Grace, Morgan (Brisbane)" userId="221d5f7b-4a46-4bd5-bdf1-698d3a91c208" providerId="ADAL" clId="{D90324C1-6CE4-4C28-B886-AED0B666B37F}" dt="2024-06-05T03:05:37.422" v="20403"/>
          <ac:spMkLst>
            <pc:docMk/>
            <pc:sldMk cId="2917445770" sldId="614"/>
            <ac:spMk id="36" creationId="{FD994B54-6B77-78E3-5694-17871BFB70CD}"/>
          </ac:spMkLst>
        </pc:spChg>
        <pc:graphicFrameChg chg="add mod ord modVis replST">
          <ac:chgData name="Grace, Morgan (Brisbane)" userId="221d5f7b-4a46-4bd5-bdf1-698d3a91c208" providerId="ADAL" clId="{D90324C1-6CE4-4C28-B886-AED0B666B37F}" dt="2024-06-05T03:05:37.422" v="20405"/>
          <ac:graphicFrameMkLst>
            <pc:docMk/>
            <pc:sldMk cId="2917445770" sldId="614"/>
            <ac:graphicFrameMk id="6" creationId="{8D23D80E-D6FF-5F8F-786F-55C0A42E0E48}"/>
          </ac:graphicFrameMkLst>
        </pc:graphicFrameChg>
        <pc:graphicFrameChg chg="add del mod replST">
          <ac:chgData name="Grace, Morgan (Brisbane)" userId="221d5f7b-4a46-4bd5-bdf1-698d3a91c208" providerId="ADAL" clId="{D90324C1-6CE4-4C28-B886-AED0B666B37F}" dt="2024-06-05T03:05:37.389" v="20347"/>
          <ac:graphicFrameMkLst>
            <pc:docMk/>
            <pc:sldMk cId="2917445770" sldId="614"/>
            <ac:graphicFrameMk id="8" creationId="{BD8F9316-C718-0C0C-0711-BC7C960BFA34}"/>
          </ac:graphicFrameMkLst>
        </pc:graphicFrameChg>
        <pc:graphicFrameChg chg="add mod replST">
          <ac:chgData name="Grace, Morgan (Brisbane)" userId="221d5f7b-4a46-4bd5-bdf1-698d3a91c208" providerId="ADAL" clId="{D90324C1-6CE4-4C28-B886-AED0B666B37F}" dt="2024-06-05T03:05:37.414" v="20364"/>
          <ac:graphicFrameMkLst>
            <pc:docMk/>
            <pc:sldMk cId="2917445770" sldId="614"/>
            <ac:graphicFrameMk id="37" creationId="{E2C43E0D-DC31-5D0C-9B47-C83382F8FB27}"/>
          </ac:graphicFrameMkLst>
        </pc:graphicFrameChg>
      </pc:sldChg>
      <pc:sldChg chg="addSp delSp modSp new mod modNotes modNotesTx">
        <pc:chgData name="Grace, Morgan (Brisbane)" userId="221d5f7b-4a46-4bd5-bdf1-698d3a91c208" providerId="ADAL" clId="{D90324C1-6CE4-4C28-B886-AED0B666B37F}" dt="2024-06-25T01:19:28.336" v="128086" actId="20577"/>
        <pc:sldMkLst>
          <pc:docMk/>
          <pc:sldMk cId="3668082236" sldId="614"/>
        </pc:sldMkLst>
        <pc:spChg chg="mod ord">
          <ac:chgData name="Grace, Morgan (Brisbane)" userId="221d5f7b-4a46-4bd5-bdf1-698d3a91c208" providerId="ADAL" clId="{D90324C1-6CE4-4C28-B886-AED0B666B37F}" dt="2024-06-07T05:39:41.176" v="122837" actId="948"/>
          <ac:spMkLst>
            <pc:docMk/>
            <pc:sldMk cId="3668082236" sldId="614"/>
            <ac:spMk id="2" creationId="{F8D14529-A990-4F3B-4E59-2492FA676853}"/>
          </ac:spMkLst>
        </pc:spChg>
        <pc:spChg chg="mod ord">
          <ac:chgData name="Grace, Morgan (Brisbane)" userId="221d5f7b-4a46-4bd5-bdf1-698d3a91c208" providerId="ADAL" clId="{D90324C1-6CE4-4C28-B886-AED0B666B37F}" dt="2024-06-07T05:38:15.238" v="122724"/>
          <ac:spMkLst>
            <pc:docMk/>
            <pc:sldMk cId="3668082236" sldId="614"/>
            <ac:spMk id="3" creationId="{68964667-AA29-9B43-B465-088F6F90AE28}"/>
          </ac:spMkLst>
        </pc:spChg>
        <pc:spChg chg="mod ord">
          <ac:chgData name="Grace, Morgan (Brisbane)" userId="221d5f7b-4a46-4bd5-bdf1-698d3a91c208" providerId="ADAL" clId="{D90324C1-6CE4-4C28-B886-AED0B666B37F}" dt="2024-06-21T01:05:32.961" v="125166" actId="403"/>
          <ac:spMkLst>
            <pc:docMk/>
            <pc:sldMk cId="3668082236" sldId="614"/>
            <ac:spMk id="4" creationId="{C49AC28A-A941-1BA8-AF2D-A1838C9633A3}"/>
          </ac:spMkLst>
        </pc:spChg>
        <pc:spChg chg="mod ord">
          <ac:chgData name="Grace, Morgan (Brisbane)" userId="221d5f7b-4a46-4bd5-bdf1-698d3a91c208" providerId="ADAL" clId="{D90324C1-6CE4-4C28-B886-AED0B666B37F}" dt="2024-06-07T05:38:15.238" v="122728"/>
          <ac:spMkLst>
            <pc:docMk/>
            <pc:sldMk cId="3668082236" sldId="614"/>
            <ac:spMk id="5" creationId="{6F0E6547-0FFD-D6FE-6FCA-50308767B2D1}"/>
          </ac:spMkLst>
        </pc:spChg>
        <pc:spChg chg="add del mod modVis">
          <ac:chgData name="Grace, Morgan (Brisbane)" userId="221d5f7b-4a46-4bd5-bdf1-698d3a91c208" providerId="ADAL" clId="{D90324C1-6CE4-4C28-B886-AED0B666B37F}" dt="2024-06-05T03:08:09.506" v="20473"/>
          <ac:spMkLst>
            <pc:docMk/>
            <pc:sldMk cId="3668082236" sldId="614"/>
            <ac:spMk id="6" creationId="{6F652796-6FA4-E997-1A6D-CDC8B7B9F7BB}"/>
          </ac:spMkLst>
        </pc:spChg>
        <pc:spChg chg="add del mod modVis">
          <ac:chgData name="Grace, Morgan (Brisbane)" userId="221d5f7b-4a46-4bd5-bdf1-698d3a91c208" providerId="ADAL" clId="{D90324C1-6CE4-4C28-B886-AED0B666B37F}" dt="2024-06-05T23:52:05.103" v="35026"/>
          <ac:spMkLst>
            <pc:docMk/>
            <pc:sldMk cId="3668082236" sldId="614"/>
            <ac:spMk id="6" creationId="{D2D1D053-E400-1DC2-4C1A-18604FD14FB6}"/>
          </ac:spMkLst>
        </pc:spChg>
        <pc:spChg chg="add del mod modVis">
          <ac:chgData name="Grace, Morgan (Brisbane)" userId="221d5f7b-4a46-4bd5-bdf1-698d3a91c208" providerId="ADAL" clId="{D90324C1-6CE4-4C28-B886-AED0B666B37F}" dt="2024-06-07T04:01:05.156" v="47803"/>
          <ac:spMkLst>
            <pc:docMk/>
            <pc:sldMk cId="3668082236" sldId="614"/>
            <ac:spMk id="6" creationId="{F097FFD8-2FAC-A810-5698-C46CE3241594}"/>
          </ac:spMkLst>
        </pc:spChg>
        <pc:spChg chg="add del mod replST">
          <ac:chgData name="Grace, Morgan (Brisbane)" userId="221d5f7b-4a46-4bd5-bdf1-698d3a91c208" providerId="ADAL" clId="{D90324C1-6CE4-4C28-B886-AED0B666B37F}" dt="2024-06-05T23:53:34.506" v="36667"/>
          <ac:spMkLst>
            <pc:docMk/>
            <pc:sldMk cId="3668082236" sldId="614"/>
            <ac:spMk id="8" creationId="{87DF0065-1E85-3CAE-AFF2-1B24507DE8EE}"/>
          </ac:spMkLst>
        </pc:spChg>
        <pc:spChg chg="add del mod modVis">
          <ac:chgData name="Grace, Morgan (Brisbane)" userId="221d5f7b-4a46-4bd5-bdf1-698d3a91c208" providerId="ADAL" clId="{D90324C1-6CE4-4C28-B886-AED0B666B37F}" dt="2024-06-05T03:08:10.239" v="20514"/>
          <ac:spMkLst>
            <pc:docMk/>
            <pc:sldMk cId="3668082236" sldId="614"/>
            <ac:spMk id="8" creationId="{D278F724-982D-354E-9A63-C47FABAF2CC9}"/>
          </ac:spMkLst>
        </pc:spChg>
        <pc:spChg chg="add del mod modVis">
          <ac:chgData name="Grace, Morgan (Brisbane)" userId="221d5f7b-4a46-4bd5-bdf1-698d3a91c208" providerId="ADAL" clId="{D90324C1-6CE4-4C28-B886-AED0B666B37F}" dt="2024-06-05T03:08:10.822" v="20542"/>
          <ac:spMkLst>
            <pc:docMk/>
            <pc:sldMk cId="3668082236" sldId="614"/>
            <ac:spMk id="9" creationId="{2A431F42-73A8-10A6-F8E6-F20A4E91FC5A}"/>
          </ac:spMkLst>
        </pc:spChg>
        <pc:spChg chg="add del mod replST">
          <ac:chgData name="Grace, Morgan (Brisbane)" userId="221d5f7b-4a46-4bd5-bdf1-698d3a91c208" providerId="ADAL" clId="{D90324C1-6CE4-4C28-B886-AED0B666B37F}" dt="2024-06-05T23:53:34.506" v="36668"/>
          <ac:spMkLst>
            <pc:docMk/>
            <pc:sldMk cId="3668082236" sldId="614"/>
            <ac:spMk id="9" creationId="{87DF0065-1E85-3CAE-AFF2-1B24507DE8EE}"/>
          </ac:spMkLst>
        </pc:spChg>
        <pc:spChg chg="add del mod modVis">
          <ac:chgData name="Grace, Morgan (Brisbane)" userId="221d5f7b-4a46-4bd5-bdf1-698d3a91c208" providerId="ADAL" clId="{D90324C1-6CE4-4C28-B886-AED0B666B37F}" dt="2024-06-07T04:11:25.038" v="48204"/>
          <ac:spMkLst>
            <pc:docMk/>
            <pc:sldMk cId="3668082236" sldId="614"/>
            <ac:spMk id="10" creationId="{54DA4420-DDD5-0873-FD32-CF4C872ED5D3}"/>
          </ac:spMkLst>
        </pc:spChg>
        <pc:spChg chg="add del mod replST">
          <ac:chgData name="Grace, Morgan (Brisbane)" userId="221d5f7b-4a46-4bd5-bdf1-698d3a91c208" providerId="ADAL" clId="{D90324C1-6CE4-4C28-B886-AED0B666B37F}" dt="2024-06-05T23:53:34.506" v="36669"/>
          <ac:spMkLst>
            <pc:docMk/>
            <pc:sldMk cId="3668082236" sldId="614"/>
            <ac:spMk id="10" creationId="{87DF0065-1E85-3CAE-AFF2-1B24507DE8EE}"/>
          </ac:spMkLst>
        </pc:spChg>
        <pc:spChg chg="add del mod modVis">
          <ac:chgData name="Grace, Morgan (Brisbane)" userId="221d5f7b-4a46-4bd5-bdf1-698d3a91c208" providerId="ADAL" clId="{D90324C1-6CE4-4C28-B886-AED0B666B37F}" dt="2024-06-05T03:08:11.656" v="20571"/>
          <ac:spMkLst>
            <pc:docMk/>
            <pc:sldMk cId="3668082236" sldId="614"/>
            <ac:spMk id="10" creationId="{E1A4C995-4398-F605-38EB-186165C6E9F5}"/>
          </ac:spMkLst>
        </pc:spChg>
        <pc:spChg chg="add del mod replST">
          <ac:chgData name="Grace, Morgan (Brisbane)" userId="221d5f7b-4a46-4bd5-bdf1-698d3a91c208" providerId="ADAL" clId="{D90324C1-6CE4-4C28-B886-AED0B666B37F}" dt="2024-06-07T04:13:49.840" v="53545"/>
          <ac:spMkLst>
            <pc:docMk/>
            <pc:sldMk cId="3668082236" sldId="614"/>
            <ac:spMk id="11" creationId="{87DF0065-1E85-3CAE-AFF2-1B24507DE8EE}"/>
          </ac:spMkLst>
        </pc:spChg>
        <pc:spChg chg="add del mod ord">
          <ac:chgData name="Grace, Morgan (Brisbane)" userId="221d5f7b-4a46-4bd5-bdf1-698d3a91c208" providerId="ADAL" clId="{D90324C1-6CE4-4C28-B886-AED0B666B37F}" dt="2024-06-05T03:09:39.839" v="21562" actId="478"/>
          <ac:spMkLst>
            <pc:docMk/>
            <pc:sldMk cId="3668082236" sldId="614"/>
            <ac:spMk id="11" creationId="{F993C104-4E1E-4B4F-6958-96F093D87FDE}"/>
          </ac:spMkLst>
        </pc:spChg>
        <pc:spChg chg="add del mod replST">
          <ac:chgData name="Grace, Morgan (Brisbane)" userId="221d5f7b-4a46-4bd5-bdf1-698d3a91c208" providerId="ADAL" clId="{D90324C1-6CE4-4C28-B886-AED0B666B37F}" dt="2024-06-07T04:13:43.461" v="53202"/>
          <ac:spMkLst>
            <pc:docMk/>
            <pc:sldMk cId="3668082236" sldId="614"/>
            <ac:spMk id="12" creationId="{87DF0065-1E85-3CAE-AFF2-1B24507DE8EE}"/>
          </ac:spMkLst>
        </pc:spChg>
        <pc:spChg chg="add del mod modVis">
          <ac:chgData name="Grace, Morgan (Brisbane)" userId="221d5f7b-4a46-4bd5-bdf1-698d3a91c208" providerId="ADAL" clId="{D90324C1-6CE4-4C28-B886-AED0B666B37F}" dt="2024-06-05T23:52:15.102" v="35132"/>
          <ac:spMkLst>
            <pc:docMk/>
            <pc:sldMk cId="3668082236" sldId="614"/>
            <ac:spMk id="12" creationId="{A786FBF8-EAA0-2A2F-0B81-841CC756096D}"/>
          </ac:spMkLst>
        </pc:spChg>
        <pc:spChg chg="add del mod ord">
          <ac:chgData name="Grace, Morgan (Brisbane)" userId="221d5f7b-4a46-4bd5-bdf1-698d3a91c208" providerId="ADAL" clId="{D90324C1-6CE4-4C28-B886-AED0B666B37F}" dt="2024-06-05T03:08:25.726" v="21294" actId="478"/>
          <ac:spMkLst>
            <pc:docMk/>
            <pc:sldMk cId="3668082236" sldId="614"/>
            <ac:spMk id="12" creationId="{B97C4C29-16A7-E124-110A-8302B6D25170}"/>
          </ac:spMkLst>
        </pc:spChg>
        <pc:spChg chg="add del mod replST">
          <ac:chgData name="Grace, Morgan (Brisbane)" userId="221d5f7b-4a46-4bd5-bdf1-698d3a91c208" providerId="ADAL" clId="{D90324C1-6CE4-4C28-B886-AED0B666B37F}" dt="2024-06-07T04:13:43.461" v="53205"/>
          <ac:spMkLst>
            <pc:docMk/>
            <pc:sldMk cId="3668082236" sldId="614"/>
            <ac:spMk id="13" creationId="{87DF0065-1E85-3CAE-AFF2-1B24507DE8EE}"/>
          </ac:spMkLst>
        </pc:spChg>
        <pc:spChg chg="add mod replST">
          <ac:chgData name="Grace, Morgan (Brisbane)" userId="221d5f7b-4a46-4bd5-bdf1-698d3a91c208" providerId="ADAL" clId="{D90324C1-6CE4-4C28-B886-AED0B666B37F}" dt="2024-06-07T05:38:15.238" v="122730"/>
          <ac:spMkLst>
            <pc:docMk/>
            <pc:sldMk cId="3668082236" sldId="614"/>
            <ac:spMk id="14" creationId="{136B323E-2763-D311-E9D8-8F9534D011FC}"/>
          </ac:spMkLst>
        </pc:spChg>
        <pc:spChg chg="add mod replST">
          <ac:chgData name="Grace, Morgan (Brisbane)" userId="221d5f7b-4a46-4bd5-bdf1-698d3a91c208" providerId="ADAL" clId="{D90324C1-6CE4-4C28-B886-AED0B666B37F}" dt="2024-06-07T05:38:15.238" v="122731"/>
          <ac:spMkLst>
            <pc:docMk/>
            <pc:sldMk cId="3668082236" sldId="614"/>
            <ac:spMk id="15" creationId="{5F75314E-DF21-8385-FEDD-7710920A7520}"/>
          </ac:spMkLst>
        </pc:spChg>
        <pc:spChg chg="add mod replST">
          <ac:chgData name="Grace, Morgan (Brisbane)" userId="221d5f7b-4a46-4bd5-bdf1-698d3a91c208" providerId="ADAL" clId="{D90324C1-6CE4-4C28-B886-AED0B666B37F}" dt="2024-06-07T05:38:15.238" v="122732"/>
          <ac:spMkLst>
            <pc:docMk/>
            <pc:sldMk cId="3668082236" sldId="614"/>
            <ac:spMk id="16" creationId="{B7FA54C9-589C-1852-69D2-82009E16804E}"/>
          </ac:spMkLst>
        </pc:spChg>
        <pc:spChg chg="add mod replST">
          <ac:chgData name="Grace, Morgan (Brisbane)" userId="221d5f7b-4a46-4bd5-bdf1-698d3a91c208" providerId="ADAL" clId="{D90324C1-6CE4-4C28-B886-AED0B666B37F}" dt="2024-06-07T05:38:15.238" v="122733"/>
          <ac:spMkLst>
            <pc:docMk/>
            <pc:sldMk cId="3668082236" sldId="614"/>
            <ac:spMk id="17" creationId="{A5A49C79-9DE8-6C28-FCBC-B2951DC5930C}"/>
          </ac:spMkLst>
        </pc:spChg>
        <pc:spChg chg="add mod replST">
          <ac:chgData name="Grace, Morgan (Brisbane)" userId="221d5f7b-4a46-4bd5-bdf1-698d3a91c208" providerId="ADAL" clId="{D90324C1-6CE4-4C28-B886-AED0B666B37F}" dt="2024-06-07T05:38:15.238" v="122734"/>
          <ac:spMkLst>
            <pc:docMk/>
            <pc:sldMk cId="3668082236" sldId="614"/>
            <ac:spMk id="18" creationId="{B7D9E999-58AA-E53E-A269-676647CED8C1}"/>
          </ac:spMkLst>
        </pc:spChg>
        <pc:spChg chg="add mod replST">
          <ac:chgData name="Grace, Morgan (Brisbane)" userId="221d5f7b-4a46-4bd5-bdf1-698d3a91c208" providerId="ADAL" clId="{D90324C1-6CE4-4C28-B886-AED0B666B37F}" dt="2024-06-07T05:38:15.238" v="122735"/>
          <ac:spMkLst>
            <pc:docMk/>
            <pc:sldMk cId="3668082236" sldId="614"/>
            <ac:spMk id="19" creationId="{1FC06757-4A11-5498-394D-6B7302BBAAC2}"/>
          </ac:spMkLst>
        </pc:spChg>
        <pc:spChg chg="add mod replST">
          <ac:chgData name="Grace, Morgan (Brisbane)" userId="221d5f7b-4a46-4bd5-bdf1-698d3a91c208" providerId="ADAL" clId="{D90324C1-6CE4-4C28-B886-AED0B666B37F}" dt="2024-06-07T05:38:15.238" v="122736"/>
          <ac:spMkLst>
            <pc:docMk/>
            <pc:sldMk cId="3668082236" sldId="614"/>
            <ac:spMk id="20" creationId="{07A5040F-B930-322D-502B-EB2B309AD3B9}"/>
          </ac:spMkLst>
        </pc:spChg>
        <pc:spChg chg="add mod replST">
          <ac:chgData name="Grace, Morgan (Brisbane)" userId="221d5f7b-4a46-4bd5-bdf1-698d3a91c208" providerId="ADAL" clId="{D90324C1-6CE4-4C28-B886-AED0B666B37F}" dt="2024-06-07T05:38:15.238" v="122737"/>
          <ac:spMkLst>
            <pc:docMk/>
            <pc:sldMk cId="3668082236" sldId="614"/>
            <ac:spMk id="21" creationId="{F5F5CD7A-7F54-8461-FAA8-3A0CB832076A}"/>
          </ac:spMkLst>
        </pc:spChg>
        <pc:spChg chg="add mod replST">
          <ac:chgData name="Grace, Morgan (Brisbane)" userId="221d5f7b-4a46-4bd5-bdf1-698d3a91c208" providerId="ADAL" clId="{D90324C1-6CE4-4C28-B886-AED0B666B37F}" dt="2024-06-07T05:38:15.238" v="122738"/>
          <ac:spMkLst>
            <pc:docMk/>
            <pc:sldMk cId="3668082236" sldId="614"/>
            <ac:spMk id="22" creationId="{486EB1FE-E1BA-4AD5-1C32-E75B0806D6BE}"/>
          </ac:spMkLst>
        </pc:spChg>
        <pc:spChg chg="add mod replST">
          <ac:chgData name="Grace, Morgan (Brisbane)" userId="221d5f7b-4a46-4bd5-bdf1-698d3a91c208" providerId="ADAL" clId="{D90324C1-6CE4-4C28-B886-AED0B666B37F}" dt="2024-06-07T05:38:15.238" v="122739"/>
          <ac:spMkLst>
            <pc:docMk/>
            <pc:sldMk cId="3668082236" sldId="614"/>
            <ac:spMk id="23" creationId="{D54E585B-28C0-3B93-0B8F-345DA0CC1548}"/>
          </ac:spMkLst>
        </pc:spChg>
        <pc:spChg chg="add mod replST">
          <ac:chgData name="Grace, Morgan (Brisbane)" userId="221d5f7b-4a46-4bd5-bdf1-698d3a91c208" providerId="ADAL" clId="{D90324C1-6CE4-4C28-B886-AED0B666B37F}" dt="2024-06-07T05:38:15.238" v="122740"/>
          <ac:spMkLst>
            <pc:docMk/>
            <pc:sldMk cId="3668082236" sldId="614"/>
            <ac:spMk id="24" creationId="{404FE06F-8E58-AECE-1EB0-F4D7585BDAEC}"/>
          </ac:spMkLst>
        </pc:spChg>
        <pc:spChg chg="add mod replST">
          <ac:chgData name="Grace, Morgan (Brisbane)" userId="221d5f7b-4a46-4bd5-bdf1-698d3a91c208" providerId="ADAL" clId="{D90324C1-6CE4-4C28-B886-AED0B666B37F}" dt="2024-06-07T05:38:15.238" v="122741"/>
          <ac:spMkLst>
            <pc:docMk/>
            <pc:sldMk cId="3668082236" sldId="614"/>
            <ac:spMk id="25" creationId="{B187E197-E73A-F882-0ECD-3F3523D942AC}"/>
          </ac:spMkLst>
        </pc:spChg>
        <pc:spChg chg="add mod replST">
          <ac:chgData name="Grace, Morgan (Brisbane)" userId="221d5f7b-4a46-4bd5-bdf1-698d3a91c208" providerId="ADAL" clId="{D90324C1-6CE4-4C28-B886-AED0B666B37F}" dt="2024-06-07T05:38:15.238" v="122742"/>
          <ac:spMkLst>
            <pc:docMk/>
            <pc:sldMk cId="3668082236" sldId="614"/>
            <ac:spMk id="26" creationId="{60A45B30-E5C2-B3A7-E0E2-B7B80C54A6FD}"/>
          </ac:spMkLst>
        </pc:spChg>
        <pc:spChg chg="add mod ord replST">
          <ac:chgData name="Grace, Morgan (Brisbane)" userId="221d5f7b-4a46-4bd5-bdf1-698d3a91c208" providerId="ADAL" clId="{D90324C1-6CE4-4C28-B886-AED0B666B37F}" dt="2024-06-07T05:39:41.176" v="122845"/>
          <ac:spMkLst>
            <pc:docMk/>
            <pc:sldMk cId="3668082236" sldId="614"/>
            <ac:spMk id="27" creationId="{7123DC30-5B54-D38D-D210-07A8378E2D07}"/>
          </ac:spMkLst>
        </pc:spChg>
        <pc:spChg chg="add mod ord replST">
          <ac:chgData name="Grace, Morgan (Brisbane)" userId="221d5f7b-4a46-4bd5-bdf1-698d3a91c208" providerId="ADAL" clId="{D90324C1-6CE4-4C28-B886-AED0B666B37F}" dt="2024-06-07T05:39:41.192" v="122857"/>
          <ac:spMkLst>
            <pc:docMk/>
            <pc:sldMk cId="3668082236" sldId="614"/>
            <ac:spMk id="28" creationId="{318FEA04-17F5-9FA5-2B53-2D5A8DFFFBC2}"/>
          </ac:spMkLst>
        </pc:spChg>
        <pc:spChg chg="add mod ord replST">
          <ac:chgData name="Grace, Morgan (Brisbane)" userId="221d5f7b-4a46-4bd5-bdf1-698d3a91c208" providerId="ADAL" clId="{D90324C1-6CE4-4C28-B886-AED0B666B37F}" dt="2024-06-07T05:39:41.192" v="122869"/>
          <ac:spMkLst>
            <pc:docMk/>
            <pc:sldMk cId="3668082236" sldId="614"/>
            <ac:spMk id="29" creationId="{0E6C9845-EC22-4CF6-D31D-F4DB075EA3C4}"/>
          </ac:spMkLst>
        </pc:spChg>
        <pc:spChg chg="add mod ord replST">
          <ac:chgData name="Grace, Morgan (Brisbane)" userId="221d5f7b-4a46-4bd5-bdf1-698d3a91c208" providerId="ADAL" clId="{D90324C1-6CE4-4C28-B886-AED0B666B37F}" dt="2024-06-07T05:39:41.192" v="122881"/>
          <ac:spMkLst>
            <pc:docMk/>
            <pc:sldMk cId="3668082236" sldId="614"/>
            <ac:spMk id="30" creationId="{E99DB352-1ADA-56A5-A8AB-845A8235F7C6}"/>
          </ac:spMkLst>
        </pc:spChg>
        <pc:spChg chg="add mod ord replST">
          <ac:chgData name="Grace, Morgan (Brisbane)" userId="221d5f7b-4a46-4bd5-bdf1-698d3a91c208" providerId="ADAL" clId="{D90324C1-6CE4-4C28-B886-AED0B666B37F}" dt="2024-06-07T05:39:41.192" v="122893"/>
          <ac:spMkLst>
            <pc:docMk/>
            <pc:sldMk cId="3668082236" sldId="614"/>
            <ac:spMk id="31" creationId="{A0ABBE9D-D8D1-438A-9FF4-4CB69A82E948}"/>
          </ac:spMkLst>
        </pc:spChg>
        <pc:spChg chg="add mod ord replST">
          <ac:chgData name="Grace, Morgan (Brisbane)" userId="221d5f7b-4a46-4bd5-bdf1-698d3a91c208" providerId="ADAL" clId="{D90324C1-6CE4-4C28-B886-AED0B666B37F}" dt="2024-06-07T05:39:41.192" v="122905"/>
          <ac:spMkLst>
            <pc:docMk/>
            <pc:sldMk cId="3668082236" sldId="614"/>
            <ac:spMk id="32" creationId="{8FD68559-9208-E7F3-BC6F-7C9803743345}"/>
          </ac:spMkLst>
        </pc:spChg>
        <pc:spChg chg="add mod replST">
          <ac:chgData name="Grace, Morgan (Brisbane)" userId="221d5f7b-4a46-4bd5-bdf1-698d3a91c208" providerId="ADAL" clId="{D90324C1-6CE4-4C28-B886-AED0B666B37F}" dt="2024-06-07T05:39:41.176" v="122849"/>
          <ac:spMkLst>
            <pc:docMk/>
            <pc:sldMk cId="3668082236" sldId="614"/>
            <ac:spMk id="33" creationId="{BA4CA854-265C-C26C-FE5C-D0AB5D2A7EF9}"/>
          </ac:spMkLst>
        </pc:spChg>
        <pc:spChg chg="add mod replST">
          <ac:chgData name="Grace, Morgan (Brisbane)" userId="221d5f7b-4a46-4bd5-bdf1-698d3a91c208" providerId="ADAL" clId="{D90324C1-6CE4-4C28-B886-AED0B666B37F}" dt="2024-06-07T05:39:41.192" v="122861"/>
          <ac:spMkLst>
            <pc:docMk/>
            <pc:sldMk cId="3668082236" sldId="614"/>
            <ac:spMk id="34" creationId="{169EF316-CF64-EFCA-3397-47567C07DC99}"/>
          </ac:spMkLst>
        </pc:spChg>
        <pc:spChg chg="add mod replST">
          <ac:chgData name="Grace, Morgan (Brisbane)" userId="221d5f7b-4a46-4bd5-bdf1-698d3a91c208" providerId="ADAL" clId="{D90324C1-6CE4-4C28-B886-AED0B666B37F}" dt="2024-06-07T05:39:41.192" v="122873"/>
          <ac:spMkLst>
            <pc:docMk/>
            <pc:sldMk cId="3668082236" sldId="614"/>
            <ac:spMk id="35" creationId="{87983749-9A72-8F27-6F83-A9341F79C0D3}"/>
          </ac:spMkLst>
        </pc:spChg>
        <pc:spChg chg="add mod replST">
          <ac:chgData name="Grace, Morgan (Brisbane)" userId="221d5f7b-4a46-4bd5-bdf1-698d3a91c208" providerId="ADAL" clId="{D90324C1-6CE4-4C28-B886-AED0B666B37F}" dt="2024-06-07T05:39:41.192" v="122885"/>
          <ac:spMkLst>
            <pc:docMk/>
            <pc:sldMk cId="3668082236" sldId="614"/>
            <ac:spMk id="36" creationId="{E055D31B-D698-E7A3-583A-1C5D5400B318}"/>
          </ac:spMkLst>
        </pc:spChg>
        <pc:spChg chg="add mod replST">
          <ac:chgData name="Grace, Morgan (Brisbane)" userId="221d5f7b-4a46-4bd5-bdf1-698d3a91c208" providerId="ADAL" clId="{D90324C1-6CE4-4C28-B886-AED0B666B37F}" dt="2024-06-07T05:39:41.192" v="122897"/>
          <ac:spMkLst>
            <pc:docMk/>
            <pc:sldMk cId="3668082236" sldId="614"/>
            <ac:spMk id="37" creationId="{830E3A37-A1FD-B6A4-3A76-3E692EBB7A8F}"/>
          </ac:spMkLst>
        </pc:spChg>
        <pc:spChg chg="add mod replST">
          <ac:chgData name="Grace, Morgan (Brisbane)" userId="221d5f7b-4a46-4bd5-bdf1-698d3a91c208" providerId="ADAL" clId="{D90324C1-6CE4-4C28-B886-AED0B666B37F}" dt="2024-06-07T05:39:41.192" v="122909"/>
          <ac:spMkLst>
            <pc:docMk/>
            <pc:sldMk cId="3668082236" sldId="614"/>
            <ac:spMk id="38" creationId="{51CB5C30-CE41-2B19-7DA5-480C059FC0CB}"/>
          </ac:spMkLst>
        </pc:spChg>
        <pc:spChg chg="add mod ord">
          <ac:chgData name="Grace, Morgan (Brisbane)" userId="221d5f7b-4a46-4bd5-bdf1-698d3a91c208" providerId="ADAL" clId="{D90324C1-6CE4-4C28-B886-AED0B666B37F}" dt="2024-06-07T05:38:21.066" v="122814" actId="1076"/>
          <ac:spMkLst>
            <pc:docMk/>
            <pc:sldMk cId="3668082236" sldId="614"/>
            <ac:spMk id="39" creationId="{A0055774-1D2D-D7FA-EB25-885FB9ABEEE5}"/>
          </ac:spMkLst>
        </pc:spChg>
        <pc:spChg chg="add mod ord">
          <ac:chgData name="Grace, Morgan (Brisbane)" userId="221d5f7b-4a46-4bd5-bdf1-698d3a91c208" providerId="ADAL" clId="{D90324C1-6CE4-4C28-B886-AED0B666B37F}" dt="2024-06-07T05:38:15.255" v="122764"/>
          <ac:spMkLst>
            <pc:docMk/>
            <pc:sldMk cId="3668082236" sldId="614"/>
            <ac:spMk id="40" creationId="{533F5E5C-CAD2-06ED-A550-9C6773082269}"/>
          </ac:spMkLst>
        </pc:spChg>
        <pc:spChg chg="add del mod ord">
          <ac:chgData name="Grace, Morgan (Brisbane)" userId="221d5f7b-4a46-4bd5-bdf1-698d3a91c208" providerId="ADAL" clId="{D90324C1-6CE4-4C28-B886-AED0B666B37F}" dt="2024-06-07T05:42:32.352" v="122988" actId="478"/>
          <ac:spMkLst>
            <pc:docMk/>
            <pc:sldMk cId="3668082236" sldId="614"/>
            <ac:spMk id="41" creationId="{B2A2C5AA-0695-9311-4732-89FCD3EE1CB7}"/>
          </ac:spMkLst>
        </pc:spChg>
        <pc:spChg chg="add del mod modVis">
          <ac:chgData name="Grace, Morgan (Brisbane)" userId="221d5f7b-4a46-4bd5-bdf1-698d3a91c208" providerId="ADAL" clId="{D90324C1-6CE4-4C28-B886-AED0B666B37F}" dt="2024-06-05T23:52:19.270" v="35238"/>
          <ac:spMkLst>
            <pc:docMk/>
            <pc:sldMk cId="3668082236" sldId="614"/>
            <ac:spMk id="42" creationId="{B0837BC7-20FA-2C80-23B1-D26E3BB4A06A}"/>
          </ac:spMkLst>
        </pc:spChg>
        <pc:spChg chg="add del mod modVis">
          <ac:chgData name="Grace, Morgan (Brisbane)" userId="221d5f7b-4a46-4bd5-bdf1-698d3a91c208" providerId="ADAL" clId="{D90324C1-6CE4-4C28-B886-AED0B666B37F}" dt="2024-06-05T03:08:19.956" v="21010"/>
          <ac:spMkLst>
            <pc:docMk/>
            <pc:sldMk cId="3668082236" sldId="614"/>
            <ac:spMk id="42" creationId="{C62EE48E-D08A-B173-5C72-4B85BF62819C}"/>
          </ac:spMkLst>
        </pc:spChg>
        <pc:spChg chg="add del mod modVis">
          <ac:chgData name="Grace, Morgan (Brisbane)" userId="221d5f7b-4a46-4bd5-bdf1-698d3a91c208" providerId="ADAL" clId="{D90324C1-6CE4-4C28-B886-AED0B666B37F}" dt="2024-06-07T04:11:50.610" v="48315"/>
          <ac:spMkLst>
            <pc:docMk/>
            <pc:sldMk cId="3668082236" sldId="614"/>
            <ac:spMk id="43" creationId="{77789F86-453A-4BAE-62E7-F3CF221B1152}"/>
          </ac:spMkLst>
        </pc:spChg>
        <pc:spChg chg="add del mod modVis">
          <ac:chgData name="Grace, Morgan (Brisbane)" userId="221d5f7b-4a46-4bd5-bdf1-698d3a91c208" providerId="ADAL" clId="{D90324C1-6CE4-4C28-B886-AED0B666B37F}" dt="2024-06-05T23:52:20.127" v="35344"/>
          <ac:spMkLst>
            <pc:docMk/>
            <pc:sldMk cId="3668082236" sldId="614"/>
            <ac:spMk id="44" creationId="{26FBA0A1-A477-D526-1047-24F6BAA28A5A}"/>
          </ac:spMkLst>
        </pc:spChg>
        <pc:spChg chg="add del mod modVis">
          <ac:chgData name="Grace, Morgan (Brisbane)" userId="221d5f7b-4a46-4bd5-bdf1-698d3a91c208" providerId="ADAL" clId="{D90324C1-6CE4-4C28-B886-AED0B666B37F}" dt="2024-06-05T03:08:22.556" v="21291"/>
          <ac:spMkLst>
            <pc:docMk/>
            <pc:sldMk cId="3668082236" sldId="614"/>
            <ac:spMk id="44" creationId="{53B7BB03-DCCD-4107-A25D-AFC1BAB33C43}"/>
          </ac:spMkLst>
        </pc:spChg>
        <pc:spChg chg="add del mod modVis">
          <ac:chgData name="Grace, Morgan (Brisbane)" userId="221d5f7b-4a46-4bd5-bdf1-698d3a91c208" providerId="ADAL" clId="{D90324C1-6CE4-4C28-B886-AED0B666B37F}" dt="2024-06-07T04:11:52.296" v="48425"/>
          <ac:spMkLst>
            <pc:docMk/>
            <pc:sldMk cId="3668082236" sldId="614"/>
            <ac:spMk id="45" creationId="{06BABDBE-9A9D-91FB-B1BF-DE0BAFF5BB57}"/>
          </ac:spMkLst>
        </pc:spChg>
        <pc:spChg chg="add del mod">
          <ac:chgData name="Grace, Morgan (Brisbane)" userId="221d5f7b-4a46-4bd5-bdf1-698d3a91c208" providerId="ADAL" clId="{D90324C1-6CE4-4C28-B886-AED0B666B37F}" dt="2024-06-05T03:11:55.039" v="21580" actId="478"/>
          <ac:spMkLst>
            <pc:docMk/>
            <pc:sldMk cId="3668082236" sldId="614"/>
            <ac:spMk id="46" creationId="{091E75CE-4D38-6ED2-496D-F79F2A9A21D4}"/>
          </ac:spMkLst>
        </pc:spChg>
        <pc:spChg chg="add del mod modVis">
          <ac:chgData name="Grace, Morgan (Brisbane)" userId="221d5f7b-4a46-4bd5-bdf1-698d3a91c208" providerId="ADAL" clId="{D90324C1-6CE4-4C28-B886-AED0B666B37F}" dt="2024-06-05T23:52:34.578" v="35585"/>
          <ac:spMkLst>
            <pc:docMk/>
            <pc:sldMk cId="3668082236" sldId="614"/>
            <ac:spMk id="46" creationId="{7E672731-D8D1-E223-44F6-A9172051E9C6}"/>
          </ac:spMkLst>
        </pc:spChg>
        <pc:spChg chg="add del mod modVis">
          <ac:chgData name="Grace, Morgan (Brisbane)" userId="221d5f7b-4a46-4bd5-bdf1-698d3a91c208" providerId="ADAL" clId="{D90324C1-6CE4-4C28-B886-AED0B666B37F}" dt="2024-06-05T03:47:06.205" v="22217"/>
          <ac:spMkLst>
            <pc:docMk/>
            <pc:sldMk cId="3668082236" sldId="614"/>
            <ac:spMk id="47" creationId="{3680C030-C23F-EF85-0041-43FB44F928F4}"/>
          </ac:spMkLst>
        </pc:spChg>
        <pc:spChg chg="add del mod ord replST">
          <ac:chgData name="Grace, Morgan (Brisbane)" userId="221d5f7b-4a46-4bd5-bdf1-698d3a91c208" providerId="ADAL" clId="{D90324C1-6CE4-4C28-B886-AED0B666B37F}" dt="2024-06-05T23:53:12.594" v="35953"/>
          <ac:spMkLst>
            <pc:docMk/>
            <pc:sldMk cId="3668082236" sldId="614"/>
            <ac:spMk id="47" creationId="{87DF0065-1E85-3CAE-AFF2-1B24507DE8EE}"/>
          </ac:spMkLst>
        </pc:spChg>
        <pc:spChg chg="add del mod modVis">
          <ac:chgData name="Grace, Morgan (Brisbane)" userId="221d5f7b-4a46-4bd5-bdf1-698d3a91c208" providerId="ADAL" clId="{D90324C1-6CE4-4C28-B886-AED0B666B37F}" dt="2024-06-07T04:11:53.678" v="48535"/>
          <ac:spMkLst>
            <pc:docMk/>
            <pc:sldMk cId="3668082236" sldId="614"/>
            <ac:spMk id="47" creationId="{BB4919DD-38A9-D9E9-4D11-8299B0BDFFA9}"/>
          </ac:spMkLst>
        </pc:spChg>
        <pc:spChg chg="add del mod ord replST">
          <ac:chgData name="Grace, Morgan (Brisbane)" userId="221d5f7b-4a46-4bd5-bdf1-698d3a91c208" providerId="ADAL" clId="{D90324C1-6CE4-4C28-B886-AED0B666B37F}" dt="2024-06-05T23:53:19.005" v="36092"/>
          <ac:spMkLst>
            <pc:docMk/>
            <pc:sldMk cId="3668082236" sldId="614"/>
            <ac:spMk id="48" creationId="{87DF0065-1E85-3CAE-AFF2-1B24507DE8EE}"/>
          </ac:spMkLst>
        </pc:spChg>
        <pc:spChg chg="add del mod modVis">
          <ac:chgData name="Grace, Morgan (Brisbane)" userId="221d5f7b-4a46-4bd5-bdf1-698d3a91c208" providerId="ADAL" clId="{D90324C1-6CE4-4C28-B886-AED0B666B37F}" dt="2024-06-05T04:00:18.978" v="22478"/>
          <ac:spMkLst>
            <pc:docMk/>
            <pc:sldMk cId="3668082236" sldId="614"/>
            <ac:spMk id="49" creationId="{D2C83F13-055E-739D-A841-0F44DE20071A}"/>
          </ac:spMkLst>
        </pc:spChg>
        <pc:spChg chg="add del mod replST">
          <ac:chgData name="Grace, Morgan (Brisbane)" userId="221d5f7b-4a46-4bd5-bdf1-698d3a91c208" providerId="ADAL" clId="{D90324C1-6CE4-4C28-B886-AED0B666B37F}" dt="2024-06-07T04:13:03.109" v="50576"/>
          <ac:spMkLst>
            <pc:docMk/>
            <pc:sldMk cId="3668082236" sldId="614"/>
            <ac:spMk id="49" creationId="{EDFDB7F8-223B-0E4A-25AA-72DC5AF82B06}"/>
          </ac:spMkLst>
        </pc:spChg>
        <pc:spChg chg="add del mod replST">
          <ac:chgData name="Grace, Morgan (Brisbane)" userId="221d5f7b-4a46-4bd5-bdf1-698d3a91c208" providerId="ADAL" clId="{D90324C1-6CE4-4C28-B886-AED0B666B37F}" dt="2024-06-07T04:13:03.109" v="50579"/>
          <ac:spMkLst>
            <pc:docMk/>
            <pc:sldMk cId="3668082236" sldId="614"/>
            <ac:spMk id="50" creationId="{97C65F31-06F8-F017-5557-42696D1E8E49}"/>
          </ac:spMkLst>
        </pc:spChg>
        <pc:spChg chg="add del mod modVis">
          <ac:chgData name="Grace, Morgan (Brisbane)" userId="221d5f7b-4a46-4bd5-bdf1-698d3a91c208" providerId="ADAL" clId="{D90324C1-6CE4-4C28-B886-AED0B666B37F}" dt="2024-06-05T04:00:21.583" v="22512"/>
          <ac:spMkLst>
            <pc:docMk/>
            <pc:sldMk cId="3668082236" sldId="614"/>
            <ac:spMk id="50" creationId="{E7D02C6B-D5F6-9A84-1FF0-67253365396B}"/>
          </ac:spMkLst>
        </pc:spChg>
        <pc:spChg chg="add del mod modVis">
          <ac:chgData name="Grace, Morgan (Brisbane)" userId="221d5f7b-4a46-4bd5-bdf1-698d3a91c208" providerId="ADAL" clId="{D90324C1-6CE4-4C28-B886-AED0B666B37F}" dt="2024-06-05T04:00:24.304" v="22556"/>
          <ac:spMkLst>
            <pc:docMk/>
            <pc:sldMk cId="3668082236" sldId="614"/>
            <ac:spMk id="51" creationId="{00D192E9-1C35-456C-A2DE-B7744462DC9A}"/>
          </ac:spMkLst>
        </pc:spChg>
        <pc:spChg chg="add del mod replST">
          <ac:chgData name="Grace, Morgan (Brisbane)" userId="221d5f7b-4a46-4bd5-bdf1-698d3a91c208" providerId="ADAL" clId="{D90324C1-6CE4-4C28-B886-AED0B666B37F}" dt="2024-06-07T04:13:03.109" v="50582"/>
          <ac:spMkLst>
            <pc:docMk/>
            <pc:sldMk cId="3668082236" sldId="614"/>
            <ac:spMk id="51" creationId="{2595FB62-8F5F-868F-EA12-6198E34D859A}"/>
          </ac:spMkLst>
        </pc:spChg>
        <pc:spChg chg="add del mod modVis">
          <ac:chgData name="Grace, Morgan (Brisbane)" userId="221d5f7b-4a46-4bd5-bdf1-698d3a91c208" providerId="ADAL" clId="{D90324C1-6CE4-4C28-B886-AED0B666B37F}" dt="2024-06-05T23:53:04.188" v="35808"/>
          <ac:spMkLst>
            <pc:docMk/>
            <pc:sldMk cId="3668082236" sldId="614"/>
            <ac:spMk id="51" creationId="{F535AEF2-0D8D-4B8A-C7A8-AB3D50BB111B}"/>
          </ac:spMkLst>
        </pc:spChg>
        <pc:spChg chg="add del mod replST">
          <ac:chgData name="Grace, Morgan (Brisbane)" userId="221d5f7b-4a46-4bd5-bdf1-698d3a91c208" providerId="ADAL" clId="{D90324C1-6CE4-4C28-B886-AED0B666B37F}" dt="2024-06-07T04:13:03.109" v="50583"/>
          <ac:spMkLst>
            <pc:docMk/>
            <pc:sldMk cId="3668082236" sldId="614"/>
            <ac:spMk id="52" creationId="{E377F6EC-4AFC-D2B1-68AF-E2F849E2A6D0}"/>
          </ac:spMkLst>
        </pc:spChg>
        <pc:spChg chg="add del mod modVis">
          <ac:chgData name="Grace, Morgan (Brisbane)" userId="221d5f7b-4a46-4bd5-bdf1-698d3a91c208" providerId="ADAL" clId="{D90324C1-6CE4-4C28-B886-AED0B666B37F}" dt="2024-06-05T04:00:26.758" v="22595"/>
          <ac:spMkLst>
            <pc:docMk/>
            <pc:sldMk cId="3668082236" sldId="614"/>
            <ac:spMk id="52" creationId="{F5A2A34C-8648-D3F1-2231-4649998F8985}"/>
          </ac:spMkLst>
        </pc:spChg>
        <pc:spChg chg="add del mod modVis">
          <ac:chgData name="Grace, Morgan (Brisbane)" userId="221d5f7b-4a46-4bd5-bdf1-698d3a91c208" providerId="ADAL" clId="{D90324C1-6CE4-4C28-B886-AED0B666B37F}" dt="2024-06-05T04:00:27.885" v="22631"/>
          <ac:spMkLst>
            <pc:docMk/>
            <pc:sldMk cId="3668082236" sldId="614"/>
            <ac:spMk id="53" creationId="{9631E065-5A60-C0C8-E022-F9655D9EDEA3}"/>
          </ac:spMkLst>
        </pc:spChg>
        <pc:spChg chg="add del mod replST">
          <ac:chgData name="Grace, Morgan (Brisbane)" userId="221d5f7b-4a46-4bd5-bdf1-698d3a91c208" providerId="ADAL" clId="{D90324C1-6CE4-4C28-B886-AED0B666B37F}" dt="2024-06-07T04:13:03.109" v="50584"/>
          <ac:spMkLst>
            <pc:docMk/>
            <pc:sldMk cId="3668082236" sldId="614"/>
            <ac:spMk id="53" creationId="{AEC5173E-1F23-DBCD-6206-7CC43DD6E490}"/>
          </ac:spMkLst>
        </pc:spChg>
        <pc:spChg chg="add del mod replST">
          <ac:chgData name="Grace, Morgan (Brisbane)" userId="221d5f7b-4a46-4bd5-bdf1-698d3a91c208" providerId="ADAL" clId="{D90324C1-6CE4-4C28-B886-AED0B666B37F}" dt="2024-06-07T04:13:03.109" v="50585"/>
          <ac:spMkLst>
            <pc:docMk/>
            <pc:sldMk cId="3668082236" sldId="614"/>
            <ac:spMk id="54" creationId="{72DA3BB4-7641-ED98-E818-EBFE1E8D8096}"/>
          </ac:spMkLst>
        </pc:spChg>
        <pc:spChg chg="add del mod modVis">
          <ac:chgData name="Grace, Morgan (Brisbane)" userId="221d5f7b-4a46-4bd5-bdf1-698d3a91c208" providerId="ADAL" clId="{D90324C1-6CE4-4C28-B886-AED0B666B37F}" dt="2024-06-05T23:53:12.622" v="36033"/>
          <ac:spMkLst>
            <pc:docMk/>
            <pc:sldMk cId="3668082236" sldId="614"/>
            <ac:spMk id="54" creationId="{95B7993D-4BA7-B649-065A-2A5046EC2FF9}"/>
          </ac:spMkLst>
        </pc:spChg>
        <pc:spChg chg="add del mod modVis">
          <ac:chgData name="Grace, Morgan (Brisbane)" userId="221d5f7b-4a46-4bd5-bdf1-698d3a91c208" providerId="ADAL" clId="{D90324C1-6CE4-4C28-B886-AED0B666B37F}" dt="2024-06-05T04:00:28.939" v="22667"/>
          <ac:spMkLst>
            <pc:docMk/>
            <pc:sldMk cId="3668082236" sldId="614"/>
            <ac:spMk id="54" creationId="{C729396E-38B4-CFC1-1C49-9BE8C860C6AA}"/>
          </ac:spMkLst>
        </pc:spChg>
        <pc:spChg chg="add del mod modVis">
          <ac:chgData name="Grace, Morgan (Brisbane)" userId="221d5f7b-4a46-4bd5-bdf1-698d3a91c208" providerId="ADAL" clId="{D90324C1-6CE4-4C28-B886-AED0B666B37F}" dt="2024-06-05T04:00:37.522" v="22854"/>
          <ac:spMkLst>
            <pc:docMk/>
            <pc:sldMk cId="3668082236" sldId="614"/>
            <ac:spMk id="55" creationId="{76D118EE-24FB-2850-B354-AE9B0C43F414}"/>
          </ac:spMkLst>
        </pc:spChg>
        <pc:spChg chg="add del mod replST">
          <ac:chgData name="Grace, Morgan (Brisbane)" userId="221d5f7b-4a46-4bd5-bdf1-698d3a91c208" providerId="ADAL" clId="{D90324C1-6CE4-4C28-B886-AED0B666B37F}" dt="2024-06-07T04:13:03.125" v="50592"/>
          <ac:spMkLst>
            <pc:docMk/>
            <pc:sldMk cId="3668082236" sldId="614"/>
            <ac:spMk id="55" creationId="{E30E1C36-3308-3ADB-1157-2B3FAC413EB4}"/>
          </ac:spMkLst>
        </pc:spChg>
        <pc:spChg chg="add del mod replST">
          <ac:chgData name="Grace, Morgan (Brisbane)" userId="221d5f7b-4a46-4bd5-bdf1-698d3a91c208" providerId="ADAL" clId="{D90324C1-6CE4-4C28-B886-AED0B666B37F}" dt="2024-06-07T04:13:03.125" v="50597"/>
          <ac:spMkLst>
            <pc:docMk/>
            <pc:sldMk cId="3668082236" sldId="614"/>
            <ac:spMk id="56" creationId="{878DF489-6950-2C4F-3D5D-4C8B3C413E6F}"/>
          </ac:spMkLst>
        </pc:spChg>
        <pc:spChg chg="add del mod modVis">
          <ac:chgData name="Grace, Morgan (Brisbane)" userId="221d5f7b-4a46-4bd5-bdf1-698d3a91c208" providerId="ADAL" clId="{D90324C1-6CE4-4C28-B886-AED0B666B37F}" dt="2024-06-05T06:40:51.021" v="34483"/>
          <ac:spMkLst>
            <pc:docMk/>
            <pc:sldMk cId="3668082236" sldId="614"/>
            <ac:spMk id="57" creationId="{079D4923-686F-1B4F-F5B8-D4FFBDB31221}"/>
          </ac:spMkLst>
        </pc:spChg>
        <pc:spChg chg="add del mod replST">
          <ac:chgData name="Grace, Morgan (Brisbane)" userId="221d5f7b-4a46-4bd5-bdf1-698d3a91c208" providerId="ADAL" clId="{D90324C1-6CE4-4C28-B886-AED0B666B37F}" dt="2024-06-07T04:13:03.125" v="50602"/>
          <ac:spMkLst>
            <pc:docMk/>
            <pc:sldMk cId="3668082236" sldId="614"/>
            <ac:spMk id="57" creationId="{99CC652A-F7A7-8243-DC9E-7D4F90A43339}"/>
          </ac:spMkLst>
        </pc:spChg>
        <pc:spChg chg="add del mod modVis">
          <ac:chgData name="Grace, Morgan (Brisbane)" userId="221d5f7b-4a46-4bd5-bdf1-698d3a91c208" providerId="ADAL" clId="{D90324C1-6CE4-4C28-B886-AED0B666B37F}" dt="2024-06-05T23:53:19.043" v="36160"/>
          <ac:spMkLst>
            <pc:docMk/>
            <pc:sldMk cId="3668082236" sldId="614"/>
            <ac:spMk id="57" creationId="{9BDF80B7-6D46-69BD-21D4-485F059519B4}"/>
          </ac:spMkLst>
        </pc:spChg>
        <pc:spChg chg="add del mod replST">
          <ac:chgData name="Grace, Morgan (Brisbane)" userId="221d5f7b-4a46-4bd5-bdf1-698d3a91c208" providerId="ADAL" clId="{D90324C1-6CE4-4C28-B886-AED0B666B37F}" dt="2024-06-07T04:13:03.125" v="50607"/>
          <ac:spMkLst>
            <pc:docMk/>
            <pc:sldMk cId="3668082236" sldId="614"/>
            <ac:spMk id="58" creationId="{E2D39F17-11EB-C202-F6AA-9E9FF534F6BE}"/>
          </ac:spMkLst>
        </pc:spChg>
        <pc:spChg chg="add del mod ord">
          <ac:chgData name="Grace, Morgan (Brisbane)" userId="221d5f7b-4a46-4bd5-bdf1-698d3a91c208" providerId="ADAL" clId="{D90324C1-6CE4-4C28-B886-AED0B666B37F}" dt="2024-06-07T04:15:32.815" v="54278" actId="21"/>
          <ac:spMkLst>
            <pc:docMk/>
            <pc:sldMk cId="3668082236" sldId="614"/>
            <ac:spMk id="59" creationId="{821A6AA6-D23B-17E1-D213-4F5D8261A8D3}"/>
          </ac:spMkLst>
        </pc:spChg>
        <pc:spChg chg="add del mod replST">
          <ac:chgData name="Grace, Morgan (Brisbane)" userId="221d5f7b-4a46-4bd5-bdf1-698d3a91c208" providerId="ADAL" clId="{D90324C1-6CE4-4C28-B886-AED0B666B37F}" dt="2024-06-05T23:53:34.506" v="36670"/>
          <ac:spMkLst>
            <pc:docMk/>
            <pc:sldMk cId="3668082236" sldId="614"/>
            <ac:spMk id="60" creationId="{20B8B153-2717-F404-1C2E-4289D3838A83}"/>
          </ac:spMkLst>
        </pc:spChg>
        <pc:spChg chg="add del mod replST">
          <ac:chgData name="Grace, Morgan (Brisbane)" userId="221d5f7b-4a46-4bd5-bdf1-698d3a91c208" providerId="ADAL" clId="{D90324C1-6CE4-4C28-B886-AED0B666B37F}" dt="2024-06-07T04:13:03.125" v="50612"/>
          <ac:spMkLst>
            <pc:docMk/>
            <pc:sldMk cId="3668082236" sldId="614"/>
            <ac:spMk id="60" creationId="{8644669A-C566-7960-AC2D-89B88F0CD99A}"/>
          </ac:spMkLst>
        </pc:spChg>
        <pc:spChg chg="add del mod replST">
          <ac:chgData name="Grace, Morgan (Brisbane)" userId="221d5f7b-4a46-4bd5-bdf1-698d3a91c208" providerId="ADAL" clId="{D90324C1-6CE4-4C28-B886-AED0B666B37F}" dt="2024-06-07T04:13:03.125" v="50613"/>
          <ac:spMkLst>
            <pc:docMk/>
            <pc:sldMk cId="3668082236" sldId="614"/>
            <ac:spMk id="61" creationId="{D2EFE276-DD96-EBA7-627A-5AEE87A2104A}"/>
          </ac:spMkLst>
        </pc:spChg>
        <pc:spChg chg="add del mod modVis">
          <ac:chgData name="Grace, Morgan (Brisbane)" userId="221d5f7b-4a46-4bd5-bdf1-698d3a91c208" providerId="ADAL" clId="{D90324C1-6CE4-4C28-B886-AED0B666B37F}" dt="2024-06-05T23:53:22.633" v="36353"/>
          <ac:spMkLst>
            <pc:docMk/>
            <pc:sldMk cId="3668082236" sldId="614"/>
            <ac:spMk id="61" creationId="{E34EE035-73FC-DD94-A5E6-CB32DC96C2F5}"/>
          </ac:spMkLst>
        </pc:spChg>
        <pc:spChg chg="add del mod ord replST">
          <ac:chgData name="Grace, Morgan (Brisbane)" userId="221d5f7b-4a46-4bd5-bdf1-698d3a91c208" providerId="ADAL" clId="{D90324C1-6CE4-4C28-B886-AED0B666B37F}" dt="2024-06-07T04:05:09.096" v="47872"/>
          <ac:spMkLst>
            <pc:docMk/>
            <pc:sldMk cId="3668082236" sldId="614"/>
            <ac:spMk id="62" creationId="{87DF0065-1E85-3CAE-AFF2-1B24507DE8EE}"/>
          </ac:spMkLst>
        </pc:spChg>
        <pc:spChg chg="add del mod replST">
          <ac:chgData name="Grace, Morgan (Brisbane)" userId="221d5f7b-4a46-4bd5-bdf1-698d3a91c208" providerId="ADAL" clId="{D90324C1-6CE4-4C28-B886-AED0B666B37F}" dt="2024-06-07T04:13:03.125" v="50616"/>
          <ac:spMkLst>
            <pc:docMk/>
            <pc:sldMk cId="3668082236" sldId="614"/>
            <ac:spMk id="63" creationId="{C11B5A85-387A-2499-6F39-975119462A1C}"/>
          </ac:spMkLst>
        </pc:spChg>
        <pc:spChg chg="add del mod replST">
          <ac:chgData name="Grace, Morgan (Brisbane)" userId="221d5f7b-4a46-4bd5-bdf1-698d3a91c208" providerId="ADAL" clId="{D90324C1-6CE4-4C28-B886-AED0B666B37F}" dt="2024-06-07T04:13:03.125" v="50617"/>
          <ac:spMkLst>
            <pc:docMk/>
            <pc:sldMk cId="3668082236" sldId="614"/>
            <ac:spMk id="64" creationId="{B3A40F12-C6FA-6822-3324-77AA1294EABE}"/>
          </ac:spMkLst>
        </pc:spChg>
        <pc:spChg chg="add del mod replST">
          <ac:chgData name="Grace, Morgan (Brisbane)" userId="221d5f7b-4a46-4bd5-bdf1-698d3a91c208" providerId="ADAL" clId="{D90324C1-6CE4-4C28-B886-AED0B666B37F}" dt="2024-06-07T04:13:03.125" v="50620"/>
          <ac:spMkLst>
            <pc:docMk/>
            <pc:sldMk cId="3668082236" sldId="614"/>
            <ac:spMk id="65" creationId="{54909588-9371-C4A8-60B0-D32831332FC7}"/>
          </ac:spMkLst>
        </pc:spChg>
        <pc:spChg chg="add del mod replST">
          <ac:chgData name="Grace, Morgan (Brisbane)" userId="221d5f7b-4a46-4bd5-bdf1-698d3a91c208" providerId="ADAL" clId="{D90324C1-6CE4-4C28-B886-AED0B666B37F}" dt="2024-06-07T04:13:03.125" v="50621"/>
          <ac:spMkLst>
            <pc:docMk/>
            <pc:sldMk cId="3668082236" sldId="614"/>
            <ac:spMk id="66" creationId="{B5704278-3D47-72EC-A963-481078E85221}"/>
          </ac:spMkLst>
        </pc:spChg>
        <pc:spChg chg="add del mod replST">
          <ac:chgData name="Grace, Morgan (Brisbane)" userId="221d5f7b-4a46-4bd5-bdf1-698d3a91c208" providerId="ADAL" clId="{D90324C1-6CE4-4C28-B886-AED0B666B37F}" dt="2024-06-07T04:13:03.125" v="50622"/>
          <ac:spMkLst>
            <pc:docMk/>
            <pc:sldMk cId="3668082236" sldId="614"/>
            <ac:spMk id="67" creationId="{92C23C65-5CA6-3BE3-5DD6-8DCB8F15B97A}"/>
          </ac:spMkLst>
        </pc:spChg>
        <pc:spChg chg="add del mod replST">
          <ac:chgData name="Grace, Morgan (Brisbane)" userId="221d5f7b-4a46-4bd5-bdf1-698d3a91c208" providerId="ADAL" clId="{D90324C1-6CE4-4C28-B886-AED0B666B37F}" dt="2024-06-07T04:05:09.096" v="47878"/>
          <ac:spMkLst>
            <pc:docMk/>
            <pc:sldMk cId="3668082236" sldId="614"/>
            <ac:spMk id="68" creationId="{87DF0065-1E85-3CAE-AFF2-1B24507DE8EE}"/>
          </ac:spMkLst>
        </pc:spChg>
        <pc:spChg chg="add del mod replST">
          <ac:chgData name="Grace, Morgan (Brisbane)" userId="221d5f7b-4a46-4bd5-bdf1-698d3a91c208" providerId="ADAL" clId="{D90324C1-6CE4-4C28-B886-AED0B666B37F}" dt="2024-06-07T04:13:03.125" v="50625"/>
          <ac:spMkLst>
            <pc:docMk/>
            <pc:sldMk cId="3668082236" sldId="614"/>
            <ac:spMk id="69" creationId="{34304452-E1A9-6104-94D9-3AA62D4909CB}"/>
          </ac:spMkLst>
        </pc:spChg>
        <pc:spChg chg="add del mod modVis">
          <ac:chgData name="Grace, Morgan (Brisbane)" userId="221d5f7b-4a46-4bd5-bdf1-698d3a91c208" providerId="ADAL" clId="{D90324C1-6CE4-4C28-B886-AED0B666B37F}" dt="2024-06-05T23:53:36.944" v="37081"/>
          <ac:spMkLst>
            <pc:docMk/>
            <pc:sldMk cId="3668082236" sldId="614"/>
            <ac:spMk id="69" creationId="{BCCFA7FB-149C-1852-EF9F-552BC5917CE8}"/>
          </ac:spMkLst>
        </pc:spChg>
        <pc:spChg chg="add del mod replST">
          <ac:chgData name="Grace, Morgan (Brisbane)" userId="221d5f7b-4a46-4bd5-bdf1-698d3a91c208" providerId="ADAL" clId="{D90324C1-6CE4-4C28-B886-AED0B666B37F}" dt="2024-06-07T04:05:09.096" v="47876"/>
          <ac:spMkLst>
            <pc:docMk/>
            <pc:sldMk cId="3668082236" sldId="614"/>
            <ac:spMk id="70" creationId="{87DF0065-1E85-3CAE-AFF2-1B24507DE8EE}"/>
          </ac:spMkLst>
        </pc:spChg>
        <pc:spChg chg="add del mod replST">
          <ac:chgData name="Grace, Morgan (Brisbane)" userId="221d5f7b-4a46-4bd5-bdf1-698d3a91c208" providerId="ADAL" clId="{D90324C1-6CE4-4C28-B886-AED0B666B37F}" dt="2024-06-07T04:05:09.096" v="47874"/>
          <ac:spMkLst>
            <pc:docMk/>
            <pc:sldMk cId="3668082236" sldId="614"/>
            <ac:spMk id="71" creationId="{87DF0065-1E85-3CAE-AFF2-1B24507DE8EE}"/>
          </ac:spMkLst>
        </pc:spChg>
        <pc:spChg chg="add del mod replST">
          <ac:chgData name="Grace, Morgan (Brisbane)" userId="221d5f7b-4a46-4bd5-bdf1-698d3a91c208" providerId="ADAL" clId="{D90324C1-6CE4-4C28-B886-AED0B666B37F}" dt="2024-06-07T04:05:09.096" v="47870"/>
          <ac:spMkLst>
            <pc:docMk/>
            <pc:sldMk cId="3668082236" sldId="614"/>
            <ac:spMk id="72" creationId="{87DF0065-1E85-3CAE-AFF2-1B24507DE8EE}"/>
          </ac:spMkLst>
        </pc:spChg>
        <pc:spChg chg="add del mod replST">
          <ac:chgData name="Grace, Morgan (Brisbane)" userId="221d5f7b-4a46-4bd5-bdf1-698d3a91c208" providerId="ADAL" clId="{D90324C1-6CE4-4C28-B886-AED0B666B37F}" dt="2024-06-07T04:13:03.125" v="50626"/>
          <ac:spMkLst>
            <pc:docMk/>
            <pc:sldMk cId="3668082236" sldId="614"/>
            <ac:spMk id="73" creationId="{62608722-D90B-227B-5CFD-F65FBE13E0B4}"/>
          </ac:spMkLst>
        </pc:spChg>
        <pc:spChg chg="add del mod replST">
          <ac:chgData name="Grace, Morgan (Brisbane)" userId="221d5f7b-4a46-4bd5-bdf1-698d3a91c208" providerId="ADAL" clId="{D90324C1-6CE4-4C28-B886-AED0B666B37F}" dt="2024-06-07T04:05:09.096" v="47877"/>
          <ac:spMkLst>
            <pc:docMk/>
            <pc:sldMk cId="3668082236" sldId="614"/>
            <ac:spMk id="74" creationId="{C2E9AB83-417E-865C-08F3-FEC9F3248A55}"/>
          </ac:spMkLst>
        </pc:spChg>
        <pc:spChg chg="add del mod replST">
          <ac:chgData name="Grace, Morgan (Brisbane)" userId="221d5f7b-4a46-4bd5-bdf1-698d3a91c208" providerId="ADAL" clId="{D90324C1-6CE4-4C28-B886-AED0B666B37F}" dt="2024-06-07T04:05:09.096" v="47875"/>
          <ac:spMkLst>
            <pc:docMk/>
            <pc:sldMk cId="3668082236" sldId="614"/>
            <ac:spMk id="75" creationId="{35C299E5-F535-0EFA-DB73-F9A2651AA25F}"/>
          </ac:spMkLst>
        </pc:spChg>
        <pc:spChg chg="add del mod replST">
          <ac:chgData name="Grace, Morgan (Brisbane)" userId="221d5f7b-4a46-4bd5-bdf1-698d3a91c208" providerId="ADAL" clId="{D90324C1-6CE4-4C28-B886-AED0B666B37F}" dt="2024-06-07T04:05:09.096" v="47873"/>
          <ac:spMkLst>
            <pc:docMk/>
            <pc:sldMk cId="3668082236" sldId="614"/>
            <ac:spMk id="76" creationId="{EB3465F3-0D3B-1FA4-E01E-5031B328D125}"/>
          </ac:spMkLst>
        </pc:spChg>
        <pc:spChg chg="add del mod replST">
          <ac:chgData name="Grace, Morgan (Brisbane)" userId="221d5f7b-4a46-4bd5-bdf1-698d3a91c208" providerId="ADAL" clId="{D90324C1-6CE4-4C28-B886-AED0B666B37F}" dt="2024-06-07T04:05:09.096" v="47869"/>
          <ac:spMkLst>
            <pc:docMk/>
            <pc:sldMk cId="3668082236" sldId="614"/>
            <ac:spMk id="77" creationId="{C7F8ACBF-ECB8-DE0C-43FC-D5F12CC3E3C2}"/>
          </ac:spMkLst>
        </pc:spChg>
        <pc:spChg chg="add del mod ord">
          <ac:chgData name="Grace, Morgan (Brisbane)" userId="221d5f7b-4a46-4bd5-bdf1-698d3a91c208" providerId="ADAL" clId="{D90324C1-6CE4-4C28-B886-AED0B666B37F}" dt="2024-06-07T05:30:02.900" v="113014" actId="478"/>
          <ac:spMkLst>
            <pc:docMk/>
            <pc:sldMk cId="3668082236" sldId="614"/>
            <ac:spMk id="78" creationId="{7F4E3A3C-C61F-BCC1-E407-3890205983E0}"/>
          </ac:spMkLst>
        </pc:spChg>
        <pc:spChg chg="add del mod replST">
          <ac:chgData name="Grace, Morgan (Brisbane)" userId="221d5f7b-4a46-4bd5-bdf1-698d3a91c208" providerId="ADAL" clId="{D90324C1-6CE4-4C28-B886-AED0B666B37F}" dt="2024-06-07T04:13:03.125" v="50629"/>
          <ac:spMkLst>
            <pc:docMk/>
            <pc:sldMk cId="3668082236" sldId="614"/>
            <ac:spMk id="79" creationId="{C787AB8C-D32A-47D0-10FB-518FBD515B2C}"/>
          </ac:spMkLst>
        </pc:spChg>
        <pc:spChg chg="add del mod replST">
          <ac:chgData name="Grace, Morgan (Brisbane)" userId="221d5f7b-4a46-4bd5-bdf1-698d3a91c208" providerId="ADAL" clId="{D90324C1-6CE4-4C28-B886-AED0B666B37F}" dt="2024-06-07T04:13:03.125" v="50630"/>
          <ac:spMkLst>
            <pc:docMk/>
            <pc:sldMk cId="3668082236" sldId="614"/>
            <ac:spMk id="80" creationId="{FF35155E-31EA-D5EE-3B10-23DCDAFF0E69}"/>
          </ac:spMkLst>
        </pc:spChg>
        <pc:spChg chg="add del mod replST">
          <ac:chgData name="Grace, Morgan (Brisbane)" userId="221d5f7b-4a46-4bd5-bdf1-698d3a91c208" providerId="ADAL" clId="{D90324C1-6CE4-4C28-B886-AED0B666B37F}" dt="2024-06-07T04:13:03.125" v="50631"/>
          <ac:spMkLst>
            <pc:docMk/>
            <pc:sldMk cId="3668082236" sldId="614"/>
            <ac:spMk id="81" creationId="{23F84998-838D-357C-95C9-53A295D6CA81}"/>
          </ac:spMkLst>
        </pc:spChg>
        <pc:spChg chg="del mod modVis">
          <ac:chgData name="Grace, Morgan (Brisbane)" userId="221d5f7b-4a46-4bd5-bdf1-698d3a91c208" providerId="ADAL" clId="{D90324C1-6CE4-4C28-B886-AED0B666B37F}" dt="2024-06-06T05:14:01.533" v="46177" actId="478"/>
          <ac:spMkLst>
            <pc:docMk/>
            <pc:sldMk cId="3668082236" sldId="614"/>
            <ac:spMk id="81" creationId="{B6B8FBBC-E432-D9E3-2DFE-6DD91EE5E32A}"/>
          </ac:spMkLst>
        </pc:spChg>
        <pc:spChg chg="add del mod replST">
          <ac:chgData name="Grace, Morgan (Brisbane)" userId="221d5f7b-4a46-4bd5-bdf1-698d3a91c208" providerId="ADAL" clId="{D90324C1-6CE4-4C28-B886-AED0B666B37F}" dt="2024-06-07T04:13:03.125" v="50634"/>
          <ac:spMkLst>
            <pc:docMk/>
            <pc:sldMk cId="3668082236" sldId="614"/>
            <ac:spMk id="84" creationId="{5BBC0E07-E6F7-C9FC-E608-77FA5C306825}"/>
          </ac:spMkLst>
        </pc:spChg>
        <pc:spChg chg="add del mod replST">
          <ac:chgData name="Grace, Morgan (Brisbane)" userId="221d5f7b-4a46-4bd5-bdf1-698d3a91c208" providerId="ADAL" clId="{D90324C1-6CE4-4C28-B886-AED0B666B37F}" dt="2024-06-07T04:13:03.125" v="50639"/>
          <ac:spMkLst>
            <pc:docMk/>
            <pc:sldMk cId="3668082236" sldId="614"/>
            <ac:spMk id="85" creationId="{4B3B1534-EDC2-C01A-0A48-4DA87539AFC4}"/>
          </ac:spMkLst>
        </pc:spChg>
        <pc:spChg chg="add del mod replST">
          <ac:chgData name="Grace, Morgan (Brisbane)" userId="221d5f7b-4a46-4bd5-bdf1-698d3a91c208" providerId="ADAL" clId="{D90324C1-6CE4-4C28-B886-AED0B666B37F}" dt="2024-06-07T04:13:03.125" v="50644"/>
          <ac:spMkLst>
            <pc:docMk/>
            <pc:sldMk cId="3668082236" sldId="614"/>
            <ac:spMk id="86" creationId="{E2D1C3DD-8870-7010-7B9F-057EC6356B96}"/>
          </ac:spMkLst>
        </pc:spChg>
        <pc:spChg chg="add del mod replST">
          <ac:chgData name="Grace, Morgan (Brisbane)" userId="221d5f7b-4a46-4bd5-bdf1-698d3a91c208" providerId="ADAL" clId="{D90324C1-6CE4-4C28-B886-AED0B666B37F}" dt="2024-06-07T04:13:03.140" v="50649"/>
          <ac:spMkLst>
            <pc:docMk/>
            <pc:sldMk cId="3668082236" sldId="614"/>
            <ac:spMk id="87" creationId="{225C2F11-5EE3-6241-4520-A8217F1ED885}"/>
          </ac:spMkLst>
        </pc:spChg>
        <pc:spChg chg="add del mod modVis">
          <ac:chgData name="Grace, Morgan (Brisbane)" userId="221d5f7b-4a46-4bd5-bdf1-698d3a91c208" providerId="ADAL" clId="{D90324C1-6CE4-4C28-B886-AED0B666B37F}" dt="2024-06-07T04:12:53.356" v="50569"/>
          <ac:spMkLst>
            <pc:docMk/>
            <pc:sldMk cId="3668082236" sldId="614"/>
            <ac:spMk id="88" creationId="{94868E25-DBB7-F8A9-8E73-A1A80509ADF4}"/>
          </ac:spMkLst>
        </pc:spChg>
        <pc:spChg chg="add del mod ord replST">
          <ac:chgData name="Grace, Morgan (Brisbane)" userId="221d5f7b-4a46-4bd5-bdf1-698d3a91c208" providerId="ADAL" clId="{D90324C1-6CE4-4C28-B886-AED0B666B37F}" dt="2024-06-07T04:13:03.241" v="50751"/>
          <ac:spMkLst>
            <pc:docMk/>
            <pc:sldMk cId="3668082236" sldId="614"/>
            <ac:spMk id="90" creationId="{87DF0065-1E85-3CAE-AFF2-1B24507DE8EE}"/>
          </ac:spMkLst>
        </pc:spChg>
        <pc:spChg chg="add del mod ord replST">
          <ac:chgData name="Grace, Morgan (Brisbane)" userId="221d5f7b-4a46-4bd5-bdf1-698d3a91c208" providerId="ADAL" clId="{D90324C1-6CE4-4C28-B886-AED0B666B37F}" dt="2024-06-07T04:13:03.241" v="50761"/>
          <ac:spMkLst>
            <pc:docMk/>
            <pc:sldMk cId="3668082236" sldId="614"/>
            <ac:spMk id="93" creationId="{87DF0065-1E85-3CAE-AFF2-1B24507DE8EE}"/>
          </ac:spMkLst>
        </pc:spChg>
        <pc:spChg chg="add del mod ord replST">
          <ac:chgData name="Grace, Morgan (Brisbane)" userId="221d5f7b-4a46-4bd5-bdf1-698d3a91c208" providerId="ADAL" clId="{D90324C1-6CE4-4C28-B886-AED0B666B37F}" dt="2024-06-07T04:13:03.109" v="50578"/>
          <ac:spMkLst>
            <pc:docMk/>
            <pc:sldMk cId="3668082236" sldId="614"/>
            <ac:spMk id="95" creationId="{87DF0065-1E85-3CAE-AFF2-1B24507DE8EE}"/>
          </ac:spMkLst>
        </pc:spChg>
        <pc:spChg chg="add del mod ord replST">
          <ac:chgData name="Grace, Morgan (Brisbane)" userId="221d5f7b-4a46-4bd5-bdf1-698d3a91c208" providerId="ADAL" clId="{D90324C1-6CE4-4C28-B886-AED0B666B37F}" dt="2024-06-07T04:13:03.109" v="50581"/>
          <ac:spMkLst>
            <pc:docMk/>
            <pc:sldMk cId="3668082236" sldId="614"/>
            <ac:spMk id="98" creationId="{87DF0065-1E85-3CAE-AFF2-1B24507DE8EE}"/>
          </ac:spMkLst>
        </pc:spChg>
        <pc:spChg chg="add del mod ord replST">
          <ac:chgData name="Grace, Morgan (Brisbane)" userId="221d5f7b-4a46-4bd5-bdf1-698d3a91c208" providerId="ADAL" clId="{D90324C1-6CE4-4C28-B886-AED0B666B37F}" dt="2024-06-07T04:13:03.109" v="50587"/>
          <ac:spMkLst>
            <pc:docMk/>
            <pc:sldMk cId="3668082236" sldId="614"/>
            <ac:spMk id="99" creationId="{87DF0065-1E85-3CAE-AFF2-1B24507DE8EE}"/>
          </ac:spMkLst>
        </pc:spChg>
        <pc:spChg chg="add del mod ord replST">
          <ac:chgData name="Grace, Morgan (Brisbane)" userId="221d5f7b-4a46-4bd5-bdf1-698d3a91c208" providerId="ADAL" clId="{D90324C1-6CE4-4C28-B886-AED0B666B37F}" dt="2024-06-07T04:13:03.125" v="50594"/>
          <ac:spMkLst>
            <pc:docMk/>
            <pc:sldMk cId="3668082236" sldId="614"/>
            <ac:spMk id="100" creationId="{87DF0065-1E85-3CAE-AFF2-1B24507DE8EE}"/>
          </ac:spMkLst>
        </pc:spChg>
        <pc:spChg chg="add del mod ord replST">
          <ac:chgData name="Grace, Morgan (Brisbane)" userId="221d5f7b-4a46-4bd5-bdf1-698d3a91c208" providerId="ADAL" clId="{D90324C1-6CE4-4C28-B886-AED0B666B37F}" dt="2024-06-07T04:13:03.125" v="50599"/>
          <ac:spMkLst>
            <pc:docMk/>
            <pc:sldMk cId="3668082236" sldId="614"/>
            <ac:spMk id="103" creationId="{87DF0065-1E85-3CAE-AFF2-1B24507DE8EE}"/>
          </ac:spMkLst>
        </pc:spChg>
        <pc:spChg chg="add del mod ord replST">
          <ac:chgData name="Grace, Morgan (Brisbane)" userId="221d5f7b-4a46-4bd5-bdf1-698d3a91c208" providerId="ADAL" clId="{D90324C1-6CE4-4C28-B886-AED0B666B37F}" dt="2024-06-07T04:13:03.125" v="50604"/>
          <ac:spMkLst>
            <pc:docMk/>
            <pc:sldMk cId="3668082236" sldId="614"/>
            <ac:spMk id="105" creationId="{87DF0065-1E85-3CAE-AFF2-1B24507DE8EE}"/>
          </ac:spMkLst>
        </pc:spChg>
        <pc:spChg chg="add del mod ord replST">
          <ac:chgData name="Grace, Morgan (Brisbane)" userId="221d5f7b-4a46-4bd5-bdf1-698d3a91c208" providerId="ADAL" clId="{D90324C1-6CE4-4C28-B886-AED0B666B37F}" dt="2024-06-07T04:13:03.125" v="50615"/>
          <ac:spMkLst>
            <pc:docMk/>
            <pc:sldMk cId="3668082236" sldId="614"/>
            <ac:spMk id="110" creationId="{87DF0065-1E85-3CAE-AFF2-1B24507DE8EE}"/>
          </ac:spMkLst>
        </pc:spChg>
        <pc:spChg chg="add del mod ord replST">
          <ac:chgData name="Grace, Morgan (Brisbane)" userId="221d5f7b-4a46-4bd5-bdf1-698d3a91c208" providerId="ADAL" clId="{D90324C1-6CE4-4C28-B886-AED0B666B37F}" dt="2024-06-07T04:13:03.125" v="50619"/>
          <ac:spMkLst>
            <pc:docMk/>
            <pc:sldMk cId="3668082236" sldId="614"/>
            <ac:spMk id="111" creationId="{87DF0065-1E85-3CAE-AFF2-1B24507DE8EE}"/>
          </ac:spMkLst>
        </pc:spChg>
        <pc:spChg chg="add del mod ord replST">
          <ac:chgData name="Grace, Morgan (Brisbane)" userId="221d5f7b-4a46-4bd5-bdf1-698d3a91c208" providerId="ADAL" clId="{D90324C1-6CE4-4C28-B886-AED0B666B37F}" dt="2024-06-07T04:13:03.125" v="50624"/>
          <ac:spMkLst>
            <pc:docMk/>
            <pc:sldMk cId="3668082236" sldId="614"/>
            <ac:spMk id="112" creationId="{87DF0065-1E85-3CAE-AFF2-1B24507DE8EE}"/>
          </ac:spMkLst>
        </pc:spChg>
        <pc:spChg chg="add del mod ord replST">
          <ac:chgData name="Grace, Morgan (Brisbane)" userId="221d5f7b-4a46-4bd5-bdf1-698d3a91c208" providerId="ADAL" clId="{D90324C1-6CE4-4C28-B886-AED0B666B37F}" dt="2024-06-07T04:13:03.125" v="50628"/>
          <ac:spMkLst>
            <pc:docMk/>
            <pc:sldMk cId="3668082236" sldId="614"/>
            <ac:spMk id="113" creationId="{87DF0065-1E85-3CAE-AFF2-1B24507DE8EE}"/>
          </ac:spMkLst>
        </pc:spChg>
        <pc:spChg chg="add del mod ord replST">
          <ac:chgData name="Grace, Morgan (Brisbane)" userId="221d5f7b-4a46-4bd5-bdf1-698d3a91c208" providerId="ADAL" clId="{D90324C1-6CE4-4C28-B886-AED0B666B37F}" dt="2024-06-07T04:13:03.125" v="50633"/>
          <ac:spMkLst>
            <pc:docMk/>
            <pc:sldMk cId="3668082236" sldId="614"/>
            <ac:spMk id="114" creationId="{87DF0065-1E85-3CAE-AFF2-1B24507DE8EE}"/>
          </ac:spMkLst>
        </pc:spChg>
        <pc:spChg chg="add del mod ord replST">
          <ac:chgData name="Grace, Morgan (Brisbane)" userId="221d5f7b-4a46-4bd5-bdf1-698d3a91c208" providerId="ADAL" clId="{D90324C1-6CE4-4C28-B886-AED0B666B37F}" dt="2024-06-07T04:13:03.125" v="50636"/>
          <ac:spMkLst>
            <pc:docMk/>
            <pc:sldMk cId="3668082236" sldId="614"/>
            <ac:spMk id="115" creationId="{87DF0065-1E85-3CAE-AFF2-1B24507DE8EE}"/>
          </ac:spMkLst>
        </pc:spChg>
        <pc:spChg chg="add del mod ord replST">
          <ac:chgData name="Grace, Morgan (Brisbane)" userId="221d5f7b-4a46-4bd5-bdf1-698d3a91c208" providerId="ADAL" clId="{D90324C1-6CE4-4C28-B886-AED0B666B37F}" dt="2024-06-07T04:13:03.125" v="50641"/>
          <ac:spMkLst>
            <pc:docMk/>
            <pc:sldMk cId="3668082236" sldId="614"/>
            <ac:spMk id="116" creationId="{87DF0065-1E85-3CAE-AFF2-1B24507DE8EE}"/>
          </ac:spMkLst>
        </pc:spChg>
        <pc:spChg chg="add del mod ord replST">
          <ac:chgData name="Grace, Morgan (Brisbane)" userId="221d5f7b-4a46-4bd5-bdf1-698d3a91c208" providerId="ADAL" clId="{D90324C1-6CE4-4C28-B886-AED0B666B37F}" dt="2024-06-07T04:13:03.125" v="50646"/>
          <ac:spMkLst>
            <pc:docMk/>
            <pc:sldMk cId="3668082236" sldId="614"/>
            <ac:spMk id="118" creationId="{87DF0065-1E85-3CAE-AFF2-1B24507DE8EE}"/>
          </ac:spMkLst>
        </pc:spChg>
        <pc:spChg chg="add del mod ord replST">
          <ac:chgData name="Grace, Morgan (Brisbane)" userId="221d5f7b-4a46-4bd5-bdf1-698d3a91c208" providerId="ADAL" clId="{D90324C1-6CE4-4C28-B886-AED0B666B37F}" dt="2024-06-07T04:13:03.140" v="50651"/>
          <ac:spMkLst>
            <pc:docMk/>
            <pc:sldMk cId="3668082236" sldId="614"/>
            <ac:spMk id="120" creationId="{87DF0065-1E85-3CAE-AFF2-1B24507DE8EE}"/>
          </ac:spMkLst>
        </pc:spChg>
        <pc:spChg chg="add del mod modVis">
          <ac:chgData name="Grace, Morgan (Brisbane)" userId="221d5f7b-4a46-4bd5-bdf1-698d3a91c208" providerId="ADAL" clId="{D90324C1-6CE4-4C28-B886-AED0B666B37F}" dt="2024-06-07T04:13:03.287" v="50835"/>
          <ac:spMkLst>
            <pc:docMk/>
            <pc:sldMk cId="3668082236" sldId="614"/>
            <ac:spMk id="123" creationId="{8FB396FA-6800-6FD9-8B79-96C0DAD1DA29}"/>
          </ac:spMkLst>
        </pc:spChg>
        <pc:spChg chg="add del mod replST">
          <ac:chgData name="Grace, Morgan (Brisbane)" userId="221d5f7b-4a46-4bd5-bdf1-698d3a91c208" providerId="ADAL" clId="{D90324C1-6CE4-4C28-B886-AED0B666B37F}" dt="2024-06-07T04:13:43.461" v="53208"/>
          <ac:spMkLst>
            <pc:docMk/>
            <pc:sldMk cId="3668082236" sldId="614"/>
            <ac:spMk id="125" creationId="{C44A0E2C-6744-15A5-3E3F-681430C32617}"/>
          </ac:spMkLst>
        </pc:spChg>
        <pc:spChg chg="add del mod replST">
          <ac:chgData name="Grace, Morgan (Brisbane)" userId="221d5f7b-4a46-4bd5-bdf1-698d3a91c208" providerId="ADAL" clId="{D90324C1-6CE4-4C28-B886-AED0B666B37F}" dt="2024-06-07T04:13:15.842" v="52445"/>
          <ac:spMkLst>
            <pc:docMk/>
            <pc:sldMk cId="3668082236" sldId="614"/>
            <ac:spMk id="126" creationId="{7F1FC0BA-E985-97CB-E793-359450F4FA4F}"/>
          </ac:spMkLst>
        </pc:spChg>
        <pc:spChg chg="add del mod replST">
          <ac:chgData name="Grace, Morgan (Brisbane)" userId="221d5f7b-4a46-4bd5-bdf1-698d3a91c208" providerId="ADAL" clId="{D90324C1-6CE4-4C28-B886-AED0B666B37F}" dt="2024-06-07T04:13:15.842" v="52446"/>
          <ac:spMkLst>
            <pc:docMk/>
            <pc:sldMk cId="3668082236" sldId="614"/>
            <ac:spMk id="127" creationId="{EE0E4710-FB70-6F6A-5488-151515856596}"/>
          </ac:spMkLst>
        </pc:spChg>
        <pc:spChg chg="add del mod replST">
          <ac:chgData name="Grace, Morgan (Brisbane)" userId="221d5f7b-4a46-4bd5-bdf1-698d3a91c208" providerId="ADAL" clId="{D90324C1-6CE4-4C28-B886-AED0B666B37F}" dt="2024-06-07T04:13:15.842" v="52447"/>
          <ac:spMkLst>
            <pc:docMk/>
            <pc:sldMk cId="3668082236" sldId="614"/>
            <ac:spMk id="128" creationId="{E25D137C-DD94-B104-9101-C17A16AAA0AF}"/>
          </ac:spMkLst>
        </pc:spChg>
        <pc:spChg chg="add del mod replST">
          <ac:chgData name="Grace, Morgan (Brisbane)" userId="221d5f7b-4a46-4bd5-bdf1-698d3a91c208" providerId="ADAL" clId="{D90324C1-6CE4-4C28-B886-AED0B666B37F}" dt="2024-06-07T04:13:15.842" v="52450"/>
          <ac:spMkLst>
            <pc:docMk/>
            <pc:sldMk cId="3668082236" sldId="614"/>
            <ac:spMk id="129" creationId="{5CBFB671-D290-51F2-A4DF-412C74DB0D88}"/>
          </ac:spMkLst>
        </pc:spChg>
        <pc:spChg chg="add del mod replST">
          <ac:chgData name="Grace, Morgan (Brisbane)" userId="221d5f7b-4a46-4bd5-bdf1-698d3a91c208" providerId="ADAL" clId="{D90324C1-6CE4-4C28-B886-AED0B666B37F}" dt="2024-06-07T04:13:15.842" v="52453"/>
          <ac:spMkLst>
            <pc:docMk/>
            <pc:sldMk cId="3668082236" sldId="614"/>
            <ac:spMk id="130" creationId="{E6368038-24FD-5F85-1621-4479C36EC2BD}"/>
          </ac:spMkLst>
        </pc:spChg>
        <pc:spChg chg="add del mod replST">
          <ac:chgData name="Grace, Morgan (Brisbane)" userId="221d5f7b-4a46-4bd5-bdf1-698d3a91c208" providerId="ADAL" clId="{D90324C1-6CE4-4C28-B886-AED0B666B37F}" dt="2024-06-07T04:13:15.850" v="52454"/>
          <ac:spMkLst>
            <pc:docMk/>
            <pc:sldMk cId="3668082236" sldId="614"/>
            <ac:spMk id="131" creationId="{BAAAD619-F047-459C-E7F1-7BBDF72364DF}"/>
          </ac:spMkLst>
        </pc:spChg>
        <pc:spChg chg="add del mod replST">
          <ac:chgData name="Grace, Morgan (Brisbane)" userId="221d5f7b-4a46-4bd5-bdf1-698d3a91c208" providerId="ADAL" clId="{D90324C1-6CE4-4C28-B886-AED0B666B37F}" dt="2024-06-07T04:13:15.851" v="52457"/>
          <ac:spMkLst>
            <pc:docMk/>
            <pc:sldMk cId="3668082236" sldId="614"/>
            <ac:spMk id="132" creationId="{B25D3E57-38BA-EFF2-0DC9-3ECF228637DF}"/>
          </ac:spMkLst>
        </pc:spChg>
        <pc:spChg chg="add del mod replST">
          <ac:chgData name="Grace, Morgan (Brisbane)" userId="221d5f7b-4a46-4bd5-bdf1-698d3a91c208" providerId="ADAL" clId="{D90324C1-6CE4-4C28-B886-AED0B666B37F}" dt="2024-06-07T04:13:15.851" v="52460"/>
          <ac:spMkLst>
            <pc:docMk/>
            <pc:sldMk cId="3668082236" sldId="614"/>
            <ac:spMk id="133" creationId="{809A26E7-19B5-D2DB-D2E2-FA3ACD5B662A}"/>
          </ac:spMkLst>
        </pc:spChg>
        <pc:spChg chg="add del mod replST">
          <ac:chgData name="Grace, Morgan (Brisbane)" userId="221d5f7b-4a46-4bd5-bdf1-698d3a91c208" providerId="ADAL" clId="{D90324C1-6CE4-4C28-B886-AED0B666B37F}" dt="2024-06-07T04:13:15.852" v="52465"/>
          <ac:spMkLst>
            <pc:docMk/>
            <pc:sldMk cId="3668082236" sldId="614"/>
            <ac:spMk id="134" creationId="{C4090DD3-4BCF-9481-3B15-295A684BBB57}"/>
          </ac:spMkLst>
        </pc:spChg>
        <pc:spChg chg="add del mod replST">
          <ac:chgData name="Grace, Morgan (Brisbane)" userId="221d5f7b-4a46-4bd5-bdf1-698d3a91c208" providerId="ADAL" clId="{D90324C1-6CE4-4C28-B886-AED0B666B37F}" dt="2024-06-07T04:13:15.852" v="52470"/>
          <ac:spMkLst>
            <pc:docMk/>
            <pc:sldMk cId="3668082236" sldId="614"/>
            <ac:spMk id="135" creationId="{139A7837-CA0D-979C-BF22-3866AD5B0942}"/>
          </ac:spMkLst>
        </pc:spChg>
        <pc:spChg chg="add del mod replST">
          <ac:chgData name="Grace, Morgan (Brisbane)" userId="221d5f7b-4a46-4bd5-bdf1-698d3a91c208" providerId="ADAL" clId="{D90324C1-6CE4-4C28-B886-AED0B666B37F}" dt="2024-06-07T04:13:15.852" v="52475"/>
          <ac:spMkLst>
            <pc:docMk/>
            <pc:sldMk cId="3668082236" sldId="614"/>
            <ac:spMk id="136" creationId="{5AA5A4F3-407B-7E2E-340D-3A501503385A}"/>
          </ac:spMkLst>
        </pc:spChg>
        <pc:spChg chg="add del mod replST">
          <ac:chgData name="Grace, Morgan (Brisbane)" userId="221d5f7b-4a46-4bd5-bdf1-698d3a91c208" providerId="ADAL" clId="{D90324C1-6CE4-4C28-B886-AED0B666B37F}" dt="2024-06-07T04:13:15.852" v="52478"/>
          <ac:spMkLst>
            <pc:docMk/>
            <pc:sldMk cId="3668082236" sldId="614"/>
            <ac:spMk id="137" creationId="{D2A62A48-E116-E8CD-216F-EF8D1B9B9F28}"/>
          </ac:spMkLst>
        </pc:spChg>
        <pc:spChg chg="add del mod replST">
          <ac:chgData name="Grace, Morgan (Brisbane)" userId="221d5f7b-4a46-4bd5-bdf1-698d3a91c208" providerId="ADAL" clId="{D90324C1-6CE4-4C28-B886-AED0B666B37F}" dt="2024-06-07T04:13:15.852" v="52481"/>
          <ac:spMkLst>
            <pc:docMk/>
            <pc:sldMk cId="3668082236" sldId="614"/>
            <ac:spMk id="138" creationId="{423F3C2C-EB49-C1E1-173F-3AFBCA878902}"/>
          </ac:spMkLst>
        </pc:spChg>
        <pc:spChg chg="add del mod modVis">
          <ac:chgData name="Grace, Morgan (Brisbane)" userId="221d5f7b-4a46-4bd5-bdf1-698d3a91c208" providerId="ADAL" clId="{D90324C1-6CE4-4C28-B886-AED0B666B37F}" dt="2024-06-07T04:13:05.600" v="51795"/>
          <ac:spMkLst>
            <pc:docMk/>
            <pc:sldMk cId="3668082236" sldId="614"/>
            <ac:spMk id="139" creationId="{7EE7511E-4949-334B-8ADF-94C953EFCCB3}"/>
          </ac:spMkLst>
        </pc:spChg>
        <pc:spChg chg="add del mod ord replST">
          <ac:chgData name="Grace, Morgan (Brisbane)" userId="221d5f7b-4a46-4bd5-bdf1-698d3a91c208" providerId="ADAL" clId="{D90324C1-6CE4-4C28-B886-AED0B666B37F}" dt="2024-06-07T04:13:13.967" v="52015"/>
          <ac:spMkLst>
            <pc:docMk/>
            <pc:sldMk cId="3668082236" sldId="614"/>
            <ac:spMk id="140" creationId="{87DF0065-1E85-3CAE-AFF2-1B24507DE8EE}"/>
          </ac:spMkLst>
        </pc:spChg>
        <pc:spChg chg="add del mod ord replST">
          <ac:chgData name="Grace, Morgan (Brisbane)" userId="221d5f7b-4a46-4bd5-bdf1-698d3a91c208" providerId="ADAL" clId="{D90324C1-6CE4-4C28-B886-AED0B666B37F}" dt="2024-06-07T04:13:15.842" v="52452"/>
          <ac:spMkLst>
            <pc:docMk/>
            <pc:sldMk cId="3668082236" sldId="614"/>
            <ac:spMk id="141" creationId="{87DF0065-1E85-3CAE-AFF2-1B24507DE8EE}"/>
          </ac:spMkLst>
        </pc:spChg>
        <pc:spChg chg="add del mod ord replST">
          <ac:chgData name="Grace, Morgan (Brisbane)" userId="221d5f7b-4a46-4bd5-bdf1-698d3a91c208" providerId="ADAL" clId="{D90324C1-6CE4-4C28-B886-AED0B666B37F}" dt="2024-06-07T04:13:15.851" v="52456"/>
          <ac:spMkLst>
            <pc:docMk/>
            <pc:sldMk cId="3668082236" sldId="614"/>
            <ac:spMk id="142" creationId="{87DF0065-1E85-3CAE-AFF2-1B24507DE8EE}"/>
          </ac:spMkLst>
        </pc:spChg>
        <pc:spChg chg="add del mod ord replST">
          <ac:chgData name="Grace, Morgan (Brisbane)" userId="221d5f7b-4a46-4bd5-bdf1-698d3a91c208" providerId="ADAL" clId="{D90324C1-6CE4-4C28-B886-AED0B666B37F}" dt="2024-06-07T04:13:15.852" v="52467"/>
          <ac:spMkLst>
            <pc:docMk/>
            <pc:sldMk cId="3668082236" sldId="614"/>
            <ac:spMk id="143" creationId="{87DF0065-1E85-3CAE-AFF2-1B24507DE8EE}"/>
          </ac:spMkLst>
        </pc:spChg>
        <pc:spChg chg="add del mod ord replST">
          <ac:chgData name="Grace, Morgan (Brisbane)" userId="221d5f7b-4a46-4bd5-bdf1-698d3a91c208" providerId="ADAL" clId="{D90324C1-6CE4-4C28-B886-AED0B666B37F}" dt="2024-06-07T04:13:15.852" v="52472"/>
          <ac:spMkLst>
            <pc:docMk/>
            <pc:sldMk cId="3668082236" sldId="614"/>
            <ac:spMk id="144" creationId="{87DF0065-1E85-3CAE-AFF2-1B24507DE8EE}"/>
          </ac:spMkLst>
        </pc:spChg>
        <pc:spChg chg="add del mod ord replST">
          <ac:chgData name="Grace, Morgan (Brisbane)" userId="221d5f7b-4a46-4bd5-bdf1-698d3a91c208" providerId="ADAL" clId="{D90324C1-6CE4-4C28-B886-AED0B666B37F}" dt="2024-06-07T04:13:15.852" v="52477"/>
          <ac:spMkLst>
            <pc:docMk/>
            <pc:sldMk cId="3668082236" sldId="614"/>
            <ac:spMk id="145" creationId="{87DF0065-1E85-3CAE-AFF2-1B24507DE8EE}"/>
          </ac:spMkLst>
        </pc:spChg>
        <pc:spChg chg="add del mod ord replST">
          <ac:chgData name="Grace, Morgan (Brisbane)" userId="221d5f7b-4a46-4bd5-bdf1-698d3a91c208" providerId="ADAL" clId="{D90324C1-6CE4-4C28-B886-AED0B666B37F}" dt="2024-06-07T04:13:15.852" v="52480"/>
          <ac:spMkLst>
            <pc:docMk/>
            <pc:sldMk cId="3668082236" sldId="614"/>
            <ac:spMk id="147" creationId="{87DF0065-1E85-3CAE-AFF2-1B24507DE8EE}"/>
          </ac:spMkLst>
        </pc:spChg>
        <pc:spChg chg="add del mod ord replST">
          <ac:chgData name="Grace, Morgan (Brisbane)" userId="221d5f7b-4a46-4bd5-bdf1-698d3a91c208" providerId="ADAL" clId="{D90324C1-6CE4-4C28-B886-AED0B666B37F}" dt="2024-06-07T04:13:15.852" v="52483"/>
          <ac:spMkLst>
            <pc:docMk/>
            <pc:sldMk cId="3668082236" sldId="614"/>
            <ac:spMk id="148" creationId="{87DF0065-1E85-3CAE-AFF2-1B24507DE8EE}"/>
          </ac:spMkLst>
        </pc:spChg>
        <pc:spChg chg="add del mod modVis">
          <ac:chgData name="Grace, Morgan (Brisbane)" userId="221d5f7b-4a46-4bd5-bdf1-698d3a91c208" providerId="ADAL" clId="{D90324C1-6CE4-4C28-B886-AED0B666B37F}" dt="2024-06-07T04:13:14.237" v="52442"/>
          <ac:spMkLst>
            <pc:docMk/>
            <pc:sldMk cId="3668082236" sldId="614"/>
            <ac:spMk id="150" creationId="{BF4B2107-8461-B35D-88B9-CC64C18807F9}"/>
          </ac:spMkLst>
        </pc:spChg>
        <pc:spChg chg="add del mod ord replST">
          <ac:chgData name="Grace, Morgan (Brisbane)" userId="221d5f7b-4a46-4bd5-bdf1-698d3a91c208" providerId="ADAL" clId="{D90324C1-6CE4-4C28-B886-AED0B666B37F}" dt="2024-06-07T04:13:15.922" v="52548"/>
          <ac:spMkLst>
            <pc:docMk/>
            <pc:sldMk cId="3668082236" sldId="614"/>
            <ac:spMk id="151" creationId="{87DF0065-1E85-3CAE-AFF2-1B24507DE8EE}"/>
          </ac:spMkLst>
        </pc:spChg>
        <pc:spChg chg="add del mod ord replST">
          <ac:chgData name="Grace, Morgan (Brisbane)" userId="221d5f7b-4a46-4bd5-bdf1-698d3a91c208" providerId="ADAL" clId="{D90324C1-6CE4-4C28-B886-AED0B666B37F}" dt="2024-06-07T04:13:15.842" v="52449"/>
          <ac:spMkLst>
            <pc:docMk/>
            <pc:sldMk cId="3668082236" sldId="614"/>
            <ac:spMk id="152" creationId="{87DF0065-1E85-3CAE-AFF2-1B24507DE8EE}"/>
          </ac:spMkLst>
        </pc:spChg>
        <pc:spChg chg="add del mod ord replST">
          <ac:chgData name="Grace, Morgan (Brisbane)" userId="221d5f7b-4a46-4bd5-bdf1-698d3a91c208" providerId="ADAL" clId="{D90324C1-6CE4-4C28-B886-AED0B666B37F}" dt="2024-06-07T04:13:15.851" v="52459"/>
          <ac:spMkLst>
            <pc:docMk/>
            <pc:sldMk cId="3668082236" sldId="614"/>
            <ac:spMk id="153" creationId="{87DF0065-1E85-3CAE-AFF2-1B24507DE8EE}"/>
          </ac:spMkLst>
        </pc:spChg>
        <pc:spChg chg="add del mod ord replST">
          <ac:chgData name="Grace, Morgan (Brisbane)" userId="221d5f7b-4a46-4bd5-bdf1-698d3a91c208" providerId="ADAL" clId="{D90324C1-6CE4-4C28-B886-AED0B666B37F}" dt="2024-06-07T04:13:15.852" v="52462"/>
          <ac:spMkLst>
            <pc:docMk/>
            <pc:sldMk cId="3668082236" sldId="614"/>
            <ac:spMk id="154" creationId="{87DF0065-1E85-3CAE-AFF2-1B24507DE8EE}"/>
          </ac:spMkLst>
        </pc:spChg>
        <pc:spChg chg="add del mod modVis">
          <ac:chgData name="Grace, Morgan (Brisbane)" userId="221d5f7b-4a46-4bd5-bdf1-698d3a91c208" providerId="ADAL" clId="{D90324C1-6CE4-4C28-B886-AED0B666B37F}" dt="2024-06-07T04:13:15.975" v="52625"/>
          <ac:spMkLst>
            <pc:docMk/>
            <pc:sldMk cId="3668082236" sldId="614"/>
            <ac:spMk id="158" creationId="{1889867F-3F24-7097-39DB-C62CCD159BF4}"/>
          </ac:spMkLst>
        </pc:spChg>
        <pc:spChg chg="add del mod replST">
          <ac:chgData name="Grace, Morgan (Brisbane)" userId="221d5f7b-4a46-4bd5-bdf1-698d3a91c208" providerId="ADAL" clId="{D90324C1-6CE4-4C28-B886-AED0B666B37F}" dt="2024-06-07T04:20:53.126" v="56051"/>
          <ac:spMkLst>
            <pc:docMk/>
            <pc:sldMk cId="3668082236" sldId="614"/>
            <ac:spMk id="160" creationId="{12679D1C-DF84-15C4-A518-BBBD784CB461}"/>
          </ac:spMkLst>
        </pc:spChg>
        <pc:spChg chg="add del mod replST">
          <ac:chgData name="Grace, Morgan (Brisbane)" userId="221d5f7b-4a46-4bd5-bdf1-698d3a91c208" providerId="ADAL" clId="{D90324C1-6CE4-4C28-B886-AED0B666B37F}" dt="2024-06-07T04:20:53.126" v="56053"/>
          <ac:spMkLst>
            <pc:docMk/>
            <pc:sldMk cId="3668082236" sldId="614"/>
            <ac:spMk id="161" creationId="{9B23D0C6-38CD-3166-5DAC-C78AE1DAB90D}"/>
          </ac:spMkLst>
        </pc:spChg>
        <pc:spChg chg="add del mod replST">
          <ac:chgData name="Grace, Morgan (Brisbane)" userId="221d5f7b-4a46-4bd5-bdf1-698d3a91c208" providerId="ADAL" clId="{D90324C1-6CE4-4C28-B886-AED0B666B37F}" dt="2024-06-07T04:20:53.126" v="56055"/>
          <ac:spMkLst>
            <pc:docMk/>
            <pc:sldMk cId="3668082236" sldId="614"/>
            <ac:spMk id="162" creationId="{94C755E2-FC1A-DA43-1B69-28AD6626BBE0}"/>
          </ac:spMkLst>
        </pc:spChg>
        <pc:spChg chg="add del mod replST">
          <ac:chgData name="Grace, Morgan (Brisbane)" userId="221d5f7b-4a46-4bd5-bdf1-698d3a91c208" providerId="ADAL" clId="{D90324C1-6CE4-4C28-B886-AED0B666B37F}" dt="2024-06-07T04:20:53.126" v="56057"/>
          <ac:spMkLst>
            <pc:docMk/>
            <pc:sldMk cId="3668082236" sldId="614"/>
            <ac:spMk id="163" creationId="{139DCBB7-6C73-8579-AB89-0948B0E287F1}"/>
          </ac:spMkLst>
        </pc:spChg>
        <pc:spChg chg="add del mod replST">
          <ac:chgData name="Grace, Morgan (Brisbane)" userId="221d5f7b-4a46-4bd5-bdf1-698d3a91c208" providerId="ADAL" clId="{D90324C1-6CE4-4C28-B886-AED0B666B37F}" dt="2024-06-07T04:20:53.126" v="56052"/>
          <ac:spMkLst>
            <pc:docMk/>
            <pc:sldMk cId="3668082236" sldId="614"/>
            <ac:spMk id="164" creationId="{D1FEF780-9D49-9841-F258-E2E87DAD018F}"/>
          </ac:spMkLst>
        </pc:spChg>
        <pc:spChg chg="add del mod replST">
          <ac:chgData name="Grace, Morgan (Brisbane)" userId="221d5f7b-4a46-4bd5-bdf1-698d3a91c208" providerId="ADAL" clId="{D90324C1-6CE4-4C28-B886-AED0B666B37F}" dt="2024-06-07T04:20:53.126" v="56056"/>
          <ac:spMkLst>
            <pc:docMk/>
            <pc:sldMk cId="3668082236" sldId="614"/>
            <ac:spMk id="165" creationId="{EA6C33D2-5E19-8F81-59CF-A196DBE1B869}"/>
          </ac:spMkLst>
        </pc:spChg>
        <pc:spChg chg="add del mod modVis">
          <ac:chgData name="Grace, Morgan (Brisbane)" userId="221d5f7b-4a46-4bd5-bdf1-698d3a91c208" providerId="ADAL" clId="{D90324C1-6CE4-4C28-B886-AED0B666B37F}" dt="2024-06-07T04:13:31.499" v="53064"/>
          <ac:spMkLst>
            <pc:docMk/>
            <pc:sldMk cId="3668082236" sldId="614"/>
            <ac:spMk id="166" creationId="{A379E0B3-3278-2A00-98D5-9D0517027601}"/>
          </ac:spMkLst>
        </pc:spChg>
        <pc:spChg chg="add del mod ord replST">
          <ac:chgData name="Grace, Morgan (Brisbane)" userId="221d5f7b-4a46-4bd5-bdf1-698d3a91c208" providerId="ADAL" clId="{D90324C1-6CE4-4C28-B886-AED0B666B37F}" dt="2024-06-07T04:13:43.461" v="53204"/>
          <ac:spMkLst>
            <pc:docMk/>
            <pc:sldMk cId="3668082236" sldId="614"/>
            <ac:spMk id="167" creationId="{87DF0065-1E85-3CAE-AFF2-1B24507DE8EE}"/>
          </ac:spMkLst>
        </pc:spChg>
        <pc:spChg chg="add del mod ord replST">
          <ac:chgData name="Grace, Morgan (Brisbane)" userId="221d5f7b-4a46-4bd5-bdf1-698d3a91c208" providerId="ADAL" clId="{D90324C1-6CE4-4C28-B886-AED0B666B37F}" dt="2024-06-07T04:13:43.461" v="53207"/>
          <ac:spMkLst>
            <pc:docMk/>
            <pc:sldMk cId="3668082236" sldId="614"/>
            <ac:spMk id="168" creationId="{87DF0065-1E85-3CAE-AFF2-1B24507DE8EE}"/>
          </ac:spMkLst>
        </pc:spChg>
        <pc:spChg chg="add del mod ord replST">
          <ac:chgData name="Grace, Morgan (Brisbane)" userId="221d5f7b-4a46-4bd5-bdf1-698d3a91c208" providerId="ADAL" clId="{D90324C1-6CE4-4C28-B886-AED0B666B37F}" dt="2024-06-07T04:21:56.857" v="57677"/>
          <ac:spMkLst>
            <pc:docMk/>
            <pc:sldMk cId="3668082236" sldId="614"/>
            <ac:spMk id="169" creationId="{87DF0065-1E85-3CAE-AFF2-1B24507DE8EE}"/>
          </ac:spMkLst>
        </pc:spChg>
        <pc:spChg chg="add del mod modVis">
          <ac:chgData name="Grace, Morgan (Brisbane)" userId="221d5f7b-4a46-4bd5-bdf1-698d3a91c208" providerId="ADAL" clId="{D90324C1-6CE4-4C28-B886-AED0B666B37F}" dt="2024-06-07T04:13:39.382" v="53199"/>
          <ac:spMkLst>
            <pc:docMk/>
            <pc:sldMk cId="3668082236" sldId="614"/>
            <ac:spMk id="171" creationId="{6AF64E96-7837-A55C-3192-3EAC9CA959A2}"/>
          </ac:spMkLst>
        </pc:spChg>
        <pc:spChg chg="add del mod replST">
          <ac:chgData name="Grace, Morgan (Brisbane)" userId="221d5f7b-4a46-4bd5-bdf1-698d3a91c208" providerId="ADAL" clId="{D90324C1-6CE4-4C28-B886-AED0B666B37F}" dt="2024-06-07T04:20:53.126" v="56058"/>
          <ac:spMkLst>
            <pc:docMk/>
            <pc:sldMk cId="3668082236" sldId="614"/>
            <ac:spMk id="173" creationId="{A47487D0-F8F0-76F4-FBC9-301052026ED9}"/>
          </ac:spMkLst>
        </pc:spChg>
        <pc:spChg chg="add del mod replST">
          <ac:chgData name="Grace, Morgan (Brisbane)" userId="221d5f7b-4a46-4bd5-bdf1-698d3a91c208" providerId="ADAL" clId="{D90324C1-6CE4-4C28-B886-AED0B666B37F}" dt="2024-06-07T04:20:53.126" v="56054"/>
          <ac:spMkLst>
            <pc:docMk/>
            <pc:sldMk cId="3668082236" sldId="614"/>
            <ac:spMk id="174" creationId="{46E42243-843D-CB0E-9E92-F92525519956}"/>
          </ac:spMkLst>
        </pc:spChg>
        <pc:spChg chg="add del mod replST">
          <ac:chgData name="Grace, Morgan (Brisbane)" userId="221d5f7b-4a46-4bd5-bdf1-698d3a91c208" providerId="ADAL" clId="{D90324C1-6CE4-4C28-B886-AED0B666B37F}" dt="2024-06-07T04:20:53.126" v="56059"/>
          <ac:spMkLst>
            <pc:docMk/>
            <pc:sldMk cId="3668082236" sldId="614"/>
            <ac:spMk id="175" creationId="{C3942AD2-43BE-3965-8824-7DF558D32CE6}"/>
          </ac:spMkLst>
        </pc:spChg>
        <pc:spChg chg="add del mod modVis">
          <ac:chgData name="Grace, Morgan (Brisbane)" userId="221d5f7b-4a46-4bd5-bdf1-698d3a91c208" providerId="ADAL" clId="{D90324C1-6CE4-4C28-B886-AED0B666B37F}" dt="2024-06-07T04:13:43.677" v="53542"/>
          <ac:spMkLst>
            <pc:docMk/>
            <pc:sldMk cId="3668082236" sldId="614"/>
            <ac:spMk id="176" creationId="{7EA723A4-E4C2-6607-45FE-82DFA26B04AA}"/>
          </ac:spMkLst>
        </pc:spChg>
        <pc:spChg chg="add del mod ord replST">
          <ac:chgData name="Grace, Morgan (Brisbane)" userId="221d5f7b-4a46-4bd5-bdf1-698d3a91c208" providerId="ADAL" clId="{D90324C1-6CE4-4C28-B886-AED0B666B37F}" dt="2024-06-07T04:13:49.956" v="53680"/>
          <ac:spMkLst>
            <pc:docMk/>
            <pc:sldMk cId="3668082236" sldId="614"/>
            <ac:spMk id="177" creationId="{87DF0065-1E85-3CAE-AFF2-1B24507DE8EE}"/>
          </ac:spMkLst>
        </pc:spChg>
        <pc:spChg chg="add del mod ord replST">
          <ac:chgData name="Grace, Morgan (Brisbane)" userId="221d5f7b-4a46-4bd5-bdf1-698d3a91c208" providerId="ADAL" clId="{D90324C1-6CE4-4C28-B886-AED0B666B37F}" dt="2024-06-07T04:13:49.956" v="53686"/>
          <ac:spMkLst>
            <pc:docMk/>
            <pc:sldMk cId="3668082236" sldId="614"/>
            <ac:spMk id="178" creationId="{87DF0065-1E85-3CAE-AFF2-1B24507DE8EE}"/>
          </ac:spMkLst>
        </pc:spChg>
        <pc:spChg chg="add del mod modVis">
          <ac:chgData name="Grace, Morgan (Brisbane)" userId="221d5f7b-4a46-4bd5-bdf1-698d3a91c208" providerId="ADAL" clId="{D90324C1-6CE4-4C28-B886-AED0B666B37F}" dt="2024-06-07T04:13:49.993" v="53770"/>
          <ac:spMkLst>
            <pc:docMk/>
            <pc:sldMk cId="3668082236" sldId="614"/>
            <ac:spMk id="180" creationId="{FA917923-088C-5676-3518-ABD9A30DF46B}"/>
          </ac:spMkLst>
        </pc:spChg>
        <pc:spChg chg="add del mod ord">
          <ac:chgData name="Grace, Morgan (Brisbane)" userId="221d5f7b-4a46-4bd5-bdf1-698d3a91c208" providerId="ADAL" clId="{D90324C1-6CE4-4C28-B886-AED0B666B37F}" dt="2024-06-07T05:41:19.677" v="122968" actId="478"/>
          <ac:spMkLst>
            <pc:docMk/>
            <pc:sldMk cId="3668082236" sldId="614"/>
            <ac:spMk id="187" creationId="{FD01B6C5-24D7-6FF2-3960-0BE4AC37D5FC}"/>
          </ac:spMkLst>
        </pc:spChg>
        <pc:spChg chg="add del mod ord replST">
          <ac:chgData name="Grace, Morgan (Brisbane)" userId="221d5f7b-4a46-4bd5-bdf1-698d3a91c208" providerId="ADAL" clId="{D90324C1-6CE4-4C28-B886-AED0B666B37F}" dt="2024-06-07T04:21:56.857" v="57673"/>
          <ac:spMkLst>
            <pc:docMk/>
            <pc:sldMk cId="3668082236" sldId="614"/>
            <ac:spMk id="188" creationId="{87DF0065-1E85-3CAE-AFF2-1B24507DE8EE}"/>
          </ac:spMkLst>
        </pc:spChg>
        <pc:spChg chg="add del mod modVis">
          <ac:chgData name="Grace, Morgan (Brisbane)" userId="221d5f7b-4a46-4bd5-bdf1-698d3a91c208" providerId="ADAL" clId="{D90324C1-6CE4-4C28-B886-AED0B666B37F}" dt="2024-06-07T04:18:13.289" v="54807"/>
          <ac:spMkLst>
            <pc:docMk/>
            <pc:sldMk cId="3668082236" sldId="614"/>
            <ac:spMk id="189" creationId="{2C6885CB-80A8-ECA8-62A6-2E5FB638AC21}"/>
          </ac:spMkLst>
        </pc:spChg>
        <pc:spChg chg="add del mod ord replST">
          <ac:chgData name="Grace, Morgan (Brisbane)" userId="221d5f7b-4a46-4bd5-bdf1-698d3a91c208" providerId="ADAL" clId="{D90324C1-6CE4-4C28-B886-AED0B666B37F}" dt="2024-06-07T04:21:56.857" v="57669"/>
          <ac:spMkLst>
            <pc:docMk/>
            <pc:sldMk cId="3668082236" sldId="614"/>
            <ac:spMk id="190" creationId="{87DF0065-1E85-3CAE-AFF2-1B24507DE8EE}"/>
          </ac:spMkLst>
        </pc:spChg>
        <pc:spChg chg="add del mod ord replST">
          <ac:chgData name="Grace, Morgan (Brisbane)" userId="221d5f7b-4a46-4bd5-bdf1-698d3a91c208" providerId="ADAL" clId="{D90324C1-6CE4-4C28-B886-AED0B666B37F}" dt="2024-06-07T04:21:56.857" v="57665"/>
          <ac:spMkLst>
            <pc:docMk/>
            <pc:sldMk cId="3668082236" sldId="614"/>
            <ac:spMk id="191" creationId="{87DF0065-1E85-3CAE-AFF2-1B24507DE8EE}"/>
          </ac:spMkLst>
        </pc:spChg>
        <pc:spChg chg="add del mod ord replST">
          <ac:chgData name="Grace, Morgan (Brisbane)" userId="221d5f7b-4a46-4bd5-bdf1-698d3a91c208" providerId="ADAL" clId="{D90324C1-6CE4-4C28-B886-AED0B666B37F}" dt="2024-06-07T04:21:56.857" v="57661"/>
          <ac:spMkLst>
            <pc:docMk/>
            <pc:sldMk cId="3668082236" sldId="614"/>
            <ac:spMk id="192" creationId="{87DF0065-1E85-3CAE-AFF2-1B24507DE8EE}"/>
          </ac:spMkLst>
        </pc:spChg>
        <pc:spChg chg="add mod ord">
          <ac:chgData name="Grace, Morgan (Brisbane)" userId="221d5f7b-4a46-4bd5-bdf1-698d3a91c208" providerId="ADAL" clId="{D90324C1-6CE4-4C28-B886-AED0B666B37F}" dt="2024-06-21T01:53:54.921" v="125706" actId="1076"/>
          <ac:spMkLst>
            <pc:docMk/>
            <pc:sldMk cId="3668082236" sldId="614"/>
            <ac:spMk id="194" creationId="{3049DBB1-76FD-06CC-0B74-D3C9C983742F}"/>
          </ac:spMkLst>
        </pc:spChg>
        <pc:spChg chg="add del mod replST">
          <ac:chgData name="Grace, Morgan (Brisbane)" userId="221d5f7b-4a46-4bd5-bdf1-698d3a91c208" providerId="ADAL" clId="{D90324C1-6CE4-4C28-B886-AED0B666B37F}" dt="2024-06-07T04:18:48.636" v="55408"/>
          <ac:spMkLst>
            <pc:docMk/>
            <pc:sldMk cId="3668082236" sldId="614"/>
            <ac:spMk id="198" creationId="{87DF0065-1E85-3CAE-AFF2-1B24507DE8EE}"/>
          </ac:spMkLst>
        </pc:spChg>
        <pc:spChg chg="add del mod modVis">
          <ac:chgData name="Grace, Morgan (Brisbane)" userId="221d5f7b-4a46-4bd5-bdf1-698d3a91c208" providerId="ADAL" clId="{D90324C1-6CE4-4C28-B886-AED0B666B37F}" dt="2024-06-07T04:18:47.101" v="55383"/>
          <ac:spMkLst>
            <pc:docMk/>
            <pc:sldMk cId="3668082236" sldId="614"/>
            <ac:spMk id="199" creationId="{8F74820B-DC09-B740-8755-E6AD1C1D3808}"/>
          </ac:spMkLst>
        </pc:spChg>
        <pc:spChg chg="add del mod replST">
          <ac:chgData name="Grace, Morgan (Brisbane)" userId="221d5f7b-4a46-4bd5-bdf1-698d3a91c208" providerId="ADAL" clId="{D90324C1-6CE4-4C28-B886-AED0B666B37F}" dt="2024-06-07T04:21:56.857" v="57683"/>
          <ac:spMkLst>
            <pc:docMk/>
            <pc:sldMk cId="3668082236" sldId="614"/>
            <ac:spMk id="206" creationId="{87DF0065-1E85-3CAE-AFF2-1B24507DE8EE}"/>
          </ac:spMkLst>
        </pc:spChg>
        <pc:spChg chg="add del mod modVis">
          <ac:chgData name="Grace, Morgan (Brisbane)" userId="221d5f7b-4a46-4bd5-bdf1-698d3a91c208" providerId="ADAL" clId="{D90324C1-6CE4-4C28-B886-AED0B666B37F}" dt="2024-06-07T04:20:55.315" v="56817"/>
          <ac:spMkLst>
            <pc:docMk/>
            <pc:sldMk cId="3668082236" sldId="614"/>
            <ac:spMk id="207" creationId="{F61FE987-2CDA-4FC2-50A1-6C110DB63A42}"/>
          </ac:spMkLst>
        </pc:spChg>
        <pc:spChg chg="add del mod replST">
          <ac:chgData name="Grace, Morgan (Brisbane)" userId="221d5f7b-4a46-4bd5-bdf1-698d3a91c208" providerId="ADAL" clId="{D90324C1-6CE4-4C28-B886-AED0B666B37F}" dt="2024-06-07T04:21:56.857" v="57659"/>
          <ac:spMkLst>
            <pc:docMk/>
            <pc:sldMk cId="3668082236" sldId="614"/>
            <ac:spMk id="208" creationId="{87DF0065-1E85-3CAE-AFF2-1B24507DE8EE}"/>
          </ac:spMkLst>
        </pc:spChg>
        <pc:spChg chg="add del mod replST">
          <ac:chgData name="Grace, Morgan (Brisbane)" userId="221d5f7b-4a46-4bd5-bdf1-698d3a91c208" providerId="ADAL" clId="{D90324C1-6CE4-4C28-B886-AED0B666B37F}" dt="2024-06-07T04:21:56.857" v="57679"/>
          <ac:spMkLst>
            <pc:docMk/>
            <pc:sldMk cId="3668082236" sldId="614"/>
            <ac:spMk id="209" creationId="{87DF0065-1E85-3CAE-AFF2-1B24507DE8EE}"/>
          </ac:spMkLst>
        </pc:spChg>
        <pc:spChg chg="add del mod replST">
          <ac:chgData name="Grace, Morgan (Brisbane)" userId="221d5f7b-4a46-4bd5-bdf1-698d3a91c208" providerId="ADAL" clId="{D90324C1-6CE4-4C28-B886-AED0B666B37F}" dt="2024-06-07T04:21:56.857" v="57681"/>
          <ac:spMkLst>
            <pc:docMk/>
            <pc:sldMk cId="3668082236" sldId="614"/>
            <ac:spMk id="210" creationId="{87DF0065-1E85-3CAE-AFF2-1B24507DE8EE}"/>
          </ac:spMkLst>
        </pc:spChg>
        <pc:spChg chg="add del mod replST">
          <ac:chgData name="Grace, Morgan (Brisbane)" userId="221d5f7b-4a46-4bd5-bdf1-698d3a91c208" providerId="ADAL" clId="{D90324C1-6CE4-4C28-B886-AED0B666B37F}" dt="2024-06-07T04:21:56.857" v="57663"/>
          <ac:spMkLst>
            <pc:docMk/>
            <pc:sldMk cId="3668082236" sldId="614"/>
            <ac:spMk id="211" creationId="{87DF0065-1E85-3CAE-AFF2-1B24507DE8EE}"/>
          </ac:spMkLst>
        </pc:spChg>
        <pc:spChg chg="add del mod replST">
          <ac:chgData name="Grace, Morgan (Brisbane)" userId="221d5f7b-4a46-4bd5-bdf1-698d3a91c208" providerId="ADAL" clId="{D90324C1-6CE4-4C28-B886-AED0B666B37F}" dt="2024-06-07T04:21:56.857" v="57675"/>
          <ac:spMkLst>
            <pc:docMk/>
            <pc:sldMk cId="3668082236" sldId="614"/>
            <ac:spMk id="212" creationId="{87DF0065-1E85-3CAE-AFF2-1B24507DE8EE}"/>
          </ac:spMkLst>
        </pc:spChg>
        <pc:spChg chg="add del mod replST">
          <ac:chgData name="Grace, Morgan (Brisbane)" userId="221d5f7b-4a46-4bd5-bdf1-698d3a91c208" providerId="ADAL" clId="{D90324C1-6CE4-4C28-B886-AED0B666B37F}" dt="2024-06-07T04:21:56.857" v="57671"/>
          <ac:spMkLst>
            <pc:docMk/>
            <pc:sldMk cId="3668082236" sldId="614"/>
            <ac:spMk id="213" creationId="{87DF0065-1E85-3CAE-AFF2-1B24507DE8EE}"/>
          </ac:spMkLst>
        </pc:spChg>
        <pc:spChg chg="add del mod replST">
          <ac:chgData name="Grace, Morgan (Brisbane)" userId="221d5f7b-4a46-4bd5-bdf1-698d3a91c208" providerId="ADAL" clId="{D90324C1-6CE4-4C28-B886-AED0B666B37F}" dt="2024-06-07T04:21:56.857" v="57667"/>
          <ac:spMkLst>
            <pc:docMk/>
            <pc:sldMk cId="3668082236" sldId="614"/>
            <ac:spMk id="214" creationId="{87DF0065-1E85-3CAE-AFF2-1B24507DE8EE}"/>
          </ac:spMkLst>
        </pc:spChg>
        <pc:spChg chg="add del mod replST">
          <ac:chgData name="Grace, Morgan (Brisbane)" userId="221d5f7b-4a46-4bd5-bdf1-698d3a91c208" providerId="ADAL" clId="{D90324C1-6CE4-4C28-B886-AED0B666B37F}" dt="2024-06-07T04:21:56.857" v="57657"/>
          <ac:spMkLst>
            <pc:docMk/>
            <pc:sldMk cId="3668082236" sldId="614"/>
            <ac:spMk id="215" creationId="{87DF0065-1E85-3CAE-AFF2-1B24507DE8EE}"/>
          </ac:spMkLst>
        </pc:spChg>
        <pc:spChg chg="add del mod replST">
          <ac:chgData name="Grace, Morgan (Brisbane)" userId="221d5f7b-4a46-4bd5-bdf1-698d3a91c208" providerId="ADAL" clId="{D90324C1-6CE4-4C28-B886-AED0B666B37F}" dt="2024-06-07T04:21:56.857" v="57682"/>
          <ac:spMkLst>
            <pc:docMk/>
            <pc:sldMk cId="3668082236" sldId="614"/>
            <ac:spMk id="217" creationId="{9D2EEA1E-065C-6744-4927-4146782EFCA8}"/>
          </ac:spMkLst>
        </pc:spChg>
        <pc:spChg chg="add del mod replST">
          <ac:chgData name="Grace, Morgan (Brisbane)" userId="221d5f7b-4a46-4bd5-bdf1-698d3a91c208" providerId="ADAL" clId="{D90324C1-6CE4-4C28-B886-AED0B666B37F}" dt="2024-06-07T04:21:56.857" v="57680"/>
          <ac:spMkLst>
            <pc:docMk/>
            <pc:sldMk cId="3668082236" sldId="614"/>
            <ac:spMk id="218" creationId="{6833CE9D-0DCB-1695-0FA2-34B7E5533271}"/>
          </ac:spMkLst>
        </pc:spChg>
        <pc:spChg chg="add del mod replST">
          <ac:chgData name="Grace, Morgan (Brisbane)" userId="221d5f7b-4a46-4bd5-bdf1-698d3a91c208" providerId="ADAL" clId="{D90324C1-6CE4-4C28-B886-AED0B666B37F}" dt="2024-06-07T04:21:56.857" v="57678"/>
          <ac:spMkLst>
            <pc:docMk/>
            <pc:sldMk cId="3668082236" sldId="614"/>
            <ac:spMk id="219" creationId="{794B9407-73B3-41B2-2F47-623E943136D7}"/>
          </ac:spMkLst>
        </pc:spChg>
        <pc:spChg chg="add del mod replST">
          <ac:chgData name="Grace, Morgan (Brisbane)" userId="221d5f7b-4a46-4bd5-bdf1-698d3a91c208" providerId="ADAL" clId="{D90324C1-6CE4-4C28-B886-AED0B666B37F}" dt="2024-06-07T04:21:56.857" v="57674"/>
          <ac:spMkLst>
            <pc:docMk/>
            <pc:sldMk cId="3668082236" sldId="614"/>
            <ac:spMk id="220" creationId="{C7569199-FBE5-0D4C-186D-D33E44C0642D}"/>
          </ac:spMkLst>
        </pc:spChg>
        <pc:spChg chg="add del mod replST">
          <ac:chgData name="Grace, Morgan (Brisbane)" userId="221d5f7b-4a46-4bd5-bdf1-698d3a91c208" providerId="ADAL" clId="{D90324C1-6CE4-4C28-B886-AED0B666B37F}" dt="2024-06-07T04:21:56.857" v="57670"/>
          <ac:spMkLst>
            <pc:docMk/>
            <pc:sldMk cId="3668082236" sldId="614"/>
            <ac:spMk id="221" creationId="{B192337B-860B-8708-E380-0312DA71144D}"/>
          </ac:spMkLst>
        </pc:spChg>
        <pc:spChg chg="add del mod replST">
          <ac:chgData name="Grace, Morgan (Brisbane)" userId="221d5f7b-4a46-4bd5-bdf1-698d3a91c208" providerId="ADAL" clId="{D90324C1-6CE4-4C28-B886-AED0B666B37F}" dt="2024-06-07T04:21:56.857" v="57666"/>
          <ac:spMkLst>
            <pc:docMk/>
            <pc:sldMk cId="3668082236" sldId="614"/>
            <ac:spMk id="222" creationId="{890D2CF8-9C3E-AC36-0EA9-E4A017CC207F}"/>
          </ac:spMkLst>
        </pc:spChg>
        <pc:spChg chg="add del mod replST">
          <ac:chgData name="Grace, Morgan (Brisbane)" userId="221d5f7b-4a46-4bd5-bdf1-698d3a91c208" providerId="ADAL" clId="{D90324C1-6CE4-4C28-B886-AED0B666B37F}" dt="2024-06-07T04:21:56.857" v="57662"/>
          <ac:spMkLst>
            <pc:docMk/>
            <pc:sldMk cId="3668082236" sldId="614"/>
            <ac:spMk id="223" creationId="{AD622069-3556-48F2-0F67-A2A1C13D878E}"/>
          </ac:spMkLst>
        </pc:spChg>
        <pc:spChg chg="add del mod replST">
          <ac:chgData name="Grace, Morgan (Brisbane)" userId="221d5f7b-4a46-4bd5-bdf1-698d3a91c208" providerId="ADAL" clId="{D90324C1-6CE4-4C28-B886-AED0B666B37F}" dt="2024-06-07T04:21:56.857" v="57658"/>
          <ac:spMkLst>
            <pc:docMk/>
            <pc:sldMk cId="3668082236" sldId="614"/>
            <ac:spMk id="224" creationId="{51C99FE3-E8E5-13DC-9EAB-2B411BF3B770}"/>
          </ac:spMkLst>
        </pc:spChg>
        <pc:spChg chg="add del mod replST">
          <ac:chgData name="Grace, Morgan (Brisbane)" userId="221d5f7b-4a46-4bd5-bdf1-698d3a91c208" providerId="ADAL" clId="{D90324C1-6CE4-4C28-B886-AED0B666B37F}" dt="2024-06-07T04:21:56.857" v="57656"/>
          <ac:spMkLst>
            <pc:docMk/>
            <pc:sldMk cId="3668082236" sldId="614"/>
            <ac:spMk id="225" creationId="{E32F155A-7FD8-0082-8FC6-518F7B63EB6C}"/>
          </ac:spMkLst>
        </pc:spChg>
        <pc:spChg chg="add del mod modVis">
          <ac:chgData name="Grace, Morgan (Brisbane)" userId="221d5f7b-4a46-4bd5-bdf1-698d3a91c208" providerId="ADAL" clId="{D90324C1-6CE4-4C28-B886-AED0B666B37F}" dt="2024-06-07T04:21:04.117" v="56982"/>
          <ac:spMkLst>
            <pc:docMk/>
            <pc:sldMk cId="3668082236" sldId="614"/>
            <ac:spMk id="226" creationId="{97D3C5A6-690F-7CFB-69E1-5C20C2F99538}"/>
          </ac:spMkLst>
        </pc:spChg>
        <pc:spChg chg="add del mod modVis">
          <ac:chgData name="Grace, Morgan (Brisbane)" userId="221d5f7b-4a46-4bd5-bdf1-698d3a91c208" providerId="ADAL" clId="{D90324C1-6CE4-4C28-B886-AED0B666B37F}" dt="2024-06-07T04:34:07.849" v="58020"/>
          <ac:spMkLst>
            <pc:docMk/>
            <pc:sldMk cId="3668082236" sldId="614"/>
            <ac:spMk id="233" creationId="{402399D5-6AB8-79D6-A65D-CA283A7E2EDC}"/>
          </ac:spMkLst>
        </pc:spChg>
        <pc:spChg chg="add del mod replST">
          <ac:chgData name="Grace, Morgan (Brisbane)" userId="221d5f7b-4a46-4bd5-bdf1-698d3a91c208" providerId="ADAL" clId="{D90324C1-6CE4-4C28-B886-AED0B666B37F}" dt="2024-06-07T04:36:24.154" v="60063"/>
          <ac:spMkLst>
            <pc:docMk/>
            <pc:sldMk cId="3668082236" sldId="614"/>
            <ac:spMk id="234" creationId="{87DF0065-1E85-3CAE-AFF2-1B24507DE8EE}"/>
          </ac:spMkLst>
        </pc:spChg>
        <pc:spChg chg="add del mod replST">
          <ac:chgData name="Grace, Morgan (Brisbane)" userId="221d5f7b-4a46-4bd5-bdf1-698d3a91c208" providerId="ADAL" clId="{D90324C1-6CE4-4C28-B886-AED0B666B37F}" dt="2024-06-07T04:36:27.568" v="60329"/>
          <ac:spMkLst>
            <pc:docMk/>
            <pc:sldMk cId="3668082236" sldId="614"/>
            <ac:spMk id="235" creationId="{87DF0065-1E85-3CAE-AFF2-1B24507DE8EE}"/>
          </ac:spMkLst>
        </pc:spChg>
        <pc:spChg chg="add del mod replST">
          <ac:chgData name="Grace, Morgan (Brisbane)" userId="221d5f7b-4a46-4bd5-bdf1-698d3a91c208" providerId="ADAL" clId="{D90324C1-6CE4-4C28-B886-AED0B666B37F}" dt="2024-06-07T04:36:27.584" v="60331"/>
          <ac:spMkLst>
            <pc:docMk/>
            <pc:sldMk cId="3668082236" sldId="614"/>
            <ac:spMk id="236" creationId="{87DF0065-1E85-3CAE-AFF2-1B24507DE8EE}"/>
          </ac:spMkLst>
        </pc:spChg>
        <pc:spChg chg="add del mod modVis">
          <ac:chgData name="Grace, Morgan (Brisbane)" userId="221d5f7b-4a46-4bd5-bdf1-698d3a91c208" providerId="ADAL" clId="{D90324C1-6CE4-4C28-B886-AED0B666B37F}" dt="2024-06-07T04:35:29.118" v="58273"/>
          <ac:spMkLst>
            <pc:docMk/>
            <pc:sldMk cId="3668082236" sldId="614"/>
            <ac:spMk id="238" creationId="{4F8CA5BA-2AF6-D0C4-CCC1-B7CE9BE1CABD}"/>
          </ac:spMkLst>
        </pc:spChg>
        <pc:spChg chg="add del mod replST">
          <ac:chgData name="Grace, Morgan (Brisbane)" userId="221d5f7b-4a46-4bd5-bdf1-698d3a91c208" providerId="ADAL" clId="{D90324C1-6CE4-4C28-B886-AED0B666B37F}" dt="2024-06-07T04:38:57.170" v="66267"/>
          <ac:spMkLst>
            <pc:docMk/>
            <pc:sldMk cId="3668082236" sldId="614"/>
            <ac:spMk id="239" creationId="{87DF0065-1E85-3CAE-AFF2-1B24507DE8EE}"/>
          </ac:spMkLst>
        </pc:spChg>
        <pc:spChg chg="add del mod replST">
          <ac:chgData name="Grace, Morgan (Brisbane)" userId="221d5f7b-4a46-4bd5-bdf1-698d3a91c208" providerId="ADAL" clId="{D90324C1-6CE4-4C28-B886-AED0B666B37F}" dt="2024-06-07T04:38:57.186" v="66270"/>
          <ac:spMkLst>
            <pc:docMk/>
            <pc:sldMk cId="3668082236" sldId="614"/>
            <ac:spMk id="240" creationId="{87DF0065-1E85-3CAE-AFF2-1B24507DE8EE}"/>
          </ac:spMkLst>
        </pc:spChg>
        <pc:spChg chg="add del mod replST">
          <ac:chgData name="Grace, Morgan (Brisbane)" userId="221d5f7b-4a46-4bd5-bdf1-698d3a91c208" providerId="ADAL" clId="{D90324C1-6CE4-4C28-B886-AED0B666B37F}" dt="2024-06-07T04:38:57.186" v="66271"/>
          <ac:spMkLst>
            <pc:docMk/>
            <pc:sldMk cId="3668082236" sldId="614"/>
            <ac:spMk id="241" creationId="{87DF0065-1E85-3CAE-AFF2-1B24507DE8EE}"/>
          </ac:spMkLst>
        </pc:spChg>
        <pc:spChg chg="add del mod ord replST">
          <ac:chgData name="Grace, Morgan (Brisbane)" userId="221d5f7b-4a46-4bd5-bdf1-698d3a91c208" providerId="ADAL" clId="{D90324C1-6CE4-4C28-B886-AED0B666B37F}" dt="2024-06-07T04:38:54.931" v="66109"/>
          <ac:spMkLst>
            <pc:docMk/>
            <pc:sldMk cId="3668082236" sldId="614"/>
            <ac:spMk id="247" creationId="{87DF0065-1E85-3CAE-AFF2-1B24507DE8EE}"/>
          </ac:spMkLst>
        </pc:spChg>
        <pc:spChg chg="add del mod modVis">
          <ac:chgData name="Grace, Morgan (Brisbane)" userId="221d5f7b-4a46-4bd5-bdf1-698d3a91c208" providerId="ADAL" clId="{D90324C1-6CE4-4C28-B886-AED0B666B37F}" dt="2024-06-07T04:35:42.891" v="58930"/>
          <ac:spMkLst>
            <pc:docMk/>
            <pc:sldMk cId="3668082236" sldId="614"/>
            <ac:spMk id="248" creationId="{CE2455EC-9FC1-A96F-BC09-9344BF588AAE}"/>
          </ac:spMkLst>
        </pc:spChg>
        <pc:spChg chg="add del mod ord replST">
          <ac:chgData name="Grace, Morgan (Brisbane)" userId="221d5f7b-4a46-4bd5-bdf1-698d3a91c208" providerId="ADAL" clId="{D90324C1-6CE4-4C28-B886-AED0B666B37F}" dt="2024-06-07T04:38:54.931" v="66111"/>
          <ac:spMkLst>
            <pc:docMk/>
            <pc:sldMk cId="3668082236" sldId="614"/>
            <ac:spMk id="249" creationId="{87DF0065-1E85-3CAE-AFF2-1B24507DE8EE}"/>
          </ac:spMkLst>
        </pc:spChg>
        <pc:spChg chg="add del mod ord replST">
          <ac:chgData name="Grace, Morgan (Brisbane)" userId="221d5f7b-4a46-4bd5-bdf1-698d3a91c208" providerId="ADAL" clId="{D90324C1-6CE4-4C28-B886-AED0B666B37F}" dt="2024-06-07T04:37:39.580" v="62751"/>
          <ac:spMkLst>
            <pc:docMk/>
            <pc:sldMk cId="3668082236" sldId="614"/>
            <ac:spMk id="250" creationId="{87DF0065-1E85-3CAE-AFF2-1B24507DE8EE}"/>
          </ac:spMkLst>
        </pc:spChg>
        <pc:spChg chg="add del mod replST">
          <ac:chgData name="Grace, Morgan (Brisbane)" userId="221d5f7b-4a46-4bd5-bdf1-698d3a91c208" providerId="ADAL" clId="{D90324C1-6CE4-4C28-B886-AED0B666B37F}" dt="2024-06-07T04:36:27.584" v="60333"/>
          <ac:spMkLst>
            <pc:docMk/>
            <pc:sldMk cId="3668082236" sldId="614"/>
            <ac:spMk id="256" creationId="{6740768D-F414-24EB-C7B9-730C9D8A662A}"/>
          </ac:spMkLst>
        </pc:spChg>
        <pc:spChg chg="add del mod modVis">
          <ac:chgData name="Grace, Morgan (Brisbane)" userId="221d5f7b-4a46-4bd5-bdf1-698d3a91c208" providerId="ADAL" clId="{D90324C1-6CE4-4C28-B886-AED0B666B37F}" dt="2024-06-07T04:36:02.863" v="59574"/>
          <ac:spMkLst>
            <pc:docMk/>
            <pc:sldMk cId="3668082236" sldId="614"/>
            <ac:spMk id="257" creationId="{AD3BABEC-1730-0489-C1FB-AB044845CB54}"/>
          </ac:spMkLst>
        </pc:spChg>
        <pc:spChg chg="add del mod ord replST">
          <ac:chgData name="Grace, Morgan (Brisbane)" userId="221d5f7b-4a46-4bd5-bdf1-698d3a91c208" providerId="ADAL" clId="{D90324C1-6CE4-4C28-B886-AED0B666B37F}" dt="2024-06-07T04:36:33.324" v="60653"/>
          <ac:spMkLst>
            <pc:docMk/>
            <pc:sldMk cId="3668082236" sldId="614"/>
            <ac:spMk id="258" creationId="{87DF0065-1E85-3CAE-AFF2-1B24507DE8EE}"/>
          </ac:spMkLst>
        </pc:spChg>
        <pc:spChg chg="add del mod ord replST">
          <ac:chgData name="Grace, Morgan (Brisbane)" userId="221d5f7b-4a46-4bd5-bdf1-698d3a91c208" providerId="ADAL" clId="{D90324C1-6CE4-4C28-B886-AED0B666B37F}" dt="2024-06-07T04:36:33.324" v="60655"/>
          <ac:spMkLst>
            <pc:docMk/>
            <pc:sldMk cId="3668082236" sldId="614"/>
            <ac:spMk id="259" creationId="{87DF0065-1E85-3CAE-AFF2-1B24507DE8EE}"/>
          </ac:spMkLst>
        </pc:spChg>
        <pc:spChg chg="add del mod modVis">
          <ac:chgData name="Grace, Morgan (Brisbane)" userId="221d5f7b-4a46-4bd5-bdf1-698d3a91c208" providerId="ADAL" clId="{D90324C1-6CE4-4C28-B886-AED0B666B37F}" dt="2024-06-07T04:36:16.384" v="59783"/>
          <ac:spMkLst>
            <pc:docMk/>
            <pc:sldMk cId="3668082236" sldId="614"/>
            <ac:spMk id="261" creationId="{CCD3DA11-A663-A17A-2292-ADAEEE3CDE7D}"/>
          </ac:spMkLst>
        </pc:spChg>
        <pc:spChg chg="add del mod replST">
          <ac:chgData name="Grace, Morgan (Brisbane)" userId="221d5f7b-4a46-4bd5-bdf1-698d3a91c208" providerId="ADAL" clId="{D90324C1-6CE4-4C28-B886-AED0B666B37F}" dt="2024-06-07T04:36:19.771" v="59788"/>
          <ac:spMkLst>
            <pc:docMk/>
            <pc:sldMk cId="3668082236" sldId="614"/>
            <ac:spMk id="263" creationId="{D66F7E27-D3EE-3F74-2C8D-49EA8C2F8198}"/>
          </ac:spMkLst>
        </pc:spChg>
        <pc:spChg chg="add del mod replST">
          <ac:chgData name="Grace, Morgan (Brisbane)" userId="221d5f7b-4a46-4bd5-bdf1-698d3a91c208" providerId="ADAL" clId="{D90324C1-6CE4-4C28-B886-AED0B666B37F}" dt="2024-06-07T04:36:19.787" v="59794"/>
          <ac:spMkLst>
            <pc:docMk/>
            <pc:sldMk cId="3668082236" sldId="614"/>
            <ac:spMk id="264" creationId="{3DA5A386-DBE5-A0A6-9728-7F7C9E9C174C}"/>
          </ac:spMkLst>
        </pc:spChg>
        <pc:spChg chg="add del mod replST">
          <ac:chgData name="Grace, Morgan (Brisbane)" userId="221d5f7b-4a46-4bd5-bdf1-698d3a91c208" providerId="ADAL" clId="{D90324C1-6CE4-4C28-B886-AED0B666B37F}" dt="2024-06-07T04:36:19.771" v="59786"/>
          <ac:spMkLst>
            <pc:docMk/>
            <pc:sldMk cId="3668082236" sldId="614"/>
            <ac:spMk id="265" creationId="{FA849BEB-098D-4D28-CC37-FA724F093A00}"/>
          </ac:spMkLst>
        </pc:spChg>
        <pc:spChg chg="add del mod replST">
          <ac:chgData name="Grace, Morgan (Brisbane)" userId="221d5f7b-4a46-4bd5-bdf1-698d3a91c208" providerId="ADAL" clId="{D90324C1-6CE4-4C28-B886-AED0B666B37F}" dt="2024-06-07T04:36:19.787" v="59800"/>
          <ac:spMkLst>
            <pc:docMk/>
            <pc:sldMk cId="3668082236" sldId="614"/>
            <ac:spMk id="266" creationId="{9405C3F9-7489-1996-1FE2-9EB9D4D8BF02}"/>
          </ac:spMkLst>
        </pc:spChg>
        <pc:spChg chg="add del mod modVis">
          <ac:chgData name="Grace, Morgan (Brisbane)" userId="221d5f7b-4a46-4bd5-bdf1-698d3a91c208" providerId="ADAL" clId="{D90324C1-6CE4-4C28-B886-AED0B666B37F}" dt="2024-06-07T04:36:19.856" v="59944"/>
          <ac:spMkLst>
            <pc:docMk/>
            <pc:sldMk cId="3668082236" sldId="614"/>
            <ac:spMk id="267" creationId="{D25CE0BA-C2AD-12F9-8C3E-6FE13064677F}"/>
          </ac:spMkLst>
        </pc:spChg>
        <pc:spChg chg="add del mod replST">
          <ac:chgData name="Grace, Morgan (Brisbane)" userId="221d5f7b-4a46-4bd5-bdf1-698d3a91c208" providerId="ADAL" clId="{D90324C1-6CE4-4C28-B886-AED0B666B37F}" dt="2024-06-07T04:36:24.154" v="60062"/>
          <ac:spMkLst>
            <pc:docMk/>
            <pc:sldMk cId="3668082236" sldId="614"/>
            <ac:spMk id="270" creationId="{5F8FC519-614E-62C9-C3FD-C2E33CC6E3B5}"/>
          </ac:spMkLst>
        </pc:spChg>
        <pc:spChg chg="add del mod replST">
          <ac:chgData name="Grace, Morgan (Brisbane)" userId="221d5f7b-4a46-4bd5-bdf1-698d3a91c208" providerId="ADAL" clId="{D90324C1-6CE4-4C28-B886-AED0B666B37F}" dt="2024-06-07T04:36:27.568" v="60327"/>
          <ac:spMkLst>
            <pc:docMk/>
            <pc:sldMk cId="3668082236" sldId="614"/>
            <ac:spMk id="271" creationId="{87DF0065-1E85-3CAE-AFF2-1B24507DE8EE}"/>
          </ac:spMkLst>
        </pc:spChg>
        <pc:spChg chg="add del mod modVis">
          <ac:chgData name="Grace, Morgan (Brisbane)" userId="221d5f7b-4a46-4bd5-bdf1-698d3a91c208" providerId="ADAL" clId="{D90324C1-6CE4-4C28-B886-AED0B666B37F}" dt="2024-06-07T04:36:25.686" v="60323"/>
          <ac:spMkLst>
            <pc:docMk/>
            <pc:sldMk cId="3668082236" sldId="614"/>
            <ac:spMk id="272" creationId="{9DA0CC83-5AE3-86B0-F915-8D89FE8A621B}"/>
          </ac:spMkLst>
        </pc:spChg>
        <pc:spChg chg="add del mod replST">
          <ac:chgData name="Grace, Morgan (Brisbane)" userId="221d5f7b-4a46-4bd5-bdf1-698d3a91c208" providerId="ADAL" clId="{D90324C1-6CE4-4C28-B886-AED0B666B37F}" dt="2024-06-07T04:36:27.568" v="60326"/>
          <ac:spMkLst>
            <pc:docMk/>
            <pc:sldMk cId="3668082236" sldId="614"/>
            <ac:spMk id="274" creationId="{443FBC2D-0FC0-0713-C2FF-88E8B06B0259}"/>
          </ac:spMkLst>
        </pc:spChg>
        <pc:spChg chg="add del mod replST">
          <ac:chgData name="Grace, Morgan (Brisbane)" userId="221d5f7b-4a46-4bd5-bdf1-698d3a91c208" providerId="ADAL" clId="{D90324C1-6CE4-4C28-B886-AED0B666B37F}" dt="2024-06-07T04:36:27.568" v="60328"/>
          <ac:spMkLst>
            <pc:docMk/>
            <pc:sldMk cId="3668082236" sldId="614"/>
            <ac:spMk id="275" creationId="{4DF0863B-69AB-E56C-B711-7D5C980B7333}"/>
          </ac:spMkLst>
        </pc:spChg>
        <pc:spChg chg="add del mod replST">
          <ac:chgData name="Grace, Morgan (Brisbane)" userId="221d5f7b-4a46-4bd5-bdf1-698d3a91c208" providerId="ADAL" clId="{D90324C1-6CE4-4C28-B886-AED0B666B37F}" dt="2024-06-07T04:36:27.568" v="60330"/>
          <ac:spMkLst>
            <pc:docMk/>
            <pc:sldMk cId="3668082236" sldId="614"/>
            <ac:spMk id="276" creationId="{C206361C-FEF9-DC77-5367-0AF7F3131D4D}"/>
          </ac:spMkLst>
        </pc:spChg>
        <pc:spChg chg="add del mod replST">
          <ac:chgData name="Grace, Morgan (Brisbane)" userId="221d5f7b-4a46-4bd5-bdf1-698d3a91c208" providerId="ADAL" clId="{D90324C1-6CE4-4C28-B886-AED0B666B37F}" dt="2024-06-07T04:36:27.584" v="60332"/>
          <ac:spMkLst>
            <pc:docMk/>
            <pc:sldMk cId="3668082236" sldId="614"/>
            <ac:spMk id="277" creationId="{FA0FC157-BB2C-D051-1F4C-94EF45CEA1BC}"/>
          </ac:spMkLst>
        </pc:spChg>
        <pc:spChg chg="add del mod replST">
          <ac:chgData name="Grace, Morgan (Brisbane)" userId="221d5f7b-4a46-4bd5-bdf1-698d3a91c208" providerId="ADAL" clId="{D90324C1-6CE4-4C28-B886-AED0B666B37F}" dt="2024-06-07T05:01:46.215" v="89482"/>
          <ac:spMkLst>
            <pc:docMk/>
            <pc:sldMk cId="3668082236" sldId="614"/>
            <ac:spMk id="278" creationId="{87DF0065-1E85-3CAE-AFF2-1B24507DE8EE}"/>
          </ac:spMkLst>
        </pc:spChg>
        <pc:spChg chg="add del mod modVis">
          <ac:chgData name="Grace, Morgan (Brisbane)" userId="221d5f7b-4a46-4bd5-bdf1-698d3a91c208" providerId="ADAL" clId="{D90324C1-6CE4-4C28-B886-AED0B666B37F}" dt="2024-06-07T04:36:29.545" v="60649"/>
          <ac:spMkLst>
            <pc:docMk/>
            <pc:sldMk cId="3668082236" sldId="614"/>
            <ac:spMk id="279" creationId="{547F0F1A-A94D-3D59-71FE-AF8A70A04480}"/>
          </ac:spMkLst>
        </pc:spChg>
        <pc:spChg chg="add del mod replST">
          <ac:chgData name="Grace, Morgan (Brisbane)" userId="221d5f7b-4a46-4bd5-bdf1-698d3a91c208" providerId="ADAL" clId="{D90324C1-6CE4-4C28-B886-AED0B666B37F}" dt="2024-06-07T05:01:57.981" v="89919"/>
          <ac:spMkLst>
            <pc:docMk/>
            <pc:sldMk cId="3668082236" sldId="614"/>
            <ac:spMk id="280" creationId="{87DF0065-1E85-3CAE-AFF2-1B24507DE8EE}"/>
          </ac:spMkLst>
        </pc:spChg>
        <pc:spChg chg="add del mod replST">
          <ac:chgData name="Grace, Morgan (Brisbane)" userId="221d5f7b-4a46-4bd5-bdf1-698d3a91c208" providerId="ADAL" clId="{D90324C1-6CE4-4C28-B886-AED0B666B37F}" dt="2024-06-07T05:01:57.981" v="89921"/>
          <ac:spMkLst>
            <pc:docMk/>
            <pc:sldMk cId="3668082236" sldId="614"/>
            <ac:spMk id="281" creationId="{87DF0065-1E85-3CAE-AFF2-1B24507DE8EE}"/>
          </ac:spMkLst>
        </pc:spChg>
        <pc:spChg chg="add del mod replST">
          <ac:chgData name="Grace, Morgan (Brisbane)" userId="221d5f7b-4a46-4bd5-bdf1-698d3a91c208" providerId="ADAL" clId="{D90324C1-6CE4-4C28-B886-AED0B666B37F}" dt="2024-06-07T05:01:57.981" v="89917"/>
          <ac:spMkLst>
            <pc:docMk/>
            <pc:sldMk cId="3668082236" sldId="614"/>
            <ac:spMk id="282" creationId="{87DF0065-1E85-3CAE-AFF2-1B24507DE8EE}"/>
          </ac:spMkLst>
        </pc:spChg>
        <pc:spChg chg="add del mod modVis">
          <ac:chgData name="Grace, Morgan (Brisbane)" userId="221d5f7b-4a46-4bd5-bdf1-698d3a91c208" providerId="ADAL" clId="{D90324C1-6CE4-4C28-B886-AED0B666B37F}" dt="2024-06-07T04:36:36.032" v="60982"/>
          <ac:spMkLst>
            <pc:docMk/>
            <pc:sldMk cId="3668082236" sldId="614"/>
            <ac:spMk id="285" creationId="{DF32B15A-A8C6-6E4D-E213-71561610A933}"/>
          </ac:spMkLst>
        </pc:spChg>
        <pc:spChg chg="add del mod ord replST">
          <ac:chgData name="Grace, Morgan (Brisbane)" userId="221d5f7b-4a46-4bd5-bdf1-698d3a91c208" providerId="ADAL" clId="{D90324C1-6CE4-4C28-B886-AED0B666B37F}" dt="2024-06-07T04:46:17.204" v="75168"/>
          <ac:spMkLst>
            <pc:docMk/>
            <pc:sldMk cId="3668082236" sldId="614"/>
            <ac:spMk id="286" creationId="{87DF0065-1E85-3CAE-AFF2-1B24507DE8EE}"/>
          </ac:spMkLst>
        </pc:spChg>
        <pc:spChg chg="add del mod ord replST">
          <ac:chgData name="Grace, Morgan (Brisbane)" userId="221d5f7b-4a46-4bd5-bdf1-698d3a91c208" providerId="ADAL" clId="{D90324C1-6CE4-4C28-B886-AED0B666B37F}" dt="2024-06-07T04:46:28.195" v="75611"/>
          <ac:spMkLst>
            <pc:docMk/>
            <pc:sldMk cId="3668082236" sldId="614"/>
            <ac:spMk id="287" creationId="{87DF0065-1E85-3CAE-AFF2-1B24507DE8EE}"/>
          </ac:spMkLst>
        </pc:spChg>
        <pc:spChg chg="add del mod replST">
          <ac:chgData name="Grace, Morgan (Brisbane)" userId="221d5f7b-4a46-4bd5-bdf1-698d3a91c208" providerId="ADAL" clId="{D90324C1-6CE4-4C28-B886-AED0B666B37F}" dt="2024-06-07T04:36:39.456" v="61267"/>
          <ac:spMkLst>
            <pc:docMk/>
            <pc:sldMk cId="3668082236" sldId="614"/>
            <ac:spMk id="289" creationId="{87DF0065-1E85-3CAE-AFF2-1B24507DE8EE}"/>
          </ac:spMkLst>
        </pc:spChg>
        <pc:spChg chg="add del mod modVis">
          <ac:chgData name="Grace, Morgan (Brisbane)" userId="221d5f7b-4a46-4bd5-bdf1-698d3a91c208" providerId="ADAL" clId="{D90324C1-6CE4-4C28-B886-AED0B666B37F}" dt="2024-06-07T04:36:37.836" v="61152"/>
          <ac:spMkLst>
            <pc:docMk/>
            <pc:sldMk cId="3668082236" sldId="614"/>
            <ac:spMk id="290" creationId="{3102E1A7-D3F1-3211-2B6F-A63CDE5AE3D5}"/>
          </ac:spMkLst>
        </pc:spChg>
        <pc:spChg chg="add del mod modVis">
          <ac:chgData name="Grace, Morgan (Brisbane)" userId="221d5f7b-4a46-4bd5-bdf1-698d3a91c208" providerId="ADAL" clId="{D90324C1-6CE4-4C28-B886-AED0B666B37F}" dt="2024-06-07T04:36:50.823" v="61657"/>
          <ac:spMkLst>
            <pc:docMk/>
            <pc:sldMk cId="3668082236" sldId="614"/>
            <ac:spMk id="295" creationId="{66C67AFE-28A7-D3B4-A617-581213976D1E}"/>
          </ac:spMkLst>
        </pc:spChg>
        <pc:spChg chg="add del mod replST">
          <ac:chgData name="Grace, Morgan (Brisbane)" userId="221d5f7b-4a46-4bd5-bdf1-698d3a91c208" providerId="ADAL" clId="{D90324C1-6CE4-4C28-B886-AED0B666B37F}" dt="2024-06-07T05:01:46.214" v="89481"/>
          <ac:spMkLst>
            <pc:docMk/>
            <pc:sldMk cId="3668082236" sldId="614"/>
            <ac:spMk id="297" creationId="{124903C7-6F80-7608-A295-7E578E14A099}"/>
          </ac:spMkLst>
        </pc:spChg>
        <pc:spChg chg="add del mod replST">
          <ac:chgData name="Grace, Morgan (Brisbane)" userId="221d5f7b-4a46-4bd5-bdf1-698d3a91c208" providerId="ADAL" clId="{D90324C1-6CE4-4C28-B886-AED0B666B37F}" dt="2024-06-07T05:01:57.981" v="89918"/>
          <ac:spMkLst>
            <pc:docMk/>
            <pc:sldMk cId="3668082236" sldId="614"/>
            <ac:spMk id="298" creationId="{D5212F31-EA96-0C07-D32C-507D6B40BA89}"/>
          </ac:spMkLst>
        </pc:spChg>
        <pc:spChg chg="add del mod replST">
          <ac:chgData name="Grace, Morgan (Brisbane)" userId="221d5f7b-4a46-4bd5-bdf1-698d3a91c208" providerId="ADAL" clId="{D90324C1-6CE4-4C28-B886-AED0B666B37F}" dt="2024-06-07T05:01:57.981" v="89920"/>
          <ac:spMkLst>
            <pc:docMk/>
            <pc:sldMk cId="3668082236" sldId="614"/>
            <ac:spMk id="299" creationId="{50DCF042-AD10-538D-6708-E4D42C272CCA}"/>
          </ac:spMkLst>
        </pc:spChg>
        <pc:spChg chg="add del mod replST">
          <ac:chgData name="Grace, Morgan (Brisbane)" userId="221d5f7b-4a46-4bd5-bdf1-698d3a91c208" providerId="ADAL" clId="{D90324C1-6CE4-4C28-B886-AED0B666B37F}" dt="2024-06-07T05:01:57.981" v="89916"/>
          <ac:spMkLst>
            <pc:docMk/>
            <pc:sldMk cId="3668082236" sldId="614"/>
            <ac:spMk id="300" creationId="{480B8292-5251-8E36-6C58-1B8151CA654E}"/>
          </ac:spMkLst>
        </pc:spChg>
        <pc:spChg chg="add del mod modVis">
          <ac:chgData name="Grace, Morgan (Brisbane)" userId="221d5f7b-4a46-4bd5-bdf1-698d3a91c208" providerId="ADAL" clId="{D90324C1-6CE4-4C28-B886-AED0B666B37F}" dt="2024-06-07T04:37:10.961" v="61789"/>
          <ac:spMkLst>
            <pc:docMk/>
            <pc:sldMk cId="3668082236" sldId="614"/>
            <ac:spMk id="301" creationId="{365ABDE4-1402-44F0-71F9-778E082C38AA}"/>
          </ac:spMkLst>
        </pc:spChg>
        <pc:spChg chg="add del mod ord replST">
          <ac:chgData name="Grace, Morgan (Brisbane)" userId="221d5f7b-4a46-4bd5-bdf1-698d3a91c208" providerId="ADAL" clId="{D90324C1-6CE4-4C28-B886-AED0B666B37F}" dt="2024-06-07T04:38:54.946" v="66125"/>
          <ac:spMkLst>
            <pc:docMk/>
            <pc:sldMk cId="3668082236" sldId="614"/>
            <ac:spMk id="305" creationId="{57CB84FB-7121-128F-BB31-1E93CAC5E305}"/>
          </ac:spMkLst>
        </pc:spChg>
        <pc:spChg chg="add del mod replST">
          <ac:chgData name="Grace, Morgan (Brisbane)" userId="221d5f7b-4a46-4bd5-bdf1-698d3a91c208" providerId="ADAL" clId="{D90324C1-6CE4-4C28-B886-AED0B666B37F}" dt="2024-06-07T04:38:57.186" v="66275"/>
          <ac:spMkLst>
            <pc:docMk/>
            <pc:sldMk cId="3668082236" sldId="614"/>
            <ac:spMk id="306" creationId="{977D4BC5-2195-B598-E4A8-D2A5C108909F}"/>
          </ac:spMkLst>
        </pc:spChg>
        <pc:spChg chg="add del mod ord replST">
          <ac:chgData name="Grace, Morgan (Brisbane)" userId="221d5f7b-4a46-4bd5-bdf1-698d3a91c208" providerId="ADAL" clId="{D90324C1-6CE4-4C28-B886-AED0B666B37F}" dt="2024-06-07T04:37:39.595" v="62769"/>
          <ac:spMkLst>
            <pc:docMk/>
            <pc:sldMk cId="3668082236" sldId="614"/>
            <ac:spMk id="307" creationId="{6FB35691-8533-6280-F7B4-08C3BA3ACBE0}"/>
          </ac:spMkLst>
        </pc:spChg>
        <pc:spChg chg="add del mod replST">
          <ac:chgData name="Grace, Morgan (Brisbane)" userId="221d5f7b-4a46-4bd5-bdf1-698d3a91c208" providerId="ADAL" clId="{D90324C1-6CE4-4C28-B886-AED0B666B37F}" dt="2024-06-07T04:38:57.186" v="66273"/>
          <ac:spMkLst>
            <pc:docMk/>
            <pc:sldMk cId="3668082236" sldId="614"/>
            <ac:spMk id="308" creationId="{630E4FA6-6649-869E-3FF9-5BFEFE588655}"/>
          </ac:spMkLst>
        </pc:spChg>
        <pc:spChg chg="add del mod replST">
          <ac:chgData name="Grace, Morgan (Brisbane)" userId="221d5f7b-4a46-4bd5-bdf1-698d3a91c208" providerId="ADAL" clId="{D90324C1-6CE4-4C28-B886-AED0B666B37F}" dt="2024-06-07T04:37:34.554" v="62342"/>
          <ac:spMkLst>
            <pc:docMk/>
            <pc:sldMk cId="3668082236" sldId="614"/>
            <ac:spMk id="309" creationId="{AAEBD57D-AE47-C2FD-F862-829068FFC7BF}"/>
          </ac:spMkLst>
        </pc:spChg>
        <pc:spChg chg="add del mod replST">
          <ac:chgData name="Grace, Morgan (Brisbane)" userId="221d5f7b-4a46-4bd5-bdf1-698d3a91c208" providerId="ADAL" clId="{D90324C1-6CE4-4C28-B886-AED0B666B37F}" dt="2024-06-07T04:38:57.186" v="66269"/>
          <ac:spMkLst>
            <pc:docMk/>
            <pc:sldMk cId="3668082236" sldId="614"/>
            <ac:spMk id="310" creationId="{FDD27B50-828F-8D76-A947-AC4D7DA656DB}"/>
          </ac:spMkLst>
        </pc:spChg>
        <pc:spChg chg="add del mod modVis">
          <ac:chgData name="Grace, Morgan (Brisbane)" userId="221d5f7b-4a46-4bd5-bdf1-698d3a91c208" providerId="ADAL" clId="{D90324C1-6CE4-4C28-B886-AED0B666B37F}" dt="2024-06-07T04:37:34.607" v="62440"/>
          <ac:spMkLst>
            <pc:docMk/>
            <pc:sldMk cId="3668082236" sldId="614"/>
            <ac:spMk id="311" creationId="{653EE218-6BEE-0AE4-7033-F91DB3ED1F19}"/>
          </ac:spMkLst>
        </pc:spChg>
        <pc:spChg chg="add del mod replST">
          <ac:chgData name="Grace, Morgan (Brisbane)" userId="221d5f7b-4a46-4bd5-bdf1-698d3a91c208" providerId="ADAL" clId="{D90324C1-6CE4-4C28-B886-AED0B666B37F}" dt="2024-06-07T04:38:57.170" v="66268"/>
          <ac:spMkLst>
            <pc:docMk/>
            <pc:sldMk cId="3668082236" sldId="614"/>
            <ac:spMk id="313" creationId="{140E006C-C198-7404-84F7-112638319A4E}"/>
          </ac:spMkLst>
        </pc:spChg>
        <pc:spChg chg="add del mod replST">
          <ac:chgData name="Grace, Morgan (Brisbane)" userId="221d5f7b-4a46-4bd5-bdf1-698d3a91c208" providerId="ADAL" clId="{D90324C1-6CE4-4C28-B886-AED0B666B37F}" dt="2024-06-07T04:38:57.186" v="66272"/>
          <ac:spMkLst>
            <pc:docMk/>
            <pc:sldMk cId="3668082236" sldId="614"/>
            <ac:spMk id="314" creationId="{BFA037C9-3FAC-D0D5-D314-0371296DE683}"/>
          </ac:spMkLst>
        </pc:spChg>
        <pc:spChg chg="add del mod replST">
          <ac:chgData name="Grace, Morgan (Brisbane)" userId="221d5f7b-4a46-4bd5-bdf1-698d3a91c208" providerId="ADAL" clId="{D90324C1-6CE4-4C28-B886-AED0B666B37F}" dt="2024-06-07T04:38:57.186" v="66276"/>
          <ac:spMkLst>
            <pc:docMk/>
            <pc:sldMk cId="3668082236" sldId="614"/>
            <ac:spMk id="315" creationId="{9CB1EB15-962D-7AC3-7FEC-12126CF90F12}"/>
          </ac:spMkLst>
        </pc:spChg>
        <pc:spChg chg="add del mod replST">
          <ac:chgData name="Grace, Morgan (Brisbane)" userId="221d5f7b-4a46-4bd5-bdf1-698d3a91c208" providerId="ADAL" clId="{D90324C1-6CE4-4C28-B886-AED0B666B37F}" dt="2024-06-07T04:38:57.186" v="66277"/>
          <ac:spMkLst>
            <pc:docMk/>
            <pc:sldMk cId="3668082236" sldId="614"/>
            <ac:spMk id="316" creationId="{25CF19A3-F800-7A2C-A08D-B3B7DFCDE5BA}"/>
          </ac:spMkLst>
        </pc:spChg>
        <pc:spChg chg="add del mod replST">
          <ac:chgData name="Grace, Morgan (Brisbane)" userId="221d5f7b-4a46-4bd5-bdf1-698d3a91c208" providerId="ADAL" clId="{D90324C1-6CE4-4C28-B886-AED0B666B37F}" dt="2024-06-07T04:38:57.186" v="66278"/>
          <ac:spMkLst>
            <pc:docMk/>
            <pc:sldMk cId="3668082236" sldId="614"/>
            <ac:spMk id="317" creationId="{DB4BCE4D-A213-A026-8E93-8A1AD40B1CE6}"/>
          </ac:spMkLst>
        </pc:spChg>
        <pc:spChg chg="add del mod replST">
          <ac:chgData name="Grace, Morgan (Brisbane)" userId="221d5f7b-4a46-4bd5-bdf1-698d3a91c208" providerId="ADAL" clId="{D90324C1-6CE4-4C28-B886-AED0B666B37F}" dt="2024-06-07T04:38:57.186" v="66279"/>
          <ac:spMkLst>
            <pc:docMk/>
            <pc:sldMk cId="3668082236" sldId="614"/>
            <ac:spMk id="318" creationId="{E671DFA2-F8DB-76BB-DEA5-33975F1E067E}"/>
          </ac:spMkLst>
        </pc:spChg>
        <pc:spChg chg="add del mod replST">
          <ac:chgData name="Grace, Morgan (Brisbane)" userId="221d5f7b-4a46-4bd5-bdf1-698d3a91c208" providerId="ADAL" clId="{D90324C1-6CE4-4C28-B886-AED0B666B37F}" dt="2024-06-07T04:38:57.186" v="66280"/>
          <ac:spMkLst>
            <pc:docMk/>
            <pc:sldMk cId="3668082236" sldId="614"/>
            <ac:spMk id="319" creationId="{FC78F88D-F2EE-FB07-8372-190BD1F16ED4}"/>
          </ac:spMkLst>
        </pc:spChg>
        <pc:spChg chg="add del mod replST">
          <ac:chgData name="Grace, Morgan (Brisbane)" userId="221d5f7b-4a46-4bd5-bdf1-698d3a91c208" providerId="ADAL" clId="{D90324C1-6CE4-4C28-B886-AED0B666B37F}" dt="2024-06-07T04:38:57.186" v="66283"/>
          <ac:spMkLst>
            <pc:docMk/>
            <pc:sldMk cId="3668082236" sldId="614"/>
            <ac:spMk id="320" creationId="{152392AC-B7BD-CD61-C4DC-61284EB8EE85}"/>
          </ac:spMkLst>
        </pc:spChg>
        <pc:spChg chg="add del mod replST">
          <ac:chgData name="Grace, Morgan (Brisbane)" userId="221d5f7b-4a46-4bd5-bdf1-698d3a91c208" providerId="ADAL" clId="{D90324C1-6CE4-4C28-B886-AED0B666B37F}" dt="2024-06-07T04:38:57.186" v="66286"/>
          <ac:spMkLst>
            <pc:docMk/>
            <pc:sldMk cId="3668082236" sldId="614"/>
            <ac:spMk id="321" creationId="{822E4562-829F-DC4D-8678-B23AA9B1F206}"/>
          </ac:spMkLst>
        </pc:spChg>
        <pc:spChg chg="add del mod replST">
          <ac:chgData name="Grace, Morgan (Brisbane)" userId="221d5f7b-4a46-4bd5-bdf1-698d3a91c208" providerId="ADAL" clId="{D90324C1-6CE4-4C28-B886-AED0B666B37F}" dt="2024-06-07T04:38:57.186" v="66287"/>
          <ac:spMkLst>
            <pc:docMk/>
            <pc:sldMk cId="3668082236" sldId="614"/>
            <ac:spMk id="322" creationId="{D234571D-92CD-A11A-1FAC-5A92449C784D}"/>
          </ac:spMkLst>
        </pc:spChg>
        <pc:spChg chg="add del mod replST">
          <ac:chgData name="Grace, Morgan (Brisbane)" userId="221d5f7b-4a46-4bd5-bdf1-698d3a91c208" providerId="ADAL" clId="{D90324C1-6CE4-4C28-B886-AED0B666B37F}" dt="2024-06-07T04:38:57.186" v="66274"/>
          <ac:spMkLst>
            <pc:docMk/>
            <pc:sldMk cId="3668082236" sldId="614"/>
            <ac:spMk id="323" creationId="{352D23C8-86AD-89E6-F929-49A2C0786C5D}"/>
          </ac:spMkLst>
        </pc:spChg>
        <pc:spChg chg="add del mod modVis">
          <ac:chgData name="Grace, Morgan (Brisbane)" userId="221d5f7b-4a46-4bd5-bdf1-698d3a91c208" providerId="ADAL" clId="{D90324C1-6CE4-4C28-B886-AED0B666B37F}" dt="2024-06-07T04:37:40.134" v="63418"/>
          <ac:spMkLst>
            <pc:docMk/>
            <pc:sldMk cId="3668082236" sldId="614"/>
            <ac:spMk id="324" creationId="{E569516B-3607-988A-49A4-E7D2CF73731C}"/>
          </ac:spMkLst>
        </pc:spChg>
        <pc:spChg chg="add del mod ord replST">
          <ac:chgData name="Grace, Morgan (Brisbane)" userId="221d5f7b-4a46-4bd5-bdf1-698d3a91c208" providerId="ADAL" clId="{D90324C1-6CE4-4C28-B886-AED0B666B37F}" dt="2024-06-07T04:38:54.931" v="66113"/>
          <ac:spMkLst>
            <pc:docMk/>
            <pc:sldMk cId="3668082236" sldId="614"/>
            <ac:spMk id="325" creationId="{87DF0065-1E85-3CAE-AFF2-1B24507DE8EE}"/>
          </ac:spMkLst>
        </pc:spChg>
        <pc:spChg chg="add del mod ord replST">
          <ac:chgData name="Grace, Morgan (Brisbane)" userId="221d5f7b-4a46-4bd5-bdf1-698d3a91c208" providerId="ADAL" clId="{D90324C1-6CE4-4C28-B886-AED0B666B37F}" dt="2024-06-07T04:38:54.946" v="66129"/>
          <ac:spMkLst>
            <pc:docMk/>
            <pc:sldMk cId="3668082236" sldId="614"/>
            <ac:spMk id="326" creationId="{87DF0065-1E85-3CAE-AFF2-1B24507DE8EE}"/>
          </ac:spMkLst>
        </pc:spChg>
        <pc:spChg chg="add del mod ord replST">
          <ac:chgData name="Grace, Morgan (Brisbane)" userId="221d5f7b-4a46-4bd5-bdf1-698d3a91c208" providerId="ADAL" clId="{D90324C1-6CE4-4C28-B886-AED0B666B37F}" dt="2024-06-07T04:38:54.946" v="66131"/>
          <ac:spMkLst>
            <pc:docMk/>
            <pc:sldMk cId="3668082236" sldId="614"/>
            <ac:spMk id="327" creationId="{87DF0065-1E85-3CAE-AFF2-1B24507DE8EE}"/>
          </ac:spMkLst>
        </pc:spChg>
        <pc:spChg chg="add del mod ord replST">
          <ac:chgData name="Grace, Morgan (Brisbane)" userId="221d5f7b-4a46-4bd5-bdf1-698d3a91c208" providerId="ADAL" clId="{D90324C1-6CE4-4C28-B886-AED0B666B37F}" dt="2024-06-07T04:38:54.946" v="66133"/>
          <ac:spMkLst>
            <pc:docMk/>
            <pc:sldMk cId="3668082236" sldId="614"/>
            <ac:spMk id="328" creationId="{87DF0065-1E85-3CAE-AFF2-1B24507DE8EE}"/>
          </ac:spMkLst>
        </pc:spChg>
        <pc:spChg chg="add del mod ord replST">
          <ac:chgData name="Grace, Morgan (Brisbane)" userId="221d5f7b-4a46-4bd5-bdf1-698d3a91c208" providerId="ADAL" clId="{D90324C1-6CE4-4C28-B886-AED0B666B37F}" dt="2024-06-07T04:38:54.946" v="66135"/>
          <ac:spMkLst>
            <pc:docMk/>
            <pc:sldMk cId="3668082236" sldId="614"/>
            <ac:spMk id="329" creationId="{87DF0065-1E85-3CAE-AFF2-1B24507DE8EE}"/>
          </ac:spMkLst>
        </pc:spChg>
        <pc:spChg chg="add del mod ord replST">
          <ac:chgData name="Grace, Morgan (Brisbane)" userId="221d5f7b-4a46-4bd5-bdf1-698d3a91c208" providerId="ADAL" clId="{D90324C1-6CE4-4C28-B886-AED0B666B37F}" dt="2024-06-07T04:38:54.946" v="66137"/>
          <ac:spMkLst>
            <pc:docMk/>
            <pc:sldMk cId="3668082236" sldId="614"/>
            <ac:spMk id="330" creationId="{87DF0065-1E85-3CAE-AFF2-1B24507DE8EE}"/>
          </ac:spMkLst>
        </pc:spChg>
        <pc:spChg chg="add del mod ord replST">
          <ac:chgData name="Grace, Morgan (Brisbane)" userId="221d5f7b-4a46-4bd5-bdf1-698d3a91c208" providerId="ADAL" clId="{D90324C1-6CE4-4C28-B886-AED0B666B37F}" dt="2024-06-07T04:38:54.946" v="66121"/>
          <ac:spMkLst>
            <pc:docMk/>
            <pc:sldMk cId="3668082236" sldId="614"/>
            <ac:spMk id="332" creationId="{87DF0065-1E85-3CAE-AFF2-1B24507DE8EE}"/>
          </ac:spMkLst>
        </pc:spChg>
        <pc:spChg chg="add del mod ord replST">
          <ac:chgData name="Grace, Morgan (Brisbane)" userId="221d5f7b-4a46-4bd5-bdf1-698d3a91c208" providerId="ADAL" clId="{D90324C1-6CE4-4C28-B886-AED0B666B37F}" dt="2024-06-07T04:38:54.946" v="66139"/>
          <ac:spMkLst>
            <pc:docMk/>
            <pc:sldMk cId="3668082236" sldId="614"/>
            <ac:spMk id="333" creationId="{87DF0065-1E85-3CAE-AFF2-1B24507DE8EE}"/>
          </ac:spMkLst>
        </pc:spChg>
        <pc:spChg chg="add del mod ord replST">
          <ac:chgData name="Grace, Morgan (Brisbane)" userId="221d5f7b-4a46-4bd5-bdf1-698d3a91c208" providerId="ADAL" clId="{D90324C1-6CE4-4C28-B886-AED0B666B37F}" dt="2024-06-07T04:38:54.946" v="66119"/>
          <ac:spMkLst>
            <pc:docMk/>
            <pc:sldMk cId="3668082236" sldId="614"/>
            <ac:spMk id="335" creationId="{87DF0065-1E85-3CAE-AFF2-1B24507DE8EE}"/>
          </ac:spMkLst>
        </pc:spChg>
        <pc:spChg chg="add del mod modVis">
          <ac:chgData name="Grace, Morgan (Brisbane)" userId="221d5f7b-4a46-4bd5-bdf1-698d3a91c208" providerId="ADAL" clId="{D90324C1-6CE4-4C28-B886-AED0B666B37F}" dt="2024-06-07T04:38:35.740" v="64165"/>
          <ac:spMkLst>
            <pc:docMk/>
            <pc:sldMk cId="3668082236" sldId="614"/>
            <ac:spMk id="336" creationId="{E02FA167-2505-C5B3-DE63-A60D4F7574BB}"/>
          </ac:spMkLst>
        </pc:spChg>
        <pc:spChg chg="add del mod ord replST">
          <ac:chgData name="Grace, Morgan (Brisbane)" userId="221d5f7b-4a46-4bd5-bdf1-698d3a91c208" providerId="ADAL" clId="{D90324C1-6CE4-4C28-B886-AED0B666B37F}" dt="2024-06-07T04:38:54.946" v="66117"/>
          <ac:spMkLst>
            <pc:docMk/>
            <pc:sldMk cId="3668082236" sldId="614"/>
            <ac:spMk id="337" creationId="{87DF0065-1E85-3CAE-AFF2-1B24507DE8EE}"/>
          </ac:spMkLst>
        </pc:spChg>
        <pc:spChg chg="add del mod ord replST">
          <ac:chgData name="Grace, Morgan (Brisbane)" userId="221d5f7b-4a46-4bd5-bdf1-698d3a91c208" providerId="ADAL" clId="{D90324C1-6CE4-4C28-B886-AED0B666B37F}" dt="2024-06-07T04:38:54.946" v="66123"/>
          <ac:spMkLst>
            <pc:docMk/>
            <pc:sldMk cId="3668082236" sldId="614"/>
            <ac:spMk id="338" creationId="{87DF0065-1E85-3CAE-AFF2-1B24507DE8EE}"/>
          </ac:spMkLst>
        </pc:spChg>
        <pc:spChg chg="add del mod ord replST">
          <ac:chgData name="Grace, Morgan (Brisbane)" userId="221d5f7b-4a46-4bd5-bdf1-698d3a91c208" providerId="ADAL" clId="{D90324C1-6CE4-4C28-B886-AED0B666B37F}" dt="2024-06-07T04:38:54.931" v="66107"/>
          <ac:spMkLst>
            <pc:docMk/>
            <pc:sldMk cId="3668082236" sldId="614"/>
            <ac:spMk id="339" creationId="{87DF0065-1E85-3CAE-AFF2-1B24507DE8EE}"/>
          </ac:spMkLst>
        </pc:spChg>
        <pc:spChg chg="add del mod ord replST">
          <ac:chgData name="Grace, Morgan (Brisbane)" userId="221d5f7b-4a46-4bd5-bdf1-698d3a91c208" providerId="ADAL" clId="{D90324C1-6CE4-4C28-B886-AED0B666B37F}" dt="2024-06-07T04:38:54.946" v="66127"/>
          <ac:spMkLst>
            <pc:docMk/>
            <pc:sldMk cId="3668082236" sldId="614"/>
            <ac:spMk id="340" creationId="{87DF0065-1E85-3CAE-AFF2-1B24507DE8EE}"/>
          </ac:spMkLst>
        </pc:spChg>
        <pc:spChg chg="add del mod ord replST">
          <ac:chgData name="Grace, Morgan (Brisbane)" userId="221d5f7b-4a46-4bd5-bdf1-698d3a91c208" providerId="ADAL" clId="{D90324C1-6CE4-4C28-B886-AED0B666B37F}" dt="2024-06-07T04:38:54.946" v="66115"/>
          <ac:spMkLst>
            <pc:docMk/>
            <pc:sldMk cId="3668082236" sldId="614"/>
            <ac:spMk id="341" creationId="{87DF0065-1E85-3CAE-AFF2-1B24507DE8EE}"/>
          </ac:spMkLst>
        </pc:spChg>
        <pc:spChg chg="add del mod replST">
          <ac:chgData name="Grace, Morgan (Brisbane)" userId="221d5f7b-4a46-4bd5-bdf1-698d3a91c208" providerId="ADAL" clId="{D90324C1-6CE4-4C28-B886-AED0B666B37F}" dt="2024-06-07T04:39:35.555" v="66541"/>
          <ac:spMkLst>
            <pc:docMk/>
            <pc:sldMk cId="3668082236" sldId="614"/>
            <ac:spMk id="355" creationId="{87DF0065-1E85-3CAE-AFF2-1B24507DE8EE}"/>
          </ac:spMkLst>
        </pc:spChg>
        <pc:spChg chg="add del mod modVis">
          <ac:chgData name="Grace, Morgan (Brisbane)" userId="221d5f7b-4a46-4bd5-bdf1-698d3a91c208" providerId="ADAL" clId="{D90324C1-6CE4-4C28-B886-AED0B666B37F}" dt="2024-06-07T04:39:34.152" v="66538"/>
          <ac:spMkLst>
            <pc:docMk/>
            <pc:sldMk cId="3668082236" sldId="614"/>
            <ac:spMk id="356" creationId="{3A53409D-D75A-AA57-88F9-422A087241E1}"/>
          </ac:spMkLst>
        </pc:spChg>
        <pc:spChg chg="add del mod replST">
          <ac:chgData name="Grace, Morgan (Brisbane)" userId="221d5f7b-4a46-4bd5-bdf1-698d3a91c208" providerId="ADAL" clId="{D90324C1-6CE4-4C28-B886-AED0B666B37F}" dt="2024-06-07T04:40:03.953" v="67206"/>
          <ac:spMkLst>
            <pc:docMk/>
            <pc:sldMk cId="3668082236" sldId="614"/>
            <ac:spMk id="359" creationId="{87DF0065-1E85-3CAE-AFF2-1B24507DE8EE}"/>
          </ac:spMkLst>
        </pc:spChg>
        <pc:spChg chg="add del mod modVis">
          <ac:chgData name="Grace, Morgan (Brisbane)" userId="221d5f7b-4a46-4bd5-bdf1-698d3a91c208" providerId="ADAL" clId="{D90324C1-6CE4-4C28-B886-AED0B666B37F}" dt="2024-06-07T04:39:37.352" v="66790"/>
          <ac:spMkLst>
            <pc:docMk/>
            <pc:sldMk cId="3668082236" sldId="614"/>
            <ac:spMk id="360" creationId="{59422D1C-3C1D-D56B-B855-C47231C4AC84}"/>
          </ac:spMkLst>
        </pc:spChg>
        <pc:spChg chg="add del mod replST">
          <ac:chgData name="Grace, Morgan (Brisbane)" userId="221d5f7b-4a46-4bd5-bdf1-698d3a91c208" providerId="ADAL" clId="{D90324C1-6CE4-4C28-B886-AED0B666B37F}" dt="2024-06-07T04:40:03.953" v="67205"/>
          <ac:spMkLst>
            <pc:docMk/>
            <pc:sldMk cId="3668082236" sldId="614"/>
            <ac:spMk id="362" creationId="{23606E4C-0446-4B88-BC20-AC162E4080D6}"/>
          </ac:spMkLst>
        </pc:spChg>
        <pc:spChg chg="add del mod modVis">
          <ac:chgData name="Grace, Morgan (Brisbane)" userId="221d5f7b-4a46-4bd5-bdf1-698d3a91c208" providerId="ADAL" clId="{D90324C1-6CE4-4C28-B886-AED0B666B37F}" dt="2024-06-07T04:39:39.711" v="66922"/>
          <ac:spMkLst>
            <pc:docMk/>
            <pc:sldMk cId="3668082236" sldId="614"/>
            <ac:spMk id="363" creationId="{7F78E1E5-7005-C4A2-75E7-2BA0AF3199D0}"/>
          </ac:spMkLst>
        </pc:spChg>
        <pc:spChg chg="add del mod replST">
          <ac:chgData name="Grace, Morgan (Brisbane)" userId="221d5f7b-4a46-4bd5-bdf1-698d3a91c208" providerId="ADAL" clId="{D90324C1-6CE4-4C28-B886-AED0B666B37F}" dt="2024-06-07T04:40:03.953" v="67207"/>
          <ac:spMkLst>
            <pc:docMk/>
            <pc:sldMk cId="3668082236" sldId="614"/>
            <ac:spMk id="365" creationId="{BB97252D-E76B-D24C-F5E8-9A658F923822}"/>
          </ac:spMkLst>
        </pc:spChg>
        <pc:spChg chg="add del mod modVis">
          <ac:chgData name="Grace, Morgan (Brisbane)" userId="221d5f7b-4a46-4bd5-bdf1-698d3a91c208" providerId="ADAL" clId="{D90324C1-6CE4-4C28-B886-AED0B666B37F}" dt="2024-06-07T04:39:43.698" v="67056"/>
          <ac:spMkLst>
            <pc:docMk/>
            <pc:sldMk cId="3668082236" sldId="614"/>
            <ac:spMk id="366" creationId="{C7704DB7-A062-50CF-8B0C-6E3EB4A52EDC}"/>
          </ac:spMkLst>
        </pc:spChg>
        <pc:spChg chg="add del mod modVis">
          <ac:chgData name="Grace, Morgan (Brisbane)" userId="221d5f7b-4a46-4bd5-bdf1-698d3a91c208" providerId="ADAL" clId="{D90324C1-6CE4-4C28-B886-AED0B666B37F}" dt="2024-06-07T04:39:51.230" v="67202"/>
          <ac:spMkLst>
            <pc:docMk/>
            <pc:sldMk cId="3668082236" sldId="614"/>
            <ac:spMk id="368" creationId="{ABA19EF7-2F44-AC43-CF6B-4A864779CB7A}"/>
          </ac:spMkLst>
        </pc:spChg>
        <pc:spChg chg="add del mod replST">
          <ac:chgData name="Grace, Morgan (Brisbane)" userId="221d5f7b-4a46-4bd5-bdf1-698d3a91c208" providerId="ADAL" clId="{D90324C1-6CE4-4C28-B886-AED0B666B37F}" dt="2024-06-07T05:18:50.357" v="100382"/>
          <ac:spMkLst>
            <pc:docMk/>
            <pc:sldMk cId="3668082236" sldId="614"/>
            <ac:spMk id="371" creationId="{87DF0065-1E85-3CAE-AFF2-1B24507DE8EE}"/>
          </ac:spMkLst>
        </pc:spChg>
        <pc:spChg chg="add del mod modVis">
          <ac:chgData name="Grace, Morgan (Brisbane)" userId="221d5f7b-4a46-4bd5-bdf1-698d3a91c208" providerId="ADAL" clId="{D90324C1-6CE4-4C28-B886-AED0B666B37F}" dt="2024-06-07T04:40:06.876" v="68324"/>
          <ac:spMkLst>
            <pc:docMk/>
            <pc:sldMk cId="3668082236" sldId="614"/>
            <ac:spMk id="372" creationId="{D717F937-62EC-D57F-6349-F34B08B72AAA}"/>
          </ac:spMkLst>
        </pc:spChg>
        <pc:spChg chg="add del mod replST">
          <ac:chgData name="Grace, Morgan (Brisbane)" userId="221d5f7b-4a46-4bd5-bdf1-698d3a91c208" providerId="ADAL" clId="{D90324C1-6CE4-4C28-B886-AED0B666B37F}" dt="2024-06-07T05:18:50.357" v="100381"/>
          <ac:spMkLst>
            <pc:docMk/>
            <pc:sldMk cId="3668082236" sldId="614"/>
            <ac:spMk id="373" creationId="{87DF0065-1E85-3CAE-AFF2-1B24507DE8EE}"/>
          </ac:spMkLst>
        </pc:spChg>
        <pc:spChg chg="add del mod replST">
          <ac:chgData name="Grace, Morgan (Brisbane)" userId="221d5f7b-4a46-4bd5-bdf1-698d3a91c208" providerId="ADAL" clId="{D90324C1-6CE4-4C28-B886-AED0B666B37F}" dt="2024-06-07T05:18:50.357" v="100380"/>
          <ac:spMkLst>
            <pc:docMk/>
            <pc:sldMk cId="3668082236" sldId="614"/>
            <ac:spMk id="374" creationId="{87DF0065-1E85-3CAE-AFF2-1B24507DE8EE}"/>
          </ac:spMkLst>
        </pc:spChg>
        <pc:spChg chg="add del mod replST">
          <ac:chgData name="Grace, Morgan (Brisbane)" userId="221d5f7b-4a46-4bd5-bdf1-698d3a91c208" providerId="ADAL" clId="{D90324C1-6CE4-4C28-B886-AED0B666B37F}" dt="2024-06-07T05:18:27.179" v="99771"/>
          <ac:spMkLst>
            <pc:docMk/>
            <pc:sldMk cId="3668082236" sldId="614"/>
            <ac:spMk id="375" creationId="{87DF0065-1E85-3CAE-AFF2-1B24507DE8EE}"/>
          </ac:spMkLst>
        </pc:spChg>
        <pc:spChg chg="add del mod replST">
          <ac:chgData name="Grace, Morgan (Brisbane)" userId="221d5f7b-4a46-4bd5-bdf1-698d3a91c208" providerId="ADAL" clId="{D90324C1-6CE4-4C28-B886-AED0B666B37F}" dt="2024-06-07T05:18:27.179" v="99772"/>
          <ac:spMkLst>
            <pc:docMk/>
            <pc:sldMk cId="3668082236" sldId="614"/>
            <ac:spMk id="376" creationId="{87DF0065-1E85-3CAE-AFF2-1B24507DE8EE}"/>
          </ac:spMkLst>
        </pc:spChg>
        <pc:spChg chg="add del mod replST">
          <ac:chgData name="Grace, Morgan (Brisbane)" userId="221d5f7b-4a46-4bd5-bdf1-698d3a91c208" providerId="ADAL" clId="{D90324C1-6CE4-4C28-B886-AED0B666B37F}" dt="2024-06-07T05:18:27.179" v="99773"/>
          <ac:spMkLst>
            <pc:docMk/>
            <pc:sldMk cId="3668082236" sldId="614"/>
            <ac:spMk id="377" creationId="{87DF0065-1E85-3CAE-AFF2-1B24507DE8EE}"/>
          </ac:spMkLst>
        </pc:spChg>
        <pc:spChg chg="add del mod replST">
          <ac:chgData name="Grace, Morgan (Brisbane)" userId="221d5f7b-4a46-4bd5-bdf1-698d3a91c208" providerId="ADAL" clId="{D90324C1-6CE4-4C28-B886-AED0B666B37F}" dt="2024-06-07T05:15:49.830" v="96384"/>
          <ac:spMkLst>
            <pc:docMk/>
            <pc:sldMk cId="3668082236" sldId="614"/>
            <ac:spMk id="378" creationId="{87DF0065-1E85-3CAE-AFF2-1B24507DE8EE}"/>
          </ac:spMkLst>
        </pc:spChg>
        <pc:spChg chg="add del mod replST">
          <ac:chgData name="Grace, Morgan (Brisbane)" userId="221d5f7b-4a46-4bd5-bdf1-698d3a91c208" providerId="ADAL" clId="{D90324C1-6CE4-4C28-B886-AED0B666B37F}" dt="2024-06-07T05:15:49.830" v="96385"/>
          <ac:spMkLst>
            <pc:docMk/>
            <pc:sldMk cId="3668082236" sldId="614"/>
            <ac:spMk id="379" creationId="{87DF0065-1E85-3CAE-AFF2-1B24507DE8EE}"/>
          </ac:spMkLst>
        </pc:spChg>
        <pc:spChg chg="add del mod replST">
          <ac:chgData name="Grace, Morgan (Brisbane)" userId="221d5f7b-4a46-4bd5-bdf1-698d3a91c208" providerId="ADAL" clId="{D90324C1-6CE4-4C28-B886-AED0B666B37F}" dt="2024-06-07T05:15:49.836" v="96388"/>
          <ac:spMkLst>
            <pc:docMk/>
            <pc:sldMk cId="3668082236" sldId="614"/>
            <ac:spMk id="380" creationId="{87DF0065-1E85-3CAE-AFF2-1B24507DE8EE}"/>
          </ac:spMkLst>
        </pc:spChg>
        <pc:spChg chg="add del mod replST">
          <ac:chgData name="Grace, Morgan (Brisbane)" userId="221d5f7b-4a46-4bd5-bdf1-698d3a91c208" providerId="ADAL" clId="{D90324C1-6CE4-4C28-B886-AED0B666B37F}" dt="2024-06-07T05:15:49.837" v="96389"/>
          <ac:spMkLst>
            <pc:docMk/>
            <pc:sldMk cId="3668082236" sldId="614"/>
            <ac:spMk id="381" creationId="{87DF0065-1E85-3CAE-AFF2-1B24507DE8EE}"/>
          </ac:spMkLst>
        </pc:spChg>
        <pc:spChg chg="add del mod replST">
          <ac:chgData name="Grace, Morgan (Brisbane)" userId="221d5f7b-4a46-4bd5-bdf1-698d3a91c208" providerId="ADAL" clId="{D90324C1-6CE4-4C28-B886-AED0B666B37F}" dt="2024-06-07T05:15:49.837" v="96390"/>
          <ac:spMkLst>
            <pc:docMk/>
            <pc:sldMk cId="3668082236" sldId="614"/>
            <ac:spMk id="382" creationId="{87DF0065-1E85-3CAE-AFF2-1B24507DE8EE}"/>
          </ac:spMkLst>
        </pc:spChg>
        <pc:spChg chg="add del mod replST">
          <ac:chgData name="Grace, Morgan (Brisbane)" userId="221d5f7b-4a46-4bd5-bdf1-698d3a91c208" providerId="ADAL" clId="{D90324C1-6CE4-4C28-B886-AED0B666B37F}" dt="2024-06-07T05:15:49.837" v="96391"/>
          <ac:spMkLst>
            <pc:docMk/>
            <pc:sldMk cId="3668082236" sldId="614"/>
            <ac:spMk id="383" creationId="{87DF0065-1E85-3CAE-AFF2-1B24507DE8EE}"/>
          </ac:spMkLst>
        </pc:spChg>
        <pc:spChg chg="add del mod replST">
          <ac:chgData name="Grace, Morgan (Brisbane)" userId="221d5f7b-4a46-4bd5-bdf1-698d3a91c208" providerId="ADAL" clId="{D90324C1-6CE4-4C28-B886-AED0B666B37F}" dt="2024-06-07T05:15:49.837" v="96394"/>
          <ac:spMkLst>
            <pc:docMk/>
            <pc:sldMk cId="3668082236" sldId="614"/>
            <ac:spMk id="384" creationId="{87DF0065-1E85-3CAE-AFF2-1B24507DE8EE}"/>
          </ac:spMkLst>
        </pc:spChg>
        <pc:spChg chg="add del mod replST">
          <ac:chgData name="Grace, Morgan (Brisbane)" userId="221d5f7b-4a46-4bd5-bdf1-698d3a91c208" providerId="ADAL" clId="{D90324C1-6CE4-4C28-B886-AED0B666B37F}" dt="2024-06-07T05:15:49.837" v="96399"/>
          <ac:spMkLst>
            <pc:docMk/>
            <pc:sldMk cId="3668082236" sldId="614"/>
            <ac:spMk id="385" creationId="{87DF0065-1E85-3CAE-AFF2-1B24507DE8EE}"/>
          </ac:spMkLst>
        </pc:spChg>
        <pc:spChg chg="add del mod replST">
          <ac:chgData name="Grace, Morgan (Brisbane)" userId="221d5f7b-4a46-4bd5-bdf1-698d3a91c208" providerId="ADAL" clId="{D90324C1-6CE4-4C28-B886-AED0B666B37F}" dt="2024-06-07T05:15:49.837" v="96400"/>
          <ac:spMkLst>
            <pc:docMk/>
            <pc:sldMk cId="3668082236" sldId="614"/>
            <ac:spMk id="386" creationId="{87DF0065-1E85-3CAE-AFF2-1B24507DE8EE}"/>
          </ac:spMkLst>
        </pc:spChg>
        <pc:spChg chg="add del mod replST">
          <ac:chgData name="Grace, Morgan (Brisbane)" userId="221d5f7b-4a46-4bd5-bdf1-698d3a91c208" providerId="ADAL" clId="{D90324C1-6CE4-4C28-B886-AED0B666B37F}" dt="2024-06-07T04:42:47.500" v="71596"/>
          <ac:spMkLst>
            <pc:docMk/>
            <pc:sldMk cId="3668082236" sldId="614"/>
            <ac:spMk id="387" creationId="{87DF0065-1E85-3CAE-AFF2-1B24507DE8EE}"/>
          </ac:spMkLst>
        </pc:spChg>
        <pc:spChg chg="add del mod replST">
          <ac:chgData name="Grace, Morgan (Brisbane)" userId="221d5f7b-4a46-4bd5-bdf1-698d3a91c208" providerId="ADAL" clId="{D90324C1-6CE4-4C28-B886-AED0B666B37F}" dt="2024-06-07T04:42:47.500" v="71597"/>
          <ac:spMkLst>
            <pc:docMk/>
            <pc:sldMk cId="3668082236" sldId="614"/>
            <ac:spMk id="388" creationId="{87DF0065-1E85-3CAE-AFF2-1B24507DE8EE}"/>
          </ac:spMkLst>
        </pc:spChg>
        <pc:spChg chg="add del mod modVis">
          <ac:chgData name="Grace, Morgan (Brisbane)" userId="221d5f7b-4a46-4bd5-bdf1-698d3a91c208" providerId="ADAL" clId="{D90324C1-6CE4-4C28-B886-AED0B666B37F}" dt="2024-06-07T04:40:18.521" v="68830"/>
          <ac:spMkLst>
            <pc:docMk/>
            <pc:sldMk cId="3668082236" sldId="614"/>
            <ac:spMk id="393" creationId="{6F817EF5-EDBB-7755-C23A-C4C46248FA6A}"/>
          </ac:spMkLst>
        </pc:spChg>
        <pc:spChg chg="add del mod ord replST">
          <ac:chgData name="Grace, Morgan (Brisbane)" userId="221d5f7b-4a46-4bd5-bdf1-698d3a91c208" providerId="ADAL" clId="{D90324C1-6CE4-4C28-B886-AED0B666B37F}" dt="2024-06-07T04:40:20.584" v="68904"/>
          <ac:spMkLst>
            <pc:docMk/>
            <pc:sldMk cId="3668082236" sldId="614"/>
            <ac:spMk id="394" creationId="{87DF0065-1E85-3CAE-AFF2-1B24507DE8EE}"/>
          </ac:spMkLst>
        </pc:spChg>
        <pc:spChg chg="add del mod ord replST">
          <ac:chgData name="Grace, Morgan (Brisbane)" userId="221d5f7b-4a46-4bd5-bdf1-698d3a91c208" providerId="ADAL" clId="{D90324C1-6CE4-4C28-B886-AED0B666B37F}" dt="2024-06-07T04:40:20.584" v="68902"/>
          <ac:spMkLst>
            <pc:docMk/>
            <pc:sldMk cId="3668082236" sldId="614"/>
            <ac:spMk id="395" creationId="{87DF0065-1E85-3CAE-AFF2-1B24507DE8EE}"/>
          </ac:spMkLst>
        </pc:spChg>
        <pc:spChg chg="add del mod ord replST">
          <ac:chgData name="Grace, Morgan (Brisbane)" userId="221d5f7b-4a46-4bd5-bdf1-698d3a91c208" providerId="ADAL" clId="{D90324C1-6CE4-4C28-B886-AED0B666B37F}" dt="2024-06-07T04:40:20.584" v="68900"/>
          <ac:spMkLst>
            <pc:docMk/>
            <pc:sldMk cId="3668082236" sldId="614"/>
            <ac:spMk id="396" creationId="{87DF0065-1E85-3CAE-AFF2-1B24507DE8EE}"/>
          </ac:spMkLst>
        </pc:spChg>
        <pc:spChg chg="add del mod ord replST">
          <ac:chgData name="Grace, Morgan (Brisbane)" userId="221d5f7b-4a46-4bd5-bdf1-698d3a91c208" providerId="ADAL" clId="{D90324C1-6CE4-4C28-B886-AED0B666B37F}" dt="2024-06-07T04:40:20.584" v="68898"/>
          <ac:spMkLst>
            <pc:docMk/>
            <pc:sldMk cId="3668082236" sldId="614"/>
            <ac:spMk id="397" creationId="{87DF0065-1E85-3CAE-AFF2-1B24507DE8EE}"/>
          </ac:spMkLst>
        </pc:spChg>
        <pc:spChg chg="add del mod modVis">
          <ac:chgData name="Grace, Morgan (Brisbane)" userId="221d5f7b-4a46-4bd5-bdf1-698d3a91c208" providerId="ADAL" clId="{D90324C1-6CE4-4C28-B886-AED0B666B37F}" dt="2024-06-07T04:40:20.646" v="69017"/>
          <ac:spMkLst>
            <pc:docMk/>
            <pc:sldMk cId="3668082236" sldId="614"/>
            <ac:spMk id="399" creationId="{A6DF3637-0C70-0B20-9B6F-D297097873C0}"/>
          </ac:spMkLst>
        </pc:spChg>
        <pc:spChg chg="add del mod modVis">
          <ac:chgData name="Grace, Morgan (Brisbane)" userId="221d5f7b-4a46-4bd5-bdf1-698d3a91c208" providerId="ADAL" clId="{D90324C1-6CE4-4C28-B886-AED0B666B37F}" dt="2024-06-07T04:40:27.378" v="69388"/>
          <ac:spMkLst>
            <pc:docMk/>
            <pc:sldMk cId="3668082236" sldId="614"/>
            <ac:spMk id="401" creationId="{6DD410C8-D535-4BC5-25CB-6311AB5B6141}"/>
          </ac:spMkLst>
        </pc:spChg>
        <pc:spChg chg="add del mod modVis">
          <ac:chgData name="Grace, Morgan (Brisbane)" userId="221d5f7b-4a46-4bd5-bdf1-698d3a91c208" providerId="ADAL" clId="{D90324C1-6CE4-4C28-B886-AED0B666B37F}" dt="2024-06-07T04:40:29.669" v="69569"/>
          <ac:spMkLst>
            <pc:docMk/>
            <pc:sldMk cId="3668082236" sldId="614"/>
            <ac:spMk id="403" creationId="{18E5A596-C155-3226-FB8F-B9E2D72503D4}"/>
          </ac:spMkLst>
        </pc:spChg>
        <pc:spChg chg="add del mod modVis">
          <ac:chgData name="Grace, Morgan (Brisbane)" userId="221d5f7b-4a46-4bd5-bdf1-698d3a91c208" providerId="ADAL" clId="{D90324C1-6CE4-4C28-B886-AED0B666B37F}" dt="2024-06-07T04:40:33.143" v="69735"/>
          <ac:spMkLst>
            <pc:docMk/>
            <pc:sldMk cId="3668082236" sldId="614"/>
            <ac:spMk id="405" creationId="{2EE8BE78-6A29-215E-538E-E78885CCCE9F}"/>
          </ac:spMkLst>
        </pc:spChg>
        <pc:spChg chg="add del mod modVis">
          <ac:chgData name="Grace, Morgan (Brisbane)" userId="221d5f7b-4a46-4bd5-bdf1-698d3a91c208" providerId="ADAL" clId="{D90324C1-6CE4-4C28-B886-AED0B666B37F}" dt="2024-06-07T04:40:35.580" v="69916"/>
          <ac:spMkLst>
            <pc:docMk/>
            <pc:sldMk cId="3668082236" sldId="614"/>
            <ac:spMk id="407" creationId="{4C94EF00-B6BB-15FB-0235-190206528F61}"/>
          </ac:spMkLst>
        </pc:spChg>
        <pc:spChg chg="add del mod modVis">
          <ac:chgData name="Grace, Morgan (Brisbane)" userId="221d5f7b-4a46-4bd5-bdf1-698d3a91c208" providerId="ADAL" clId="{D90324C1-6CE4-4C28-B886-AED0B666B37F}" dt="2024-06-07T04:40:39.313" v="70082"/>
          <ac:spMkLst>
            <pc:docMk/>
            <pc:sldMk cId="3668082236" sldId="614"/>
            <ac:spMk id="409" creationId="{319647FA-5FED-1E73-3C45-25018E303CF7}"/>
          </ac:spMkLst>
        </pc:spChg>
        <pc:spChg chg="add del mod modVis">
          <ac:chgData name="Grace, Morgan (Brisbane)" userId="221d5f7b-4a46-4bd5-bdf1-698d3a91c208" providerId="ADAL" clId="{D90324C1-6CE4-4C28-B886-AED0B666B37F}" dt="2024-06-07T04:40:43.993" v="70300"/>
          <ac:spMkLst>
            <pc:docMk/>
            <pc:sldMk cId="3668082236" sldId="614"/>
            <ac:spMk id="411" creationId="{0CA6F605-B49F-28F6-C31A-C4B2BD832724}"/>
          </ac:spMkLst>
        </pc:spChg>
        <pc:spChg chg="add del mod modVis">
          <ac:chgData name="Grace, Morgan (Brisbane)" userId="221d5f7b-4a46-4bd5-bdf1-698d3a91c208" providerId="ADAL" clId="{D90324C1-6CE4-4C28-B886-AED0B666B37F}" dt="2024-06-07T04:40:47.186" v="70442"/>
          <ac:spMkLst>
            <pc:docMk/>
            <pc:sldMk cId="3668082236" sldId="614"/>
            <ac:spMk id="413" creationId="{2975B770-31A2-6E6F-A8F9-498EA306413B}"/>
          </ac:spMkLst>
        </pc:spChg>
        <pc:spChg chg="add del mod replST">
          <ac:chgData name="Grace, Morgan (Brisbane)" userId="221d5f7b-4a46-4bd5-bdf1-698d3a91c208" providerId="ADAL" clId="{D90324C1-6CE4-4C28-B886-AED0B666B37F}" dt="2024-06-07T05:15:49.830" v="96386"/>
          <ac:spMkLst>
            <pc:docMk/>
            <pc:sldMk cId="3668082236" sldId="614"/>
            <ac:spMk id="422" creationId="{565A63E9-B0BB-1A1D-87E2-0F2485F2E650}"/>
          </ac:spMkLst>
        </pc:spChg>
        <pc:spChg chg="add del mod replST">
          <ac:chgData name="Grace, Morgan (Brisbane)" userId="221d5f7b-4a46-4bd5-bdf1-698d3a91c208" providerId="ADAL" clId="{D90324C1-6CE4-4C28-B886-AED0B666B37F}" dt="2024-06-07T05:15:49.830" v="96387"/>
          <ac:spMkLst>
            <pc:docMk/>
            <pc:sldMk cId="3668082236" sldId="614"/>
            <ac:spMk id="423" creationId="{2D499DC8-287D-72DB-EFD8-647B0162AE19}"/>
          </ac:spMkLst>
        </pc:spChg>
        <pc:spChg chg="add del mod modVis">
          <ac:chgData name="Grace, Morgan (Brisbane)" userId="221d5f7b-4a46-4bd5-bdf1-698d3a91c208" providerId="ADAL" clId="{D90324C1-6CE4-4C28-B886-AED0B666B37F}" dt="2024-06-07T04:42:47.622" v="71813"/>
          <ac:spMkLst>
            <pc:docMk/>
            <pc:sldMk cId="3668082236" sldId="614"/>
            <ac:spMk id="424" creationId="{AD197D31-CA14-E910-742E-3B7C01D76A71}"/>
          </ac:spMkLst>
        </pc:spChg>
        <pc:spChg chg="add del mod modVis">
          <ac:chgData name="Grace, Morgan (Brisbane)" userId="221d5f7b-4a46-4bd5-bdf1-698d3a91c208" providerId="ADAL" clId="{D90324C1-6CE4-4C28-B886-AED0B666B37F}" dt="2024-06-07T04:43:00.027" v="71973"/>
          <ac:spMkLst>
            <pc:docMk/>
            <pc:sldMk cId="3668082236" sldId="614"/>
            <ac:spMk id="426" creationId="{2F4DCE57-5C86-5718-3603-9238D52A41E1}"/>
          </ac:spMkLst>
        </pc:spChg>
        <pc:spChg chg="add del mod modVis">
          <ac:chgData name="Grace, Morgan (Brisbane)" userId="221d5f7b-4a46-4bd5-bdf1-698d3a91c208" providerId="ADAL" clId="{D90324C1-6CE4-4C28-B886-AED0B666B37F}" dt="2024-06-07T04:43:01.031" v="72133"/>
          <ac:spMkLst>
            <pc:docMk/>
            <pc:sldMk cId="3668082236" sldId="614"/>
            <ac:spMk id="428" creationId="{5B3B316C-65B1-A22C-23AA-5C4D1CAC67A3}"/>
          </ac:spMkLst>
        </pc:spChg>
        <pc:spChg chg="add del mod modVis">
          <ac:chgData name="Grace, Morgan (Brisbane)" userId="221d5f7b-4a46-4bd5-bdf1-698d3a91c208" providerId="ADAL" clId="{D90324C1-6CE4-4C28-B886-AED0B666B37F}" dt="2024-06-07T04:46:07.920" v="74782"/>
          <ac:spMkLst>
            <pc:docMk/>
            <pc:sldMk cId="3668082236" sldId="614"/>
            <ac:spMk id="452" creationId="{6C6F62E5-2DE7-B89C-E86F-693C3F01AC8C}"/>
          </ac:spMkLst>
        </pc:spChg>
        <pc:spChg chg="add del mod modVis">
          <ac:chgData name="Grace, Morgan (Brisbane)" userId="221d5f7b-4a46-4bd5-bdf1-698d3a91c208" providerId="ADAL" clId="{D90324C1-6CE4-4C28-B886-AED0B666B37F}" dt="2024-06-07T04:46:08.383" v="74969"/>
          <ac:spMkLst>
            <pc:docMk/>
            <pc:sldMk cId="3668082236" sldId="614"/>
            <ac:spMk id="453" creationId="{81EEA5CB-7D4B-6160-8BC1-AEE6F15FE3BA}"/>
          </ac:spMkLst>
        </pc:spChg>
        <pc:spChg chg="add del mod modVis">
          <ac:chgData name="Grace, Morgan (Brisbane)" userId="221d5f7b-4a46-4bd5-bdf1-698d3a91c208" providerId="ADAL" clId="{D90324C1-6CE4-4C28-B886-AED0B666B37F}" dt="2024-06-07T04:46:13.477" v="75110"/>
          <ac:spMkLst>
            <pc:docMk/>
            <pc:sldMk cId="3668082236" sldId="614"/>
            <ac:spMk id="455" creationId="{56E0DFA7-1AF0-5B70-4B0F-E15635E776EA}"/>
          </ac:spMkLst>
        </pc:spChg>
        <pc:spChg chg="add del mod modVis">
          <ac:chgData name="Grace, Morgan (Brisbane)" userId="221d5f7b-4a46-4bd5-bdf1-698d3a91c208" providerId="ADAL" clId="{D90324C1-6CE4-4C28-B886-AED0B666B37F}" dt="2024-06-07T04:46:17.253" v="75273"/>
          <ac:spMkLst>
            <pc:docMk/>
            <pc:sldMk cId="3668082236" sldId="614"/>
            <ac:spMk id="457" creationId="{4350D1AB-9D76-92A8-2DA7-E1826F36AEDC}"/>
          </ac:spMkLst>
        </pc:spChg>
        <pc:spChg chg="add del mod replST">
          <ac:chgData name="Grace, Morgan (Brisbane)" userId="221d5f7b-4a46-4bd5-bdf1-698d3a91c208" providerId="ADAL" clId="{D90324C1-6CE4-4C28-B886-AED0B666B37F}" dt="2024-06-07T04:46:32.303" v="75896"/>
          <ac:spMkLst>
            <pc:docMk/>
            <pc:sldMk cId="3668082236" sldId="614"/>
            <ac:spMk id="463" creationId="{87DF0065-1E85-3CAE-AFF2-1B24507DE8EE}"/>
          </ac:spMkLst>
        </pc:spChg>
        <pc:spChg chg="add del mod modVis">
          <ac:chgData name="Grace, Morgan (Brisbane)" userId="221d5f7b-4a46-4bd5-bdf1-698d3a91c208" providerId="ADAL" clId="{D90324C1-6CE4-4C28-B886-AED0B666B37F}" dt="2024-06-07T04:46:29.465" v="75881"/>
          <ac:spMkLst>
            <pc:docMk/>
            <pc:sldMk cId="3668082236" sldId="614"/>
            <ac:spMk id="464" creationId="{2C6B7F78-EFAB-DD6F-9B3B-6CF274E2C3AA}"/>
          </ac:spMkLst>
        </pc:spChg>
        <pc:spChg chg="add del mod ord replST">
          <ac:chgData name="Grace, Morgan (Brisbane)" userId="221d5f7b-4a46-4bd5-bdf1-698d3a91c208" providerId="ADAL" clId="{D90324C1-6CE4-4C28-B886-AED0B666B37F}" dt="2024-06-07T05:03:14.518" v="92388"/>
          <ac:spMkLst>
            <pc:docMk/>
            <pc:sldMk cId="3668082236" sldId="614"/>
            <ac:spMk id="468" creationId="{87DF0065-1E85-3CAE-AFF2-1B24507DE8EE}"/>
          </ac:spMkLst>
        </pc:spChg>
        <pc:spChg chg="add del mod modVis">
          <ac:chgData name="Grace, Morgan (Brisbane)" userId="221d5f7b-4a46-4bd5-bdf1-698d3a91c208" providerId="ADAL" clId="{D90324C1-6CE4-4C28-B886-AED0B666B37F}" dt="2024-06-07T04:46:36.710" v="76275"/>
          <ac:spMkLst>
            <pc:docMk/>
            <pc:sldMk cId="3668082236" sldId="614"/>
            <ac:spMk id="469" creationId="{5F68361A-107F-B48D-E318-04E1263B2860}"/>
          </ac:spMkLst>
        </pc:spChg>
        <pc:spChg chg="add del mod modVis">
          <ac:chgData name="Grace, Morgan (Brisbane)" userId="221d5f7b-4a46-4bd5-bdf1-698d3a91c208" providerId="ADAL" clId="{D90324C1-6CE4-4C28-B886-AED0B666B37F}" dt="2024-06-07T04:46:52.826" v="76822"/>
          <ac:spMkLst>
            <pc:docMk/>
            <pc:sldMk cId="3668082236" sldId="614"/>
            <ac:spMk id="475" creationId="{DFE19640-1E98-02D0-72CF-BD91EF3DF23E}"/>
          </ac:spMkLst>
        </pc:spChg>
        <pc:spChg chg="add del mod modVis">
          <ac:chgData name="Grace, Morgan (Brisbane)" userId="221d5f7b-4a46-4bd5-bdf1-698d3a91c208" providerId="ADAL" clId="{D90324C1-6CE4-4C28-B886-AED0B666B37F}" dt="2024-06-07T04:47:08.039" v="77306"/>
          <ac:spMkLst>
            <pc:docMk/>
            <pc:sldMk cId="3668082236" sldId="614"/>
            <ac:spMk id="477" creationId="{103481A2-40CF-98C7-85C1-B4A2E6E3A843}"/>
          </ac:spMkLst>
        </pc:spChg>
        <pc:spChg chg="add del mod modVis">
          <ac:chgData name="Grace, Morgan (Brisbane)" userId="221d5f7b-4a46-4bd5-bdf1-698d3a91c208" providerId="ADAL" clId="{D90324C1-6CE4-4C28-B886-AED0B666B37F}" dt="2024-06-07T04:48:29.791" v="79783"/>
          <ac:spMkLst>
            <pc:docMk/>
            <pc:sldMk cId="3668082236" sldId="614"/>
            <ac:spMk id="495" creationId="{C39A80A3-3F53-54E0-A57E-26629370B27A}"/>
          </ac:spMkLst>
        </pc:spChg>
        <pc:spChg chg="add del mod modVis">
          <ac:chgData name="Grace, Morgan (Brisbane)" userId="221d5f7b-4a46-4bd5-bdf1-698d3a91c208" providerId="ADAL" clId="{D90324C1-6CE4-4C28-B886-AED0B666B37F}" dt="2024-06-07T04:48:32.170" v="79943"/>
          <ac:spMkLst>
            <pc:docMk/>
            <pc:sldMk cId="3668082236" sldId="614"/>
            <ac:spMk id="497" creationId="{67C85402-6D13-A1D8-11DE-04C8DD0DAC89}"/>
          </ac:spMkLst>
        </pc:spChg>
        <pc:spChg chg="add del mod modVis">
          <ac:chgData name="Grace, Morgan (Brisbane)" userId="221d5f7b-4a46-4bd5-bdf1-698d3a91c208" providerId="ADAL" clId="{D90324C1-6CE4-4C28-B886-AED0B666B37F}" dt="2024-06-07T04:48:47.313" v="80103"/>
          <ac:spMkLst>
            <pc:docMk/>
            <pc:sldMk cId="3668082236" sldId="614"/>
            <ac:spMk id="499" creationId="{0B37665B-BFBA-6460-8A1C-C341857A4DD1}"/>
          </ac:spMkLst>
        </pc:spChg>
        <pc:spChg chg="add del mod modVis">
          <ac:chgData name="Grace, Morgan (Brisbane)" userId="221d5f7b-4a46-4bd5-bdf1-698d3a91c208" providerId="ADAL" clId="{D90324C1-6CE4-4C28-B886-AED0B666B37F}" dt="2024-06-07T04:48:51.662" v="80263"/>
          <ac:spMkLst>
            <pc:docMk/>
            <pc:sldMk cId="3668082236" sldId="614"/>
            <ac:spMk id="501" creationId="{ECA5FE31-D77F-D3DE-8F4A-C0F9984D2FA7}"/>
          </ac:spMkLst>
        </pc:spChg>
        <pc:spChg chg="add del mod modVis">
          <ac:chgData name="Grace, Morgan (Brisbane)" userId="221d5f7b-4a46-4bd5-bdf1-698d3a91c208" providerId="ADAL" clId="{D90324C1-6CE4-4C28-B886-AED0B666B37F}" dt="2024-06-07T04:48:54.869" v="80423"/>
          <ac:spMkLst>
            <pc:docMk/>
            <pc:sldMk cId="3668082236" sldId="614"/>
            <ac:spMk id="503" creationId="{3D4BD0B5-583B-BFEC-A106-95422BBA8045}"/>
          </ac:spMkLst>
        </pc:spChg>
        <pc:spChg chg="add del mod modVis">
          <ac:chgData name="Grace, Morgan (Brisbane)" userId="221d5f7b-4a46-4bd5-bdf1-698d3a91c208" providerId="ADAL" clId="{D90324C1-6CE4-4C28-B886-AED0B666B37F}" dt="2024-06-07T04:48:56.892" v="80583"/>
          <ac:spMkLst>
            <pc:docMk/>
            <pc:sldMk cId="3668082236" sldId="614"/>
            <ac:spMk id="505" creationId="{2640AA18-64FE-541A-FC5F-E96DF7280C25}"/>
          </ac:spMkLst>
        </pc:spChg>
        <pc:spChg chg="add del mod modVis">
          <ac:chgData name="Grace, Morgan (Brisbane)" userId="221d5f7b-4a46-4bd5-bdf1-698d3a91c208" providerId="ADAL" clId="{D90324C1-6CE4-4C28-B886-AED0B666B37F}" dt="2024-06-07T04:48:58.695" v="80743"/>
          <ac:spMkLst>
            <pc:docMk/>
            <pc:sldMk cId="3668082236" sldId="614"/>
            <ac:spMk id="507" creationId="{1924FAD1-644D-6C52-D008-2EE6F24A734B}"/>
          </ac:spMkLst>
        </pc:spChg>
        <pc:spChg chg="add mod ord">
          <ac:chgData name="Grace, Morgan (Brisbane)" userId="221d5f7b-4a46-4bd5-bdf1-698d3a91c208" providerId="ADAL" clId="{D90324C1-6CE4-4C28-B886-AED0B666B37F}" dt="2024-06-21T01:56:43.681" v="125713" actId="14100"/>
          <ac:spMkLst>
            <pc:docMk/>
            <pc:sldMk cId="3668082236" sldId="614"/>
            <ac:spMk id="514" creationId="{D1A30FE8-0A75-D153-90DD-EC34520D363B}"/>
          </ac:spMkLst>
        </pc:spChg>
        <pc:spChg chg="add del mod replST delST">
          <ac:chgData name="Grace, Morgan (Brisbane)" userId="221d5f7b-4a46-4bd5-bdf1-698d3a91c208" providerId="ADAL" clId="{D90324C1-6CE4-4C28-B886-AED0B666B37F}" dt="2024-06-07T04:51:27.195" v="82269"/>
          <ac:spMkLst>
            <pc:docMk/>
            <pc:sldMk cId="3668082236" sldId="614"/>
            <ac:spMk id="524" creationId="{84CDCC7A-D073-1A61-48B0-89C10C7AB024}"/>
          </ac:spMkLst>
        </pc:spChg>
        <pc:spChg chg="add mod replST delST">
          <ac:chgData name="Grace, Morgan (Brisbane)" userId="221d5f7b-4a46-4bd5-bdf1-698d3a91c208" providerId="ADAL" clId="{D90324C1-6CE4-4C28-B886-AED0B666B37F}" dt="2024-06-07T04:51:33.286" v="82689"/>
          <ac:spMkLst>
            <pc:docMk/>
            <pc:sldMk cId="3668082236" sldId="614"/>
            <ac:spMk id="525" creationId="{87DF0065-1E85-3CAE-AFF2-1B24507DE8EE}"/>
          </ac:spMkLst>
        </pc:spChg>
        <pc:spChg chg="add del mod modVis">
          <ac:chgData name="Grace, Morgan (Brisbane)" userId="221d5f7b-4a46-4bd5-bdf1-698d3a91c208" providerId="ADAL" clId="{D90324C1-6CE4-4C28-B886-AED0B666B37F}" dt="2024-06-07T04:51:33.286" v="82689"/>
          <ac:spMkLst>
            <pc:docMk/>
            <pc:sldMk cId="3668082236" sldId="614"/>
            <ac:spMk id="526" creationId="{77C248C4-62F3-9725-FDED-581DF5416E40}"/>
          </ac:spMkLst>
        </pc:spChg>
        <pc:spChg chg="add del mod modVis">
          <ac:chgData name="Grace, Morgan (Brisbane)" userId="221d5f7b-4a46-4bd5-bdf1-698d3a91c208" providerId="ADAL" clId="{D90324C1-6CE4-4C28-B886-AED0B666B37F}" dt="2024-06-07T04:52:19.980" v="86199"/>
          <ac:spMkLst>
            <pc:docMk/>
            <pc:sldMk cId="3668082236" sldId="614"/>
            <ac:spMk id="528" creationId="{B240B83D-E4CC-A2D8-0EC9-F478B9D1C120}"/>
          </ac:spMkLst>
        </pc:spChg>
        <pc:spChg chg="add mod replST delST">
          <ac:chgData name="Grace, Morgan (Brisbane)" userId="221d5f7b-4a46-4bd5-bdf1-698d3a91c208" providerId="ADAL" clId="{D90324C1-6CE4-4C28-B886-AED0B666B37F}" dt="2024-06-07T04:52:19.341" v="86123"/>
          <ac:spMkLst>
            <pc:docMk/>
            <pc:sldMk cId="3668082236" sldId="614"/>
            <ac:spMk id="530" creationId="{87DF0065-1E85-3CAE-AFF2-1B24507DE8EE}"/>
          </ac:spMkLst>
        </pc:spChg>
        <pc:spChg chg="add del mod modVis">
          <ac:chgData name="Grace, Morgan (Brisbane)" userId="221d5f7b-4a46-4bd5-bdf1-698d3a91c208" providerId="ADAL" clId="{D90324C1-6CE4-4C28-B886-AED0B666B37F}" dt="2024-06-07T04:52:19.341" v="86123"/>
          <ac:spMkLst>
            <pc:docMk/>
            <pc:sldMk cId="3668082236" sldId="614"/>
            <ac:spMk id="531" creationId="{58FEEC0B-7AC0-C3A1-7A27-777907A9AB7F}"/>
          </ac:spMkLst>
        </pc:spChg>
        <pc:spChg chg="add mod replST delST">
          <ac:chgData name="Grace, Morgan (Brisbane)" userId="221d5f7b-4a46-4bd5-bdf1-698d3a91c208" providerId="ADAL" clId="{D90324C1-6CE4-4C28-B886-AED0B666B37F}" dt="2024-06-07T04:52:19.341" v="86123"/>
          <ac:spMkLst>
            <pc:docMk/>
            <pc:sldMk cId="3668082236" sldId="614"/>
            <ac:spMk id="532"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3"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4"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5"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6"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7"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8"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39"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0"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1"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2"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3"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4"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5"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6" creationId="{87DF0065-1E85-3CAE-AFF2-1B24507DE8EE}"/>
          </ac:spMkLst>
        </pc:spChg>
        <pc:spChg chg="add mod replST delST">
          <ac:chgData name="Grace, Morgan (Brisbane)" userId="221d5f7b-4a46-4bd5-bdf1-698d3a91c208" providerId="ADAL" clId="{D90324C1-6CE4-4C28-B886-AED0B666B37F}" dt="2024-06-07T04:52:19.341" v="86123"/>
          <ac:spMkLst>
            <pc:docMk/>
            <pc:sldMk cId="3668082236" sldId="614"/>
            <ac:spMk id="547" creationId="{87DF0065-1E85-3CAE-AFF2-1B24507DE8EE}"/>
          </ac:spMkLst>
        </pc:spChg>
        <pc:spChg chg="add del mod replST delST">
          <ac:chgData name="Grace, Morgan (Brisbane)" userId="221d5f7b-4a46-4bd5-bdf1-698d3a91c208" providerId="ADAL" clId="{D90324C1-6CE4-4C28-B886-AED0B666B37F}" dt="2024-06-07T04:52:19.341" v="86123"/>
          <ac:spMkLst>
            <pc:docMk/>
            <pc:sldMk cId="3668082236" sldId="614"/>
            <ac:spMk id="549" creationId="{6E763A60-E6B3-54FE-F71B-D89CE6506173}"/>
          </ac:spMkLst>
        </pc:spChg>
        <pc:spChg chg="add del mod replST delST">
          <ac:chgData name="Grace, Morgan (Brisbane)" userId="221d5f7b-4a46-4bd5-bdf1-698d3a91c208" providerId="ADAL" clId="{D90324C1-6CE4-4C28-B886-AED0B666B37F}" dt="2024-06-07T04:52:19.341" v="86123"/>
          <ac:spMkLst>
            <pc:docMk/>
            <pc:sldMk cId="3668082236" sldId="614"/>
            <ac:spMk id="550" creationId="{0BD8C5EF-1511-721E-F374-5E0A2BE07AD4}"/>
          </ac:spMkLst>
        </pc:spChg>
        <pc:spChg chg="add del mod replST delST">
          <ac:chgData name="Grace, Morgan (Brisbane)" userId="221d5f7b-4a46-4bd5-bdf1-698d3a91c208" providerId="ADAL" clId="{D90324C1-6CE4-4C28-B886-AED0B666B37F}" dt="2024-06-07T04:52:19.341" v="86123"/>
          <ac:spMkLst>
            <pc:docMk/>
            <pc:sldMk cId="3668082236" sldId="614"/>
            <ac:spMk id="551" creationId="{1A9CE825-786A-AF29-C1D7-DB3920754A84}"/>
          </ac:spMkLst>
        </pc:spChg>
        <pc:spChg chg="add del mod replST delST">
          <ac:chgData name="Grace, Morgan (Brisbane)" userId="221d5f7b-4a46-4bd5-bdf1-698d3a91c208" providerId="ADAL" clId="{D90324C1-6CE4-4C28-B886-AED0B666B37F}" dt="2024-06-07T04:52:19.341" v="86123"/>
          <ac:spMkLst>
            <pc:docMk/>
            <pc:sldMk cId="3668082236" sldId="614"/>
            <ac:spMk id="552" creationId="{AE7B8AAD-96EE-660C-F318-1510E44FE89D}"/>
          </ac:spMkLst>
        </pc:spChg>
        <pc:spChg chg="add del mod replST delST">
          <ac:chgData name="Grace, Morgan (Brisbane)" userId="221d5f7b-4a46-4bd5-bdf1-698d3a91c208" providerId="ADAL" clId="{D90324C1-6CE4-4C28-B886-AED0B666B37F}" dt="2024-06-07T04:52:19.341" v="86123"/>
          <ac:spMkLst>
            <pc:docMk/>
            <pc:sldMk cId="3668082236" sldId="614"/>
            <ac:spMk id="553" creationId="{0CBA7A6C-C2EF-202B-42D3-B42A0569D6B9}"/>
          </ac:spMkLst>
        </pc:spChg>
        <pc:spChg chg="add del mod replST delST">
          <ac:chgData name="Grace, Morgan (Brisbane)" userId="221d5f7b-4a46-4bd5-bdf1-698d3a91c208" providerId="ADAL" clId="{D90324C1-6CE4-4C28-B886-AED0B666B37F}" dt="2024-06-07T04:52:19.341" v="86123"/>
          <ac:spMkLst>
            <pc:docMk/>
            <pc:sldMk cId="3668082236" sldId="614"/>
            <ac:spMk id="554" creationId="{5FAED99D-9023-74C8-86B3-C111D8FCF46E}"/>
          </ac:spMkLst>
        </pc:spChg>
        <pc:spChg chg="add del mod replST delST">
          <ac:chgData name="Grace, Morgan (Brisbane)" userId="221d5f7b-4a46-4bd5-bdf1-698d3a91c208" providerId="ADAL" clId="{D90324C1-6CE4-4C28-B886-AED0B666B37F}" dt="2024-06-07T04:52:19.341" v="86123"/>
          <ac:spMkLst>
            <pc:docMk/>
            <pc:sldMk cId="3668082236" sldId="614"/>
            <ac:spMk id="555" creationId="{5DAFE5EC-D210-FB10-86ED-2FBE675D878F}"/>
          </ac:spMkLst>
        </pc:spChg>
        <pc:spChg chg="add del mod replST delST">
          <ac:chgData name="Grace, Morgan (Brisbane)" userId="221d5f7b-4a46-4bd5-bdf1-698d3a91c208" providerId="ADAL" clId="{D90324C1-6CE4-4C28-B886-AED0B666B37F}" dt="2024-06-07T04:52:19.341" v="86123"/>
          <ac:spMkLst>
            <pc:docMk/>
            <pc:sldMk cId="3668082236" sldId="614"/>
            <ac:spMk id="556" creationId="{912207FA-27AC-A81B-20D8-5C5BE47A62BB}"/>
          </ac:spMkLst>
        </pc:spChg>
        <pc:spChg chg="add del mod replST delST">
          <ac:chgData name="Grace, Morgan (Brisbane)" userId="221d5f7b-4a46-4bd5-bdf1-698d3a91c208" providerId="ADAL" clId="{D90324C1-6CE4-4C28-B886-AED0B666B37F}" dt="2024-06-07T04:52:19.341" v="86123"/>
          <ac:spMkLst>
            <pc:docMk/>
            <pc:sldMk cId="3668082236" sldId="614"/>
            <ac:spMk id="557" creationId="{F649D4BD-FF3A-5FEF-5E91-DBEEECE4067A}"/>
          </ac:spMkLst>
        </pc:spChg>
        <pc:spChg chg="add del mod replST delST">
          <ac:chgData name="Grace, Morgan (Brisbane)" userId="221d5f7b-4a46-4bd5-bdf1-698d3a91c208" providerId="ADAL" clId="{D90324C1-6CE4-4C28-B886-AED0B666B37F}" dt="2024-06-07T04:52:19.341" v="86123"/>
          <ac:spMkLst>
            <pc:docMk/>
            <pc:sldMk cId="3668082236" sldId="614"/>
            <ac:spMk id="558" creationId="{103D2BCB-5072-E94B-93A7-EEFCF189CD56}"/>
          </ac:spMkLst>
        </pc:spChg>
        <pc:spChg chg="add del mod replST delST">
          <ac:chgData name="Grace, Morgan (Brisbane)" userId="221d5f7b-4a46-4bd5-bdf1-698d3a91c208" providerId="ADAL" clId="{D90324C1-6CE4-4C28-B886-AED0B666B37F}" dt="2024-06-07T04:52:19.341" v="86123"/>
          <ac:spMkLst>
            <pc:docMk/>
            <pc:sldMk cId="3668082236" sldId="614"/>
            <ac:spMk id="559" creationId="{1C64C4EB-DA78-BDEF-DF25-E20B8F7BE6FE}"/>
          </ac:spMkLst>
        </pc:spChg>
        <pc:spChg chg="add del mod replST delST">
          <ac:chgData name="Grace, Morgan (Brisbane)" userId="221d5f7b-4a46-4bd5-bdf1-698d3a91c208" providerId="ADAL" clId="{D90324C1-6CE4-4C28-B886-AED0B666B37F}" dt="2024-06-07T04:52:19.341" v="86123"/>
          <ac:spMkLst>
            <pc:docMk/>
            <pc:sldMk cId="3668082236" sldId="614"/>
            <ac:spMk id="560" creationId="{5A36ED9B-322D-00AC-45E0-29BFD546F232}"/>
          </ac:spMkLst>
        </pc:spChg>
        <pc:spChg chg="add del mod replST delST">
          <ac:chgData name="Grace, Morgan (Brisbane)" userId="221d5f7b-4a46-4bd5-bdf1-698d3a91c208" providerId="ADAL" clId="{D90324C1-6CE4-4C28-B886-AED0B666B37F}" dt="2024-06-07T04:52:19.341" v="86123"/>
          <ac:spMkLst>
            <pc:docMk/>
            <pc:sldMk cId="3668082236" sldId="614"/>
            <ac:spMk id="561" creationId="{B9320226-D8E0-B3E0-A199-DBC52863A626}"/>
          </ac:spMkLst>
        </pc:spChg>
        <pc:spChg chg="add del mod replST delST">
          <ac:chgData name="Grace, Morgan (Brisbane)" userId="221d5f7b-4a46-4bd5-bdf1-698d3a91c208" providerId="ADAL" clId="{D90324C1-6CE4-4C28-B886-AED0B666B37F}" dt="2024-06-07T04:52:19.341" v="86123"/>
          <ac:spMkLst>
            <pc:docMk/>
            <pc:sldMk cId="3668082236" sldId="614"/>
            <ac:spMk id="562" creationId="{25D8AAC6-8FD9-5B4F-A945-6E9ECED88794}"/>
          </ac:spMkLst>
        </pc:spChg>
        <pc:spChg chg="add del mod replST delST">
          <ac:chgData name="Grace, Morgan (Brisbane)" userId="221d5f7b-4a46-4bd5-bdf1-698d3a91c208" providerId="ADAL" clId="{D90324C1-6CE4-4C28-B886-AED0B666B37F}" dt="2024-06-07T04:52:19.341" v="86123"/>
          <ac:spMkLst>
            <pc:docMk/>
            <pc:sldMk cId="3668082236" sldId="614"/>
            <ac:spMk id="563" creationId="{F5519C7A-D78C-C681-BBCF-217AF610208A}"/>
          </ac:spMkLst>
        </pc:spChg>
        <pc:spChg chg="add del mod replST delST">
          <ac:chgData name="Grace, Morgan (Brisbane)" userId="221d5f7b-4a46-4bd5-bdf1-698d3a91c208" providerId="ADAL" clId="{D90324C1-6CE4-4C28-B886-AED0B666B37F}" dt="2024-06-07T04:52:19.341" v="86123"/>
          <ac:spMkLst>
            <pc:docMk/>
            <pc:sldMk cId="3668082236" sldId="614"/>
            <ac:spMk id="564" creationId="{F163003A-24AE-0AAC-7708-1F615CCE89D9}"/>
          </ac:spMkLst>
        </pc:spChg>
        <pc:spChg chg="add del mod replST delST">
          <ac:chgData name="Grace, Morgan (Brisbane)" userId="221d5f7b-4a46-4bd5-bdf1-698d3a91c208" providerId="ADAL" clId="{D90324C1-6CE4-4C28-B886-AED0B666B37F}" dt="2024-06-07T04:52:19.341" v="86123"/>
          <ac:spMkLst>
            <pc:docMk/>
            <pc:sldMk cId="3668082236" sldId="614"/>
            <ac:spMk id="565" creationId="{FF630781-E6C6-C64B-D1FF-0C44C4EC4B29}"/>
          </ac:spMkLst>
        </pc:spChg>
        <pc:spChg chg="add mod ord">
          <ac:chgData name="Grace, Morgan (Brisbane)" userId="221d5f7b-4a46-4bd5-bdf1-698d3a91c208" providerId="ADAL" clId="{D90324C1-6CE4-4C28-B886-AED0B666B37F}" dt="2024-06-07T05:38:15.255" v="122772"/>
          <ac:spMkLst>
            <pc:docMk/>
            <pc:sldMk cId="3668082236" sldId="614"/>
            <ac:spMk id="570" creationId="{089FF52F-5AF0-985F-0534-04B9FEA4A1F1}"/>
          </ac:spMkLst>
        </pc:spChg>
        <pc:spChg chg="add mod ord">
          <ac:chgData name="Grace, Morgan (Brisbane)" userId="221d5f7b-4a46-4bd5-bdf1-698d3a91c208" providerId="ADAL" clId="{D90324C1-6CE4-4C28-B886-AED0B666B37F}" dt="2024-06-07T05:38:15.255" v="122774"/>
          <ac:spMkLst>
            <pc:docMk/>
            <pc:sldMk cId="3668082236" sldId="614"/>
            <ac:spMk id="571" creationId="{735607CE-F10A-A40B-A9D9-2946988E21BE}"/>
          </ac:spMkLst>
        </pc:spChg>
        <pc:spChg chg="add del mod modVis">
          <ac:chgData name="Grace, Morgan (Brisbane)" userId="221d5f7b-4a46-4bd5-bdf1-698d3a91c208" providerId="ADAL" clId="{D90324C1-6CE4-4C28-B886-AED0B666B37F}" dt="2024-06-07T04:57:29.259" v="86442"/>
          <ac:spMkLst>
            <pc:docMk/>
            <pc:sldMk cId="3668082236" sldId="614"/>
            <ac:spMk id="572" creationId="{BE94CC73-796C-402F-676F-F3B54E0D98A7}"/>
          </ac:spMkLst>
        </pc:spChg>
        <pc:spChg chg="add del mod modVis">
          <ac:chgData name="Grace, Morgan (Brisbane)" userId="221d5f7b-4a46-4bd5-bdf1-698d3a91c208" providerId="ADAL" clId="{D90324C1-6CE4-4C28-B886-AED0B666B37F}" dt="2024-06-07T04:58:06.790" v="86729"/>
          <ac:spMkLst>
            <pc:docMk/>
            <pc:sldMk cId="3668082236" sldId="614"/>
            <ac:spMk id="573" creationId="{DDD4E290-7832-EA68-EED7-FDC5C587F332}"/>
          </ac:spMkLst>
        </pc:spChg>
        <pc:spChg chg="add del mod modVis">
          <ac:chgData name="Grace, Morgan (Brisbane)" userId="221d5f7b-4a46-4bd5-bdf1-698d3a91c208" providerId="ADAL" clId="{D90324C1-6CE4-4C28-B886-AED0B666B37F}" dt="2024-06-07T04:58:59.809" v="87616"/>
          <ac:spMkLst>
            <pc:docMk/>
            <pc:sldMk cId="3668082236" sldId="614"/>
            <ac:spMk id="577" creationId="{275A6022-CA93-2092-3D6B-FC351CFC91F8}"/>
          </ac:spMkLst>
        </pc:spChg>
        <pc:spChg chg="add del mod modVis">
          <ac:chgData name="Grace, Morgan (Brisbane)" userId="221d5f7b-4a46-4bd5-bdf1-698d3a91c208" providerId="ADAL" clId="{D90324C1-6CE4-4C28-B886-AED0B666B37F}" dt="2024-06-07T05:01:06.155" v="88882"/>
          <ac:spMkLst>
            <pc:docMk/>
            <pc:sldMk cId="3668082236" sldId="614"/>
            <ac:spMk id="584" creationId="{F502E843-4F42-4E2F-BFF8-C5A7DBA583A3}"/>
          </ac:spMkLst>
        </pc:spChg>
        <pc:spChg chg="add mod ord">
          <ac:chgData name="Grace, Morgan (Brisbane)" userId="221d5f7b-4a46-4bd5-bdf1-698d3a91c208" providerId="ADAL" clId="{D90324C1-6CE4-4C28-B886-AED0B666B37F}" dt="2024-06-21T01:05:38.524" v="125168" actId="403"/>
          <ac:spMkLst>
            <pc:docMk/>
            <pc:sldMk cId="3668082236" sldId="614"/>
            <ac:spMk id="590" creationId="{90265CB6-7354-5538-3C91-07C902797570}"/>
          </ac:spMkLst>
        </pc:spChg>
        <pc:spChg chg="add del mod modVis">
          <ac:chgData name="Grace, Morgan (Brisbane)" userId="221d5f7b-4a46-4bd5-bdf1-698d3a91c208" providerId="ADAL" clId="{D90324C1-6CE4-4C28-B886-AED0B666B37F}" dt="2024-06-07T05:01:39.519" v="89209"/>
          <ac:spMkLst>
            <pc:docMk/>
            <pc:sldMk cId="3668082236" sldId="614"/>
            <ac:spMk id="591" creationId="{BB6F0342-A77C-DFA4-8309-8B00CDCBD7FB}"/>
          </ac:spMkLst>
        </pc:spChg>
        <pc:spChg chg="add del mod modVis">
          <ac:chgData name="Grace, Morgan (Brisbane)" userId="221d5f7b-4a46-4bd5-bdf1-698d3a91c208" providerId="ADAL" clId="{D90324C1-6CE4-4C28-B886-AED0B666B37F}" dt="2024-06-07T05:01:44.490" v="89478"/>
          <ac:spMkLst>
            <pc:docMk/>
            <pc:sldMk cId="3668082236" sldId="614"/>
            <ac:spMk id="593" creationId="{B0CD9F39-AB6C-6FA1-5A88-75A0AF3BAA6D}"/>
          </ac:spMkLst>
        </pc:spChg>
        <pc:spChg chg="add del mod modVis">
          <ac:chgData name="Grace, Morgan (Brisbane)" userId="221d5f7b-4a46-4bd5-bdf1-698d3a91c208" providerId="ADAL" clId="{D90324C1-6CE4-4C28-B886-AED0B666B37F}" dt="2024-06-07T05:01:46.408" v="89707"/>
          <ac:spMkLst>
            <pc:docMk/>
            <pc:sldMk cId="3668082236" sldId="614"/>
            <ac:spMk id="596" creationId="{6CA7884D-A3D6-A7B4-A24C-CF4729E7A959}"/>
          </ac:spMkLst>
        </pc:spChg>
        <pc:spChg chg="add del mod modVis">
          <ac:chgData name="Grace, Morgan (Brisbane)" userId="221d5f7b-4a46-4bd5-bdf1-698d3a91c208" providerId="ADAL" clId="{D90324C1-6CE4-4C28-B886-AED0B666B37F}" dt="2024-06-07T05:01:52.483" v="89913"/>
          <ac:spMkLst>
            <pc:docMk/>
            <pc:sldMk cId="3668082236" sldId="614"/>
            <ac:spMk id="598" creationId="{B042FB4E-6A0D-A39B-C8C0-047FCB8B01EA}"/>
          </ac:spMkLst>
        </pc:spChg>
        <pc:spChg chg="add del mod replST">
          <ac:chgData name="Grace, Morgan (Brisbane)" userId="221d5f7b-4a46-4bd5-bdf1-698d3a91c208" providerId="ADAL" clId="{D90324C1-6CE4-4C28-B886-AED0B666B37F}" dt="2024-06-07T05:02:01.831" v="90046"/>
          <ac:spMkLst>
            <pc:docMk/>
            <pc:sldMk cId="3668082236" sldId="614"/>
            <ac:spMk id="599" creationId="{87DF0065-1E85-3CAE-AFF2-1B24507DE8EE}"/>
          </ac:spMkLst>
        </pc:spChg>
        <pc:spChg chg="add del mod replST">
          <ac:chgData name="Grace, Morgan (Brisbane)" userId="221d5f7b-4a46-4bd5-bdf1-698d3a91c208" providerId="ADAL" clId="{D90324C1-6CE4-4C28-B886-AED0B666B37F}" dt="2024-06-07T05:05:29.147" v="93233"/>
          <ac:spMkLst>
            <pc:docMk/>
            <pc:sldMk cId="3668082236" sldId="614"/>
            <ac:spMk id="603" creationId="{87DF0065-1E85-3CAE-AFF2-1B24507DE8EE}"/>
          </ac:spMkLst>
        </pc:spChg>
        <pc:spChg chg="add del mod modVis">
          <ac:chgData name="Grace, Morgan (Brisbane)" userId="221d5f7b-4a46-4bd5-bdf1-698d3a91c208" providerId="ADAL" clId="{D90324C1-6CE4-4C28-B886-AED0B666B37F}" dt="2024-06-07T05:02:04.315" v="90481"/>
          <ac:spMkLst>
            <pc:docMk/>
            <pc:sldMk cId="3668082236" sldId="614"/>
            <ac:spMk id="604" creationId="{34CB46D7-5C10-3D5B-F0FD-857CD57A21D0}"/>
          </ac:spMkLst>
        </pc:spChg>
        <pc:spChg chg="add del mod replST">
          <ac:chgData name="Grace, Morgan (Brisbane)" userId="221d5f7b-4a46-4bd5-bdf1-698d3a91c208" providerId="ADAL" clId="{D90324C1-6CE4-4C28-B886-AED0B666B37F}" dt="2024-06-07T05:05:29.147" v="93231"/>
          <ac:spMkLst>
            <pc:docMk/>
            <pc:sldMk cId="3668082236" sldId="614"/>
            <ac:spMk id="605" creationId="{87DF0065-1E85-3CAE-AFF2-1B24507DE8EE}"/>
          </ac:spMkLst>
        </pc:spChg>
        <pc:spChg chg="add del mod replST">
          <ac:chgData name="Grace, Morgan (Brisbane)" userId="221d5f7b-4a46-4bd5-bdf1-698d3a91c208" providerId="ADAL" clId="{D90324C1-6CE4-4C28-B886-AED0B666B37F}" dt="2024-06-07T05:05:29.147" v="93229"/>
          <ac:spMkLst>
            <pc:docMk/>
            <pc:sldMk cId="3668082236" sldId="614"/>
            <ac:spMk id="606" creationId="{87DF0065-1E85-3CAE-AFF2-1B24507DE8EE}"/>
          </ac:spMkLst>
        </pc:spChg>
        <pc:spChg chg="add del mod replST">
          <ac:chgData name="Grace, Morgan (Brisbane)" userId="221d5f7b-4a46-4bd5-bdf1-698d3a91c208" providerId="ADAL" clId="{D90324C1-6CE4-4C28-B886-AED0B666B37F}" dt="2024-06-07T05:05:29.147" v="93227"/>
          <ac:spMkLst>
            <pc:docMk/>
            <pc:sldMk cId="3668082236" sldId="614"/>
            <ac:spMk id="607" creationId="{87DF0065-1E85-3CAE-AFF2-1B24507DE8EE}"/>
          </ac:spMkLst>
        </pc:spChg>
        <pc:spChg chg="add del mod replST delST">
          <ac:chgData name="Grace, Morgan (Brisbane)" userId="221d5f7b-4a46-4bd5-bdf1-698d3a91c208" providerId="ADAL" clId="{D90324C1-6CE4-4C28-B886-AED0B666B37F}" dt="2024-06-07T05:02:37.632" v="90688"/>
          <ac:spMkLst>
            <pc:docMk/>
            <pc:sldMk cId="3668082236" sldId="614"/>
            <ac:spMk id="609" creationId="{BF5F9480-0B13-DED2-0E3D-F97C573BB679}"/>
          </ac:spMkLst>
        </pc:spChg>
        <pc:spChg chg="add del mod ord replST delST">
          <ac:chgData name="Grace, Morgan (Brisbane)" userId="221d5f7b-4a46-4bd5-bdf1-698d3a91c208" providerId="ADAL" clId="{D90324C1-6CE4-4C28-B886-AED0B666B37F}" dt="2024-06-07T05:02:37.632" v="90688"/>
          <ac:spMkLst>
            <pc:docMk/>
            <pc:sldMk cId="3668082236" sldId="614"/>
            <ac:spMk id="610" creationId="{B6F243C2-870C-4D80-6EF3-EF1532F5197E}"/>
          </ac:spMkLst>
        </pc:spChg>
        <pc:spChg chg="add del mod modVis">
          <ac:chgData name="Grace, Morgan (Brisbane)" userId="221d5f7b-4a46-4bd5-bdf1-698d3a91c208" providerId="ADAL" clId="{D90324C1-6CE4-4C28-B886-AED0B666B37F}" dt="2024-06-07T05:02:44.137" v="90958"/>
          <ac:spMkLst>
            <pc:docMk/>
            <pc:sldMk cId="3668082236" sldId="614"/>
            <ac:spMk id="611" creationId="{6B75DEEA-440F-8C8E-CE8B-D39742B71A55}"/>
          </ac:spMkLst>
        </pc:spChg>
        <pc:spChg chg="add del mod replST">
          <ac:chgData name="Grace, Morgan (Brisbane)" userId="221d5f7b-4a46-4bd5-bdf1-698d3a91c208" providerId="ADAL" clId="{D90324C1-6CE4-4C28-B886-AED0B666B37F}" dt="2024-06-07T05:05:29.147" v="93232"/>
          <ac:spMkLst>
            <pc:docMk/>
            <pc:sldMk cId="3668082236" sldId="614"/>
            <ac:spMk id="613" creationId="{5C6F52AA-11E3-9587-F9ED-00126A6EC05D}"/>
          </ac:spMkLst>
        </pc:spChg>
        <pc:spChg chg="add del mod replST">
          <ac:chgData name="Grace, Morgan (Brisbane)" userId="221d5f7b-4a46-4bd5-bdf1-698d3a91c208" providerId="ADAL" clId="{D90324C1-6CE4-4C28-B886-AED0B666B37F}" dt="2024-06-07T05:05:29.147" v="93230"/>
          <ac:spMkLst>
            <pc:docMk/>
            <pc:sldMk cId="3668082236" sldId="614"/>
            <ac:spMk id="614" creationId="{D6041AC4-5780-5407-5C39-3DD3234F6F73}"/>
          </ac:spMkLst>
        </pc:spChg>
        <pc:spChg chg="add del mod replST">
          <ac:chgData name="Grace, Morgan (Brisbane)" userId="221d5f7b-4a46-4bd5-bdf1-698d3a91c208" providerId="ADAL" clId="{D90324C1-6CE4-4C28-B886-AED0B666B37F}" dt="2024-06-07T05:05:29.147" v="93228"/>
          <ac:spMkLst>
            <pc:docMk/>
            <pc:sldMk cId="3668082236" sldId="614"/>
            <ac:spMk id="615" creationId="{BF9A0D5E-B663-8EF9-F82C-DD65C5EC4A0C}"/>
          </ac:spMkLst>
        </pc:spChg>
        <pc:spChg chg="add del mod replST">
          <ac:chgData name="Grace, Morgan (Brisbane)" userId="221d5f7b-4a46-4bd5-bdf1-698d3a91c208" providerId="ADAL" clId="{D90324C1-6CE4-4C28-B886-AED0B666B37F}" dt="2024-06-07T05:05:29.147" v="93226"/>
          <ac:spMkLst>
            <pc:docMk/>
            <pc:sldMk cId="3668082236" sldId="614"/>
            <ac:spMk id="616" creationId="{38C236C5-2C2C-00C3-42F1-9E8E1D7332C2}"/>
          </ac:spMkLst>
        </pc:spChg>
        <pc:spChg chg="add del mod ord replST">
          <ac:chgData name="Grace, Morgan (Brisbane)" userId="221d5f7b-4a46-4bd5-bdf1-698d3a91c208" providerId="ADAL" clId="{D90324C1-6CE4-4C28-B886-AED0B666B37F}" dt="2024-06-07T05:03:14.517" v="92386"/>
          <ac:spMkLst>
            <pc:docMk/>
            <pc:sldMk cId="3668082236" sldId="614"/>
            <ac:spMk id="617" creationId="{87DF0065-1E85-3CAE-AFF2-1B24507DE8EE}"/>
          </ac:spMkLst>
        </pc:spChg>
        <pc:spChg chg="add del mod modVis">
          <ac:chgData name="Grace, Morgan (Brisbane)" userId="221d5f7b-4a46-4bd5-bdf1-698d3a91c208" providerId="ADAL" clId="{D90324C1-6CE4-4C28-B886-AED0B666B37F}" dt="2024-06-07T05:02:46.225" v="91165"/>
          <ac:spMkLst>
            <pc:docMk/>
            <pc:sldMk cId="3668082236" sldId="614"/>
            <ac:spMk id="618" creationId="{7F715BAB-F9CC-48BC-54AA-B00CC07552D0}"/>
          </ac:spMkLst>
        </pc:spChg>
        <pc:spChg chg="add del mod modVis">
          <ac:chgData name="Grace, Morgan (Brisbane)" userId="221d5f7b-4a46-4bd5-bdf1-698d3a91c208" providerId="ADAL" clId="{D90324C1-6CE4-4C28-B886-AED0B666B37F}" dt="2024-06-07T05:02:53.161" v="91600"/>
          <ac:spMkLst>
            <pc:docMk/>
            <pc:sldMk cId="3668082236" sldId="614"/>
            <ac:spMk id="622" creationId="{92044E9F-AA6C-9998-B402-FBF67C195962}"/>
          </ac:spMkLst>
        </pc:spChg>
        <pc:spChg chg="add del mod modVis">
          <ac:chgData name="Grace, Morgan (Brisbane)" userId="221d5f7b-4a46-4bd5-bdf1-698d3a91c208" providerId="ADAL" clId="{D90324C1-6CE4-4C28-B886-AED0B666B37F}" dt="2024-06-07T05:02:54.041" v="91756"/>
          <ac:spMkLst>
            <pc:docMk/>
            <pc:sldMk cId="3668082236" sldId="614"/>
            <ac:spMk id="624" creationId="{106616E2-F951-1EC5-0EC4-561BEE920ACA}"/>
          </ac:spMkLst>
        </pc:spChg>
        <pc:spChg chg="add del mod modVis">
          <ac:chgData name="Grace, Morgan (Brisbane)" userId="221d5f7b-4a46-4bd5-bdf1-698d3a91c208" providerId="ADAL" clId="{D90324C1-6CE4-4C28-B886-AED0B666B37F}" dt="2024-06-07T05:03:24.884" v="92577"/>
          <ac:spMkLst>
            <pc:docMk/>
            <pc:sldMk cId="3668082236" sldId="614"/>
            <ac:spMk id="632" creationId="{1801EDF8-1303-D8C9-0CCC-12A7012077C8}"/>
          </ac:spMkLst>
        </pc:spChg>
        <pc:spChg chg="add del mod modVis">
          <ac:chgData name="Grace, Morgan (Brisbane)" userId="221d5f7b-4a46-4bd5-bdf1-698d3a91c208" providerId="ADAL" clId="{D90324C1-6CE4-4C28-B886-AED0B666B37F}" dt="2024-06-07T05:03:39.931" v="92640"/>
          <ac:spMkLst>
            <pc:docMk/>
            <pc:sldMk cId="3668082236" sldId="614"/>
            <ac:spMk id="633" creationId="{C89A8DE1-DDDB-822C-F3A6-ABEAF9DFEF52}"/>
          </ac:spMkLst>
        </pc:spChg>
        <pc:spChg chg="add del mod modVis">
          <ac:chgData name="Grace, Morgan (Brisbane)" userId="221d5f7b-4a46-4bd5-bdf1-698d3a91c208" providerId="ADAL" clId="{D90324C1-6CE4-4C28-B886-AED0B666B37F}" dt="2024-06-07T05:03:42.212" v="92703"/>
          <ac:spMkLst>
            <pc:docMk/>
            <pc:sldMk cId="3668082236" sldId="614"/>
            <ac:spMk id="634" creationId="{D390A25A-20FA-79F2-9BE3-B76334F845B8}"/>
          </ac:spMkLst>
        </pc:spChg>
        <pc:spChg chg="add del mod modVis">
          <ac:chgData name="Grace, Morgan (Brisbane)" userId="221d5f7b-4a46-4bd5-bdf1-698d3a91c208" providerId="ADAL" clId="{D90324C1-6CE4-4C28-B886-AED0B666B37F}" dt="2024-06-07T05:03:56.066" v="92883"/>
          <ac:spMkLst>
            <pc:docMk/>
            <pc:sldMk cId="3668082236" sldId="614"/>
            <ac:spMk id="635" creationId="{31B6425F-6F8E-1B55-6C7D-CB0831F80B46}"/>
          </ac:spMkLst>
        </pc:spChg>
        <pc:spChg chg="add del mod modVis">
          <ac:chgData name="Grace, Morgan (Brisbane)" userId="221d5f7b-4a46-4bd5-bdf1-698d3a91c208" providerId="ADAL" clId="{D90324C1-6CE4-4C28-B886-AED0B666B37F}" dt="2024-06-07T05:03:54.438" v="92857"/>
          <ac:spMkLst>
            <pc:docMk/>
            <pc:sldMk cId="3668082236" sldId="614"/>
            <ac:spMk id="636" creationId="{5422FF19-D073-F6CF-04C3-D6BDC2A2B0DE}"/>
          </ac:spMkLst>
        </pc:spChg>
        <pc:spChg chg="add del mod modVis">
          <ac:chgData name="Grace, Morgan (Brisbane)" userId="221d5f7b-4a46-4bd5-bdf1-698d3a91c208" providerId="ADAL" clId="{D90324C1-6CE4-4C28-B886-AED0B666B37F}" dt="2024-06-07T05:04:17.631" v="93057"/>
          <ac:spMkLst>
            <pc:docMk/>
            <pc:sldMk cId="3668082236" sldId="614"/>
            <ac:spMk id="637" creationId="{65FFD0EE-71B9-E448-B896-712BB97C6C1B}"/>
          </ac:spMkLst>
        </pc:spChg>
        <pc:spChg chg="add del mod modVis">
          <ac:chgData name="Grace, Morgan (Brisbane)" userId="221d5f7b-4a46-4bd5-bdf1-698d3a91c208" providerId="ADAL" clId="{D90324C1-6CE4-4C28-B886-AED0B666B37F}" dt="2024-06-07T05:04:25.282" v="93206"/>
          <ac:spMkLst>
            <pc:docMk/>
            <pc:sldMk cId="3668082236" sldId="614"/>
            <ac:spMk id="639" creationId="{4EFF0412-7C5A-9A95-E5B1-E4D4B2DB2245}"/>
          </ac:spMkLst>
        </pc:spChg>
        <pc:spChg chg="add del mod modVis">
          <ac:chgData name="Grace, Morgan (Brisbane)" userId="221d5f7b-4a46-4bd5-bdf1-698d3a91c208" providerId="ADAL" clId="{D90324C1-6CE4-4C28-B886-AED0B666B37F}" dt="2024-06-07T05:10:19.989" v="93569"/>
          <ac:spMkLst>
            <pc:docMk/>
            <pc:sldMk cId="3668082236" sldId="614"/>
            <ac:spMk id="644" creationId="{B2A8DEB8-ED0E-BCB5-25F1-F7FBE85D436C}"/>
          </ac:spMkLst>
        </pc:spChg>
        <pc:spChg chg="add del mod modVis">
          <ac:chgData name="Grace, Morgan (Brisbane)" userId="221d5f7b-4a46-4bd5-bdf1-698d3a91c208" providerId="ADAL" clId="{D90324C1-6CE4-4C28-B886-AED0B666B37F}" dt="2024-06-07T05:17:06.988" v="97723"/>
          <ac:spMkLst>
            <pc:docMk/>
            <pc:sldMk cId="3668082236" sldId="614"/>
            <ac:spMk id="676" creationId="{6532F575-4B5B-E398-AE6C-1B53F82419FA}"/>
          </ac:spMkLst>
        </pc:spChg>
        <pc:spChg chg="add del mod replST">
          <ac:chgData name="Grace, Morgan (Brisbane)" userId="221d5f7b-4a46-4bd5-bdf1-698d3a91c208" providerId="ADAL" clId="{D90324C1-6CE4-4C28-B886-AED0B666B37F}" dt="2024-06-07T05:24:31.043" v="105180"/>
          <ac:spMkLst>
            <pc:docMk/>
            <pc:sldMk cId="3668082236" sldId="614"/>
            <ac:spMk id="677" creationId="{87DF0065-1E85-3CAE-AFF2-1B24507DE8EE}"/>
          </ac:spMkLst>
        </pc:spChg>
        <pc:spChg chg="add del mod replST">
          <ac:chgData name="Grace, Morgan (Brisbane)" userId="221d5f7b-4a46-4bd5-bdf1-698d3a91c208" providerId="ADAL" clId="{D90324C1-6CE4-4C28-B886-AED0B666B37F}" dt="2024-06-07T05:24:31.027" v="105179"/>
          <ac:spMkLst>
            <pc:docMk/>
            <pc:sldMk cId="3668082236" sldId="614"/>
            <ac:spMk id="678" creationId="{87DF0065-1E85-3CAE-AFF2-1B24507DE8EE}"/>
          </ac:spMkLst>
        </pc:spChg>
        <pc:spChg chg="add del mod replST">
          <ac:chgData name="Grace, Morgan (Brisbane)" userId="221d5f7b-4a46-4bd5-bdf1-698d3a91c208" providerId="ADAL" clId="{D90324C1-6CE4-4C28-B886-AED0B666B37F}" dt="2024-06-07T05:24:31.027" v="105176"/>
          <ac:spMkLst>
            <pc:docMk/>
            <pc:sldMk cId="3668082236" sldId="614"/>
            <ac:spMk id="679" creationId="{87DF0065-1E85-3CAE-AFF2-1B24507DE8EE}"/>
          </ac:spMkLst>
        </pc:spChg>
        <pc:spChg chg="add del mod replST">
          <ac:chgData name="Grace, Morgan (Brisbane)" userId="221d5f7b-4a46-4bd5-bdf1-698d3a91c208" providerId="ADAL" clId="{D90324C1-6CE4-4C28-B886-AED0B666B37F}" dt="2024-06-07T05:24:31.027" v="105175"/>
          <ac:spMkLst>
            <pc:docMk/>
            <pc:sldMk cId="3668082236" sldId="614"/>
            <ac:spMk id="681" creationId="{79820675-C80D-901B-FA8E-1454DA7A115E}"/>
          </ac:spMkLst>
        </pc:spChg>
        <pc:spChg chg="add del mod modVis">
          <ac:chgData name="Grace, Morgan (Brisbane)" userId="221d5f7b-4a46-4bd5-bdf1-698d3a91c208" providerId="ADAL" clId="{D90324C1-6CE4-4C28-B886-AED0B666B37F}" dt="2024-06-07T05:17:25.453" v="97912"/>
          <ac:spMkLst>
            <pc:docMk/>
            <pc:sldMk cId="3668082236" sldId="614"/>
            <ac:spMk id="682" creationId="{31FFB251-A250-8722-4D38-20E5DB1794F5}"/>
          </ac:spMkLst>
        </pc:spChg>
        <pc:spChg chg="add del mod ord replST">
          <ac:chgData name="Grace, Morgan (Brisbane)" userId="221d5f7b-4a46-4bd5-bdf1-698d3a91c208" providerId="ADAL" clId="{D90324C1-6CE4-4C28-B886-AED0B666B37F}" dt="2024-06-07T05:23:45.138" v="103833"/>
          <ac:spMkLst>
            <pc:docMk/>
            <pc:sldMk cId="3668082236" sldId="614"/>
            <ac:spMk id="684" creationId="{87DF0065-1E85-3CAE-AFF2-1B24507DE8EE}"/>
          </ac:spMkLst>
        </pc:spChg>
        <pc:spChg chg="add del mod modVis">
          <ac:chgData name="Grace, Morgan (Brisbane)" userId="221d5f7b-4a46-4bd5-bdf1-698d3a91c208" providerId="ADAL" clId="{D90324C1-6CE4-4C28-B886-AED0B666B37F}" dt="2024-06-07T05:17:30.033" v="98161"/>
          <ac:spMkLst>
            <pc:docMk/>
            <pc:sldMk cId="3668082236" sldId="614"/>
            <ac:spMk id="685" creationId="{F5D816D3-47BD-B9A7-D082-6CB73D698D24}"/>
          </ac:spMkLst>
        </pc:spChg>
        <pc:spChg chg="add del mod ord replST">
          <ac:chgData name="Grace, Morgan (Brisbane)" userId="221d5f7b-4a46-4bd5-bdf1-698d3a91c208" providerId="ADAL" clId="{D90324C1-6CE4-4C28-B886-AED0B666B37F}" dt="2024-06-07T05:24:31.027" v="105178"/>
          <ac:spMkLst>
            <pc:docMk/>
            <pc:sldMk cId="3668082236" sldId="614"/>
            <ac:spMk id="686" creationId="{87DF0065-1E85-3CAE-AFF2-1B24507DE8EE}"/>
          </ac:spMkLst>
        </pc:spChg>
        <pc:spChg chg="add del mod modVis">
          <ac:chgData name="Grace, Morgan (Brisbane)" userId="221d5f7b-4a46-4bd5-bdf1-698d3a91c208" providerId="ADAL" clId="{D90324C1-6CE4-4C28-B886-AED0B666B37F}" dt="2024-06-07T05:17:35.743" v="98502"/>
          <ac:spMkLst>
            <pc:docMk/>
            <pc:sldMk cId="3668082236" sldId="614"/>
            <ac:spMk id="689" creationId="{4A41CAFF-5C00-6915-5C55-32ED471DDBD6}"/>
          </ac:spMkLst>
        </pc:spChg>
        <pc:spChg chg="add del mod modVis">
          <ac:chgData name="Grace, Morgan (Brisbane)" userId="221d5f7b-4a46-4bd5-bdf1-698d3a91c208" providerId="ADAL" clId="{D90324C1-6CE4-4C28-B886-AED0B666B37F}" dt="2024-06-07T05:17:46.476" v="98849"/>
          <ac:spMkLst>
            <pc:docMk/>
            <pc:sldMk cId="3668082236" sldId="614"/>
            <ac:spMk id="692" creationId="{A281E97C-88D6-3533-6FAC-34ED423921EE}"/>
          </ac:spMkLst>
        </pc:spChg>
        <pc:spChg chg="add del mod replST">
          <ac:chgData name="Grace, Morgan (Brisbane)" userId="221d5f7b-4a46-4bd5-bdf1-698d3a91c208" providerId="ADAL" clId="{D90324C1-6CE4-4C28-B886-AED0B666B37F}" dt="2024-06-07T05:23:36.220" v="103291"/>
          <ac:spMkLst>
            <pc:docMk/>
            <pc:sldMk cId="3668082236" sldId="614"/>
            <ac:spMk id="694" creationId="{96F13A20-E969-FA50-0224-8EB96CD4DBDC}"/>
          </ac:spMkLst>
        </pc:spChg>
        <pc:spChg chg="add del mod replST">
          <ac:chgData name="Grace, Morgan (Brisbane)" userId="221d5f7b-4a46-4bd5-bdf1-698d3a91c208" providerId="ADAL" clId="{D90324C1-6CE4-4C28-B886-AED0B666B37F}" dt="2024-06-07T05:23:36.222" v="103293"/>
          <ac:spMkLst>
            <pc:docMk/>
            <pc:sldMk cId="3668082236" sldId="614"/>
            <ac:spMk id="695" creationId="{9FCA4D48-6339-89FD-5E87-7DC74DCE3764}"/>
          </ac:spMkLst>
        </pc:spChg>
        <pc:spChg chg="add del mod replST">
          <ac:chgData name="Grace, Morgan (Brisbane)" userId="221d5f7b-4a46-4bd5-bdf1-698d3a91c208" providerId="ADAL" clId="{D90324C1-6CE4-4C28-B886-AED0B666B37F}" dt="2024-06-07T05:23:36.227" v="103299"/>
          <ac:spMkLst>
            <pc:docMk/>
            <pc:sldMk cId="3668082236" sldId="614"/>
            <ac:spMk id="696" creationId="{0436F210-E3D3-0851-5C26-29520A07D22F}"/>
          </ac:spMkLst>
        </pc:spChg>
        <pc:spChg chg="add del mod replST">
          <ac:chgData name="Grace, Morgan (Brisbane)" userId="221d5f7b-4a46-4bd5-bdf1-698d3a91c208" providerId="ADAL" clId="{D90324C1-6CE4-4C28-B886-AED0B666B37F}" dt="2024-06-07T05:23:36.231" v="103305"/>
          <ac:spMkLst>
            <pc:docMk/>
            <pc:sldMk cId="3668082236" sldId="614"/>
            <ac:spMk id="697" creationId="{82BC7CAE-02BE-E494-AC7C-2AC2D3641358}"/>
          </ac:spMkLst>
        </pc:spChg>
        <pc:spChg chg="add del mod modVis">
          <ac:chgData name="Grace, Morgan (Brisbane)" userId="221d5f7b-4a46-4bd5-bdf1-698d3a91c208" providerId="ADAL" clId="{D90324C1-6CE4-4C28-B886-AED0B666B37F}" dt="2024-06-07T05:18:27.304" v="99941"/>
          <ac:spMkLst>
            <pc:docMk/>
            <pc:sldMk cId="3668082236" sldId="614"/>
            <ac:spMk id="705" creationId="{AB1FB018-0050-586F-BA9C-EC67E97C2E5A}"/>
          </ac:spMkLst>
        </pc:spChg>
        <pc:spChg chg="add del mod modVis">
          <ac:chgData name="Grace, Morgan (Brisbane)" userId="221d5f7b-4a46-4bd5-bdf1-698d3a91c208" providerId="ADAL" clId="{D90324C1-6CE4-4C28-B886-AED0B666B37F}" dt="2024-06-07T05:18:48.007" v="100377"/>
          <ac:spMkLst>
            <pc:docMk/>
            <pc:sldMk cId="3668082236" sldId="614"/>
            <ac:spMk id="707" creationId="{FDD59CF3-3F61-FE67-7CD5-E4D1259E140C}"/>
          </ac:spMkLst>
        </pc:spChg>
        <pc:spChg chg="add del mod modVis">
          <ac:chgData name="Grace, Morgan (Brisbane)" userId="221d5f7b-4a46-4bd5-bdf1-698d3a91c208" providerId="ADAL" clId="{D90324C1-6CE4-4C28-B886-AED0B666B37F}" dt="2024-06-07T05:18:50.422" v="100443"/>
          <ac:spMkLst>
            <pc:docMk/>
            <pc:sldMk cId="3668082236" sldId="614"/>
            <ac:spMk id="710" creationId="{9C1C1DBE-1970-D2B2-3DCF-82BD3EBB0BCA}"/>
          </ac:spMkLst>
        </pc:spChg>
        <pc:spChg chg="add del mod modVis">
          <ac:chgData name="Grace, Morgan (Brisbane)" userId="221d5f7b-4a46-4bd5-bdf1-698d3a91c208" providerId="ADAL" clId="{D90324C1-6CE4-4C28-B886-AED0B666B37F}" dt="2024-06-07T05:19:04.106" v="100585"/>
          <ac:spMkLst>
            <pc:docMk/>
            <pc:sldMk cId="3668082236" sldId="614"/>
            <ac:spMk id="711" creationId="{FC255F6E-0A03-7430-2866-AA2CA74919B8}"/>
          </ac:spMkLst>
        </pc:spChg>
        <pc:spChg chg="add del mod modVis">
          <ac:chgData name="Grace, Morgan (Brisbane)" userId="221d5f7b-4a46-4bd5-bdf1-698d3a91c208" providerId="ADAL" clId="{D90324C1-6CE4-4C28-B886-AED0B666B37F}" dt="2024-06-07T05:20:10.555" v="101241"/>
          <ac:spMkLst>
            <pc:docMk/>
            <pc:sldMk cId="3668082236" sldId="614"/>
            <ac:spMk id="715" creationId="{7AF7586D-495B-EF88-15FA-0BA865DB8F8C}"/>
          </ac:spMkLst>
        </pc:spChg>
        <pc:spChg chg="add del mod replST">
          <ac:chgData name="Grace, Morgan (Brisbane)" userId="221d5f7b-4a46-4bd5-bdf1-698d3a91c208" providerId="ADAL" clId="{D90324C1-6CE4-4C28-B886-AED0B666B37F}" dt="2024-06-07T05:23:09.091" v="102876"/>
          <ac:spMkLst>
            <pc:docMk/>
            <pc:sldMk cId="3668082236" sldId="614"/>
            <ac:spMk id="716" creationId="{87DF0065-1E85-3CAE-AFF2-1B24507DE8EE}"/>
          </ac:spMkLst>
        </pc:spChg>
        <pc:spChg chg="add del mod replST">
          <ac:chgData name="Grace, Morgan (Brisbane)" userId="221d5f7b-4a46-4bd5-bdf1-698d3a91c208" providerId="ADAL" clId="{D90324C1-6CE4-4C28-B886-AED0B666B37F}" dt="2024-06-07T05:23:09.091" v="102873"/>
          <ac:spMkLst>
            <pc:docMk/>
            <pc:sldMk cId="3668082236" sldId="614"/>
            <ac:spMk id="717" creationId="{87DF0065-1E85-3CAE-AFF2-1B24507DE8EE}"/>
          </ac:spMkLst>
        </pc:spChg>
        <pc:spChg chg="add del mod replST">
          <ac:chgData name="Grace, Morgan (Brisbane)" userId="221d5f7b-4a46-4bd5-bdf1-698d3a91c208" providerId="ADAL" clId="{D90324C1-6CE4-4C28-B886-AED0B666B37F}" dt="2024-06-07T05:23:09.089" v="102870"/>
          <ac:spMkLst>
            <pc:docMk/>
            <pc:sldMk cId="3668082236" sldId="614"/>
            <ac:spMk id="718" creationId="{87DF0065-1E85-3CAE-AFF2-1B24507DE8EE}"/>
          </ac:spMkLst>
        </pc:spChg>
        <pc:spChg chg="add del mod replST">
          <ac:chgData name="Grace, Morgan (Brisbane)" userId="221d5f7b-4a46-4bd5-bdf1-698d3a91c208" providerId="ADAL" clId="{D90324C1-6CE4-4C28-B886-AED0B666B37F}" dt="2024-06-07T05:23:09.089" v="102867"/>
          <ac:spMkLst>
            <pc:docMk/>
            <pc:sldMk cId="3668082236" sldId="614"/>
            <ac:spMk id="720" creationId="{B20BA867-20A9-8C8B-2822-D86ACEC8DEEF}"/>
          </ac:spMkLst>
        </pc:spChg>
        <pc:spChg chg="add del mod replST">
          <ac:chgData name="Grace, Morgan (Brisbane)" userId="221d5f7b-4a46-4bd5-bdf1-698d3a91c208" providerId="ADAL" clId="{D90324C1-6CE4-4C28-B886-AED0B666B37F}" dt="2024-06-07T05:23:09.081" v="102864"/>
          <ac:spMkLst>
            <pc:docMk/>
            <pc:sldMk cId="3668082236" sldId="614"/>
            <ac:spMk id="721" creationId="{FB8036AF-48DE-7E13-9F50-261485C1DA29}"/>
          </ac:spMkLst>
        </pc:spChg>
        <pc:spChg chg="add del mod replST">
          <ac:chgData name="Grace, Morgan (Brisbane)" userId="221d5f7b-4a46-4bd5-bdf1-698d3a91c208" providerId="ADAL" clId="{D90324C1-6CE4-4C28-B886-AED0B666B37F}" dt="2024-06-07T05:23:09.081" v="102861"/>
          <ac:spMkLst>
            <pc:docMk/>
            <pc:sldMk cId="3668082236" sldId="614"/>
            <ac:spMk id="722" creationId="{0D53A0C2-857F-9181-7D6D-D054BA4A6F4D}"/>
          </ac:spMkLst>
        </pc:spChg>
        <pc:spChg chg="add del mod modVis">
          <ac:chgData name="Grace, Morgan (Brisbane)" userId="221d5f7b-4a46-4bd5-bdf1-698d3a91c208" providerId="ADAL" clId="{D90324C1-6CE4-4C28-B886-AED0B666B37F}" dt="2024-06-07T05:20:22.258" v="101543"/>
          <ac:spMkLst>
            <pc:docMk/>
            <pc:sldMk cId="3668082236" sldId="614"/>
            <ac:spMk id="723" creationId="{9FD2DB40-51C5-CD49-B5A4-8856FCE42F37}"/>
          </ac:spMkLst>
        </pc:spChg>
        <pc:spChg chg="add del mod ord replST">
          <ac:chgData name="Grace, Morgan (Brisbane)" userId="221d5f7b-4a46-4bd5-bdf1-698d3a91c208" providerId="ADAL" clId="{D90324C1-6CE4-4C28-B886-AED0B666B37F}" dt="2024-06-07T05:23:09.089" v="102869"/>
          <ac:spMkLst>
            <pc:docMk/>
            <pc:sldMk cId="3668082236" sldId="614"/>
            <ac:spMk id="724" creationId="{87DF0065-1E85-3CAE-AFF2-1B24507DE8EE}"/>
          </ac:spMkLst>
        </pc:spChg>
        <pc:spChg chg="add del mod ord replST">
          <ac:chgData name="Grace, Morgan (Brisbane)" userId="221d5f7b-4a46-4bd5-bdf1-698d3a91c208" providerId="ADAL" clId="{D90324C1-6CE4-4C28-B886-AED0B666B37F}" dt="2024-06-07T05:21:00.925" v="102317"/>
          <ac:spMkLst>
            <pc:docMk/>
            <pc:sldMk cId="3668082236" sldId="614"/>
            <ac:spMk id="726" creationId="{87DF0065-1E85-3CAE-AFF2-1B24507DE8EE}"/>
          </ac:spMkLst>
        </pc:spChg>
        <pc:spChg chg="add del mod modVis">
          <ac:chgData name="Grace, Morgan (Brisbane)" userId="221d5f7b-4a46-4bd5-bdf1-698d3a91c208" providerId="ADAL" clId="{D90324C1-6CE4-4C28-B886-AED0B666B37F}" dt="2024-06-07T05:20:38.287" v="102002"/>
          <ac:spMkLst>
            <pc:docMk/>
            <pc:sldMk cId="3668082236" sldId="614"/>
            <ac:spMk id="727" creationId="{FA316F38-1F89-F19D-13F3-690CA01BE08D}"/>
          </ac:spMkLst>
        </pc:spChg>
        <pc:spChg chg="add del mod ord replST">
          <ac:chgData name="Grace, Morgan (Brisbane)" userId="221d5f7b-4a46-4bd5-bdf1-698d3a91c208" providerId="ADAL" clId="{D90324C1-6CE4-4C28-B886-AED0B666B37F}" dt="2024-06-07T05:21:00.925" v="102323"/>
          <ac:spMkLst>
            <pc:docMk/>
            <pc:sldMk cId="3668082236" sldId="614"/>
            <ac:spMk id="728" creationId="{87DF0065-1E85-3CAE-AFF2-1B24507DE8EE}"/>
          </ac:spMkLst>
        </pc:spChg>
        <pc:spChg chg="add del mod ord replST">
          <ac:chgData name="Grace, Morgan (Brisbane)" userId="221d5f7b-4a46-4bd5-bdf1-698d3a91c208" providerId="ADAL" clId="{D90324C1-6CE4-4C28-B886-AED0B666B37F}" dt="2024-06-07T05:21:00.925" v="102329"/>
          <ac:spMkLst>
            <pc:docMk/>
            <pc:sldMk cId="3668082236" sldId="614"/>
            <ac:spMk id="729" creationId="{87DF0065-1E85-3CAE-AFF2-1B24507DE8EE}"/>
          </ac:spMkLst>
        </pc:spChg>
        <pc:spChg chg="add del mod ord replST">
          <ac:chgData name="Grace, Morgan (Brisbane)" userId="221d5f7b-4a46-4bd5-bdf1-698d3a91c208" providerId="ADAL" clId="{D90324C1-6CE4-4C28-B886-AED0B666B37F}" dt="2024-06-07T05:21:00.940" v="102349"/>
          <ac:spMkLst>
            <pc:docMk/>
            <pc:sldMk cId="3668082236" sldId="614"/>
            <ac:spMk id="730" creationId="{87DF0065-1E85-3CAE-AFF2-1B24507DE8EE}"/>
          </ac:spMkLst>
        </pc:spChg>
        <pc:spChg chg="add del mod ord replST">
          <ac:chgData name="Grace, Morgan (Brisbane)" userId="221d5f7b-4a46-4bd5-bdf1-698d3a91c208" providerId="ADAL" clId="{D90324C1-6CE4-4C28-B886-AED0B666B37F}" dt="2024-06-07T05:21:00.940" v="102355"/>
          <ac:spMkLst>
            <pc:docMk/>
            <pc:sldMk cId="3668082236" sldId="614"/>
            <ac:spMk id="731" creationId="{87DF0065-1E85-3CAE-AFF2-1B24507DE8EE}"/>
          </ac:spMkLst>
        </pc:spChg>
        <pc:spChg chg="add del mod modVis">
          <ac:chgData name="Grace, Morgan (Brisbane)" userId="221d5f7b-4a46-4bd5-bdf1-698d3a91c208" providerId="ADAL" clId="{D90324C1-6CE4-4C28-B886-AED0B666B37F}" dt="2024-06-07T05:21:00.987" v="102453"/>
          <ac:spMkLst>
            <pc:docMk/>
            <pc:sldMk cId="3668082236" sldId="614"/>
            <ac:spMk id="734" creationId="{F7E05DED-9B8E-A39A-BA90-A78783421FFB}"/>
          </ac:spMkLst>
        </pc:spChg>
        <pc:spChg chg="add del mod ord replST">
          <ac:chgData name="Grace, Morgan (Brisbane)" userId="221d5f7b-4a46-4bd5-bdf1-698d3a91c208" providerId="ADAL" clId="{D90324C1-6CE4-4C28-B886-AED0B666B37F}" dt="2024-06-07T05:23:09.091" v="102875"/>
          <ac:spMkLst>
            <pc:docMk/>
            <pc:sldMk cId="3668082236" sldId="614"/>
            <ac:spMk id="736" creationId="{87DF0065-1E85-3CAE-AFF2-1B24507DE8EE}"/>
          </ac:spMkLst>
        </pc:spChg>
        <pc:spChg chg="add del mod modVis">
          <ac:chgData name="Grace, Morgan (Brisbane)" userId="221d5f7b-4a46-4bd5-bdf1-698d3a91c208" providerId="ADAL" clId="{D90324C1-6CE4-4C28-B886-AED0B666B37F}" dt="2024-06-07T05:22:58.196" v="102858"/>
          <ac:spMkLst>
            <pc:docMk/>
            <pc:sldMk cId="3668082236" sldId="614"/>
            <ac:spMk id="737" creationId="{2477E368-E837-F8B3-9D5B-3A96A0365453}"/>
          </ac:spMkLst>
        </pc:spChg>
        <pc:spChg chg="add del mod ord replST">
          <ac:chgData name="Grace, Morgan (Brisbane)" userId="221d5f7b-4a46-4bd5-bdf1-698d3a91c208" providerId="ADAL" clId="{D90324C1-6CE4-4C28-B886-AED0B666B37F}" dt="2024-06-07T05:23:09.089" v="102872"/>
          <ac:spMkLst>
            <pc:docMk/>
            <pc:sldMk cId="3668082236" sldId="614"/>
            <ac:spMk id="738" creationId="{87DF0065-1E85-3CAE-AFF2-1B24507DE8EE}"/>
          </ac:spMkLst>
        </pc:spChg>
        <pc:spChg chg="add del mod ord replST">
          <ac:chgData name="Grace, Morgan (Brisbane)" userId="221d5f7b-4a46-4bd5-bdf1-698d3a91c208" providerId="ADAL" clId="{D90324C1-6CE4-4C28-B886-AED0B666B37F}" dt="2024-06-07T05:23:09.081" v="102866"/>
          <ac:spMkLst>
            <pc:docMk/>
            <pc:sldMk cId="3668082236" sldId="614"/>
            <ac:spMk id="739" creationId="{87DF0065-1E85-3CAE-AFF2-1B24507DE8EE}"/>
          </ac:spMkLst>
        </pc:spChg>
        <pc:spChg chg="add del mod ord replST">
          <ac:chgData name="Grace, Morgan (Brisbane)" userId="221d5f7b-4a46-4bd5-bdf1-698d3a91c208" providerId="ADAL" clId="{D90324C1-6CE4-4C28-B886-AED0B666B37F}" dt="2024-06-07T05:23:09.081" v="102863"/>
          <ac:spMkLst>
            <pc:docMk/>
            <pc:sldMk cId="3668082236" sldId="614"/>
            <ac:spMk id="740" creationId="{87DF0065-1E85-3CAE-AFF2-1B24507DE8EE}"/>
          </ac:spMkLst>
        </pc:spChg>
        <pc:spChg chg="add del mod modVis">
          <ac:chgData name="Grace, Morgan (Brisbane)" userId="221d5f7b-4a46-4bd5-bdf1-698d3a91c208" providerId="ADAL" clId="{D90324C1-6CE4-4C28-B886-AED0B666B37F}" dt="2024-06-07T05:23:36.316" v="103447"/>
          <ac:spMkLst>
            <pc:docMk/>
            <pc:sldMk cId="3668082236" sldId="614"/>
            <ac:spMk id="745" creationId="{C0DCDA41-3871-19D4-F622-429258EFD04E}"/>
          </ac:spMkLst>
        </pc:spChg>
        <pc:spChg chg="add del mod modVis">
          <ac:chgData name="Grace, Morgan (Brisbane)" userId="221d5f7b-4a46-4bd5-bdf1-698d3a91c208" providerId="ADAL" clId="{D90324C1-6CE4-4C28-B886-AED0B666B37F}" dt="2024-06-07T05:23:58.045" v="104334"/>
          <ac:spMkLst>
            <pc:docMk/>
            <pc:sldMk cId="3668082236" sldId="614"/>
            <ac:spMk id="753" creationId="{B506EE64-047C-033F-A2F5-F2A5DE46F26E}"/>
          </ac:spMkLst>
        </pc:spChg>
        <pc:spChg chg="add del mod ord replST">
          <ac:chgData name="Grace, Morgan (Brisbane)" userId="221d5f7b-4a46-4bd5-bdf1-698d3a91c208" providerId="ADAL" clId="{D90324C1-6CE4-4C28-B886-AED0B666B37F}" dt="2024-06-07T05:24:08.318" v="104618"/>
          <ac:spMkLst>
            <pc:docMk/>
            <pc:sldMk cId="3668082236" sldId="614"/>
            <ac:spMk id="755" creationId="{87DF0065-1E85-3CAE-AFF2-1B24507DE8EE}"/>
          </ac:spMkLst>
        </pc:spChg>
        <pc:spChg chg="add del mod modVis">
          <ac:chgData name="Grace, Morgan (Brisbane)" userId="221d5f7b-4a46-4bd5-bdf1-698d3a91c208" providerId="ADAL" clId="{D90324C1-6CE4-4C28-B886-AED0B666B37F}" dt="2024-06-07T05:24:02.778" v="104528"/>
          <ac:spMkLst>
            <pc:docMk/>
            <pc:sldMk cId="3668082236" sldId="614"/>
            <ac:spMk id="756" creationId="{334C425A-BB59-58AB-31E2-339CA17F9C2A}"/>
          </ac:spMkLst>
        </pc:spChg>
        <pc:spChg chg="add del mod modVis">
          <ac:chgData name="Grace, Morgan (Brisbane)" userId="221d5f7b-4a46-4bd5-bdf1-698d3a91c208" providerId="ADAL" clId="{D90324C1-6CE4-4C28-B886-AED0B666B37F}" dt="2024-06-07T05:24:08.359" v="104719"/>
          <ac:spMkLst>
            <pc:docMk/>
            <pc:sldMk cId="3668082236" sldId="614"/>
            <ac:spMk id="758" creationId="{4F9993DE-5C5A-B93F-2C91-623C766E64F3}"/>
          </ac:spMkLst>
        </pc:spChg>
        <pc:spChg chg="add del mod modVis">
          <ac:chgData name="Grace, Morgan (Brisbane)" userId="221d5f7b-4a46-4bd5-bdf1-698d3a91c208" providerId="ADAL" clId="{D90324C1-6CE4-4C28-B886-AED0B666B37F}" dt="2024-06-07T05:24:20.103" v="104983"/>
          <ac:spMkLst>
            <pc:docMk/>
            <pc:sldMk cId="3668082236" sldId="614"/>
            <ac:spMk id="760" creationId="{EFE47801-04B2-D41D-73DB-D39093BFD862}"/>
          </ac:spMkLst>
        </pc:spChg>
        <pc:spChg chg="add mod replST">
          <ac:chgData name="Grace, Morgan (Brisbane)" userId="221d5f7b-4a46-4bd5-bdf1-698d3a91c208" providerId="ADAL" clId="{D90324C1-6CE4-4C28-B886-AED0B666B37F}" dt="2024-06-07T05:39:41.176" v="122833"/>
          <ac:spMkLst>
            <pc:docMk/>
            <pc:sldMk cId="3668082236" sldId="614"/>
            <ac:spMk id="761" creationId="{87DF0065-1E85-3CAE-AFF2-1B24507DE8EE}"/>
          </ac:spMkLst>
        </pc:spChg>
        <pc:spChg chg="add mod replST">
          <ac:chgData name="Grace, Morgan (Brisbane)" userId="221d5f7b-4a46-4bd5-bdf1-698d3a91c208" providerId="ADAL" clId="{D90324C1-6CE4-4C28-B886-AED0B666B37F}" dt="2024-06-07T05:39:41.176" v="122834"/>
          <ac:spMkLst>
            <pc:docMk/>
            <pc:sldMk cId="3668082236" sldId="614"/>
            <ac:spMk id="762" creationId="{87DF0065-1E85-3CAE-AFF2-1B24507DE8EE}"/>
          </ac:spMkLst>
        </pc:spChg>
        <pc:spChg chg="add mod replST">
          <ac:chgData name="Grace, Morgan (Brisbane)" userId="221d5f7b-4a46-4bd5-bdf1-698d3a91c208" providerId="ADAL" clId="{D90324C1-6CE4-4C28-B886-AED0B666B37F}" dt="2024-06-07T05:39:41.176" v="122835"/>
          <ac:spMkLst>
            <pc:docMk/>
            <pc:sldMk cId="3668082236" sldId="614"/>
            <ac:spMk id="763" creationId="{87DF0065-1E85-3CAE-AFF2-1B24507DE8EE}"/>
          </ac:spMkLst>
        </pc:spChg>
        <pc:spChg chg="add mod replST">
          <ac:chgData name="Grace, Morgan (Brisbane)" userId="221d5f7b-4a46-4bd5-bdf1-698d3a91c208" providerId="ADAL" clId="{D90324C1-6CE4-4C28-B886-AED0B666B37F}" dt="2024-06-07T05:39:41.176" v="122836"/>
          <ac:spMkLst>
            <pc:docMk/>
            <pc:sldMk cId="3668082236" sldId="614"/>
            <ac:spMk id="765" creationId="{31CC2131-6EDC-09E4-78AD-53D2F025624A}"/>
          </ac:spMkLst>
        </pc:spChg>
        <pc:spChg chg="add del mod modVis">
          <ac:chgData name="Grace, Morgan (Brisbane)" userId="221d5f7b-4a46-4bd5-bdf1-698d3a91c208" providerId="ADAL" clId="{D90324C1-6CE4-4C28-B886-AED0B666B37F}" dt="2024-06-07T05:24:26.581" v="105172"/>
          <ac:spMkLst>
            <pc:docMk/>
            <pc:sldMk cId="3668082236" sldId="614"/>
            <ac:spMk id="766" creationId="{23EEC07B-DC4A-CB69-9908-414DC58D3BC5}"/>
          </ac:spMkLst>
        </pc:spChg>
        <pc:spChg chg="add del mod ord replST">
          <ac:chgData name="Grace, Morgan (Brisbane)" userId="221d5f7b-4a46-4bd5-bdf1-698d3a91c208" providerId="ADAL" clId="{D90324C1-6CE4-4C28-B886-AED0B666B37F}" dt="2024-06-07T05:24:42.504" v="105964"/>
          <ac:spMkLst>
            <pc:docMk/>
            <pc:sldMk cId="3668082236" sldId="614"/>
            <ac:spMk id="770" creationId="{87DF0065-1E85-3CAE-AFF2-1B24507DE8EE}"/>
          </ac:spMkLst>
        </pc:spChg>
        <pc:spChg chg="add del mod modVis">
          <ac:chgData name="Grace, Morgan (Brisbane)" userId="221d5f7b-4a46-4bd5-bdf1-698d3a91c208" providerId="ADAL" clId="{D90324C1-6CE4-4C28-B886-AED0B666B37F}" dt="2024-06-07T05:24:34.752" v="105732"/>
          <ac:spMkLst>
            <pc:docMk/>
            <pc:sldMk cId="3668082236" sldId="614"/>
            <ac:spMk id="771" creationId="{2486AF65-FD6D-978B-90B7-F412DEB580D4}"/>
          </ac:spMkLst>
        </pc:spChg>
        <pc:spChg chg="add del mod ord replST">
          <ac:chgData name="Grace, Morgan (Brisbane)" userId="221d5f7b-4a46-4bd5-bdf1-698d3a91c208" providerId="ADAL" clId="{D90324C1-6CE4-4C28-B886-AED0B666B37F}" dt="2024-06-07T05:24:42.520" v="105970"/>
          <ac:spMkLst>
            <pc:docMk/>
            <pc:sldMk cId="3668082236" sldId="614"/>
            <ac:spMk id="772" creationId="{87DF0065-1E85-3CAE-AFF2-1B24507DE8EE}"/>
          </ac:spMkLst>
        </pc:spChg>
        <pc:spChg chg="add mod ord replST">
          <ac:chgData name="Grace, Morgan (Brisbane)" userId="221d5f7b-4a46-4bd5-bdf1-698d3a91c208" providerId="ADAL" clId="{D90324C1-6CE4-4C28-B886-AED0B666B37F}" dt="2024-06-07T05:38:15.255" v="122779"/>
          <ac:spMkLst>
            <pc:docMk/>
            <pc:sldMk cId="3668082236" sldId="614"/>
            <ac:spMk id="773" creationId="{87DF0065-1E85-3CAE-AFF2-1B24507DE8EE}"/>
          </ac:spMkLst>
        </pc:spChg>
        <pc:spChg chg="add del mod ord replST">
          <ac:chgData name="Grace, Morgan (Brisbane)" userId="221d5f7b-4a46-4bd5-bdf1-698d3a91c208" providerId="ADAL" clId="{D90324C1-6CE4-4C28-B886-AED0B666B37F}" dt="2024-06-07T05:24:39.116" v="105858"/>
          <ac:spMkLst>
            <pc:docMk/>
            <pc:sldMk cId="3668082236" sldId="614"/>
            <ac:spMk id="774" creationId="{87DF0065-1E85-3CAE-AFF2-1B24507DE8EE}"/>
          </ac:spMkLst>
        </pc:spChg>
        <pc:spChg chg="add del mod modVis">
          <ac:chgData name="Grace, Morgan (Brisbane)" userId="221d5f7b-4a46-4bd5-bdf1-698d3a91c208" providerId="ADAL" clId="{D90324C1-6CE4-4C28-B886-AED0B666B37F}" dt="2024-06-07T05:24:39.150" v="105945"/>
          <ac:spMkLst>
            <pc:docMk/>
            <pc:sldMk cId="3668082236" sldId="614"/>
            <ac:spMk id="776" creationId="{F3DA726D-85E8-5498-9FA3-9C5EAEFA4017}"/>
          </ac:spMkLst>
        </pc:spChg>
        <pc:spChg chg="add del mod ord replST">
          <ac:chgData name="Grace, Morgan (Brisbane)" userId="221d5f7b-4a46-4bd5-bdf1-698d3a91c208" providerId="ADAL" clId="{D90324C1-6CE4-4C28-B886-AED0B666B37F}" dt="2024-06-07T05:24:51.482" v="106638"/>
          <ac:spMkLst>
            <pc:docMk/>
            <pc:sldMk cId="3668082236" sldId="614"/>
            <ac:spMk id="782" creationId="{87DF0065-1E85-3CAE-AFF2-1B24507DE8EE}"/>
          </ac:spMkLst>
        </pc:spChg>
        <pc:spChg chg="add del mod modVis">
          <ac:chgData name="Grace, Morgan (Brisbane)" userId="221d5f7b-4a46-4bd5-bdf1-698d3a91c208" providerId="ADAL" clId="{D90324C1-6CE4-4C28-B886-AED0B666B37F}" dt="2024-06-07T05:24:49.562" v="106620"/>
          <ac:spMkLst>
            <pc:docMk/>
            <pc:sldMk cId="3668082236" sldId="614"/>
            <ac:spMk id="783" creationId="{30CF98A4-2A80-BB6D-F3F4-49794D12270C}"/>
          </ac:spMkLst>
        </pc:spChg>
        <pc:spChg chg="add del mod ord replST">
          <ac:chgData name="Grace, Morgan (Brisbane)" userId="221d5f7b-4a46-4bd5-bdf1-698d3a91c208" providerId="ADAL" clId="{D90324C1-6CE4-4C28-B886-AED0B666B37F}" dt="2024-06-07T05:24:51.482" v="106640"/>
          <ac:spMkLst>
            <pc:docMk/>
            <pc:sldMk cId="3668082236" sldId="614"/>
            <ac:spMk id="784" creationId="{87DF0065-1E85-3CAE-AFF2-1B24507DE8EE}"/>
          </ac:spMkLst>
        </pc:spChg>
        <pc:spChg chg="add del mod modVis">
          <ac:chgData name="Grace, Morgan (Brisbane)" userId="221d5f7b-4a46-4bd5-bdf1-698d3a91c208" providerId="ADAL" clId="{D90324C1-6CE4-4C28-B886-AED0B666B37F}" dt="2024-06-07T05:24:56.161" v="106921"/>
          <ac:spMkLst>
            <pc:docMk/>
            <pc:sldMk cId="3668082236" sldId="614"/>
            <ac:spMk id="787" creationId="{7813A0D6-AB30-BC0A-DF12-117EC2F26338}"/>
          </ac:spMkLst>
        </pc:spChg>
        <pc:spChg chg="add mod replST">
          <ac:chgData name="Grace, Morgan (Brisbane)" userId="221d5f7b-4a46-4bd5-bdf1-698d3a91c208" providerId="ADAL" clId="{D90324C1-6CE4-4C28-B886-AED0B666B37F}" dt="2024-06-07T05:38:15.255" v="122780"/>
          <ac:spMkLst>
            <pc:docMk/>
            <pc:sldMk cId="3668082236" sldId="614"/>
            <ac:spMk id="789" creationId="{B5C35C38-57DE-F16B-C319-52762DFB01FC}"/>
          </ac:spMkLst>
        </pc:spChg>
        <pc:spChg chg="add mod replST">
          <ac:chgData name="Grace, Morgan (Brisbane)" userId="221d5f7b-4a46-4bd5-bdf1-698d3a91c208" providerId="ADAL" clId="{D90324C1-6CE4-4C28-B886-AED0B666B37F}" dt="2024-06-07T05:38:15.255" v="122781"/>
          <ac:spMkLst>
            <pc:docMk/>
            <pc:sldMk cId="3668082236" sldId="614"/>
            <ac:spMk id="790" creationId="{B9DD8509-0F19-FBAB-5801-BF86E73F14F5}"/>
          </ac:spMkLst>
        </pc:spChg>
        <pc:spChg chg="add mod replST">
          <ac:chgData name="Grace, Morgan (Brisbane)" userId="221d5f7b-4a46-4bd5-bdf1-698d3a91c208" providerId="ADAL" clId="{D90324C1-6CE4-4C28-B886-AED0B666B37F}" dt="2024-06-07T05:38:15.255" v="122782"/>
          <ac:spMkLst>
            <pc:docMk/>
            <pc:sldMk cId="3668082236" sldId="614"/>
            <ac:spMk id="791" creationId="{F6E52AA1-907E-FCDB-B9E7-55F31FD55635}"/>
          </ac:spMkLst>
        </pc:spChg>
        <pc:spChg chg="add mod replST">
          <ac:chgData name="Grace, Morgan (Brisbane)" userId="221d5f7b-4a46-4bd5-bdf1-698d3a91c208" providerId="ADAL" clId="{D90324C1-6CE4-4C28-B886-AED0B666B37F}" dt="2024-06-07T05:38:15.255" v="122783"/>
          <ac:spMkLst>
            <pc:docMk/>
            <pc:sldMk cId="3668082236" sldId="614"/>
            <ac:spMk id="792" creationId="{71196495-447F-EEF3-2105-A3D54091409E}"/>
          </ac:spMkLst>
        </pc:spChg>
        <pc:spChg chg="add del mod replST">
          <ac:chgData name="Grace, Morgan (Brisbane)" userId="221d5f7b-4a46-4bd5-bdf1-698d3a91c208" providerId="ADAL" clId="{D90324C1-6CE4-4C28-B886-AED0B666B37F}" dt="2024-06-07T05:27:14.302" v="109097"/>
          <ac:spMkLst>
            <pc:docMk/>
            <pc:sldMk cId="3668082236" sldId="614"/>
            <ac:spMk id="801" creationId="{87DF0065-1E85-3CAE-AFF2-1B24507DE8EE}"/>
          </ac:spMkLst>
        </pc:spChg>
        <pc:spChg chg="add del mod modVis">
          <ac:chgData name="Grace, Morgan (Brisbane)" userId="221d5f7b-4a46-4bd5-bdf1-698d3a91c208" providerId="ADAL" clId="{D90324C1-6CE4-4C28-B886-AED0B666B37F}" dt="2024-06-07T05:27:05.843" v="108613"/>
          <ac:spMkLst>
            <pc:docMk/>
            <pc:sldMk cId="3668082236" sldId="614"/>
            <ac:spMk id="802" creationId="{6274D93A-41F3-EF60-2ED4-35A765671909}"/>
          </ac:spMkLst>
        </pc:spChg>
        <pc:spChg chg="add del mod replST">
          <ac:chgData name="Grace, Morgan (Brisbane)" userId="221d5f7b-4a46-4bd5-bdf1-698d3a91c208" providerId="ADAL" clId="{D90324C1-6CE4-4C28-B886-AED0B666B37F}" dt="2024-06-07T05:27:13.184" v="108947"/>
          <ac:spMkLst>
            <pc:docMk/>
            <pc:sldMk cId="3668082236" sldId="614"/>
            <ac:spMk id="803" creationId="{87DF0065-1E85-3CAE-AFF2-1B24507DE8EE}"/>
          </ac:spMkLst>
        </pc:spChg>
        <pc:spChg chg="add del mod replST">
          <ac:chgData name="Grace, Morgan (Brisbane)" userId="221d5f7b-4a46-4bd5-bdf1-698d3a91c208" providerId="ADAL" clId="{D90324C1-6CE4-4C28-B886-AED0B666B37F}" dt="2024-06-07T05:27:13.184" v="108949"/>
          <ac:spMkLst>
            <pc:docMk/>
            <pc:sldMk cId="3668082236" sldId="614"/>
            <ac:spMk id="804" creationId="{87DF0065-1E85-3CAE-AFF2-1B24507DE8EE}"/>
          </ac:spMkLst>
        </pc:spChg>
        <pc:spChg chg="add mod replST">
          <ac:chgData name="Grace, Morgan (Brisbane)" userId="221d5f7b-4a46-4bd5-bdf1-698d3a91c208" providerId="ADAL" clId="{D90324C1-6CE4-4C28-B886-AED0B666B37F}" dt="2024-06-07T05:38:15.255" v="122793"/>
          <ac:spMkLst>
            <pc:docMk/>
            <pc:sldMk cId="3668082236" sldId="614"/>
            <ac:spMk id="805" creationId="{87DF0065-1E85-3CAE-AFF2-1B24507DE8EE}"/>
          </ac:spMkLst>
        </pc:spChg>
        <pc:spChg chg="add mod replST">
          <ac:chgData name="Grace, Morgan (Brisbane)" userId="221d5f7b-4a46-4bd5-bdf1-698d3a91c208" providerId="ADAL" clId="{D90324C1-6CE4-4C28-B886-AED0B666B37F}" dt="2024-06-07T05:38:15.255" v="122794"/>
          <ac:spMkLst>
            <pc:docMk/>
            <pc:sldMk cId="3668082236" sldId="614"/>
            <ac:spMk id="806" creationId="{87DF0065-1E85-3CAE-AFF2-1B24507DE8EE}"/>
          </ac:spMkLst>
        </pc:spChg>
        <pc:spChg chg="add mod replST">
          <ac:chgData name="Grace, Morgan (Brisbane)" userId="221d5f7b-4a46-4bd5-bdf1-698d3a91c208" providerId="ADAL" clId="{D90324C1-6CE4-4C28-B886-AED0B666B37F}" dt="2024-06-07T05:38:15.255" v="122795"/>
          <ac:spMkLst>
            <pc:docMk/>
            <pc:sldMk cId="3668082236" sldId="614"/>
            <ac:spMk id="807" creationId="{87DF0065-1E85-3CAE-AFF2-1B24507DE8EE}"/>
          </ac:spMkLst>
        </pc:spChg>
        <pc:spChg chg="add del mod replST">
          <ac:chgData name="Grace, Morgan (Brisbane)" userId="221d5f7b-4a46-4bd5-bdf1-698d3a91c208" providerId="ADAL" clId="{D90324C1-6CE4-4C28-B886-AED0B666B37F}" dt="2024-06-07T05:29:04.965" v="112191"/>
          <ac:spMkLst>
            <pc:docMk/>
            <pc:sldMk cId="3668082236" sldId="614"/>
            <ac:spMk id="808" creationId="{87DF0065-1E85-3CAE-AFF2-1B24507DE8EE}"/>
          </ac:spMkLst>
        </pc:spChg>
        <pc:spChg chg="add del mod replST">
          <ac:chgData name="Grace, Morgan (Brisbane)" userId="221d5f7b-4a46-4bd5-bdf1-698d3a91c208" providerId="ADAL" clId="{D90324C1-6CE4-4C28-B886-AED0B666B37F}" dt="2024-06-07T05:27:13.184" v="108946"/>
          <ac:spMkLst>
            <pc:docMk/>
            <pc:sldMk cId="3668082236" sldId="614"/>
            <ac:spMk id="809" creationId="{87DF0065-1E85-3CAE-AFF2-1B24507DE8EE}"/>
          </ac:spMkLst>
        </pc:spChg>
        <pc:spChg chg="add del mod replST">
          <ac:chgData name="Grace, Morgan (Brisbane)" userId="221d5f7b-4a46-4bd5-bdf1-698d3a91c208" providerId="ADAL" clId="{D90324C1-6CE4-4C28-B886-AED0B666B37F}" dt="2024-06-07T05:27:13.184" v="108948"/>
          <ac:spMkLst>
            <pc:docMk/>
            <pc:sldMk cId="3668082236" sldId="614"/>
            <ac:spMk id="810" creationId="{87DF0065-1E85-3CAE-AFF2-1B24507DE8EE}"/>
          </ac:spMkLst>
        </pc:spChg>
        <pc:spChg chg="add mod replST">
          <ac:chgData name="Grace, Morgan (Brisbane)" userId="221d5f7b-4a46-4bd5-bdf1-698d3a91c208" providerId="ADAL" clId="{D90324C1-6CE4-4C28-B886-AED0B666B37F}" dt="2024-06-07T05:38:15.255" v="122796"/>
          <ac:spMkLst>
            <pc:docMk/>
            <pc:sldMk cId="3668082236" sldId="614"/>
            <ac:spMk id="812" creationId="{1D1400B2-FE4A-3584-E38C-78761606B2D6}"/>
          </ac:spMkLst>
        </pc:spChg>
        <pc:spChg chg="add mod replST">
          <ac:chgData name="Grace, Morgan (Brisbane)" userId="221d5f7b-4a46-4bd5-bdf1-698d3a91c208" providerId="ADAL" clId="{D90324C1-6CE4-4C28-B886-AED0B666B37F}" dt="2024-06-07T05:38:15.255" v="122797"/>
          <ac:spMkLst>
            <pc:docMk/>
            <pc:sldMk cId="3668082236" sldId="614"/>
            <ac:spMk id="813" creationId="{D9E517D4-4F67-A4DB-3E03-164BAD55743C}"/>
          </ac:spMkLst>
        </pc:spChg>
        <pc:spChg chg="add mod replST">
          <ac:chgData name="Grace, Morgan (Brisbane)" userId="221d5f7b-4a46-4bd5-bdf1-698d3a91c208" providerId="ADAL" clId="{D90324C1-6CE4-4C28-B886-AED0B666B37F}" dt="2024-06-07T05:38:15.255" v="122798"/>
          <ac:spMkLst>
            <pc:docMk/>
            <pc:sldMk cId="3668082236" sldId="614"/>
            <ac:spMk id="814" creationId="{7653EEE5-77A5-8BF8-4F2A-B04D570F254E}"/>
          </ac:spMkLst>
        </pc:spChg>
        <pc:spChg chg="add del mod modVis">
          <ac:chgData name="Grace, Morgan (Brisbane)" userId="221d5f7b-4a46-4bd5-bdf1-698d3a91c208" providerId="ADAL" clId="{D90324C1-6CE4-4C28-B886-AED0B666B37F}" dt="2024-06-07T05:27:12.050" v="108943"/>
          <ac:spMkLst>
            <pc:docMk/>
            <pc:sldMk cId="3668082236" sldId="614"/>
            <ac:spMk id="815" creationId="{1196403B-8796-1C19-29BB-44D0D5EB5CCD}"/>
          </ac:spMkLst>
        </pc:spChg>
        <pc:spChg chg="add del mod ord replST">
          <ac:chgData name="Grace, Morgan (Brisbane)" userId="221d5f7b-4a46-4bd5-bdf1-698d3a91c208" providerId="ADAL" clId="{D90324C1-6CE4-4C28-B886-AED0B666B37F}" dt="2024-06-07T05:27:41.192" v="110215"/>
          <ac:spMkLst>
            <pc:docMk/>
            <pc:sldMk cId="3668082236" sldId="614"/>
            <ac:spMk id="816" creationId="{87DF0065-1E85-3CAE-AFF2-1B24507DE8EE}"/>
          </ac:spMkLst>
        </pc:spChg>
        <pc:spChg chg="add del mod replST">
          <ac:chgData name="Grace, Morgan (Brisbane)" userId="221d5f7b-4a46-4bd5-bdf1-698d3a91c208" providerId="ADAL" clId="{D90324C1-6CE4-4C28-B886-AED0B666B37F}" dt="2024-06-07T05:27:26.241" v="109764"/>
          <ac:spMkLst>
            <pc:docMk/>
            <pc:sldMk cId="3668082236" sldId="614"/>
            <ac:spMk id="821" creationId="{87DF0065-1E85-3CAE-AFF2-1B24507DE8EE}"/>
          </ac:spMkLst>
        </pc:spChg>
        <pc:spChg chg="add del mod modVis">
          <ac:chgData name="Grace, Morgan (Brisbane)" userId="221d5f7b-4a46-4bd5-bdf1-698d3a91c208" providerId="ADAL" clId="{D90324C1-6CE4-4C28-B886-AED0B666B37F}" dt="2024-06-07T05:27:23.444" v="109513"/>
          <ac:spMkLst>
            <pc:docMk/>
            <pc:sldMk cId="3668082236" sldId="614"/>
            <ac:spMk id="822" creationId="{BB8D9617-3EC1-595C-ACF4-7E5769E57FDB}"/>
          </ac:spMkLst>
        </pc:spChg>
        <pc:spChg chg="add del mod modVis">
          <ac:chgData name="Grace, Morgan (Brisbane)" userId="221d5f7b-4a46-4bd5-bdf1-698d3a91c208" providerId="ADAL" clId="{D90324C1-6CE4-4C28-B886-AED0B666B37F}" dt="2024-06-07T05:27:41.277" v="110435"/>
          <ac:spMkLst>
            <pc:docMk/>
            <pc:sldMk cId="3668082236" sldId="614"/>
            <ac:spMk id="829" creationId="{961D90A6-099D-4121-D628-2A22D3DCAB3D}"/>
          </ac:spMkLst>
        </pc:spChg>
        <pc:spChg chg="add del mod ord replST">
          <ac:chgData name="Grace, Morgan (Brisbane)" userId="221d5f7b-4a46-4bd5-bdf1-698d3a91c208" providerId="ADAL" clId="{D90324C1-6CE4-4C28-B886-AED0B666B37F}" dt="2024-06-07T05:27:43.932" v="110606"/>
          <ac:spMkLst>
            <pc:docMk/>
            <pc:sldMk cId="3668082236" sldId="614"/>
            <ac:spMk id="830" creationId="{87DF0065-1E85-3CAE-AFF2-1B24507DE8EE}"/>
          </ac:spMkLst>
        </pc:spChg>
        <pc:spChg chg="add del mod modVis">
          <ac:chgData name="Grace, Morgan (Brisbane)" userId="221d5f7b-4a46-4bd5-bdf1-698d3a91c208" providerId="ADAL" clId="{D90324C1-6CE4-4C28-B886-AED0B666B37F}" dt="2024-06-07T05:27:43.970" v="110761"/>
          <ac:spMkLst>
            <pc:docMk/>
            <pc:sldMk cId="3668082236" sldId="614"/>
            <ac:spMk id="838" creationId="{34427167-A477-654C-A553-EA52ABFD99B8}"/>
          </ac:spMkLst>
        </pc:spChg>
        <pc:spChg chg="add mod ord replST">
          <ac:chgData name="Grace, Morgan (Brisbane)" userId="221d5f7b-4a46-4bd5-bdf1-698d3a91c208" providerId="ADAL" clId="{D90324C1-6CE4-4C28-B886-AED0B666B37F}" dt="2024-06-07T05:38:15.255" v="122792"/>
          <ac:spMkLst>
            <pc:docMk/>
            <pc:sldMk cId="3668082236" sldId="614"/>
            <ac:spMk id="839" creationId="{87DF0065-1E85-3CAE-AFF2-1B24507DE8EE}"/>
          </ac:spMkLst>
        </pc:spChg>
        <pc:spChg chg="add del mod modVis">
          <ac:chgData name="Grace, Morgan (Brisbane)" userId="221d5f7b-4a46-4bd5-bdf1-698d3a91c208" providerId="ADAL" clId="{D90324C1-6CE4-4C28-B886-AED0B666B37F}" dt="2024-06-07T05:28:00.082" v="111067"/>
          <ac:spMkLst>
            <pc:docMk/>
            <pc:sldMk cId="3668082236" sldId="614"/>
            <ac:spMk id="842" creationId="{AFB14E95-A649-2998-EFDD-9D9D3F447227}"/>
          </ac:spMkLst>
        </pc:spChg>
        <pc:spChg chg="add del mod modVis">
          <ac:chgData name="Grace, Morgan (Brisbane)" userId="221d5f7b-4a46-4bd5-bdf1-698d3a91c208" providerId="ADAL" clId="{D90324C1-6CE4-4C28-B886-AED0B666B37F}" dt="2024-06-07T05:28:07.986" v="111215"/>
          <ac:spMkLst>
            <pc:docMk/>
            <pc:sldMk cId="3668082236" sldId="614"/>
            <ac:spMk id="844" creationId="{861B41E3-AFEE-EDB9-E422-9DC4010A08B7}"/>
          </ac:spMkLst>
        </pc:spChg>
        <pc:spChg chg="add del mod ord replST">
          <ac:chgData name="Grace, Morgan (Brisbane)" userId="221d5f7b-4a46-4bd5-bdf1-698d3a91c208" providerId="ADAL" clId="{D90324C1-6CE4-4C28-B886-AED0B666B37F}" dt="2024-06-07T05:29:48.350" v="112917"/>
          <ac:spMkLst>
            <pc:docMk/>
            <pc:sldMk cId="3668082236" sldId="614"/>
            <ac:spMk id="856" creationId="{87DF0065-1E85-3CAE-AFF2-1B24507DE8EE}"/>
          </ac:spMkLst>
        </pc:spChg>
        <pc:spChg chg="add del mod modVis">
          <ac:chgData name="Grace, Morgan (Brisbane)" userId="221d5f7b-4a46-4bd5-bdf1-698d3a91c208" providerId="ADAL" clId="{D90324C1-6CE4-4C28-B886-AED0B666B37F}" dt="2024-06-07T05:29:38.885" v="112775"/>
          <ac:spMkLst>
            <pc:docMk/>
            <pc:sldMk cId="3668082236" sldId="614"/>
            <ac:spMk id="857" creationId="{EC4F1053-A6FC-9C78-4FB1-8568EE16373E}"/>
          </ac:spMkLst>
        </pc:spChg>
        <pc:spChg chg="add del mod modVis">
          <ac:chgData name="Grace, Morgan (Brisbane)" userId="221d5f7b-4a46-4bd5-bdf1-698d3a91c208" providerId="ADAL" clId="{D90324C1-6CE4-4C28-B886-AED0B666B37F}" dt="2024-06-07T05:31:03.616" v="114429"/>
          <ac:spMkLst>
            <pc:docMk/>
            <pc:sldMk cId="3668082236" sldId="614"/>
            <ac:spMk id="870" creationId="{0088AD79-576F-DC04-94E5-340D12087D3B}"/>
          </ac:spMkLst>
        </pc:spChg>
        <pc:spChg chg="add del mod ord replST">
          <ac:chgData name="Grace, Morgan (Brisbane)" userId="221d5f7b-4a46-4bd5-bdf1-698d3a91c208" providerId="ADAL" clId="{D90324C1-6CE4-4C28-B886-AED0B666B37F}" dt="2024-06-07T05:32:52.626" v="116141"/>
          <ac:spMkLst>
            <pc:docMk/>
            <pc:sldMk cId="3668082236" sldId="614"/>
            <ac:spMk id="874" creationId="{87DF0065-1E85-3CAE-AFF2-1B24507DE8EE}"/>
          </ac:spMkLst>
        </pc:spChg>
        <pc:spChg chg="add del mod modVis">
          <ac:chgData name="Grace, Morgan (Brisbane)" userId="221d5f7b-4a46-4bd5-bdf1-698d3a91c208" providerId="ADAL" clId="{D90324C1-6CE4-4C28-B886-AED0B666B37F}" dt="2024-06-07T05:31:14.980" v="114799"/>
          <ac:spMkLst>
            <pc:docMk/>
            <pc:sldMk cId="3668082236" sldId="614"/>
            <ac:spMk id="875" creationId="{691231E8-B634-23C3-81E0-F5D199989A59}"/>
          </ac:spMkLst>
        </pc:spChg>
        <pc:spChg chg="add del mod modVis">
          <ac:chgData name="Grace, Morgan (Brisbane)" userId="221d5f7b-4a46-4bd5-bdf1-698d3a91c208" providerId="ADAL" clId="{D90324C1-6CE4-4C28-B886-AED0B666B37F}" dt="2024-06-07T05:31:23.715" v="115133"/>
          <ac:spMkLst>
            <pc:docMk/>
            <pc:sldMk cId="3668082236" sldId="614"/>
            <ac:spMk id="879" creationId="{CD9BF30A-E41B-3B1F-A671-83DD916EE06C}"/>
          </ac:spMkLst>
        </pc:spChg>
        <pc:spChg chg="add del mod modVis">
          <ac:chgData name="Grace, Morgan (Brisbane)" userId="221d5f7b-4a46-4bd5-bdf1-698d3a91c208" providerId="ADAL" clId="{D90324C1-6CE4-4C28-B886-AED0B666B37F}" dt="2024-06-07T05:32:48.195" v="116050"/>
          <ac:spMkLst>
            <pc:docMk/>
            <pc:sldMk cId="3668082236" sldId="614"/>
            <ac:spMk id="889" creationId="{94661309-7C06-351C-B91F-8DD594B745A7}"/>
          </ac:spMkLst>
        </pc:spChg>
        <pc:spChg chg="add del mod modVis">
          <ac:chgData name="Grace, Morgan (Brisbane)" userId="221d5f7b-4a46-4bd5-bdf1-698d3a91c208" providerId="ADAL" clId="{D90324C1-6CE4-4C28-B886-AED0B666B37F}" dt="2024-06-07T05:32:52.688" v="116283"/>
          <ac:spMkLst>
            <pc:docMk/>
            <pc:sldMk cId="3668082236" sldId="614"/>
            <ac:spMk id="891" creationId="{08A44ED8-DDD0-5E18-0AE9-6E15B609AA4F}"/>
          </ac:spMkLst>
        </pc:spChg>
        <pc:spChg chg="add del mod ord replST">
          <ac:chgData name="Grace, Morgan (Brisbane)" userId="221d5f7b-4a46-4bd5-bdf1-698d3a91c208" providerId="ADAL" clId="{D90324C1-6CE4-4C28-B886-AED0B666B37F}" dt="2024-06-07T05:32:55.521" v="116425"/>
          <ac:spMkLst>
            <pc:docMk/>
            <pc:sldMk cId="3668082236" sldId="614"/>
            <ac:spMk id="892" creationId="{87DF0065-1E85-3CAE-AFF2-1B24507DE8EE}"/>
          </ac:spMkLst>
        </pc:spChg>
        <pc:spChg chg="add del mod modVis">
          <ac:chgData name="Grace, Morgan (Brisbane)" userId="221d5f7b-4a46-4bd5-bdf1-698d3a91c208" providerId="ADAL" clId="{D90324C1-6CE4-4C28-B886-AED0B666B37F}" dt="2024-06-07T05:32:55.558" v="116546"/>
          <ac:spMkLst>
            <pc:docMk/>
            <pc:sldMk cId="3668082236" sldId="614"/>
            <ac:spMk id="895" creationId="{FD90BD7B-3652-98CD-BD94-B0F2A02058A4}"/>
          </ac:spMkLst>
        </pc:spChg>
        <pc:spChg chg="add del mod ord replST">
          <ac:chgData name="Grace, Morgan (Brisbane)" userId="221d5f7b-4a46-4bd5-bdf1-698d3a91c208" providerId="ADAL" clId="{D90324C1-6CE4-4C28-B886-AED0B666B37F}" dt="2024-06-07T05:33:46.155" v="118476"/>
          <ac:spMkLst>
            <pc:docMk/>
            <pc:sldMk cId="3668082236" sldId="614"/>
            <ac:spMk id="896" creationId="{87DF0065-1E85-3CAE-AFF2-1B24507DE8EE}"/>
          </ac:spMkLst>
        </pc:spChg>
        <pc:spChg chg="add mod replST">
          <ac:chgData name="Grace, Morgan (Brisbane)" userId="221d5f7b-4a46-4bd5-bdf1-698d3a91c208" providerId="ADAL" clId="{D90324C1-6CE4-4C28-B886-AED0B666B37F}" dt="2024-06-07T05:38:15.255" v="122799"/>
          <ac:spMkLst>
            <pc:docMk/>
            <pc:sldMk cId="3668082236" sldId="614"/>
            <ac:spMk id="899" creationId="{87DF0065-1E85-3CAE-AFF2-1B24507DE8EE}"/>
          </ac:spMkLst>
        </pc:spChg>
        <pc:spChg chg="add del mod modVis">
          <ac:chgData name="Grace, Morgan (Brisbane)" userId="221d5f7b-4a46-4bd5-bdf1-698d3a91c208" providerId="ADAL" clId="{D90324C1-6CE4-4C28-B886-AED0B666B37F}" dt="2024-06-07T05:32:58.960" v="116736"/>
          <ac:spMkLst>
            <pc:docMk/>
            <pc:sldMk cId="3668082236" sldId="614"/>
            <ac:spMk id="900" creationId="{525BE071-C07F-5CFA-3C22-15DE8310D62B}"/>
          </ac:spMkLst>
        </pc:spChg>
        <pc:spChg chg="add del mod modVis">
          <ac:chgData name="Grace, Morgan (Brisbane)" userId="221d5f7b-4a46-4bd5-bdf1-698d3a91c208" providerId="ADAL" clId="{D90324C1-6CE4-4C28-B886-AED0B666B37F}" dt="2024-06-07T05:33:03.285" v="116888"/>
          <ac:spMkLst>
            <pc:docMk/>
            <pc:sldMk cId="3668082236" sldId="614"/>
            <ac:spMk id="902" creationId="{C9855251-208C-530C-86C4-C1F883E63174}"/>
          </ac:spMkLst>
        </pc:spChg>
        <pc:spChg chg="add mod replST">
          <ac:chgData name="Grace, Morgan (Brisbane)" userId="221d5f7b-4a46-4bd5-bdf1-698d3a91c208" providerId="ADAL" clId="{D90324C1-6CE4-4C28-B886-AED0B666B37F}" dt="2024-06-07T05:38:15.255" v="122800"/>
          <ac:spMkLst>
            <pc:docMk/>
            <pc:sldMk cId="3668082236" sldId="614"/>
            <ac:spMk id="905" creationId="{87DF0065-1E85-3CAE-AFF2-1B24507DE8EE}"/>
          </ac:spMkLst>
        </pc:spChg>
        <pc:spChg chg="add del mod modVis">
          <ac:chgData name="Grace, Morgan (Brisbane)" userId="221d5f7b-4a46-4bd5-bdf1-698d3a91c208" providerId="ADAL" clId="{D90324C1-6CE4-4C28-B886-AED0B666B37F}" dt="2024-06-07T05:33:24.609" v="117197"/>
          <ac:spMkLst>
            <pc:docMk/>
            <pc:sldMk cId="3668082236" sldId="614"/>
            <ac:spMk id="906" creationId="{6224DDBC-DC3D-1AA4-670F-2ECF02515192}"/>
          </ac:spMkLst>
        </pc:spChg>
        <pc:spChg chg="add del mod modVis">
          <ac:chgData name="Grace, Morgan (Brisbane)" userId="221d5f7b-4a46-4bd5-bdf1-698d3a91c208" providerId="ADAL" clId="{D90324C1-6CE4-4C28-B886-AED0B666B37F}" dt="2024-06-07T05:33:29.718" v="117351"/>
          <ac:spMkLst>
            <pc:docMk/>
            <pc:sldMk cId="3668082236" sldId="614"/>
            <ac:spMk id="908" creationId="{CA11D5D6-24B0-BDD6-83A9-9F9B9A48AB9B}"/>
          </ac:spMkLst>
        </pc:spChg>
        <pc:spChg chg="add mod replST">
          <ac:chgData name="Grace, Morgan (Brisbane)" userId="221d5f7b-4a46-4bd5-bdf1-698d3a91c208" providerId="ADAL" clId="{D90324C1-6CE4-4C28-B886-AED0B666B37F}" dt="2024-06-07T05:38:15.255" v="122801"/>
          <ac:spMkLst>
            <pc:docMk/>
            <pc:sldMk cId="3668082236" sldId="614"/>
            <ac:spMk id="911" creationId="{87DF0065-1E85-3CAE-AFF2-1B24507DE8EE}"/>
          </ac:spMkLst>
        </pc:spChg>
        <pc:spChg chg="add del mod modVis">
          <ac:chgData name="Grace, Morgan (Brisbane)" userId="221d5f7b-4a46-4bd5-bdf1-698d3a91c208" providerId="ADAL" clId="{D90324C1-6CE4-4C28-B886-AED0B666B37F}" dt="2024-06-07T05:33:33.050" v="117664"/>
          <ac:spMkLst>
            <pc:docMk/>
            <pc:sldMk cId="3668082236" sldId="614"/>
            <ac:spMk id="912" creationId="{7D9C5BE4-D2F1-7163-1725-F5EAEFE47C81}"/>
          </ac:spMkLst>
        </pc:spChg>
        <pc:spChg chg="add del mod modVis">
          <ac:chgData name="Grace, Morgan (Brisbane)" userId="221d5f7b-4a46-4bd5-bdf1-698d3a91c208" providerId="ADAL" clId="{D90324C1-6CE4-4C28-B886-AED0B666B37F}" dt="2024-06-07T05:33:35.832" v="117820"/>
          <ac:spMkLst>
            <pc:docMk/>
            <pc:sldMk cId="3668082236" sldId="614"/>
            <ac:spMk id="914" creationId="{598181BD-FFE8-3656-CC5C-1CB8A2158FAD}"/>
          </ac:spMkLst>
        </pc:spChg>
        <pc:spChg chg="add del mod modVis">
          <ac:chgData name="Grace, Morgan (Brisbane)" userId="221d5f7b-4a46-4bd5-bdf1-698d3a91c208" providerId="ADAL" clId="{D90324C1-6CE4-4C28-B886-AED0B666B37F}" dt="2024-06-07T05:33:40.591" v="118099"/>
          <ac:spMkLst>
            <pc:docMk/>
            <pc:sldMk cId="3668082236" sldId="614"/>
            <ac:spMk id="917" creationId="{04245DD7-09CB-0DEA-059D-A16ECD862603}"/>
          </ac:spMkLst>
        </pc:spChg>
        <pc:spChg chg="add mod replST">
          <ac:chgData name="Grace, Morgan (Brisbane)" userId="221d5f7b-4a46-4bd5-bdf1-698d3a91c208" providerId="ADAL" clId="{D90324C1-6CE4-4C28-B886-AED0B666B37F}" dt="2024-06-07T05:38:15.255" v="122802"/>
          <ac:spMkLst>
            <pc:docMk/>
            <pc:sldMk cId="3668082236" sldId="614"/>
            <ac:spMk id="920" creationId="{87DF0065-1E85-3CAE-AFF2-1B24507DE8EE}"/>
          </ac:spMkLst>
        </pc:spChg>
        <pc:spChg chg="add del mod modVis">
          <ac:chgData name="Grace, Morgan (Brisbane)" userId="221d5f7b-4a46-4bd5-bdf1-698d3a91c208" providerId="ADAL" clId="{D90324C1-6CE4-4C28-B886-AED0B666B37F}" dt="2024-06-07T05:33:41.628" v="118417"/>
          <ac:spMkLst>
            <pc:docMk/>
            <pc:sldMk cId="3668082236" sldId="614"/>
            <ac:spMk id="921" creationId="{E5A480CE-F084-C882-F1E3-415F15E7B5B4}"/>
          </ac:spMkLst>
        </pc:spChg>
        <pc:spChg chg="add del mod modVis">
          <ac:chgData name="Grace, Morgan (Brisbane)" userId="221d5f7b-4a46-4bd5-bdf1-698d3a91c208" providerId="ADAL" clId="{D90324C1-6CE4-4C28-B886-AED0B666B37F}" dt="2024-06-07T05:33:46.275" v="118709"/>
          <ac:spMkLst>
            <pc:docMk/>
            <pc:sldMk cId="3668082236" sldId="614"/>
            <ac:spMk id="923" creationId="{C205F3A8-9E19-1CA9-0F46-95E7154A66A0}"/>
          </ac:spMkLst>
        </pc:spChg>
        <pc:spChg chg="add mod ord replST">
          <ac:chgData name="Grace, Morgan (Brisbane)" userId="221d5f7b-4a46-4bd5-bdf1-698d3a91c208" providerId="ADAL" clId="{D90324C1-6CE4-4C28-B886-AED0B666B37F}" dt="2024-06-07T05:38:15.255" v="122803"/>
          <ac:spMkLst>
            <pc:docMk/>
            <pc:sldMk cId="3668082236" sldId="614"/>
            <ac:spMk id="932" creationId="{87DF0065-1E85-3CAE-AFF2-1B24507DE8EE}"/>
          </ac:spMkLst>
        </pc:spChg>
        <pc:spChg chg="add del mod modVis">
          <ac:chgData name="Grace, Morgan (Brisbane)" userId="221d5f7b-4a46-4bd5-bdf1-698d3a91c208" providerId="ADAL" clId="{D90324C1-6CE4-4C28-B886-AED0B666B37F}" dt="2024-06-07T05:33:47.883" v="119047"/>
          <ac:spMkLst>
            <pc:docMk/>
            <pc:sldMk cId="3668082236" sldId="614"/>
            <ac:spMk id="933" creationId="{87A9E0E5-0912-DF90-58BC-C8993D95491F}"/>
          </ac:spMkLst>
        </pc:spChg>
        <pc:spChg chg="add del mod modVis">
          <ac:chgData name="Grace, Morgan (Brisbane)" userId="221d5f7b-4a46-4bd5-bdf1-698d3a91c208" providerId="ADAL" clId="{D90324C1-6CE4-4C28-B886-AED0B666B37F}" dt="2024-06-07T05:33:52.337" v="119215"/>
          <ac:spMkLst>
            <pc:docMk/>
            <pc:sldMk cId="3668082236" sldId="614"/>
            <ac:spMk id="935" creationId="{F585A435-1744-9C05-8E7D-6841F8623A68}"/>
          </ac:spMkLst>
        </pc:spChg>
        <pc:spChg chg="add del mod replST">
          <ac:chgData name="Grace, Morgan (Brisbane)" userId="221d5f7b-4a46-4bd5-bdf1-698d3a91c208" providerId="ADAL" clId="{D90324C1-6CE4-4C28-B886-AED0B666B37F}" dt="2024-06-07T05:36:17.383" v="121464"/>
          <ac:spMkLst>
            <pc:docMk/>
            <pc:sldMk cId="3668082236" sldId="614"/>
            <ac:spMk id="961" creationId="{87DF0065-1E85-3CAE-AFF2-1B24507DE8EE}"/>
          </ac:spMkLst>
        </pc:spChg>
        <pc:spChg chg="add del mod modVis">
          <ac:chgData name="Grace, Morgan (Brisbane)" userId="221d5f7b-4a46-4bd5-bdf1-698d3a91c208" providerId="ADAL" clId="{D90324C1-6CE4-4C28-B886-AED0B666B37F}" dt="2024-06-07T05:36:16.323" v="121448"/>
          <ac:spMkLst>
            <pc:docMk/>
            <pc:sldMk cId="3668082236" sldId="614"/>
            <ac:spMk id="962" creationId="{2B4E3B26-4848-C7D5-9EA5-2EF0A96906EE}"/>
          </ac:spMkLst>
        </pc:spChg>
        <pc:spChg chg="add del mod modVis">
          <ac:chgData name="Grace, Morgan (Brisbane)" userId="221d5f7b-4a46-4bd5-bdf1-698d3a91c208" providerId="ADAL" clId="{D90324C1-6CE4-4C28-B886-AED0B666B37F}" dt="2024-06-07T05:38:15.266" v="122811"/>
          <ac:spMkLst>
            <pc:docMk/>
            <pc:sldMk cId="3668082236" sldId="614"/>
            <ac:spMk id="975" creationId="{696A0B5E-7185-93CF-2027-66050CD11824}"/>
          </ac:spMkLst>
        </pc:spChg>
        <pc:spChg chg="add mod">
          <ac:chgData name="Grace, Morgan (Brisbane)" userId="221d5f7b-4a46-4bd5-bdf1-698d3a91c208" providerId="ADAL" clId="{D90324C1-6CE4-4C28-B886-AED0B666B37F}" dt="2024-06-25T01:19:28.336" v="128086" actId="20577"/>
          <ac:spMkLst>
            <pc:docMk/>
            <pc:sldMk cId="3668082236" sldId="614"/>
            <ac:spMk id="977" creationId="{8246ACFF-B486-1350-7329-692C5ACA2BEA}"/>
          </ac:spMkLst>
        </pc:spChg>
        <pc:graphicFrameChg chg="add mod ord modVis replST">
          <ac:chgData name="Grace, Morgan (Brisbane)" userId="221d5f7b-4a46-4bd5-bdf1-698d3a91c208" providerId="ADAL" clId="{D90324C1-6CE4-4C28-B886-AED0B666B37F}" dt="2024-06-07T05:39:41.207" v="122913"/>
          <ac:graphicFrameMkLst>
            <pc:docMk/>
            <pc:sldMk cId="3668082236" sldId="614"/>
            <ac:graphicFrameMk id="7" creationId="{8BD98D8D-822C-A84E-A5EC-E91A4AC6B6D3}"/>
          </ac:graphicFrameMkLst>
        </pc:graphicFrameChg>
        <pc:graphicFrameChg chg="add del mod replST">
          <ac:chgData name="Grace, Morgan (Brisbane)" userId="221d5f7b-4a46-4bd5-bdf1-698d3a91c208" providerId="ADAL" clId="{D90324C1-6CE4-4C28-B886-AED0B666B37F}" dt="2024-06-05T23:52:15.078" v="35070"/>
          <ac:graphicFrameMkLst>
            <pc:docMk/>
            <pc:sldMk cId="3668082236" sldId="614"/>
            <ac:graphicFrameMk id="11" creationId="{727F993E-02FD-554E-7A11-D15C33FAB9A0}"/>
          </ac:graphicFrameMkLst>
        </pc:graphicFrameChg>
        <pc:graphicFrameChg chg="add del mod replST">
          <ac:chgData name="Grace, Morgan (Brisbane)" userId="221d5f7b-4a46-4bd5-bdf1-698d3a91c208" providerId="ADAL" clId="{D90324C1-6CE4-4C28-B886-AED0B666B37F}" dt="2024-06-05T03:08:19.939" v="20950"/>
          <ac:graphicFrameMkLst>
            <pc:docMk/>
            <pc:sldMk cId="3668082236" sldId="614"/>
            <ac:graphicFrameMk id="13" creationId="{691F2272-AF92-88C1-8572-FF852E71BE11}"/>
          </ac:graphicFrameMkLst>
        </pc:graphicFrameChg>
        <pc:graphicFrameChg chg="add del mod replST">
          <ac:chgData name="Grace, Morgan (Brisbane)" userId="221d5f7b-4a46-4bd5-bdf1-698d3a91c208" providerId="ADAL" clId="{D90324C1-6CE4-4C28-B886-AED0B666B37F}" dt="2024-06-05T23:52:19.238" v="35176"/>
          <ac:graphicFrameMkLst>
            <pc:docMk/>
            <pc:sldMk cId="3668082236" sldId="614"/>
            <ac:graphicFrameMk id="13" creationId="{F7A395C6-057B-C012-5282-D43979EAF1A1}"/>
          </ac:graphicFrameMkLst>
        </pc:graphicFrameChg>
        <pc:graphicFrameChg chg="add del mod replST">
          <ac:chgData name="Grace, Morgan (Brisbane)" userId="221d5f7b-4a46-4bd5-bdf1-698d3a91c208" providerId="ADAL" clId="{D90324C1-6CE4-4C28-B886-AED0B666B37F}" dt="2024-06-07T04:11:50.568" v="48249"/>
          <ac:graphicFrameMkLst>
            <pc:docMk/>
            <pc:sldMk cId="3668082236" sldId="614"/>
            <ac:graphicFrameMk id="42" creationId="{661B5F7A-D524-E62C-571F-4B1163B4C546}"/>
          </ac:graphicFrameMkLst>
        </pc:graphicFrameChg>
        <pc:graphicFrameChg chg="add del mod replST">
          <ac:chgData name="Grace, Morgan (Brisbane)" userId="221d5f7b-4a46-4bd5-bdf1-698d3a91c208" providerId="ADAL" clId="{D90324C1-6CE4-4C28-B886-AED0B666B37F}" dt="2024-06-05T23:52:20.100" v="35282"/>
          <ac:graphicFrameMkLst>
            <pc:docMk/>
            <pc:sldMk cId="3668082236" sldId="614"/>
            <ac:graphicFrameMk id="43" creationId="{84CDD71F-D248-1BCC-13F1-419745996D77}"/>
          </ac:graphicFrameMkLst>
        </pc:graphicFrameChg>
        <pc:graphicFrameChg chg="add del mod replST">
          <ac:chgData name="Grace, Morgan (Brisbane)" userId="221d5f7b-4a46-4bd5-bdf1-698d3a91c208" providerId="ADAL" clId="{D90324C1-6CE4-4C28-B886-AED0B666B37F}" dt="2024-06-05T03:08:22.506" v="21133"/>
          <ac:graphicFrameMkLst>
            <pc:docMk/>
            <pc:sldMk cId="3668082236" sldId="614"/>
            <ac:graphicFrameMk id="43" creationId="{E8F291A2-428A-F8FD-0A88-CCC97917AA50}"/>
          </ac:graphicFrameMkLst>
        </pc:graphicFrameChg>
        <pc:graphicFrameChg chg="add del mod replST">
          <ac:chgData name="Grace, Morgan (Brisbane)" userId="221d5f7b-4a46-4bd5-bdf1-698d3a91c208" providerId="ADAL" clId="{D90324C1-6CE4-4C28-B886-AED0B666B37F}" dt="2024-06-07T04:11:52.258" v="48359"/>
          <ac:graphicFrameMkLst>
            <pc:docMk/>
            <pc:sldMk cId="3668082236" sldId="614"/>
            <ac:graphicFrameMk id="44" creationId="{9BBC15F4-87CF-BD8A-6048-E4B08E98D3F8}"/>
          </ac:graphicFrameMkLst>
        </pc:graphicFrameChg>
        <pc:graphicFrameChg chg="add del mod replST">
          <ac:chgData name="Grace, Morgan (Brisbane)" userId="221d5f7b-4a46-4bd5-bdf1-698d3a91c208" providerId="ADAL" clId="{D90324C1-6CE4-4C28-B886-AED0B666B37F}" dt="2024-06-05T23:52:34.556" v="35519"/>
          <ac:graphicFrameMkLst>
            <pc:docMk/>
            <pc:sldMk cId="3668082236" sldId="614"/>
            <ac:graphicFrameMk id="45" creationId="{800A2950-8600-4C11-974B-3CDBEC374F26}"/>
          </ac:graphicFrameMkLst>
        </pc:graphicFrameChg>
        <pc:graphicFrameChg chg="add del mod replST">
          <ac:chgData name="Grace, Morgan (Brisbane)" userId="221d5f7b-4a46-4bd5-bdf1-698d3a91c208" providerId="ADAL" clId="{D90324C1-6CE4-4C28-B886-AED0B666B37F}" dt="2024-06-05T03:47:06.157" v="22071"/>
          <ac:graphicFrameMkLst>
            <pc:docMk/>
            <pc:sldMk cId="3668082236" sldId="614"/>
            <ac:graphicFrameMk id="45" creationId="{E031D48F-9ACD-AEE5-3909-ABDC700BAF6C}"/>
          </ac:graphicFrameMkLst>
        </pc:graphicFrameChg>
        <pc:graphicFrameChg chg="add del mod replST">
          <ac:chgData name="Grace, Morgan (Brisbane)" userId="221d5f7b-4a46-4bd5-bdf1-698d3a91c208" providerId="ADAL" clId="{D90324C1-6CE4-4C28-B886-AED0B666B37F}" dt="2024-06-07T04:11:53.646" v="48469"/>
          <ac:graphicFrameMkLst>
            <pc:docMk/>
            <pc:sldMk cId="3668082236" sldId="614"/>
            <ac:graphicFrameMk id="46" creationId="{0A5BE954-8BEC-FD3E-748D-4E30F528A710}"/>
          </ac:graphicFrameMkLst>
        </pc:graphicFrameChg>
        <pc:graphicFrameChg chg="add del mod replST">
          <ac:chgData name="Grace, Morgan (Brisbane)" userId="221d5f7b-4a46-4bd5-bdf1-698d3a91c208" providerId="ADAL" clId="{D90324C1-6CE4-4C28-B886-AED0B666B37F}" dt="2024-06-05T04:00:37.472" v="22748"/>
          <ac:graphicFrameMkLst>
            <pc:docMk/>
            <pc:sldMk cId="3668082236" sldId="614"/>
            <ac:graphicFrameMk id="48" creationId="{013E3105-2D29-48B8-0425-6C1CBF9607D6}"/>
          </ac:graphicFrameMkLst>
        </pc:graphicFrameChg>
        <pc:graphicFrameChg chg="add del mod replST">
          <ac:chgData name="Grace, Morgan (Brisbane)" userId="221d5f7b-4a46-4bd5-bdf1-698d3a91c208" providerId="ADAL" clId="{D90324C1-6CE4-4C28-B886-AED0B666B37F}" dt="2024-06-07T04:12:53.299" v="50411"/>
          <ac:graphicFrameMkLst>
            <pc:docMk/>
            <pc:sldMk cId="3668082236" sldId="614"/>
            <ac:graphicFrameMk id="48" creationId="{6D2A4531-3741-2630-993E-8C6F2A5FF460}"/>
          </ac:graphicFrameMkLst>
        </pc:graphicFrameChg>
        <pc:graphicFrameChg chg="add del mod replST">
          <ac:chgData name="Grace, Morgan (Brisbane)" userId="221d5f7b-4a46-4bd5-bdf1-698d3a91c208" providerId="ADAL" clId="{D90324C1-6CE4-4C28-B886-AED0B666B37F}" dt="2024-06-05T23:52:55.592" v="35601"/>
          <ac:graphicFrameMkLst>
            <pc:docMk/>
            <pc:sldMk cId="3668082236" sldId="614"/>
            <ac:graphicFrameMk id="49" creationId="{3A66DC29-EDE2-5C40-0A28-012003674447}"/>
          </ac:graphicFrameMkLst>
        </pc:graphicFrameChg>
        <pc:graphicFrameChg chg="add del mod replST">
          <ac:chgData name="Grace, Morgan (Brisbane)" userId="221d5f7b-4a46-4bd5-bdf1-698d3a91c208" providerId="ADAL" clId="{D90324C1-6CE4-4C28-B886-AED0B666B37F}" dt="2024-06-05T23:53:04.156" v="35742"/>
          <ac:graphicFrameMkLst>
            <pc:docMk/>
            <pc:sldMk cId="3668082236" sldId="614"/>
            <ac:graphicFrameMk id="50" creationId="{27F6F1E6-2768-E7A1-7B82-B8C4488DF0B2}"/>
          </ac:graphicFrameMkLst>
        </pc:graphicFrameChg>
        <pc:graphicFrameChg chg="add del mod replST">
          <ac:chgData name="Grace, Morgan (Brisbane)" userId="221d5f7b-4a46-4bd5-bdf1-698d3a91c208" providerId="ADAL" clId="{D90324C1-6CE4-4C28-B886-AED0B666B37F}" dt="2024-06-05T23:53:08.102" v="35834"/>
          <ac:graphicFrameMkLst>
            <pc:docMk/>
            <pc:sldMk cId="3668082236" sldId="614"/>
            <ac:graphicFrameMk id="52" creationId="{ED51B735-A950-56DE-1ADC-80FDAA0ABCF8}"/>
          </ac:graphicFrameMkLst>
        </pc:graphicFrameChg>
        <pc:graphicFrameChg chg="add del mod replST">
          <ac:chgData name="Grace, Morgan (Brisbane)" userId="221d5f7b-4a46-4bd5-bdf1-698d3a91c208" providerId="ADAL" clId="{D90324C1-6CE4-4C28-B886-AED0B666B37F}" dt="2024-06-05T23:53:12.600" v="35969"/>
          <ac:graphicFrameMkLst>
            <pc:docMk/>
            <pc:sldMk cId="3668082236" sldId="614"/>
            <ac:graphicFrameMk id="53" creationId="{D0F5A96A-1BC1-B259-C731-26C13B269D0F}"/>
          </ac:graphicFrameMkLst>
        </pc:graphicFrameChg>
        <pc:graphicFrameChg chg="add del mod replST">
          <ac:chgData name="Grace, Morgan (Brisbane)" userId="221d5f7b-4a46-4bd5-bdf1-698d3a91c208" providerId="ADAL" clId="{D90324C1-6CE4-4C28-B886-AED0B666B37F}" dt="2024-06-05T23:53:19.020" v="36098"/>
          <ac:graphicFrameMkLst>
            <pc:docMk/>
            <pc:sldMk cId="3668082236" sldId="614"/>
            <ac:graphicFrameMk id="55" creationId="{7F9A2E4F-28E5-D6D7-0887-FF161B050C98}"/>
          </ac:graphicFrameMkLst>
        </pc:graphicFrameChg>
        <pc:graphicFrameChg chg="add del mod replST">
          <ac:chgData name="Grace, Morgan (Brisbane)" userId="221d5f7b-4a46-4bd5-bdf1-698d3a91c208" providerId="ADAL" clId="{D90324C1-6CE4-4C28-B886-AED0B666B37F}" dt="2024-06-06T05:13:59.993" v="45524" actId="478"/>
          <ac:graphicFrameMkLst>
            <pc:docMk/>
            <pc:sldMk cId="3668082236" sldId="614"/>
            <ac:graphicFrameMk id="56" creationId="{30A65E77-51CB-5C05-E88E-EF87581F51B0}"/>
          </ac:graphicFrameMkLst>
        </pc:graphicFrameChg>
        <pc:graphicFrameChg chg="add del mod replST">
          <ac:chgData name="Grace, Morgan (Brisbane)" userId="221d5f7b-4a46-4bd5-bdf1-698d3a91c208" providerId="ADAL" clId="{D90324C1-6CE4-4C28-B886-AED0B666B37F}" dt="2024-06-05T23:53:22.602" v="36288"/>
          <ac:graphicFrameMkLst>
            <pc:docMk/>
            <pc:sldMk cId="3668082236" sldId="614"/>
            <ac:graphicFrameMk id="58" creationId="{9777EB85-603E-D05F-95C7-359E26F11A37}"/>
          </ac:graphicFrameMkLst>
        </pc:graphicFrameChg>
        <pc:graphicFrameChg chg="add del mod replST">
          <ac:chgData name="Grace, Morgan (Brisbane)" userId="221d5f7b-4a46-4bd5-bdf1-698d3a91c208" providerId="ADAL" clId="{D90324C1-6CE4-4C28-B886-AED0B666B37F}" dt="2024-06-05T23:53:25.986" v="36394"/>
          <ac:graphicFrameMkLst>
            <pc:docMk/>
            <pc:sldMk cId="3668082236" sldId="614"/>
            <ac:graphicFrameMk id="63" creationId="{6309A0DD-6603-0EC7-5364-377E5B304FA8}"/>
          </ac:graphicFrameMkLst>
        </pc:graphicFrameChg>
        <pc:graphicFrameChg chg="add del mod replST">
          <ac:chgData name="Grace, Morgan (Brisbane)" userId="221d5f7b-4a46-4bd5-bdf1-698d3a91c208" providerId="ADAL" clId="{D90324C1-6CE4-4C28-B886-AED0B666B37F}" dt="2024-06-05T23:53:28.595" v="36497"/>
          <ac:graphicFrameMkLst>
            <pc:docMk/>
            <pc:sldMk cId="3668082236" sldId="614"/>
            <ac:graphicFrameMk id="64" creationId="{2382DBD8-7A02-6118-A77A-63003028B965}"/>
          </ac:graphicFrameMkLst>
        </pc:graphicFrameChg>
        <pc:graphicFrameChg chg="add del mod replST">
          <ac:chgData name="Grace, Morgan (Brisbane)" userId="221d5f7b-4a46-4bd5-bdf1-698d3a91c208" providerId="ADAL" clId="{D90324C1-6CE4-4C28-B886-AED0B666B37F}" dt="2024-06-05T23:53:30.120" v="36601"/>
          <ac:graphicFrameMkLst>
            <pc:docMk/>
            <pc:sldMk cId="3668082236" sldId="614"/>
            <ac:graphicFrameMk id="65" creationId="{C58ED54F-65F0-755A-D4A1-56CA9B7AF1DA}"/>
          </ac:graphicFrameMkLst>
        </pc:graphicFrameChg>
        <pc:graphicFrameChg chg="add del mod replST">
          <ac:chgData name="Grace, Morgan (Brisbane)" userId="221d5f7b-4a46-4bd5-bdf1-698d3a91c208" providerId="ADAL" clId="{D90324C1-6CE4-4C28-B886-AED0B666B37F}" dt="2024-06-05T23:53:34.506" v="36680"/>
          <ac:graphicFrameMkLst>
            <pc:docMk/>
            <pc:sldMk cId="3668082236" sldId="614"/>
            <ac:graphicFrameMk id="66" creationId="{79D8BB8C-FB4E-1536-16E3-747E65C31A0A}"/>
          </ac:graphicFrameMkLst>
        </pc:graphicFrameChg>
        <pc:graphicFrameChg chg="add del mod replST">
          <ac:chgData name="Grace, Morgan (Brisbane)" userId="221d5f7b-4a46-4bd5-bdf1-698d3a91c208" providerId="ADAL" clId="{D90324C1-6CE4-4C28-B886-AED0B666B37F}" dt="2024-06-05T23:53:36.897" v="36940"/>
          <ac:graphicFrameMkLst>
            <pc:docMk/>
            <pc:sldMk cId="3668082236" sldId="614"/>
            <ac:graphicFrameMk id="67" creationId="{A5F5CC54-EF31-BC0A-27F7-4F79587C9288}"/>
          </ac:graphicFrameMkLst>
        </pc:graphicFrameChg>
        <pc:graphicFrameChg chg="add del mod replST">
          <ac:chgData name="Grace, Morgan (Brisbane)" userId="221d5f7b-4a46-4bd5-bdf1-698d3a91c208" providerId="ADAL" clId="{D90324C1-6CE4-4C28-B886-AED0B666B37F}" dt="2024-06-05T23:53:56.019" v="37111"/>
          <ac:graphicFrameMkLst>
            <pc:docMk/>
            <pc:sldMk cId="3668082236" sldId="614"/>
            <ac:graphicFrameMk id="73" creationId="{6F2A92CF-4A04-0D07-FDDD-B19F960A9026}"/>
          </ac:graphicFrameMkLst>
        </pc:graphicFrameChg>
        <pc:graphicFrameChg chg="add del mod replST">
          <ac:chgData name="Grace, Morgan (Brisbane)" userId="221d5f7b-4a46-4bd5-bdf1-698d3a91c208" providerId="ADAL" clId="{D90324C1-6CE4-4C28-B886-AED0B666B37F}" dt="2024-06-06T03:40:15.827" v="40918"/>
          <ac:graphicFrameMkLst>
            <pc:docMk/>
            <pc:sldMk cId="3668082236" sldId="614"/>
            <ac:graphicFrameMk id="79" creationId="{DE78CE2A-145D-C94C-E315-7F2F336CFB71}"/>
          </ac:graphicFrameMkLst>
        </pc:graphicFrameChg>
        <pc:graphicFrameChg chg="add del mod replST">
          <ac:chgData name="Grace, Morgan (Brisbane)" userId="221d5f7b-4a46-4bd5-bdf1-698d3a91c208" providerId="ADAL" clId="{D90324C1-6CE4-4C28-B886-AED0B666B37F}" dt="2024-06-06T05:14:00.030" v="45531" actId="478"/>
          <ac:graphicFrameMkLst>
            <pc:docMk/>
            <pc:sldMk cId="3668082236" sldId="614"/>
            <ac:graphicFrameMk id="80" creationId="{A666278B-7DDD-E050-7E70-DB4BE2A992E2}"/>
          </ac:graphicFrameMkLst>
        </pc:graphicFrameChg>
        <pc:graphicFrameChg chg="del mod replST">
          <ac:chgData name="Grace, Morgan (Brisbane)" userId="221d5f7b-4a46-4bd5-bdf1-698d3a91c208" providerId="ADAL" clId="{D90324C1-6CE4-4C28-B886-AED0B666B37F}" dt="2024-06-07T04:40:18.480" v="68721"/>
          <ac:graphicFrameMkLst>
            <pc:docMk/>
            <pc:sldMk cId="3668082236" sldId="614"/>
            <ac:graphicFrameMk id="82" creationId="{A97AE774-5DB5-6515-A0FE-7BCFC37254F5}"/>
          </ac:graphicFrameMkLst>
        </pc:graphicFrameChg>
        <pc:graphicFrameChg chg="del mod replST">
          <ac:chgData name="Grace, Morgan (Brisbane)" userId="221d5f7b-4a46-4bd5-bdf1-698d3a91c208" providerId="ADAL" clId="{D90324C1-6CE4-4C28-B886-AED0B666B37F}" dt="2024-06-07T04:05:09.112" v="47880"/>
          <ac:graphicFrameMkLst>
            <pc:docMk/>
            <pc:sldMk cId="3668082236" sldId="614"/>
            <ac:graphicFrameMk id="83" creationId="{D2BAEE38-B294-D8BA-A47E-DA2426244EB9}"/>
          </ac:graphicFrameMkLst>
        </pc:graphicFrameChg>
        <pc:graphicFrameChg chg="add del mod replST">
          <ac:chgData name="Grace, Morgan (Brisbane)" userId="221d5f7b-4a46-4bd5-bdf1-698d3a91c208" providerId="ADAL" clId="{D90324C1-6CE4-4C28-B886-AED0B666B37F}" dt="2024-06-07T04:13:03.241" v="50769"/>
          <ac:graphicFrameMkLst>
            <pc:docMk/>
            <pc:sldMk cId="3668082236" sldId="614"/>
            <ac:graphicFrameMk id="122" creationId="{5BE08289-1FC5-BA8B-5644-09232233F2CF}"/>
          </ac:graphicFrameMkLst>
        </pc:graphicFrameChg>
        <pc:graphicFrameChg chg="add del mod replST">
          <ac:chgData name="Grace, Morgan (Brisbane)" userId="221d5f7b-4a46-4bd5-bdf1-698d3a91c208" providerId="ADAL" clId="{D90324C1-6CE4-4C28-B886-AED0B666B37F}" dt="2024-06-07T04:13:05.563" v="51697"/>
          <ac:graphicFrameMkLst>
            <pc:docMk/>
            <pc:sldMk cId="3668082236" sldId="614"/>
            <ac:graphicFrameMk id="124" creationId="{DD33C473-1D8E-6FCF-060E-F247523EC100}"/>
          </ac:graphicFrameMkLst>
        </pc:graphicFrameChg>
        <pc:graphicFrameChg chg="add del mod replST">
          <ac:chgData name="Grace, Morgan (Brisbane)" userId="221d5f7b-4a46-4bd5-bdf1-698d3a91c208" providerId="ADAL" clId="{D90324C1-6CE4-4C28-B886-AED0B666B37F}" dt="2024-06-07T04:13:14.183" v="52334"/>
          <ac:graphicFrameMkLst>
            <pc:docMk/>
            <pc:sldMk cId="3668082236" sldId="614"/>
            <ac:graphicFrameMk id="149" creationId="{485596E4-2403-CA53-9410-DD92EB98D3B1}"/>
          </ac:graphicFrameMkLst>
        </pc:graphicFrameChg>
        <pc:graphicFrameChg chg="add del mod replST">
          <ac:chgData name="Grace, Morgan (Brisbane)" userId="221d5f7b-4a46-4bd5-bdf1-698d3a91c208" providerId="ADAL" clId="{D90324C1-6CE4-4C28-B886-AED0B666B37F}" dt="2024-06-07T04:13:15.922" v="52558"/>
          <ac:graphicFrameMkLst>
            <pc:docMk/>
            <pc:sldMk cId="3668082236" sldId="614"/>
            <ac:graphicFrameMk id="157" creationId="{16246745-B2D2-C9D4-A9E9-E21EED8A72E9}"/>
          </ac:graphicFrameMkLst>
        </pc:graphicFrameChg>
        <pc:graphicFrameChg chg="add del mod replST">
          <ac:chgData name="Grace, Morgan (Brisbane)" userId="221d5f7b-4a46-4bd5-bdf1-698d3a91c208" providerId="ADAL" clId="{D90324C1-6CE4-4C28-B886-AED0B666B37F}" dt="2024-06-07T04:13:31.452" v="52985"/>
          <ac:graphicFrameMkLst>
            <pc:docMk/>
            <pc:sldMk cId="3668082236" sldId="614"/>
            <ac:graphicFrameMk id="159" creationId="{2B3FDED0-D982-43B1-2DAC-B89F206592F3}"/>
          </ac:graphicFrameMkLst>
        </pc:graphicFrameChg>
        <pc:graphicFrameChg chg="add del mod replST">
          <ac:chgData name="Grace, Morgan (Brisbane)" userId="221d5f7b-4a46-4bd5-bdf1-698d3a91c208" providerId="ADAL" clId="{D90324C1-6CE4-4C28-B886-AED0B666B37F}" dt="2024-06-07T04:13:39.325" v="53120"/>
          <ac:graphicFrameMkLst>
            <pc:docMk/>
            <pc:sldMk cId="3668082236" sldId="614"/>
            <ac:graphicFrameMk id="170" creationId="{56766448-2E91-9273-32C0-40B0658B23D5}"/>
          </ac:graphicFrameMkLst>
        </pc:graphicFrameChg>
        <pc:graphicFrameChg chg="add del mod replST">
          <ac:chgData name="Grace, Morgan (Brisbane)" userId="221d5f7b-4a46-4bd5-bdf1-698d3a91c208" providerId="ADAL" clId="{D90324C1-6CE4-4C28-B886-AED0B666B37F}" dt="2024-06-07T04:13:43.646" v="53463"/>
          <ac:graphicFrameMkLst>
            <pc:docMk/>
            <pc:sldMk cId="3668082236" sldId="614"/>
            <ac:graphicFrameMk id="172" creationId="{4795FFFE-8FBB-4250-72C1-9068D497AEC7}"/>
          </ac:graphicFrameMkLst>
        </pc:graphicFrameChg>
        <pc:graphicFrameChg chg="add del mod replST">
          <ac:chgData name="Grace, Morgan (Brisbane)" userId="221d5f7b-4a46-4bd5-bdf1-698d3a91c208" providerId="ADAL" clId="{D90324C1-6CE4-4C28-B886-AED0B666B37F}" dt="2024-06-07T04:13:49.956" v="53696"/>
          <ac:graphicFrameMkLst>
            <pc:docMk/>
            <pc:sldMk cId="3668082236" sldId="614"/>
            <ac:graphicFrameMk id="179" creationId="{62D6B652-6095-7F47-3D27-972720822BC0}"/>
          </ac:graphicFrameMkLst>
        </pc:graphicFrameChg>
        <pc:graphicFrameChg chg="add del mod replST">
          <ac:chgData name="Grace, Morgan (Brisbane)" userId="221d5f7b-4a46-4bd5-bdf1-698d3a91c208" providerId="ADAL" clId="{D90324C1-6CE4-4C28-B886-AED0B666B37F}" dt="2024-06-07T04:14:15.469" v="53794"/>
          <ac:graphicFrameMkLst>
            <pc:docMk/>
            <pc:sldMk cId="3668082236" sldId="614"/>
            <ac:graphicFrameMk id="181" creationId="{111E30EF-4E0D-05EC-1B98-4109E16FEA52}"/>
          </ac:graphicFrameMkLst>
        </pc:graphicFrameChg>
        <pc:graphicFrameChg chg="add del mod replST">
          <ac:chgData name="Grace, Morgan (Brisbane)" userId="221d5f7b-4a46-4bd5-bdf1-698d3a91c208" providerId="ADAL" clId="{D90324C1-6CE4-4C28-B886-AED0B666B37F}" dt="2024-06-07T04:14:18.894" v="53926"/>
          <ac:graphicFrameMkLst>
            <pc:docMk/>
            <pc:sldMk cId="3668082236" sldId="614"/>
            <ac:graphicFrameMk id="182" creationId="{5D8BD823-2650-C6EB-7476-927673BA5AE8}"/>
          </ac:graphicFrameMkLst>
        </pc:graphicFrameChg>
        <pc:graphicFrameChg chg="add del mod replST">
          <ac:chgData name="Grace, Morgan (Brisbane)" userId="221d5f7b-4a46-4bd5-bdf1-698d3a91c208" providerId="ADAL" clId="{D90324C1-6CE4-4C28-B886-AED0B666B37F}" dt="2024-06-07T04:14:22.921" v="54057"/>
          <ac:graphicFrameMkLst>
            <pc:docMk/>
            <pc:sldMk cId="3668082236" sldId="614"/>
            <ac:graphicFrameMk id="183" creationId="{3089F4B3-9710-713A-E920-63AD074262C1}"/>
          </ac:graphicFrameMkLst>
        </pc:graphicFrameChg>
        <pc:graphicFrameChg chg="add del mod replST">
          <ac:chgData name="Grace, Morgan (Brisbane)" userId="221d5f7b-4a46-4bd5-bdf1-698d3a91c208" providerId="ADAL" clId="{D90324C1-6CE4-4C28-B886-AED0B666B37F}" dt="2024-06-07T04:14:35.105" v="54195"/>
          <ac:graphicFrameMkLst>
            <pc:docMk/>
            <pc:sldMk cId="3668082236" sldId="614"/>
            <ac:graphicFrameMk id="184" creationId="{0B77A397-0B2D-FC6E-B064-2353D1BBAEDC}"/>
          </ac:graphicFrameMkLst>
        </pc:graphicFrameChg>
        <pc:graphicFrameChg chg="add del mod replST">
          <ac:chgData name="Grace, Morgan (Brisbane)" userId="221d5f7b-4a46-4bd5-bdf1-698d3a91c208" providerId="ADAL" clId="{D90324C1-6CE4-4C28-B886-AED0B666B37F}" dt="2024-06-07T04:17:37.711" v="54345"/>
          <ac:graphicFrameMkLst>
            <pc:docMk/>
            <pc:sldMk cId="3668082236" sldId="614"/>
            <ac:graphicFrameMk id="185" creationId="{BD7CD86B-3BE7-2A3E-E225-BE68154FB083}"/>
          </ac:graphicFrameMkLst>
        </pc:graphicFrameChg>
        <pc:graphicFrameChg chg="add del mod replST">
          <ac:chgData name="Grace, Morgan (Brisbane)" userId="221d5f7b-4a46-4bd5-bdf1-698d3a91c208" providerId="ADAL" clId="{D90324C1-6CE4-4C28-B886-AED0B666B37F}" dt="2024-06-07T04:18:13.257" v="54727"/>
          <ac:graphicFrameMkLst>
            <pc:docMk/>
            <pc:sldMk cId="3668082236" sldId="614"/>
            <ac:graphicFrameMk id="186" creationId="{589DFB62-9030-0AAE-C293-F33E6C0C0417}"/>
          </ac:graphicFrameMkLst>
        </pc:graphicFrameChg>
        <pc:graphicFrameChg chg="add del mod replST">
          <ac:chgData name="Grace, Morgan (Brisbane)" userId="221d5f7b-4a46-4bd5-bdf1-698d3a91c208" providerId="ADAL" clId="{D90324C1-6CE4-4C28-B886-AED0B666B37F}" dt="2024-06-07T04:18:34.441" v="54835"/>
          <ac:graphicFrameMkLst>
            <pc:docMk/>
            <pc:sldMk cId="3668082236" sldId="614"/>
            <ac:graphicFrameMk id="193" creationId="{5848984D-6C2B-53EA-9768-6C5977E48086}"/>
          </ac:graphicFrameMkLst>
        </pc:graphicFrameChg>
        <pc:graphicFrameChg chg="add del mod replST">
          <ac:chgData name="Grace, Morgan (Brisbane)" userId="221d5f7b-4a46-4bd5-bdf1-698d3a91c208" providerId="ADAL" clId="{D90324C1-6CE4-4C28-B886-AED0B666B37F}" dt="2024-06-07T04:18:35.297" v="54940"/>
          <ac:graphicFrameMkLst>
            <pc:docMk/>
            <pc:sldMk cId="3668082236" sldId="614"/>
            <ac:graphicFrameMk id="195" creationId="{ED16FF46-D573-8F5F-0E05-BF242CB0BD6F}"/>
          </ac:graphicFrameMkLst>
        </pc:graphicFrameChg>
        <pc:graphicFrameChg chg="add del mod replST">
          <ac:chgData name="Grace, Morgan (Brisbane)" userId="221d5f7b-4a46-4bd5-bdf1-698d3a91c208" providerId="ADAL" clId="{D90324C1-6CE4-4C28-B886-AED0B666B37F}" dt="2024-06-07T04:18:38.763" v="55121"/>
          <ac:graphicFrameMkLst>
            <pc:docMk/>
            <pc:sldMk cId="3668082236" sldId="614"/>
            <ac:graphicFrameMk id="196" creationId="{95C4BD77-F998-B50E-656F-85858BC9B544}"/>
          </ac:graphicFrameMkLst>
        </pc:graphicFrameChg>
        <pc:graphicFrameChg chg="add del mod replST">
          <ac:chgData name="Grace, Morgan (Brisbane)" userId="221d5f7b-4a46-4bd5-bdf1-698d3a91c208" providerId="ADAL" clId="{D90324C1-6CE4-4C28-B886-AED0B666B37F}" dt="2024-06-07T04:18:47.065" v="55300"/>
          <ac:graphicFrameMkLst>
            <pc:docMk/>
            <pc:sldMk cId="3668082236" sldId="614"/>
            <ac:graphicFrameMk id="197" creationId="{606EC045-26F9-1685-AB3E-F2371EA680CB}"/>
          </ac:graphicFrameMkLst>
        </pc:graphicFrameChg>
        <pc:graphicFrameChg chg="add del mod replST">
          <ac:chgData name="Grace, Morgan (Brisbane)" userId="221d5f7b-4a46-4bd5-bdf1-698d3a91c208" providerId="ADAL" clId="{D90324C1-6CE4-4C28-B886-AED0B666B37F}" dt="2024-06-07T04:18:48.636" v="55410"/>
          <ac:graphicFrameMkLst>
            <pc:docMk/>
            <pc:sldMk cId="3668082236" sldId="614"/>
            <ac:graphicFrameMk id="200" creationId="{EBA9C02C-78C1-B07D-17BD-B6BEF0904321}"/>
          </ac:graphicFrameMkLst>
        </pc:graphicFrameChg>
        <pc:graphicFrameChg chg="add del mod replST">
          <ac:chgData name="Grace, Morgan (Brisbane)" userId="221d5f7b-4a46-4bd5-bdf1-698d3a91c208" providerId="ADAL" clId="{D90324C1-6CE4-4C28-B886-AED0B666B37F}" dt="2024-06-07T04:18:51.489" v="55591"/>
          <ac:graphicFrameMkLst>
            <pc:docMk/>
            <pc:sldMk cId="3668082236" sldId="614"/>
            <ac:graphicFrameMk id="201" creationId="{74C3D2D4-3403-B160-DDA0-00E53AFAC4A2}"/>
          </ac:graphicFrameMkLst>
        </pc:graphicFrameChg>
        <pc:graphicFrameChg chg="add del mod replST">
          <ac:chgData name="Grace, Morgan (Brisbane)" userId="221d5f7b-4a46-4bd5-bdf1-698d3a91c208" providerId="ADAL" clId="{D90324C1-6CE4-4C28-B886-AED0B666B37F}" dt="2024-06-07T04:19:09.486" v="55772"/>
          <ac:graphicFrameMkLst>
            <pc:docMk/>
            <pc:sldMk cId="3668082236" sldId="614"/>
            <ac:graphicFrameMk id="202" creationId="{14514DCF-7D66-212A-685E-DF2DC6CE2503}"/>
          </ac:graphicFrameMkLst>
        </pc:graphicFrameChg>
        <pc:graphicFrameChg chg="add del mod replST">
          <ac:chgData name="Grace, Morgan (Brisbane)" userId="221d5f7b-4a46-4bd5-bdf1-698d3a91c208" providerId="ADAL" clId="{D90324C1-6CE4-4C28-B886-AED0B666B37F}" dt="2024-06-07T04:19:12.941" v="55953"/>
          <ac:graphicFrameMkLst>
            <pc:docMk/>
            <pc:sldMk cId="3668082236" sldId="614"/>
            <ac:graphicFrameMk id="203" creationId="{68A34DE5-185F-51DB-339A-38EAF9B71DF4}"/>
          </ac:graphicFrameMkLst>
        </pc:graphicFrameChg>
        <pc:graphicFrameChg chg="add del mod replST">
          <ac:chgData name="Grace, Morgan (Brisbane)" userId="221d5f7b-4a46-4bd5-bdf1-698d3a91c208" providerId="ADAL" clId="{D90324C1-6CE4-4C28-B886-AED0B666B37F}" dt="2024-06-07T04:20:53.148" v="56073"/>
          <ac:graphicFrameMkLst>
            <pc:docMk/>
            <pc:sldMk cId="3668082236" sldId="614"/>
            <ac:graphicFrameMk id="204" creationId="{94DC5AC2-2540-AF2E-DC51-41043441805B}"/>
          </ac:graphicFrameMkLst>
        </pc:graphicFrameChg>
        <pc:graphicFrameChg chg="add del mod replST">
          <ac:chgData name="Grace, Morgan (Brisbane)" userId="221d5f7b-4a46-4bd5-bdf1-698d3a91c208" providerId="ADAL" clId="{D90324C1-6CE4-4C28-B886-AED0B666B37F}" dt="2024-06-07T04:20:55.216" v="56564"/>
          <ac:graphicFrameMkLst>
            <pc:docMk/>
            <pc:sldMk cId="3668082236" sldId="614"/>
            <ac:graphicFrameMk id="205" creationId="{F724AFA0-DF83-5454-4633-976B4CE95F03}"/>
          </ac:graphicFrameMkLst>
        </pc:graphicFrameChg>
        <pc:graphicFrameChg chg="add del mod replST">
          <ac:chgData name="Grace, Morgan (Brisbane)" userId="221d5f7b-4a46-4bd5-bdf1-698d3a91c208" providerId="ADAL" clId="{D90324C1-6CE4-4C28-B886-AED0B666B37F}" dt="2024-06-07T04:21:18.004" v="57063"/>
          <ac:graphicFrameMkLst>
            <pc:docMk/>
            <pc:sldMk cId="3668082236" sldId="614"/>
            <ac:graphicFrameMk id="216" creationId="{24782170-86AA-5AD1-C2BA-A7B99A133478}"/>
          </ac:graphicFrameMkLst>
        </pc:graphicFrameChg>
        <pc:graphicFrameChg chg="add del mod replST">
          <ac:chgData name="Grace, Morgan (Brisbane)" userId="221d5f7b-4a46-4bd5-bdf1-698d3a91c208" providerId="ADAL" clId="{D90324C1-6CE4-4C28-B886-AED0B666B37F}" dt="2024-06-07T04:21:37.053" v="57315"/>
          <ac:graphicFrameMkLst>
            <pc:docMk/>
            <pc:sldMk cId="3668082236" sldId="614"/>
            <ac:graphicFrameMk id="227" creationId="{FFD25E1F-12C3-3D4D-0F92-CCCF61B49C89}"/>
          </ac:graphicFrameMkLst>
        </pc:graphicFrameChg>
        <pc:graphicFrameChg chg="add del mod replST">
          <ac:chgData name="Grace, Morgan (Brisbane)" userId="221d5f7b-4a46-4bd5-bdf1-698d3a91c208" providerId="ADAL" clId="{D90324C1-6CE4-4C28-B886-AED0B666B37F}" dt="2024-06-07T04:21:43.470" v="57561"/>
          <ac:graphicFrameMkLst>
            <pc:docMk/>
            <pc:sldMk cId="3668082236" sldId="614"/>
            <ac:graphicFrameMk id="228" creationId="{4D6F4C3E-1B50-F293-7469-8949E20463C2}"/>
          </ac:graphicFrameMkLst>
        </pc:graphicFrameChg>
        <pc:graphicFrameChg chg="add del mod replST">
          <ac:chgData name="Grace, Morgan (Brisbane)" userId="221d5f7b-4a46-4bd5-bdf1-698d3a91c208" providerId="ADAL" clId="{D90324C1-6CE4-4C28-B886-AED0B666B37F}" dt="2024-06-07T04:21:56.857" v="57685"/>
          <ac:graphicFrameMkLst>
            <pc:docMk/>
            <pc:sldMk cId="3668082236" sldId="614"/>
            <ac:graphicFrameMk id="229" creationId="{C9449E84-31E7-E838-FD57-BDEC739DDB63}"/>
          </ac:graphicFrameMkLst>
        </pc:graphicFrameChg>
        <pc:graphicFrameChg chg="add del mod">
          <ac:chgData name="Grace, Morgan (Brisbane)" userId="221d5f7b-4a46-4bd5-bdf1-698d3a91c208" providerId="ADAL" clId="{D90324C1-6CE4-4C28-B886-AED0B666B37F}" dt="2024-06-07T04:33:47.970" v="57773" actId="478"/>
          <ac:graphicFrameMkLst>
            <pc:docMk/>
            <pc:sldMk cId="3668082236" sldId="614"/>
            <ac:graphicFrameMk id="232" creationId="{60C82A9B-F557-B2E2-DCEE-4C2C8B2B2B7F}"/>
          </ac:graphicFrameMkLst>
        </pc:graphicFrameChg>
        <pc:graphicFrameChg chg="add del mod replST">
          <ac:chgData name="Grace, Morgan (Brisbane)" userId="221d5f7b-4a46-4bd5-bdf1-698d3a91c208" providerId="ADAL" clId="{D90324C1-6CE4-4C28-B886-AED0B666B37F}" dt="2024-06-07T04:35:47.830" v="58957"/>
          <ac:graphicFrameMkLst>
            <pc:docMk/>
            <pc:sldMk cId="3668082236" sldId="614"/>
            <ac:graphicFrameMk id="237" creationId="{52CC4A07-7B4E-553A-FE26-75063AFC8F83}"/>
          </ac:graphicFrameMkLst>
        </pc:graphicFrameChg>
        <pc:graphicFrameChg chg="add del mod replST">
          <ac:chgData name="Grace, Morgan (Brisbane)" userId="221d5f7b-4a46-4bd5-bdf1-698d3a91c208" providerId="ADAL" clId="{D90324C1-6CE4-4C28-B886-AED0B666B37F}" dt="2024-06-07T04:35:32.730" v="58300"/>
          <ac:graphicFrameMkLst>
            <pc:docMk/>
            <pc:sldMk cId="3668082236" sldId="614"/>
            <ac:graphicFrameMk id="242" creationId="{BF281301-8F97-0C47-E1FD-D654B316AD1C}"/>
          </ac:graphicFrameMkLst>
        </pc:graphicFrameChg>
        <pc:graphicFrameChg chg="add del mod replST">
          <ac:chgData name="Grace, Morgan (Brisbane)" userId="221d5f7b-4a46-4bd5-bdf1-698d3a91c208" providerId="ADAL" clId="{D90324C1-6CE4-4C28-B886-AED0B666B37F}" dt="2024-06-07T04:35:34.264" v="58394"/>
          <ac:graphicFrameMkLst>
            <pc:docMk/>
            <pc:sldMk cId="3668082236" sldId="614"/>
            <ac:graphicFrameMk id="243" creationId="{65952FE7-2A12-8C20-509C-2B480DCDA5F4}"/>
          </ac:graphicFrameMkLst>
        </pc:graphicFrameChg>
        <pc:graphicFrameChg chg="add del mod replST">
          <ac:chgData name="Grace, Morgan (Brisbane)" userId="221d5f7b-4a46-4bd5-bdf1-698d3a91c208" providerId="ADAL" clId="{D90324C1-6CE4-4C28-B886-AED0B666B37F}" dt="2024-06-07T04:35:37.521" v="58489"/>
          <ac:graphicFrameMkLst>
            <pc:docMk/>
            <pc:sldMk cId="3668082236" sldId="614"/>
            <ac:graphicFrameMk id="244" creationId="{E1225E71-5E7B-A426-D1BD-291DAF32C55E}"/>
          </ac:graphicFrameMkLst>
        </pc:graphicFrameChg>
        <pc:graphicFrameChg chg="add del mod replST">
          <ac:chgData name="Grace, Morgan (Brisbane)" userId="221d5f7b-4a46-4bd5-bdf1-698d3a91c208" providerId="ADAL" clId="{D90324C1-6CE4-4C28-B886-AED0B666B37F}" dt="2024-06-07T04:35:40.324" v="58571"/>
          <ac:graphicFrameMkLst>
            <pc:docMk/>
            <pc:sldMk cId="3668082236" sldId="614"/>
            <ac:graphicFrameMk id="245" creationId="{B2C323E1-769B-821C-4B61-10467BD17A2C}"/>
          </ac:graphicFrameMkLst>
        </pc:graphicFrameChg>
        <pc:graphicFrameChg chg="add del mod replST">
          <ac:chgData name="Grace, Morgan (Brisbane)" userId="221d5f7b-4a46-4bd5-bdf1-698d3a91c208" providerId="ADAL" clId="{D90324C1-6CE4-4C28-B886-AED0B666B37F}" dt="2024-06-07T04:35:42.871" v="58854"/>
          <ac:graphicFrameMkLst>
            <pc:docMk/>
            <pc:sldMk cId="3668082236" sldId="614"/>
            <ac:graphicFrameMk id="246" creationId="{2A680349-96DA-E5D8-9CFF-22E52E335F8D}"/>
          </ac:graphicFrameMkLst>
        </pc:graphicFrameChg>
        <pc:graphicFrameChg chg="add del mod replST">
          <ac:chgData name="Grace, Morgan (Brisbane)" userId="221d5f7b-4a46-4bd5-bdf1-698d3a91c208" providerId="ADAL" clId="{D90324C1-6CE4-4C28-B886-AED0B666B37F}" dt="2024-06-07T04:35:47.852" v="58971"/>
          <ac:graphicFrameMkLst>
            <pc:docMk/>
            <pc:sldMk cId="3668082236" sldId="614"/>
            <ac:graphicFrameMk id="251" creationId="{D9746D33-2F75-E49E-1D5B-3C8BA3EA3642}"/>
          </ac:graphicFrameMkLst>
        </pc:graphicFrameChg>
        <pc:graphicFrameChg chg="add del mod replST">
          <ac:chgData name="Grace, Morgan (Brisbane)" userId="221d5f7b-4a46-4bd5-bdf1-698d3a91c208" providerId="ADAL" clId="{D90324C1-6CE4-4C28-B886-AED0B666B37F}" dt="2024-06-07T04:35:51.953" v="59198"/>
          <ac:graphicFrameMkLst>
            <pc:docMk/>
            <pc:sldMk cId="3668082236" sldId="614"/>
            <ac:graphicFrameMk id="252" creationId="{32E700EB-A203-2AF3-5225-767288CF2B78}"/>
          </ac:graphicFrameMkLst>
        </pc:graphicFrameChg>
        <pc:graphicFrameChg chg="add del mod replST">
          <ac:chgData name="Grace, Morgan (Brisbane)" userId="221d5f7b-4a46-4bd5-bdf1-698d3a91c208" providerId="ADAL" clId="{D90324C1-6CE4-4C28-B886-AED0B666B37F}" dt="2024-06-07T04:35:50.356" v="59098"/>
          <ac:graphicFrameMkLst>
            <pc:docMk/>
            <pc:sldMk cId="3668082236" sldId="614"/>
            <ac:graphicFrameMk id="253" creationId="{180ABDF9-EA44-5213-3DD9-097D53F94159}"/>
          </ac:graphicFrameMkLst>
        </pc:graphicFrameChg>
        <pc:graphicFrameChg chg="add del mod replST">
          <ac:chgData name="Grace, Morgan (Brisbane)" userId="221d5f7b-4a46-4bd5-bdf1-698d3a91c208" providerId="ADAL" clId="{D90324C1-6CE4-4C28-B886-AED0B666B37F}" dt="2024-06-07T04:37:20.401" v="62009"/>
          <ac:graphicFrameMkLst>
            <pc:docMk/>
            <pc:sldMk cId="3668082236" sldId="614"/>
            <ac:graphicFrameMk id="254" creationId="{4EC82199-20ED-2021-1AD1-0AB5E3A0A7E4}"/>
          </ac:graphicFrameMkLst>
        </pc:graphicFrameChg>
        <pc:graphicFrameChg chg="add del mod replST">
          <ac:chgData name="Grace, Morgan (Brisbane)" userId="221d5f7b-4a46-4bd5-bdf1-698d3a91c208" providerId="ADAL" clId="{D90324C1-6CE4-4C28-B886-AED0B666B37F}" dt="2024-06-07T04:36:02.831" v="59493"/>
          <ac:graphicFrameMkLst>
            <pc:docMk/>
            <pc:sldMk cId="3668082236" sldId="614"/>
            <ac:graphicFrameMk id="255" creationId="{8905AAF5-C50D-93FA-28DA-E94B3FDE3061}"/>
          </ac:graphicFrameMkLst>
        </pc:graphicFrameChg>
        <pc:graphicFrameChg chg="add del mod replST">
          <ac:chgData name="Grace, Morgan (Brisbane)" userId="221d5f7b-4a46-4bd5-bdf1-698d3a91c208" providerId="ADAL" clId="{D90324C1-6CE4-4C28-B886-AED0B666B37F}" dt="2024-06-07T04:36:16.315" v="59634"/>
          <ac:graphicFrameMkLst>
            <pc:docMk/>
            <pc:sldMk cId="3668082236" sldId="614"/>
            <ac:graphicFrameMk id="260" creationId="{743A2597-7930-8D12-FFB7-50E20F83E34A}"/>
          </ac:graphicFrameMkLst>
        </pc:graphicFrameChg>
        <pc:graphicFrameChg chg="add del mod replST">
          <ac:chgData name="Grace, Morgan (Brisbane)" userId="221d5f7b-4a46-4bd5-bdf1-698d3a91c208" providerId="ADAL" clId="{D90324C1-6CE4-4C28-B886-AED0B666B37F}" dt="2024-06-07T04:36:19.824" v="59863"/>
          <ac:graphicFrameMkLst>
            <pc:docMk/>
            <pc:sldMk cId="3668082236" sldId="614"/>
            <ac:graphicFrameMk id="262" creationId="{AF86C746-D053-7F4A-7CC7-937FD6C91E6B}"/>
          </ac:graphicFrameMkLst>
        </pc:graphicFrameChg>
        <pc:graphicFrameChg chg="add del mod replST">
          <ac:chgData name="Grace, Morgan (Brisbane)" userId="221d5f7b-4a46-4bd5-bdf1-698d3a91c208" providerId="ADAL" clId="{D90324C1-6CE4-4C28-B886-AED0B666B37F}" dt="2024-06-07T04:36:21.279" v="59963"/>
          <ac:graphicFrameMkLst>
            <pc:docMk/>
            <pc:sldMk cId="3668082236" sldId="614"/>
            <ac:graphicFrameMk id="268" creationId="{57082EAB-D613-2E37-1586-C0CF76B56EA7}"/>
          </ac:graphicFrameMkLst>
        </pc:graphicFrameChg>
        <pc:graphicFrameChg chg="add del mod replST">
          <ac:chgData name="Grace, Morgan (Brisbane)" userId="221d5f7b-4a46-4bd5-bdf1-698d3a91c208" providerId="ADAL" clId="{D90324C1-6CE4-4C28-B886-AED0B666B37F}" dt="2024-06-07T04:36:25.618" v="60172"/>
          <ac:graphicFrameMkLst>
            <pc:docMk/>
            <pc:sldMk cId="3668082236" sldId="614"/>
            <ac:graphicFrameMk id="269" creationId="{7CE40AE5-B5B3-845C-468F-EBE3B8324BC4}"/>
          </ac:graphicFrameMkLst>
        </pc:graphicFrameChg>
        <pc:graphicFrameChg chg="add del mod replST">
          <ac:chgData name="Grace, Morgan (Brisbane)" userId="221d5f7b-4a46-4bd5-bdf1-698d3a91c208" providerId="ADAL" clId="{D90324C1-6CE4-4C28-B886-AED0B666B37F}" dt="2024-06-07T04:36:29.514" v="60568"/>
          <ac:graphicFrameMkLst>
            <pc:docMk/>
            <pc:sldMk cId="3668082236" sldId="614"/>
            <ac:graphicFrameMk id="273" creationId="{646FFB3F-6940-68EB-930B-6D6A937A67D6}"/>
          </ac:graphicFrameMkLst>
        </pc:graphicFrameChg>
        <pc:graphicFrameChg chg="add del mod replST">
          <ac:chgData name="Grace, Morgan (Brisbane)" userId="221d5f7b-4a46-4bd5-bdf1-698d3a91c208" providerId="ADAL" clId="{D90324C1-6CE4-4C28-B886-AED0B666B37F}" dt="2024-06-07T04:36:33.340" v="60668"/>
          <ac:graphicFrameMkLst>
            <pc:docMk/>
            <pc:sldMk cId="3668082236" sldId="614"/>
            <ac:graphicFrameMk id="283" creationId="{C618DC23-BA83-28A8-BEDD-55F38603A43F}"/>
          </ac:graphicFrameMkLst>
        </pc:graphicFrameChg>
        <pc:graphicFrameChg chg="add del mod replST">
          <ac:chgData name="Grace, Morgan (Brisbane)" userId="221d5f7b-4a46-4bd5-bdf1-698d3a91c208" providerId="ADAL" clId="{D90324C1-6CE4-4C28-B886-AED0B666B37F}" dt="2024-06-07T04:36:35.994" v="60901"/>
          <ac:graphicFrameMkLst>
            <pc:docMk/>
            <pc:sldMk cId="3668082236" sldId="614"/>
            <ac:graphicFrameMk id="284" creationId="{D0BF8809-EB37-4405-8B2E-57B13FB8D208}"/>
          </ac:graphicFrameMkLst>
        </pc:graphicFrameChg>
        <pc:graphicFrameChg chg="add del mod replST">
          <ac:chgData name="Grace, Morgan (Brisbane)" userId="221d5f7b-4a46-4bd5-bdf1-698d3a91c208" providerId="ADAL" clId="{D90324C1-6CE4-4C28-B886-AED0B666B37F}" dt="2024-06-07T04:36:37.798" v="61070"/>
          <ac:graphicFrameMkLst>
            <pc:docMk/>
            <pc:sldMk cId="3668082236" sldId="614"/>
            <ac:graphicFrameMk id="288" creationId="{EDCFE276-A973-2F90-9B71-8DF9684A0A9E}"/>
          </ac:graphicFrameMkLst>
        </pc:graphicFrameChg>
        <pc:graphicFrameChg chg="add del mod replST">
          <ac:chgData name="Grace, Morgan (Brisbane)" userId="221d5f7b-4a46-4bd5-bdf1-698d3a91c208" providerId="ADAL" clId="{D90324C1-6CE4-4C28-B886-AED0B666B37F}" dt="2024-06-07T04:36:38.801" v="61170"/>
          <ac:graphicFrameMkLst>
            <pc:docMk/>
            <pc:sldMk cId="3668082236" sldId="614"/>
            <ac:graphicFrameMk id="291" creationId="{C7B3CA65-82B2-D730-A46E-5B256970A5AA}"/>
          </ac:graphicFrameMkLst>
        </pc:graphicFrameChg>
        <pc:graphicFrameChg chg="add del mod replST">
          <ac:chgData name="Grace, Morgan (Brisbane)" userId="221d5f7b-4a46-4bd5-bdf1-698d3a91c208" providerId="ADAL" clId="{D90324C1-6CE4-4C28-B886-AED0B666B37F}" dt="2024-06-07T04:36:39.456" v="61269"/>
          <ac:graphicFrameMkLst>
            <pc:docMk/>
            <pc:sldMk cId="3668082236" sldId="614"/>
            <ac:graphicFrameMk id="292" creationId="{BFB6EF53-A665-A52C-D421-F31A3E9038F3}"/>
          </ac:graphicFrameMkLst>
        </pc:graphicFrameChg>
        <pc:graphicFrameChg chg="add del mod replST">
          <ac:chgData name="Grace, Morgan (Brisbane)" userId="221d5f7b-4a46-4bd5-bdf1-698d3a91c208" providerId="ADAL" clId="{D90324C1-6CE4-4C28-B886-AED0B666B37F}" dt="2024-06-07T04:36:44.733" v="61369"/>
          <ac:graphicFrameMkLst>
            <pc:docMk/>
            <pc:sldMk cId="3668082236" sldId="614"/>
            <ac:graphicFrameMk id="293" creationId="{4A5572B6-F266-BA51-3FCE-3CA4B91375F1}"/>
          </ac:graphicFrameMkLst>
        </pc:graphicFrameChg>
        <pc:graphicFrameChg chg="add del mod replST">
          <ac:chgData name="Grace, Morgan (Brisbane)" userId="221d5f7b-4a46-4bd5-bdf1-698d3a91c208" providerId="ADAL" clId="{D90324C1-6CE4-4C28-B886-AED0B666B37F}" dt="2024-06-07T04:36:50.754" v="61508"/>
          <ac:graphicFrameMkLst>
            <pc:docMk/>
            <pc:sldMk cId="3668082236" sldId="614"/>
            <ac:graphicFrameMk id="294" creationId="{33089149-118A-AD7A-C1B7-B6F1F85867DD}"/>
          </ac:graphicFrameMkLst>
        </pc:graphicFrameChg>
        <pc:graphicFrameChg chg="add del mod replST">
          <ac:chgData name="Grace, Morgan (Brisbane)" userId="221d5f7b-4a46-4bd5-bdf1-698d3a91c208" providerId="ADAL" clId="{D90324C1-6CE4-4C28-B886-AED0B666B37F}" dt="2024-06-07T04:37:10.921" v="61702"/>
          <ac:graphicFrameMkLst>
            <pc:docMk/>
            <pc:sldMk cId="3668082236" sldId="614"/>
            <ac:graphicFrameMk id="296" creationId="{C4048A43-5538-11D5-5E27-19FEACD3E3E0}"/>
          </ac:graphicFrameMkLst>
        </pc:graphicFrameChg>
        <pc:graphicFrameChg chg="add del mod replST">
          <ac:chgData name="Grace, Morgan (Brisbane)" userId="221d5f7b-4a46-4bd5-bdf1-698d3a91c208" providerId="ADAL" clId="{D90324C1-6CE4-4C28-B886-AED0B666B37F}" dt="2024-06-07T04:37:16.790" v="61869"/>
          <ac:graphicFrameMkLst>
            <pc:docMk/>
            <pc:sldMk cId="3668082236" sldId="614"/>
            <ac:graphicFrameMk id="302" creationId="{ECDC0AA4-7BDB-73F0-F4EF-9C3C96D12F5C}"/>
          </ac:graphicFrameMkLst>
        </pc:graphicFrameChg>
        <pc:graphicFrameChg chg="add del mod replST">
          <ac:chgData name="Grace, Morgan (Brisbane)" userId="221d5f7b-4a46-4bd5-bdf1-698d3a91c208" providerId="ADAL" clId="{D90324C1-6CE4-4C28-B886-AED0B666B37F}" dt="2024-06-07T04:46:08.352" v="74874"/>
          <ac:graphicFrameMkLst>
            <pc:docMk/>
            <pc:sldMk cId="3668082236" sldId="614"/>
            <ac:graphicFrameMk id="303" creationId="{6871E11F-5376-78A7-2273-DC3DEFBD6F1D}"/>
          </ac:graphicFrameMkLst>
        </pc:graphicFrameChg>
        <pc:graphicFrameChg chg="add del mod replST">
          <ac:chgData name="Grace, Morgan (Brisbane)" userId="221d5f7b-4a46-4bd5-bdf1-698d3a91c208" providerId="ADAL" clId="{D90324C1-6CE4-4C28-B886-AED0B666B37F}" dt="2024-06-07T04:37:34.554" v="62348"/>
          <ac:graphicFrameMkLst>
            <pc:docMk/>
            <pc:sldMk cId="3668082236" sldId="614"/>
            <ac:graphicFrameMk id="304" creationId="{1F5C9FEA-B57D-5939-3C42-FEE0F55BF8C5}"/>
          </ac:graphicFrameMkLst>
        </pc:graphicFrameChg>
        <pc:graphicFrameChg chg="add del mod replST">
          <ac:chgData name="Grace, Morgan (Brisbane)" userId="221d5f7b-4a46-4bd5-bdf1-698d3a91c208" providerId="ADAL" clId="{D90324C1-6CE4-4C28-B886-AED0B666B37F}" dt="2024-06-07T04:37:40.081" v="63301"/>
          <ac:graphicFrameMkLst>
            <pc:docMk/>
            <pc:sldMk cId="3668082236" sldId="614"/>
            <ac:graphicFrameMk id="312" creationId="{A9499F8E-D2F5-EAEA-E61F-A050296050E8}"/>
          </ac:graphicFrameMkLst>
        </pc:graphicFrameChg>
        <pc:graphicFrameChg chg="add del mod replST">
          <ac:chgData name="Grace, Morgan (Brisbane)" userId="221d5f7b-4a46-4bd5-bdf1-698d3a91c208" providerId="ADAL" clId="{D90324C1-6CE4-4C28-B886-AED0B666B37F}" dt="2024-06-07T04:38:35.688" v="64030"/>
          <ac:graphicFrameMkLst>
            <pc:docMk/>
            <pc:sldMk cId="3668082236" sldId="614"/>
            <ac:graphicFrameMk id="334" creationId="{40ED88FA-B6CD-0CD8-2DEE-92A1E4598208}"/>
          </ac:graphicFrameMkLst>
        </pc:graphicFrameChg>
        <pc:graphicFrameChg chg="add del mod replST">
          <ac:chgData name="Grace, Morgan (Brisbane)" userId="221d5f7b-4a46-4bd5-bdf1-698d3a91c208" providerId="ADAL" clId="{D90324C1-6CE4-4C28-B886-AED0B666B37F}" dt="2024-06-07T04:38:38.735" v="64450"/>
          <ac:graphicFrameMkLst>
            <pc:docMk/>
            <pc:sldMk cId="3668082236" sldId="614"/>
            <ac:graphicFrameMk id="345" creationId="{2EC6E08D-6629-249F-CF8C-9F72274AFC6F}"/>
          </ac:graphicFrameMkLst>
        </pc:graphicFrameChg>
        <pc:graphicFrameChg chg="add del mod replST">
          <ac:chgData name="Grace, Morgan (Brisbane)" userId="221d5f7b-4a46-4bd5-bdf1-698d3a91c208" providerId="ADAL" clId="{D90324C1-6CE4-4C28-B886-AED0B666B37F}" dt="2024-06-07T04:38:40.778" v="64750"/>
          <ac:graphicFrameMkLst>
            <pc:docMk/>
            <pc:sldMk cId="3668082236" sldId="614"/>
            <ac:graphicFrameMk id="346" creationId="{F237ED75-82F9-63D0-E59A-9BE83E2D3471}"/>
          </ac:graphicFrameMkLst>
        </pc:graphicFrameChg>
        <pc:graphicFrameChg chg="add del mod replST">
          <ac:chgData name="Grace, Morgan (Brisbane)" userId="221d5f7b-4a46-4bd5-bdf1-698d3a91c208" providerId="ADAL" clId="{D90324C1-6CE4-4C28-B886-AED0B666B37F}" dt="2024-06-07T04:38:42.483" v="65168"/>
          <ac:graphicFrameMkLst>
            <pc:docMk/>
            <pc:sldMk cId="3668082236" sldId="614"/>
            <ac:graphicFrameMk id="347" creationId="{CC4DEA35-EB08-EA80-3D05-D9BAFE1628BB}"/>
          </ac:graphicFrameMkLst>
        </pc:graphicFrameChg>
        <pc:graphicFrameChg chg="add del mod replST">
          <ac:chgData name="Grace, Morgan (Brisbane)" userId="221d5f7b-4a46-4bd5-bdf1-698d3a91c208" providerId="ADAL" clId="{D90324C1-6CE4-4C28-B886-AED0B666B37F}" dt="2024-06-07T04:38:45.137" v="65576"/>
          <ac:graphicFrameMkLst>
            <pc:docMk/>
            <pc:sldMk cId="3668082236" sldId="614"/>
            <ac:graphicFrameMk id="348" creationId="{B2D4502D-CE80-BADD-9CA2-038B370CF52B}"/>
          </ac:graphicFrameMkLst>
        </pc:graphicFrameChg>
        <pc:graphicFrameChg chg="add del mod replST">
          <ac:chgData name="Grace, Morgan (Brisbane)" userId="221d5f7b-4a46-4bd5-bdf1-698d3a91c208" providerId="ADAL" clId="{D90324C1-6CE4-4C28-B886-AED0B666B37F}" dt="2024-06-07T04:38:47.872" v="65974"/>
          <ac:graphicFrameMkLst>
            <pc:docMk/>
            <pc:sldMk cId="3668082236" sldId="614"/>
            <ac:graphicFrameMk id="349" creationId="{1E999E02-3E15-90B7-E431-BD3D63B289DC}"/>
          </ac:graphicFrameMkLst>
        </pc:graphicFrameChg>
        <pc:graphicFrameChg chg="add del mod replST">
          <ac:chgData name="Grace, Morgan (Brisbane)" userId="221d5f7b-4a46-4bd5-bdf1-698d3a91c208" providerId="ADAL" clId="{D90324C1-6CE4-4C28-B886-AED0B666B37F}" dt="2024-06-07T04:38:54.971" v="66169"/>
          <ac:graphicFrameMkLst>
            <pc:docMk/>
            <pc:sldMk cId="3668082236" sldId="614"/>
            <ac:graphicFrameMk id="350" creationId="{91562CE2-8C7B-90F7-6F4C-0516DCACA038}"/>
          </ac:graphicFrameMkLst>
        </pc:graphicFrameChg>
        <pc:graphicFrameChg chg="add del mod replST">
          <ac:chgData name="Grace, Morgan (Brisbane)" userId="221d5f7b-4a46-4bd5-bdf1-698d3a91c208" providerId="ADAL" clId="{D90324C1-6CE4-4C28-B886-AED0B666B37F}" dt="2024-06-07T04:38:57.186" v="66300"/>
          <ac:graphicFrameMkLst>
            <pc:docMk/>
            <pc:sldMk cId="3668082236" sldId="614"/>
            <ac:graphicFrameMk id="351" creationId="{5ACD1526-BEDF-B211-5A2D-49AAFD494C59}"/>
          </ac:graphicFrameMkLst>
        </pc:graphicFrameChg>
        <pc:graphicFrameChg chg="add del mod replST">
          <ac:chgData name="Grace, Morgan (Brisbane)" userId="221d5f7b-4a46-4bd5-bdf1-698d3a91c208" providerId="ADAL" clId="{D90324C1-6CE4-4C28-B886-AED0B666B37F}" dt="2024-06-07T04:39:34.114" v="66459"/>
          <ac:graphicFrameMkLst>
            <pc:docMk/>
            <pc:sldMk cId="3668082236" sldId="614"/>
            <ac:graphicFrameMk id="352" creationId="{9A529F5B-3431-A895-D89E-062F7DF4D6E7}"/>
          </ac:graphicFrameMkLst>
        </pc:graphicFrameChg>
        <pc:graphicFrameChg chg="add del mod replST">
          <ac:chgData name="Grace, Morgan (Brisbane)" userId="221d5f7b-4a46-4bd5-bdf1-698d3a91c208" providerId="ADAL" clId="{D90324C1-6CE4-4C28-B886-AED0B666B37F}" dt="2024-06-07T04:39:35.575" v="66554"/>
          <ac:graphicFrameMkLst>
            <pc:docMk/>
            <pc:sldMk cId="3668082236" sldId="614"/>
            <ac:graphicFrameMk id="357" creationId="{4F9AABC8-2F70-CDBE-8D24-B4BA9DEF2A93}"/>
          </ac:graphicFrameMkLst>
        </pc:graphicFrameChg>
        <pc:graphicFrameChg chg="add del mod replST">
          <ac:chgData name="Grace, Morgan (Brisbane)" userId="221d5f7b-4a46-4bd5-bdf1-698d3a91c208" providerId="ADAL" clId="{D90324C1-6CE4-4C28-B886-AED0B666B37F}" dt="2024-06-07T04:39:37.320" v="66711"/>
          <ac:graphicFrameMkLst>
            <pc:docMk/>
            <pc:sldMk cId="3668082236" sldId="614"/>
            <ac:graphicFrameMk id="358" creationId="{F0DEE055-AA9E-4361-A5CB-969838DA28ED}"/>
          </ac:graphicFrameMkLst>
        </pc:graphicFrameChg>
        <pc:graphicFrameChg chg="add del mod replST">
          <ac:chgData name="Grace, Morgan (Brisbane)" userId="221d5f7b-4a46-4bd5-bdf1-698d3a91c208" providerId="ADAL" clId="{D90324C1-6CE4-4C28-B886-AED0B666B37F}" dt="2024-06-07T04:39:39.673" v="66842"/>
          <ac:graphicFrameMkLst>
            <pc:docMk/>
            <pc:sldMk cId="3668082236" sldId="614"/>
            <ac:graphicFrameMk id="361" creationId="{86F9362B-E10D-C69C-9143-15B6AE1A2F79}"/>
          </ac:graphicFrameMkLst>
        </pc:graphicFrameChg>
        <pc:graphicFrameChg chg="add del mod replST">
          <ac:chgData name="Grace, Morgan (Brisbane)" userId="221d5f7b-4a46-4bd5-bdf1-698d3a91c208" providerId="ADAL" clId="{D90324C1-6CE4-4C28-B886-AED0B666B37F}" dt="2024-06-07T04:39:43.651" v="66975"/>
          <ac:graphicFrameMkLst>
            <pc:docMk/>
            <pc:sldMk cId="3668082236" sldId="614"/>
            <ac:graphicFrameMk id="364" creationId="{030DDAEE-EF01-F4AE-74D3-3A9C008F3411}"/>
          </ac:graphicFrameMkLst>
        </pc:graphicFrameChg>
        <pc:graphicFrameChg chg="add del mod replST">
          <ac:chgData name="Grace, Morgan (Brisbane)" userId="221d5f7b-4a46-4bd5-bdf1-698d3a91c208" providerId="ADAL" clId="{D90324C1-6CE4-4C28-B886-AED0B666B37F}" dt="2024-06-07T04:39:51.184" v="67121"/>
          <ac:graphicFrameMkLst>
            <pc:docMk/>
            <pc:sldMk cId="3668082236" sldId="614"/>
            <ac:graphicFrameMk id="367" creationId="{872286E2-FFF4-6093-C567-E99D72032D5A}"/>
          </ac:graphicFrameMkLst>
        </pc:graphicFrameChg>
        <pc:graphicFrameChg chg="add del mod replST">
          <ac:chgData name="Grace, Morgan (Brisbane)" userId="221d5f7b-4a46-4bd5-bdf1-698d3a91c208" providerId="ADAL" clId="{D90324C1-6CE4-4C28-B886-AED0B666B37F}" dt="2024-06-07T04:40:03.975" v="67220"/>
          <ac:graphicFrameMkLst>
            <pc:docMk/>
            <pc:sldMk cId="3668082236" sldId="614"/>
            <ac:graphicFrameMk id="369" creationId="{F3186A87-E2DD-CC4D-3926-9357B4786197}"/>
          </ac:graphicFrameMkLst>
        </pc:graphicFrameChg>
        <pc:graphicFrameChg chg="add del mod replST">
          <ac:chgData name="Grace, Morgan (Brisbane)" userId="221d5f7b-4a46-4bd5-bdf1-698d3a91c208" providerId="ADAL" clId="{D90324C1-6CE4-4C28-B886-AED0B666B37F}" dt="2024-06-07T04:40:06.835" v="68223"/>
          <ac:graphicFrameMkLst>
            <pc:docMk/>
            <pc:sldMk cId="3668082236" sldId="614"/>
            <ac:graphicFrameMk id="370" creationId="{B6DC6B85-EE71-1F23-3817-8C668C7BAD9A}"/>
          </ac:graphicFrameMkLst>
        </pc:graphicFrameChg>
        <pc:graphicFrameChg chg="add del mod replST">
          <ac:chgData name="Grace, Morgan (Brisbane)" userId="221d5f7b-4a46-4bd5-bdf1-698d3a91c208" providerId="ADAL" clId="{D90324C1-6CE4-4C28-B886-AED0B666B37F}" dt="2024-06-07T04:41:18.238" v="70564"/>
          <ac:graphicFrameMkLst>
            <pc:docMk/>
            <pc:sldMk cId="3668082236" sldId="614"/>
            <ac:graphicFrameMk id="392" creationId="{9B546238-BD92-0FEC-0B09-6A931C5243E7}"/>
          </ac:graphicFrameMkLst>
        </pc:graphicFrameChg>
        <pc:graphicFrameChg chg="add del mod replST">
          <ac:chgData name="Grace, Morgan (Brisbane)" userId="221d5f7b-4a46-4bd5-bdf1-698d3a91c208" providerId="ADAL" clId="{D90324C1-6CE4-4C28-B886-AED0B666B37F}" dt="2024-06-07T04:40:20.600" v="68916"/>
          <ac:graphicFrameMkLst>
            <pc:docMk/>
            <pc:sldMk cId="3668082236" sldId="614"/>
            <ac:graphicFrameMk id="398" creationId="{F1222A8D-5447-DAB8-1F97-980868E8B177}"/>
          </ac:graphicFrameMkLst>
        </pc:graphicFrameChg>
        <pc:graphicFrameChg chg="add del mod replST">
          <ac:chgData name="Grace, Morgan (Brisbane)" userId="221d5f7b-4a46-4bd5-bdf1-698d3a91c208" providerId="ADAL" clId="{D90324C1-6CE4-4C28-B886-AED0B666B37F}" dt="2024-06-07T04:40:27.331" v="69287"/>
          <ac:graphicFrameMkLst>
            <pc:docMk/>
            <pc:sldMk cId="3668082236" sldId="614"/>
            <ac:graphicFrameMk id="400" creationId="{5E2741CF-D83B-BE1D-B6EF-810432E0F249}"/>
          </ac:graphicFrameMkLst>
        </pc:graphicFrameChg>
        <pc:graphicFrameChg chg="add del mod replST">
          <ac:chgData name="Grace, Morgan (Brisbane)" userId="221d5f7b-4a46-4bd5-bdf1-698d3a91c208" providerId="ADAL" clId="{D90324C1-6CE4-4C28-B886-AED0B666B37F}" dt="2024-06-07T04:40:29.621" v="69468"/>
          <ac:graphicFrameMkLst>
            <pc:docMk/>
            <pc:sldMk cId="3668082236" sldId="614"/>
            <ac:graphicFrameMk id="402" creationId="{58CBA8F1-D554-AF37-BE60-E6D650751D28}"/>
          </ac:graphicFrameMkLst>
        </pc:graphicFrameChg>
        <pc:graphicFrameChg chg="add del mod replST">
          <ac:chgData name="Grace, Morgan (Brisbane)" userId="221d5f7b-4a46-4bd5-bdf1-698d3a91c208" providerId="ADAL" clId="{D90324C1-6CE4-4C28-B886-AED0B666B37F}" dt="2024-06-07T04:40:33.096" v="69634"/>
          <ac:graphicFrameMkLst>
            <pc:docMk/>
            <pc:sldMk cId="3668082236" sldId="614"/>
            <ac:graphicFrameMk id="404" creationId="{E881C049-37C0-74E0-9900-CA4116348F04}"/>
          </ac:graphicFrameMkLst>
        </pc:graphicFrameChg>
        <pc:graphicFrameChg chg="add del mod replST">
          <ac:chgData name="Grace, Morgan (Brisbane)" userId="221d5f7b-4a46-4bd5-bdf1-698d3a91c208" providerId="ADAL" clId="{D90324C1-6CE4-4C28-B886-AED0B666B37F}" dt="2024-06-07T04:40:35.548" v="69815"/>
          <ac:graphicFrameMkLst>
            <pc:docMk/>
            <pc:sldMk cId="3668082236" sldId="614"/>
            <ac:graphicFrameMk id="406" creationId="{BD3B9422-A847-6FCA-3663-215996703135}"/>
          </ac:graphicFrameMkLst>
        </pc:graphicFrameChg>
        <pc:graphicFrameChg chg="add del mod replST">
          <ac:chgData name="Grace, Morgan (Brisbane)" userId="221d5f7b-4a46-4bd5-bdf1-698d3a91c208" providerId="ADAL" clId="{D90324C1-6CE4-4C28-B886-AED0B666B37F}" dt="2024-06-07T04:40:39.275" v="69981"/>
          <ac:graphicFrameMkLst>
            <pc:docMk/>
            <pc:sldMk cId="3668082236" sldId="614"/>
            <ac:graphicFrameMk id="408" creationId="{C1BEABB9-6C67-4C66-2766-88ACAC60E860}"/>
          </ac:graphicFrameMkLst>
        </pc:graphicFrameChg>
        <pc:graphicFrameChg chg="add del mod replST">
          <ac:chgData name="Grace, Morgan (Brisbane)" userId="221d5f7b-4a46-4bd5-bdf1-698d3a91c208" providerId="ADAL" clId="{D90324C1-6CE4-4C28-B886-AED0B666B37F}" dt="2024-06-07T04:40:43.955" v="70199"/>
          <ac:graphicFrameMkLst>
            <pc:docMk/>
            <pc:sldMk cId="3668082236" sldId="614"/>
            <ac:graphicFrameMk id="410" creationId="{AE1AB894-BE5B-9B5B-DA21-507C003160DE}"/>
          </ac:graphicFrameMkLst>
        </pc:graphicFrameChg>
        <pc:graphicFrameChg chg="add del mod replST">
          <ac:chgData name="Grace, Morgan (Brisbane)" userId="221d5f7b-4a46-4bd5-bdf1-698d3a91c208" providerId="ADAL" clId="{D90324C1-6CE4-4C28-B886-AED0B666B37F}" dt="2024-06-07T04:42:59.982" v="71878"/>
          <ac:graphicFrameMkLst>
            <pc:docMk/>
            <pc:sldMk cId="3668082236" sldId="614"/>
            <ac:graphicFrameMk id="412" creationId="{4AFA5F93-722C-110D-C2D0-71310D777126}"/>
          </ac:graphicFrameMkLst>
        </pc:graphicFrameChg>
        <pc:graphicFrameChg chg="add del mod replST">
          <ac:chgData name="Grace, Morgan (Brisbane)" userId="221d5f7b-4a46-4bd5-bdf1-698d3a91c208" providerId="ADAL" clId="{D90324C1-6CE4-4C28-B886-AED0B666B37F}" dt="2024-06-07T04:41:22.348" v="70696"/>
          <ac:graphicFrameMkLst>
            <pc:docMk/>
            <pc:sldMk cId="3668082236" sldId="614"/>
            <ac:graphicFrameMk id="414" creationId="{BAA43E0E-6BCB-FC6A-AFFF-A8AF3EAB5578}"/>
          </ac:graphicFrameMkLst>
        </pc:graphicFrameChg>
        <pc:graphicFrameChg chg="add del mod replST">
          <ac:chgData name="Grace, Morgan (Brisbane)" userId="221d5f7b-4a46-4bd5-bdf1-698d3a91c208" providerId="ADAL" clId="{D90324C1-6CE4-4C28-B886-AED0B666B37F}" dt="2024-06-07T04:41:28.120" v="70828"/>
          <ac:graphicFrameMkLst>
            <pc:docMk/>
            <pc:sldMk cId="3668082236" sldId="614"/>
            <ac:graphicFrameMk id="415" creationId="{5B8754E5-39A1-A682-8102-1700A3FAEB04}"/>
          </ac:graphicFrameMkLst>
        </pc:graphicFrameChg>
        <pc:graphicFrameChg chg="add del mod replST">
          <ac:chgData name="Grace, Morgan (Brisbane)" userId="221d5f7b-4a46-4bd5-bdf1-698d3a91c208" providerId="ADAL" clId="{D90324C1-6CE4-4C28-B886-AED0B666B37F}" dt="2024-06-07T04:41:34.833" v="70960"/>
          <ac:graphicFrameMkLst>
            <pc:docMk/>
            <pc:sldMk cId="3668082236" sldId="614"/>
            <ac:graphicFrameMk id="416" creationId="{4DEDDD2F-EC99-8114-7952-C8CCD46128A3}"/>
          </ac:graphicFrameMkLst>
        </pc:graphicFrameChg>
        <pc:graphicFrameChg chg="add del mod replST">
          <ac:chgData name="Grace, Morgan (Brisbane)" userId="221d5f7b-4a46-4bd5-bdf1-698d3a91c208" providerId="ADAL" clId="{D90324C1-6CE4-4C28-B886-AED0B666B37F}" dt="2024-06-07T04:41:40.146" v="71092"/>
          <ac:graphicFrameMkLst>
            <pc:docMk/>
            <pc:sldMk cId="3668082236" sldId="614"/>
            <ac:graphicFrameMk id="417" creationId="{48FCFE02-1E9C-849A-B060-0DEDA22304DC}"/>
          </ac:graphicFrameMkLst>
        </pc:graphicFrameChg>
        <pc:graphicFrameChg chg="add del mod replST">
          <ac:chgData name="Grace, Morgan (Brisbane)" userId="221d5f7b-4a46-4bd5-bdf1-698d3a91c208" providerId="ADAL" clId="{D90324C1-6CE4-4C28-B886-AED0B666B37F}" dt="2024-06-07T04:41:49.230" v="71224"/>
          <ac:graphicFrameMkLst>
            <pc:docMk/>
            <pc:sldMk cId="3668082236" sldId="614"/>
            <ac:graphicFrameMk id="418" creationId="{DC604167-3925-F933-DF44-D71E7A1F5AE2}"/>
          </ac:graphicFrameMkLst>
        </pc:graphicFrameChg>
        <pc:graphicFrameChg chg="add del mod replST">
          <ac:chgData name="Grace, Morgan (Brisbane)" userId="221d5f7b-4a46-4bd5-bdf1-698d3a91c208" providerId="ADAL" clId="{D90324C1-6CE4-4C28-B886-AED0B666B37F}" dt="2024-06-07T04:42:01.990" v="71356"/>
          <ac:graphicFrameMkLst>
            <pc:docMk/>
            <pc:sldMk cId="3668082236" sldId="614"/>
            <ac:graphicFrameMk id="419" creationId="{83E1FEEC-5BDF-3BA2-3D85-B44EBE158208}"/>
          </ac:graphicFrameMkLst>
        </pc:graphicFrameChg>
        <pc:graphicFrameChg chg="add del mod replST">
          <ac:chgData name="Grace, Morgan (Brisbane)" userId="221d5f7b-4a46-4bd5-bdf1-698d3a91c208" providerId="ADAL" clId="{D90324C1-6CE4-4C28-B886-AED0B666B37F}" dt="2024-06-07T04:42:07.277" v="71488"/>
          <ac:graphicFrameMkLst>
            <pc:docMk/>
            <pc:sldMk cId="3668082236" sldId="614"/>
            <ac:graphicFrameMk id="420" creationId="{947D6928-CD74-9EC1-9894-C0CE6056681C}"/>
          </ac:graphicFrameMkLst>
        </pc:graphicFrameChg>
        <pc:graphicFrameChg chg="add del mod replST">
          <ac:chgData name="Grace, Morgan (Brisbane)" userId="221d5f7b-4a46-4bd5-bdf1-698d3a91c208" providerId="ADAL" clId="{D90324C1-6CE4-4C28-B886-AED0B666B37F}" dt="2024-06-07T04:42:47.584" v="71718"/>
          <ac:graphicFrameMkLst>
            <pc:docMk/>
            <pc:sldMk cId="3668082236" sldId="614"/>
            <ac:graphicFrameMk id="421" creationId="{CEB2E97E-2BF4-3BD1-8EE4-EBD527CE901D}"/>
          </ac:graphicFrameMkLst>
        </pc:graphicFrameChg>
        <pc:graphicFrameChg chg="add del mod replST">
          <ac:chgData name="Grace, Morgan (Brisbane)" userId="221d5f7b-4a46-4bd5-bdf1-698d3a91c208" providerId="ADAL" clId="{D90324C1-6CE4-4C28-B886-AED0B666B37F}" dt="2024-06-07T04:43:18.045" v="72170"/>
          <ac:graphicFrameMkLst>
            <pc:docMk/>
            <pc:sldMk cId="3668082236" sldId="614"/>
            <ac:graphicFrameMk id="425" creationId="{BB3E87F4-5EE7-08A9-5AE8-EA1C79AE8E45}"/>
          </ac:graphicFrameMkLst>
        </pc:graphicFrameChg>
        <pc:graphicFrameChg chg="add del mod replST">
          <ac:chgData name="Grace, Morgan (Brisbane)" userId="221d5f7b-4a46-4bd5-bdf1-698d3a91c208" providerId="ADAL" clId="{D90324C1-6CE4-4C28-B886-AED0B666B37F}" dt="2024-06-07T04:43:01" v="72038"/>
          <ac:graphicFrameMkLst>
            <pc:docMk/>
            <pc:sldMk cId="3668082236" sldId="614"/>
            <ac:graphicFrameMk id="427" creationId="{16C7E286-8068-FA21-8EA7-6C86E623A6DC}"/>
          </ac:graphicFrameMkLst>
        </pc:graphicFrameChg>
        <pc:graphicFrameChg chg="add del mod replST">
          <ac:chgData name="Grace, Morgan (Brisbane)" userId="221d5f7b-4a46-4bd5-bdf1-698d3a91c208" providerId="ADAL" clId="{D90324C1-6CE4-4C28-B886-AED0B666B37F}" dt="2024-06-07T05:38:15.221" v="122712"/>
          <ac:graphicFrameMkLst>
            <pc:docMk/>
            <pc:sldMk cId="3668082236" sldId="614"/>
            <ac:graphicFrameMk id="429" creationId="{476792E3-E739-7029-782F-F75D55A33339}"/>
          </ac:graphicFrameMkLst>
        </pc:graphicFrameChg>
        <pc:graphicFrameChg chg="add del mod replST">
          <ac:chgData name="Grace, Morgan (Brisbane)" userId="221d5f7b-4a46-4bd5-bdf1-698d3a91c208" providerId="ADAL" clId="{D90324C1-6CE4-4C28-B886-AED0B666B37F}" dt="2024-06-07T04:43:25.187" v="72296"/>
          <ac:graphicFrameMkLst>
            <pc:docMk/>
            <pc:sldMk cId="3668082236" sldId="614"/>
            <ac:graphicFrameMk id="432" creationId="{77393BCB-A310-0B48-3496-1105DE571597}"/>
          </ac:graphicFrameMkLst>
        </pc:graphicFrameChg>
        <pc:graphicFrameChg chg="add del mod replST">
          <ac:chgData name="Grace, Morgan (Brisbane)" userId="221d5f7b-4a46-4bd5-bdf1-698d3a91c208" providerId="ADAL" clId="{D90324C1-6CE4-4C28-B886-AED0B666B37F}" dt="2024-06-07T04:43:31.388" v="72422"/>
          <ac:graphicFrameMkLst>
            <pc:docMk/>
            <pc:sldMk cId="3668082236" sldId="614"/>
            <ac:graphicFrameMk id="433" creationId="{D457D03F-C43F-3736-542D-69549F5A0A54}"/>
          </ac:graphicFrameMkLst>
        </pc:graphicFrameChg>
        <pc:graphicFrameChg chg="add del mod replST">
          <ac:chgData name="Grace, Morgan (Brisbane)" userId="221d5f7b-4a46-4bd5-bdf1-698d3a91c208" providerId="ADAL" clId="{D90324C1-6CE4-4C28-B886-AED0B666B37F}" dt="2024-06-07T04:43:37.321" v="72547"/>
          <ac:graphicFrameMkLst>
            <pc:docMk/>
            <pc:sldMk cId="3668082236" sldId="614"/>
            <ac:graphicFrameMk id="434" creationId="{D0FC633C-CB3F-AC50-5741-DAD181176AAC}"/>
          </ac:graphicFrameMkLst>
        </pc:graphicFrameChg>
        <pc:graphicFrameChg chg="add del mod replST">
          <ac:chgData name="Grace, Morgan (Brisbane)" userId="221d5f7b-4a46-4bd5-bdf1-698d3a91c208" providerId="ADAL" clId="{D90324C1-6CE4-4C28-B886-AED0B666B37F}" dt="2024-06-07T04:43:41.619" v="72673"/>
          <ac:graphicFrameMkLst>
            <pc:docMk/>
            <pc:sldMk cId="3668082236" sldId="614"/>
            <ac:graphicFrameMk id="435" creationId="{39EE146B-F515-8B11-F90D-0151EF30BBCA}"/>
          </ac:graphicFrameMkLst>
        </pc:graphicFrameChg>
        <pc:graphicFrameChg chg="add del mod replST">
          <ac:chgData name="Grace, Morgan (Brisbane)" userId="221d5f7b-4a46-4bd5-bdf1-698d3a91c208" providerId="ADAL" clId="{D90324C1-6CE4-4C28-B886-AED0B666B37F}" dt="2024-06-07T04:43:58.262" v="72799"/>
          <ac:graphicFrameMkLst>
            <pc:docMk/>
            <pc:sldMk cId="3668082236" sldId="614"/>
            <ac:graphicFrameMk id="436" creationId="{090BBD09-CD10-55AD-C53F-1CDDF5F914FE}"/>
          </ac:graphicFrameMkLst>
        </pc:graphicFrameChg>
        <pc:graphicFrameChg chg="add del mod replST">
          <ac:chgData name="Grace, Morgan (Brisbane)" userId="221d5f7b-4a46-4bd5-bdf1-698d3a91c208" providerId="ADAL" clId="{D90324C1-6CE4-4C28-B886-AED0B666B37F}" dt="2024-06-07T04:44:03.223" v="72925"/>
          <ac:graphicFrameMkLst>
            <pc:docMk/>
            <pc:sldMk cId="3668082236" sldId="614"/>
            <ac:graphicFrameMk id="437" creationId="{C23B4CD3-E349-F298-3DC3-7AD042A46866}"/>
          </ac:graphicFrameMkLst>
        </pc:graphicFrameChg>
        <pc:graphicFrameChg chg="add del mod replST">
          <ac:chgData name="Grace, Morgan (Brisbane)" userId="221d5f7b-4a46-4bd5-bdf1-698d3a91c208" providerId="ADAL" clId="{D90324C1-6CE4-4C28-B886-AED0B666B37F}" dt="2024-06-07T04:44:07.728" v="73051"/>
          <ac:graphicFrameMkLst>
            <pc:docMk/>
            <pc:sldMk cId="3668082236" sldId="614"/>
            <ac:graphicFrameMk id="438" creationId="{72C1E11B-DB81-B700-6EC9-60C0AFDFD951}"/>
          </ac:graphicFrameMkLst>
        </pc:graphicFrameChg>
        <pc:graphicFrameChg chg="add del mod replST">
          <ac:chgData name="Grace, Morgan (Brisbane)" userId="221d5f7b-4a46-4bd5-bdf1-698d3a91c208" providerId="ADAL" clId="{D90324C1-6CE4-4C28-B886-AED0B666B37F}" dt="2024-06-07T04:44:14.144" v="73177"/>
          <ac:graphicFrameMkLst>
            <pc:docMk/>
            <pc:sldMk cId="3668082236" sldId="614"/>
            <ac:graphicFrameMk id="439" creationId="{3AA4650E-304C-BAD4-A7AF-467F5F45170C}"/>
          </ac:graphicFrameMkLst>
        </pc:graphicFrameChg>
        <pc:graphicFrameChg chg="add del mod replST">
          <ac:chgData name="Grace, Morgan (Brisbane)" userId="221d5f7b-4a46-4bd5-bdf1-698d3a91c208" providerId="ADAL" clId="{D90324C1-6CE4-4C28-B886-AED0B666B37F}" dt="2024-06-07T04:44:18.466" v="73303"/>
          <ac:graphicFrameMkLst>
            <pc:docMk/>
            <pc:sldMk cId="3668082236" sldId="614"/>
            <ac:graphicFrameMk id="440" creationId="{E8954BB0-48BE-D331-9FBF-DDDDBE1973BB}"/>
          </ac:graphicFrameMkLst>
        </pc:graphicFrameChg>
        <pc:graphicFrameChg chg="add del mod replST">
          <ac:chgData name="Grace, Morgan (Brisbane)" userId="221d5f7b-4a46-4bd5-bdf1-698d3a91c208" providerId="ADAL" clId="{D90324C1-6CE4-4C28-B886-AED0B666B37F}" dt="2024-06-07T04:44:25.850" v="73429"/>
          <ac:graphicFrameMkLst>
            <pc:docMk/>
            <pc:sldMk cId="3668082236" sldId="614"/>
            <ac:graphicFrameMk id="441" creationId="{C9EFB75B-4AB8-CCB9-4C79-666AD4D4CCE7}"/>
          </ac:graphicFrameMkLst>
        </pc:graphicFrameChg>
        <pc:graphicFrameChg chg="add del mod replST">
          <ac:chgData name="Grace, Morgan (Brisbane)" userId="221d5f7b-4a46-4bd5-bdf1-698d3a91c208" providerId="ADAL" clId="{D90324C1-6CE4-4C28-B886-AED0B666B37F}" dt="2024-06-07T04:44:34.422" v="73555"/>
          <ac:graphicFrameMkLst>
            <pc:docMk/>
            <pc:sldMk cId="3668082236" sldId="614"/>
            <ac:graphicFrameMk id="442" creationId="{C1D290B6-E58F-9EFF-5F34-8F50FDD3359F}"/>
          </ac:graphicFrameMkLst>
        </pc:graphicFrameChg>
        <pc:graphicFrameChg chg="add del mod replST">
          <ac:chgData name="Grace, Morgan (Brisbane)" userId="221d5f7b-4a46-4bd5-bdf1-698d3a91c208" providerId="ADAL" clId="{D90324C1-6CE4-4C28-B886-AED0B666B37F}" dt="2024-06-07T04:44:59.288" v="73680"/>
          <ac:graphicFrameMkLst>
            <pc:docMk/>
            <pc:sldMk cId="3668082236" sldId="614"/>
            <ac:graphicFrameMk id="443" creationId="{F122E002-A6E3-01D2-98B5-FEA7FCF3D3AC}"/>
          </ac:graphicFrameMkLst>
        </pc:graphicFrameChg>
        <pc:graphicFrameChg chg="add del mod replST">
          <ac:chgData name="Grace, Morgan (Brisbane)" userId="221d5f7b-4a46-4bd5-bdf1-698d3a91c208" providerId="ADAL" clId="{D90324C1-6CE4-4C28-B886-AED0B666B37F}" dt="2024-06-07T04:45:08.103" v="73805"/>
          <ac:graphicFrameMkLst>
            <pc:docMk/>
            <pc:sldMk cId="3668082236" sldId="614"/>
            <ac:graphicFrameMk id="444" creationId="{F3DE232E-CE45-F4C3-ABAB-A35B61762939}"/>
          </ac:graphicFrameMkLst>
        </pc:graphicFrameChg>
        <pc:graphicFrameChg chg="add del mod replST">
          <ac:chgData name="Grace, Morgan (Brisbane)" userId="221d5f7b-4a46-4bd5-bdf1-698d3a91c208" providerId="ADAL" clId="{D90324C1-6CE4-4C28-B886-AED0B666B37F}" dt="2024-06-07T04:45:20.548" v="73931"/>
          <ac:graphicFrameMkLst>
            <pc:docMk/>
            <pc:sldMk cId="3668082236" sldId="614"/>
            <ac:graphicFrameMk id="445" creationId="{1258C9B9-B69F-ECAD-0334-7EEFC3C3546B}"/>
          </ac:graphicFrameMkLst>
        </pc:graphicFrameChg>
        <pc:graphicFrameChg chg="add del mod replST">
          <ac:chgData name="Grace, Morgan (Brisbane)" userId="221d5f7b-4a46-4bd5-bdf1-698d3a91c208" providerId="ADAL" clId="{D90324C1-6CE4-4C28-B886-AED0B666B37F}" dt="2024-06-07T04:45:36.717" v="74056"/>
          <ac:graphicFrameMkLst>
            <pc:docMk/>
            <pc:sldMk cId="3668082236" sldId="614"/>
            <ac:graphicFrameMk id="446" creationId="{0C7D100B-2A2A-3D6F-464A-585F1A98C570}"/>
          </ac:graphicFrameMkLst>
        </pc:graphicFrameChg>
        <pc:graphicFrameChg chg="add del mod replST">
          <ac:chgData name="Grace, Morgan (Brisbane)" userId="221d5f7b-4a46-4bd5-bdf1-698d3a91c208" providerId="ADAL" clId="{D90324C1-6CE4-4C28-B886-AED0B666B37F}" dt="2024-06-07T04:45:43.029" v="74182"/>
          <ac:graphicFrameMkLst>
            <pc:docMk/>
            <pc:sldMk cId="3668082236" sldId="614"/>
            <ac:graphicFrameMk id="447" creationId="{7600BA77-9C0E-1DA8-6245-9F1E2267AE02}"/>
          </ac:graphicFrameMkLst>
        </pc:graphicFrameChg>
        <pc:graphicFrameChg chg="add del mod replST">
          <ac:chgData name="Grace, Morgan (Brisbane)" userId="221d5f7b-4a46-4bd5-bdf1-698d3a91c208" providerId="ADAL" clId="{D90324C1-6CE4-4C28-B886-AED0B666B37F}" dt="2024-06-07T04:45:49.858" v="74307"/>
          <ac:graphicFrameMkLst>
            <pc:docMk/>
            <pc:sldMk cId="3668082236" sldId="614"/>
            <ac:graphicFrameMk id="448" creationId="{DFA87D59-CC95-403C-2AAC-11E59FAA0A9D}"/>
          </ac:graphicFrameMkLst>
        </pc:graphicFrameChg>
        <pc:graphicFrameChg chg="add del mod replST">
          <ac:chgData name="Grace, Morgan (Brisbane)" userId="221d5f7b-4a46-4bd5-bdf1-698d3a91c208" providerId="ADAL" clId="{D90324C1-6CE4-4C28-B886-AED0B666B37F}" dt="2024-06-07T04:46:00.375" v="74501"/>
          <ac:graphicFrameMkLst>
            <pc:docMk/>
            <pc:sldMk cId="3668082236" sldId="614"/>
            <ac:graphicFrameMk id="449" creationId="{17325FAE-BD54-35C4-3DB2-2ACBE8EF9863}"/>
          </ac:graphicFrameMkLst>
        </pc:graphicFrameChg>
        <pc:graphicFrameChg chg="add del mod replST">
          <ac:chgData name="Grace, Morgan (Brisbane)" userId="221d5f7b-4a46-4bd5-bdf1-698d3a91c208" providerId="ADAL" clId="{D90324C1-6CE4-4C28-B886-AED0B666B37F}" dt="2024-06-07T04:47:08.016" v="77215"/>
          <ac:graphicFrameMkLst>
            <pc:docMk/>
            <pc:sldMk cId="3668082236" sldId="614"/>
            <ac:graphicFrameMk id="450" creationId="{EE3955CE-3816-80D5-7D15-06AB704A5677}"/>
          </ac:graphicFrameMkLst>
        </pc:graphicFrameChg>
        <pc:graphicFrameChg chg="add mod replST delST">
          <ac:chgData name="Grace, Morgan (Brisbane)" userId="221d5f7b-4a46-4bd5-bdf1-698d3a91c208" providerId="ADAL" clId="{D90324C1-6CE4-4C28-B886-AED0B666B37F}" dt="2024-06-07T04:46:05.546" v="74757"/>
          <ac:graphicFrameMkLst>
            <pc:docMk/>
            <pc:sldMk cId="3668082236" sldId="614"/>
            <ac:graphicFrameMk id="451" creationId="{859C1FD5-655F-D8D2-9900-8B6F8CFED4EB}"/>
          </ac:graphicFrameMkLst>
        </pc:graphicFrameChg>
        <pc:graphicFrameChg chg="add del mod replST">
          <ac:chgData name="Grace, Morgan (Brisbane)" userId="221d5f7b-4a46-4bd5-bdf1-698d3a91c208" providerId="ADAL" clId="{D90324C1-6CE4-4C28-B886-AED0B666B37F}" dt="2024-06-07T04:46:13.446" v="75015"/>
          <ac:graphicFrameMkLst>
            <pc:docMk/>
            <pc:sldMk cId="3668082236" sldId="614"/>
            <ac:graphicFrameMk id="454" creationId="{79F56586-486B-E945-AA09-F7B4C80D8948}"/>
          </ac:graphicFrameMkLst>
        </pc:graphicFrameChg>
        <pc:graphicFrameChg chg="add del mod replST">
          <ac:chgData name="Grace, Morgan (Brisbane)" userId="221d5f7b-4a46-4bd5-bdf1-698d3a91c208" providerId="ADAL" clId="{D90324C1-6CE4-4C28-B886-AED0B666B37F}" dt="2024-06-07T04:46:17.215" v="75180"/>
          <ac:graphicFrameMkLst>
            <pc:docMk/>
            <pc:sldMk cId="3668082236" sldId="614"/>
            <ac:graphicFrameMk id="456" creationId="{F69C5918-433F-9C45-B910-6C6C847DC8F2}"/>
          </ac:graphicFrameMkLst>
        </pc:graphicFrameChg>
        <pc:graphicFrameChg chg="add del mod replST">
          <ac:chgData name="Grace, Morgan (Brisbane)" userId="221d5f7b-4a46-4bd5-bdf1-698d3a91c208" providerId="ADAL" clId="{D90324C1-6CE4-4C28-B886-AED0B666B37F}" dt="2024-06-07T04:46:21.127" v="75289"/>
          <ac:graphicFrameMkLst>
            <pc:docMk/>
            <pc:sldMk cId="3668082236" sldId="614"/>
            <ac:graphicFrameMk id="458" creationId="{4AF8A9C0-753E-8A12-846C-3182672D6FBD}"/>
          </ac:graphicFrameMkLst>
        </pc:graphicFrameChg>
        <pc:graphicFrameChg chg="add del mod replST">
          <ac:chgData name="Grace, Morgan (Brisbane)" userId="221d5f7b-4a46-4bd5-bdf1-698d3a91c208" providerId="ADAL" clId="{D90324C1-6CE4-4C28-B886-AED0B666B37F}" dt="2024-06-07T04:46:23.761" v="75396"/>
          <ac:graphicFrameMkLst>
            <pc:docMk/>
            <pc:sldMk cId="3668082236" sldId="614"/>
            <ac:graphicFrameMk id="459" creationId="{4D55D386-EC96-1240-9A7F-23C59FC91E2C}"/>
          </ac:graphicFrameMkLst>
        </pc:graphicFrameChg>
        <pc:graphicFrameChg chg="add del mod replST">
          <ac:chgData name="Grace, Morgan (Brisbane)" userId="221d5f7b-4a46-4bd5-bdf1-698d3a91c208" providerId="ADAL" clId="{D90324C1-6CE4-4C28-B886-AED0B666B37F}" dt="2024-06-07T04:46:26.467" v="75503"/>
          <ac:graphicFrameMkLst>
            <pc:docMk/>
            <pc:sldMk cId="3668082236" sldId="614"/>
            <ac:graphicFrameMk id="460" creationId="{DA6A512D-F9D0-36F6-C555-B0705DC8C00B}"/>
          </ac:graphicFrameMkLst>
        </pc:graphicFrameChg>
        <pc:graphicFrameChg chg="add del mod replST">
          <ac:chgData name="Grace, Morgan (Brisbane)" userId="221d5f7b-4a46-4bd5-bdf1-698d3a91c208" providerId="ADAL" clId="{D90324C1-6CE4-4C28-B886-AED0B666B37F}" dt="2024-06-07T04:46:28.195" v="75613"/>
          <ac:graphicFrameMkLst>
            <pc:docMk/>
            <pc:sldMk cId="3668082236" sldId="614"/>
            <ac:graphicFrameMk id="461" creationId="{D9CF8B96-324F-1D97-C2BD-DA78E1E34762}"/>
          </ac:graphicFrameMkLst>
        </pc:graphicFrameChg>
        <pc:graphicFrameChg chg="add del mod replST">
          <ac:chgData name="Grace, Morgan (Brisbane)" userId="221d5f7b-4a46-4bd5-bdf1-698d3a91c208" providerId="ADAL" clId="{D90324C1-6CE4-4C28-B886-AED0B666B37F}" dt="2024-06-07T04:46:29.417" v="75789"/>
          <ac:graphicFrameMkLst>
            <pc:docMk/>
            <pc:sldMk cId="3668082236" sldId="614"/>
            <ac:graphicFrameMk id="462" creationId="{6835EC03-7CFB-F51B-F6E2-63D1E3FD0F66}"/>
          </ac:graphicFrameMkLst>
        </pc:graphicFrameChg>
        <pc:graphicFrameChg chg="add del mod replST">
          <ac:chgData name="Grace, Morgan (Brisbane)" userId="221d5f7b-4a46-4bd5-bdf1-698d3a91c208" providerId="ADAL" clId="{D90324C1-6CE4-4C28-B886-AED0B666B37F}" dt="2024-06-07T04:46:32.303" v="75898"/>
          <ac:graphicFrameMkLst>
            <pc:docMk/>
            <pc:sldMk cId="3668082236" sldId="614"/>
            <ac:graphicFrameMk id="465" creationId="{1AA2530C-FE78-1091-7A11-18AB58C26F06}"/>
          </ac:graphicFrameMkLst>
        </pc:graphicFrameChg>
        <pc:graphicFrameChg chg="add del mod replST">
          <ac:chgData name="Grace, Morgan (Brisbane)" userId="221d5f7b-4a46-4bd5-bdf1-698d3a91c208" providerId="ADAL" clId="{D90324C1-6CE4-4C28-B886-AED0B666B37F}" dt="2024-06-07T04:46:34.043" v="76002"/>
          <ac:graphicFrameMkLst>
            <pc:docMk/>
            <pc:sldMk cId="3668082236" sldId="614"/>
            <ac:graphicFrameMk id="466" creationId="{FDB5374B-54A4-C1FE-C0A4-5031371F8A07}"/>
          </ac:graphicFrameMkLst>
        </pc:graphicFrameChg>
        <pc:graphicFrameChg chg="add del mod replST">
          <ac:chgData name="Grace, Morgan (Brisbane)" userId="221d5f7b-4a46-4bd5-bdf1-698d3a91c208" providerId="ADAL" clId="{D90324C1-6CE4-4C28-B886-AED0B666B37F}" dt="2024-06-07T04:46:36.679" v="76182"/>
          <ac:graphicFrameMkLst>
            <pc:docMk/>
            <pc:sldMk cId="3668082236" sldId="614"/>
            <ac:graphicFrameMk id="467" creationId="{0BFFB1C3-2D43-A11F-972E-7B72A5EDF4CB}"/>
          </ac:graphicFrameMkLst>
        </pc:graphicFrameChg>
        <pc:graphicFrameChg chg="add del mod replST">
          <ac:chgData name="Grace, Morgan (Brisbane)" userId="221d5f7b-4a46-4bd5-bdf1-698d3a91c208" providerId="ADAL" clId="{D90324C1-6CE4-4C28-B886-AED0B666B37F}" dt="2024-06-07T04:46:38.106" v="76299"/>
          <ac:graphicFrameMkLst>
            <pc:docMk/>
            <pc:sldMk cId="3668082236" sldId="614"/>
            <ac:graphicFrameMk id="470" creationId="{C5978931-2B14-A07D-6616-CAA9E8924F51}"/>
          </ac:graphicFrameMkLst>
        </pc:graphicFrameChg>
        <pc:graphicFrameChg chg="add del mod replST">
          <ac:chgData name="Grace, Morgan (Brisbane)" userId="221d5f7b-4a46-4bd5-bdf1-698d3a91c208" providerId="ADAL" clId="{D90324C1-6CE4-4C28-B886-AED0B666B37F}" dt="2024-06-07T04:46:39.959" v="76415"/>
          <ac:graphicFrameMkLst>
            <pc:docMk/>
            <pc:sldMk cId="3668082236" sldId="614"/>
            <ac:graphicFrameMk id="471" creationId="{2BC86CB2-D292-052E-4857-7EC62E609349}"/>
          </ac:graphicFrameMkLst>
        </pc:graphicFrameChg>
        <pc:graphicFrameChg chg="add del mod replST">
          <ac:chgData name="Grace, Morgan (Brisbane)" userId="221d5f7b-4a46-4bd5-bdf1-698d3a91c208" providerId="ADAL" clId="{D90324C1-6CE4-4C28-B886-AED0B666B37F}" dt="2024-06-07T04:46:42.078" v="76530"/>
          <ac:graphicFrameMkLst>
            <pc:docMk/>
            <pc:sldMk cId="3668082236" sldId="614"/>
            <ac:graphicFrameMk id="472" creationId="{55C96780-1320-8916-F3EE-8E92EAB08332}"/>
          </ac:graphicFrameMkLst>
        </pc:graphicFrameChg>
        <pc:graphicFrameChg chg="add del mod replST">
          <ac:chgData name="Grace, Morgan (Brisbane)" userId="221d5f7b-4a46-4bd5-bdf1-698d3a91c208" providerId="ADAL" clId="{D90324C1-6CE4-4C28-B886-AED0B666B37F}" dt="2024-06-07T04:46:45.385" v="76641"/>
          <ac:graphicFrameMkLst>
            <pc:docMk/>
            <pc:sldMk cId="3668082236" sldId="614"/>
            <ac:graphicFrameMk id="473" creationId="{F611FD93-2489-030D-3910-1F3C916590F6}"/>
          </ac:graphicFrameMkLst>
        </pc:graphicFrameChg>
        <pc:graphicFrameChg chg="add del mod replST">
          <ac:chgData name="Grace, Morgan (Brisbane)" userId="221d5f7b-4a46-4bd5-bdf1-698d3a91c208" providerId="ADAL" clId="{D90324C1-6CE4-4C28-B886-AED0B666B37F}" dt="2024-06-07T04:47:00.958" v="76972"/>
          <ac:graphicFrameMkLst>
            <pc:docMk/>
            <pc:sldMk cId="3668082236" sldId="614"/>
            <ac:graphicFrameMk id="474" creationId="{420814A4-A019-B714-BE13-69E8167974AD}"/>
          </ac:graphicFrameMkLst>
        </pc:graphicFrameChg>
        <pc:graphicFrameChg chg="add del mod replST">
          <ac:chgData name="Grace, Morgan (Brisbane)" userId="221d5f7b-4a46-4bd5-bdf1-698d3a91c208" providerId="ADAL" clId="{D90324C1-6CE4-4C28-B886-AED0B666B37F}" dt="2024-06-07T04:49:28.435" v="80891"/>
          <ac:graphicFrameMkLst>
            <pc:docMk/>
            <pc:sldMk cId="3668082236" sldId="614"/>
            <ac:graphicFrameMk id="476" creationId="{F2CC35E9-0E91-1197-4921-CA8FC159BCAE}"/>
          </ac:graphicFrameMkLst>
        </pc:graphicFrameChg>
        <pc:graphicFrameChg chg="add del mod replST">
          <ac:chgData name="Grace, Morgan (Brisbane)" userId="221d5f7b-4a46-4bd5-bdf1-698d3a91c208" providerId="ADAL" clId="{D90324C1-6CE4-4C28-B886-AED0B666B37F}" dt="2024-06-07T04:47:09.958" v="77406"/>
          <ac:graphicFrameMkLst>
            <pc:docMk/>
            <pc:sldMk cId="3668082236" sldId="614"/>
            <ac:graphicFrameMk id="478" creationId="{A211263E-705C-44EF-3609-2F7EF71EC4F2}"/>
          </ac:graphicFrameMkLst>
        </pc:graphicFrameChg>
        <pc:graphicFrameChg chg="add del mod replST">
          <ac:chgData name="Grace, Morgan (Brisbane)" userId="221d5f7b-4a46-4bd5-bdf1-698d3a91c208" providerId="ADAL" clId="{D90324C1-6CE4-4C28-B886-AED0B666B37F}" dt="2024-06-07T04:47:12.132" v="77596"/>
          <ac:graphicFrameMkLst>
            <pc:docMk/>
            <pc:sldMk cId="3668082236" sldId="614"/>
            <ac:graphicFrameMk id="479" creationId="{60C194E8-4564-9D7B-082A-2DB2F4ACA398}"/>
          </ac:graphicFrameMkLst>
        </pc:graphicFrameChg>
        <pc:graphicFrameChg chg="add del mod replST">
          <ac:chgData name="Grace, Morgan (Brisbane)" userId="221d5f7b-4a46-4bd5-bdf1-698d3a91c208" providerId="ADAL" clId="{D90324C1-6CE4-4C28-B886-AED0B666B37F}" dt="2024-06-07T04:47:15.085" v="77718"/>
          <ac:graphicFrameMkLst>
            <pc:docMk/>
            <pc:sldMk cId="3668082236" sldId="614"/>
            <ac:graphicFrameMk id="480" creationId="{FFF0A700-E590-C3E6-22B8-44D72DB5BD6E}"/>
          </ac:graphicFrameMkLst>
        </pc:graphicFrameChg>
        <pc:graphicFrameChg chg="add del mod replST">
          <ac:chgData name="Grace, Morgan (Brisbane)" userId="221d5f7b-4a46-4bd5-bdf1-698d3a91c208" providerId="ADAL" clId="{D90324C1-6CE4-4C28-B886-AED0B666B37F}" dt="2024-06-07T04:47:18.029" v="77840"/>
          <ac:graphicFrameMkLst>
            <pc:docMk/>
            <pc:sldMk cId="3668082236" sldId="614"/>
            <ac:graphicFrameMk id="481" creationId="{CB9D095D-E034-EA15-2CBD-5FDEE4244372}"/>
          </ac:graphicFrameMkLst>
        </pc:graphicFrameChg>
        <pc:graphicFrameChg chg="add del mod replST">
          <ac:chgData name="Grace, Morgan (Brisbane)" userId="221d5f7b-4a46-4bd5-bdf1-698d3a91c208" providerId="ADAL" clId="{D90324C1-6CE4-4C28-B886-AED0B666B37F}" dt="2024-06-07T04:47:20.438" v="77962"/>
          <ac:graphicFrameMkLst>
            <pc:docMk/>
            <pc:sldMk cId="3668082236" sldId="614"/>
            <ac:graphicFrameMk id="482" creationId="{9794C606-A6DD-03D6-6CBF-CDF96E593D23}"/>
          </ac:graphicFrameMkLst>
        </pc:graphicFrameChg>
        <pc:graphicFrameChg chg="add del mod replST">
          <ac:chgData name="Grace, Morgan (Brisbane)" userId="221d5f7b-4a46-4bd5-bdf1-698d3a91c208" providerId="ADAL" clId="{D90324C1-6CE4-4C28-B886-AED0B666B37F}" dt="2024-06-07T04:47:25.047" v="78191"/>
          <ac:graphicFrameMkLst>
            <pc:docMk/>
            <pc:sldMk cId="3668082236" sldId="614"/>
            <ac:graphicFrameMk id="483" creationId="{111A6F2A-8AA5-80CD-FBDB-97BBA3A9A631}"/>
          </ac:graphicFrameMkLst>
        </pc:graphicFrameChg>
        <pc:graphicFrameChg chg="add del mod replST">
          <ac:chgData name="Grace, Morgan (Brisbane)" userId="221d5f7b-4a46-4bd5-bdf1-698d3a91c208" providerId="ADAL" clId="{D90324C1-6CE4-4C28-B886-AED0B666B37F}" dt="2024-06-07T04:47:27.300" v="78410"/>
          <ac:graphicFrameMkLst>
            <pc:docMk/>
            <pc:sldMk cId="3668082236" sldId="614"/>
            <ac:graphicFrameMk id="487" creationId="{9ED04667-796F-75BB-A8DE-642BADFB0057}"/>
          </ac:graphicFrameMkLst>
        </pc:graphicFrameChg>
        <pc:graphicFrameChg chg="add del mod replST">
          <ac:chgData name="Grace, Morgan (Brisbane)" userId="221d5f7b-4a46-4bd5-bdf1-698d3a91c208" providerId="ADAL" clId="{D90324C1-6CE4-4C28-B886-AED0B666B37F}" dt="2024-06-07T04:47:31.348" v="78584"/>
          <ac:graphicFrameMkLst>
            <pc:docMk/>
            <pc:sldMk cId="3668082236" sldId="614"/>
            <ac:graphicFrameMk id="488" creationId="{F3B90923-788C-7358-74B9-F44406047094}"/>
          </ac:graphicFrameMkLst>
        </pc:graphicFrameChg>
        <pc:graphicFrameChg chg="add del mod replST">
          <ac:chgData name="Grace, Morgan (Brisbane)" userId="221d5f7b-4a46-4bd5-bdf1-698d3a91c208" providerId="ADAL" clId="{D90324C1-6CE4-4C28-B886-AED0B666B37F}" dt="2024-06-07T04:47:34.751" v="78803"/>
          <ac:graphicFrameMkLst>
            <pc:docMk/>
            <pc:sldMk cId="3668082236" sldId="614"/>
            <ac:graphicFrameMk id="489" creationId="{9F141F5F-E038-2683-3F20-7C6299D1D898}"/>
          </ac:graphicFrameMkLst>
        </pc:graphicFrameChg>
        <pc:graphicFrameChg chg="add del mod replST">
          <ac:chgData name="Grace, Morgan (Brisbane)" userId="221d5f7b-4a46-4bd5-bdf1-698d3a91c208" providerId="ADAL" clId="{D90324C1-6CE4-4C28-B886-AED0B666B37F}" dt="2024-06-07T04:47:37.979" v="79009"/>
          <ac:graphicFrameMkLst>
            <pc:docMk/>
            <pc:sldMk cId="3668082236" sldId="614"/>
            <ac:graphicFrameMk id="490" creationId="{4915AB6A-A975-C90A-9554-80CDBF4B1E69}"/>
          </ac:graphicFrameMkLst>
        </pc:graphicFrameChg>
        <pc:graphicFrameChg chg="add del mod replST">
          <ac:chgData name="Grace, Morgan (Brisbane)" userId="221d5f7b-4a46-4bd5-bdf1-698d3a91c208" providerId="ADAL" clId="{D90324C1-6CE4-4C28-B886-AED0B666B37F}" dt="2024-06-07T04:47:44.699" v="79182"/>
          <ac:graphicFrameMkLst>
            <pc:docMk/>
            <pc:sldMk cId="3668082236" sldId="614"/>
            <ac:graphicFrameMk id="491" creationId="{694C5CAA-9B55-7D2A-521E-E936CF41D6FF}"/>
          </ac:graphicFrameMkLst>
        </pc:graphicFrameChg>
        <pc:graphicFrameChg chg="add del mod replST">
          <ac:chgData name="Grace, Morgan (Brisbane)" userId="221d5f7b-4a46-4bd5-bdf1-698d3a91c208" providerId="ADAL" clId="{D90324C1-6CE4-4C28-B886-AED0B666B37F}" dt="2024-06-07T04:47:49.043" v="79355"/>
          <ac:graphicFrameMkLst>
            <pc:docMk/>
            <pc:sldMk cId="3668082236" sldId="614"/>
            <ac:graphicFrameMk id="492" creationId="{BB1AA808-1768-05BC-0787-6C2A5753BA31}"/>
          </ac:graphicFrameMkLst>
        </pc:graphicFrameChg>
        <pc:graphicFrameChg chg="add del mod replST">
          <ac:chgData name="Grace, Morgan (Brisbane)" userId="221d5f7b-4a46-4bd5-bdf1-698d3a91c208" providerId="ADAL" clId="{D90324C1-6CE4-4C28-B886-AED0B666B37F}" dt="2024-06-07T04:47:51.860" v="79528"/>
          <ac:graphicFrameMkLst>
            <pc:docMk/>
            <pc:sldMk cId="3668082236" sldId="614"/>
            <ac:graphicFrameMk id="493" creationId="{0C8698E2-0F0F-C23E-04EB-8001EED726A5}"/>
          </ac:graphicFrameMkLst>
        </pc:graphicFrameChg>
        <pc:graphicFrameChg chg="add del mod replST">
          <ac:chgData name="Grace, Morgan (Brisbane)" userId="221d5f7b-4a46-4bd5-bdf1-698d3a91c208" providerId="ADAL" clId="{D90324C1-6CE4-4C28-B886-AED0B666B37F}" dt="2024-06-07T04:48:29.746" v="79686"/>
          <ac:graphicFrameMkLst>
            <pc:docMk/>
            <pc:sldMk cId="3668082236" sldId="614"/>
            <ac:graphicFrameMk id="494" creationId="{E4E60654-38DB-F21E-5528-16F922E55910}"/>
          </ac:graphicFrameMkLst>
        </pc:graphicFrameChg>
        <pc:graphicFrameChg chg="add del mod replST">
          <ac:chgData name="Grace, Morgan (Brisbane)" userId="221d5f7b-4a46-4bd5-bdf1-698d3a91c208" providerId="ADAL" clId="{D90324C1-6CE4-4C28-B886-AED0B666B37F}" dt="2024-06-07T04:48:32.133" v="79846"/>
          <ac:graphicFrameMkLst>
            <pc:docMk/>
            <pc:sldMk cId="3668082236" sldId="614"/>
            <ac:graphicFrameMk id="496" creationId="{E9174EB6-71C5-2C59-15D8-93523B767171}"/>
          </ac:graphicFrameMkLst>
        </pc:graphicFrameChg>
        <pc:graphicFrameChg chg="add del mod replST">
          <ac:chgData name="Grace, Morgan (Brisbane)" userId="221d5f7b-4a46-4bd5-bdf1-698d3a91c208" providerId="ADAL" clId="{D90324C1-6CE4-4C28-B886-AED0B666B37F}" dt="2024-06-07T04:48:47.266" v="80006"/>
          <ac:graphicFrameMkLst>
            <pc:docMk/>
            <pc:sldMk cId="3668082236" sldId="614"/>
            <ac:graphicFrameMk id="498" creationId="{680D1A50-FDE1-9427-45A6-84779A852B8A}"/>
          </ac:graphicFrameMkLst>
        </pc:graphicFrameChg>
        <pc:graphicFrameChg chg="add del mod replST">
          <ac:chgData name="Grace, Morgan (Brisbane)" userId="221d5f7b-4a46-4bd5-bdf1-698d3a91c208" providerId="ADAL" clId="{D90324C1-6CE4-4C28-B886-AED0B666B37F}" dt="2024-06-07T04:48:51.629" v="80166"/>
          <ac:graphicFrameMkLst>
            <pc:docMk/>
            <pc:sldMk cId="3668082236" sldId="614"/>
            <ac:graphicFrameMk id="500" creationId="{DA414E6B-BAD6-957B-9564-EDE249BCC950}"/>
          </ac:graphicFrameMkLst>
        </pc:graphicFrameChg>
        <pc:graphicFrameChg chg="add del mod replST">
          <ac:chgData name="Grace, Morgan (Brisbane)" userId="221d5f7b-4a46-4bd5-bdf1-698d3a91c208" providerId="ADAL" clId="{D90324C1-6CE4-4C28-B886-AED0B666B37F}" dt="2024-06-07T04:48:54.817" v="80326"/>
          <ac:graphicFrameMkLst>
            <pc:docMk/>
            <pc:sldMk cId="3668082236" sldId="614"/>
            <ac:graphicFrameMk id="502" creationId="{358A9D79-B41F-59BB-B1AF-DE0C8F543EA5}"/>
          </ac:graphicFrameMkLst>
        </pc:graphicFrameChg>
        <pc:graphicFrameChg chg="add del mod replST">
          <ac:chgData name="Grace, Morgan (Brisbane)" userId="221d5f7b-4a46-4bd5-bdf1-698d3a91c208" providerId="ADAL" clId="{D90324C1-6CE4-4C28-B886-AED0B666B37F}" dt="2024-06-07T04:48:56.861" v="80486"/>
          <ac:graphicFrameMkLst>
            <pc:docMk/>
            <pc:sldMk cId="3668082236" sldId="614"/>
            <ac:graphicFrameMk id="504" creationId="{C02F6177-9730-C96F-A6F5-07E66F79C5E2}"/>
          </ac:graphicFrameMkLst>
        </pc:graphicFrameChg>
        <pc:graphicFrameChg chg="add del mod replST">
          <ac:chgData name="Grace, Morgan (Brisbane)" userId="221d5f7b-4a46-4bd5-bdf1-698d3a91c208" providerId="ADAL" clId="{D90324C1-6CE4-4C28-B886-AED0B666B37F}" dt="2024-06-07T04:48:58.648" v="80646"/>
          <ac:graphicFrameMkLst>
            <pc:docMk/>
            <pc:sldMk cId="3668082236" sldId="614"/>
            <ac:graphicFrameMk id="506" creationId="{29DE8AB4-6E4B-5B12-87BC-F6A4AE82A1E9}"/>
          </ac:graphicFrameMkLst>
        </pc:graphicFrameChg>
        <pc:graphicFrameChg chg="add del mod replST">
          <ac:chgData name="Grace, Morgan (Brisbane)" userId="221d5f7b-4a46-4bd5-bdf1-698d3a91c208" providerId="ADAL" clId="{D90324C1-6CE4-4C28-B886-AED0B666B37F}" dt="2024-06-07T04:49:07.984" v="80776"/>
          <ac:graphicFrameMkLst>
            <pc:docMk/>
            <pc:sldMk cId="3668082236" sldId="614"/>
            <ac:graphicFrameMk id="508" creationId="{D15FF095-D430-D288-7512-1B497ADC70E1}"/>
          </ac:graphicFrameMkLst>
        </pc:graphicFrameChg>
        <pc:graphicFrameChg chg="add del mod replST">
          <ac:chgData name="Grace, Morgan (Brisbane)" userId="221d5f7b-4a46-4bd5-bdf1-698d3a91c208" providerId="ADAL" clId="{D90324C1-6CE4-4C28-B886-AED0B666B37F}" dt="2024-06-07T04:49:28.467" v="80962"/>
          <ac:graphicFrameMkLst>
            <pc:docMk/>
            <pc:sldMk cId="3668082236" sldId="614"/>
            <ac:graphicFrameMk id="509" creationId="{0A87DF52-322B-9680-AE2E-B0A0DA3CF72F}"/>
          </ac:graphicFrameMkLst>
        </pc:graphicFrameChg>
        <pc:graphicFrameChg chg="add del mod replST">
          <ac:chgData name="Grace, Morgan (Brisbane)" userId="221d5f7b-4a46-4bd5-bdf1-698d3a91c208" providerId="ADAL" clId="{D90324C1-6CE4-4C28-B886-AED0B666B37F}" dt="2024-06-07T04:50:42.278" v="81544"/>
          <ac:graphicFrameMkLst>
            <pc:docMk/>
            <pc:sldMk cId="3668082236" sldId="614"/>
            <ac:graphicFrameMk id="510" creationId="{3552EF0D-57E3-0EDD-4065-AEED194C76F8}"/>
          </ac:graphicFrameMkLst>
        </pc:graphicFrameChg>
        <pc:graphicFrameChg chg="add del mod replST">
          <ac:chgData name="Grace, Morgan (Brisbane)" userId="221d5f7b-4a46-4bd5-bdf1-698d3a91c208" providerId="ADAL" clId="{D90324C1-6CE4-4C28-B886-AED0B666B37F}" dt="2024-06-07T04:50:01.594" v="81124"/>
          <ac:graphicFrameMkLst>
            <pc:docMk/>
            <pc:sldMk cId="3668082236" sldId="614"/>
            <ac:graphicFrameMk id="511" creationId="{47C34103-30E2-A486-E953-02A39BFADA4A}"/>
          </ac:graphicFrameMkLst>
        </pc:graphicFrameChg>
        <pc:graphicFrameChg chg="add del mod replST">
          <ac:chgData name="Grace, Morgan (Brisbane)" userId="221d5f7b-4a46-4bd5-bdf1-698d3a91c208" providerId="ADAL" clId="{D90324C1-6CE4-4C28-B886-AED0B666B37F}" dt="2024-06-07T04:50:03.943" v="81255"/>
          <ac:graphicFrameMkLst>
            <pc:docMk/>
            <pc:sldMk cId="3668082236" sldId="614"/>
            <ac:graphicFrameMk id="512" creationId="{9834237F-EAD9-DD71-A47E-B4751B5D5B44}"/>
          </ac:graphicFrameMkLst>
        </pc:graphicFrameChg>
        <pc:graphicFrameChg chg="add del mod replST">
          <ac:chgData name="Grace, Morgan (Brisbane)" userId="221d5f7b-4a46-4bd5-bdf1-698d3a91c208" providerId="ADAL" clId="{D90324C1-6CE4-4C28-B886-AED0B666B37F}" dt="2024-06-07T04:50:42.345" v="81615"/>
          <ac:graphicFrameMkLst>
            <pc:docMk/>
            <pc:sldMk cId="3668082236" sldId="614"/>
            <ac:graphicFrameMk id="513" creationId="{2BE619BE-D825-A8C5-D5D9-7EB433BEAF04}"/>
          </ac:graphicFrameMkLst>
        </pc:graphicFrameChg>
        <pc:graphicFrameChg chg="add del mod replST">
          <ac:chgData name="Grace, Morgan (Brisbane)" userId="221d5f7b-4a46-4bd5-bdf1-698d3a91c208" providerId="ADAL" clId="{D90324C1-6CE4-4C28-B886-AED0B666B37F}" dt="2024-06-07T04:58:59.718" v="87442"/>
          <ac:graphicFrameMkLst>
            <pc:docMk/>
            <pc:sldMk cId="3668082236" sldId="614"/>
            <ac:graphicFrameMk id="515" creationId="{E83EA60C-BD9C-67F9-D7A3-B652F91FFCC0}"/>
          </ac:graphicFrameMkLst>
        </pc:graphicFrameChg>
        <pc:graphicFrameChg chg="add del mod replST">
          <ac:chgData name="Grace, Morgan (Brisbane)" userId="221d5f7b-4a46-4bd5-bdf1-698d3a91c208" providerId="ADAL" clId="{D90324C1-6CE4-4C28-B886-AED0B666B37F}" dt="2024-06-07T04:51:02.600" v="81825"/>
          <ac:graphicFrameMkLst>
            <pc:docMk/>
            <pc:sldMk cId="3668082236" sldId="614"/>
            <ac:graphicFrameMk id="516" creationId="{E3234E6B-05BB-81F5-5786-F2432AC4B0D8}"/>
          </ac:graphicFrameMkLst>
        </pc:graphicFrameChg>
        <pc:graphicFrameChg chg="add del mod replST">
          <ac:chgData name="Grace, Morgan (Brisbane)" userId="221d5f7b-4a46-4bd5-bdf1-698d3a91c208" providerId="ADAL" clId="{D90324C1-6CE4-4C28-B886-AED0B666B37F}" dt="2024-06-07T04:51:09.852" v="81974"/>
          <ac:graphicFrameMkLst>
            <pc:docMk/>
            <pc:sldMk cId="3668082236" sldId="614"/>
            <ac:graphicFrameMk id="521" creationId="{F962F001-BD3C-6727-AA72-31C25807633E}"/>
          </ac:graphicFrameMkLst>
        </pc:graphicFrameChg>
        <pc:graphicFrameChg chg="add del mod replST">
          <ac:chgData name="Grace, Morgan (Brisbane)" userId="221d5f7b-4a46-4bd5-bdf1-698d3a91c208" providerId="ADAL" clId="{D90324C1-6CE4-4C28-B886-AED0B666B37F}" dt="2024-06-07T04:58:06.743" v="86626"/>
          <ac:graphicFrameMkLst>
            <pc:docMk/>
            <pc:sldMk cId="3668082236" sldId="614"/>
            <ac:graphicFrameMk id="522" creationId="{322690ED-AC7E-51C8-1C2A-A9FA1211DB5A}"/>
          </ac:graphicFrameMkLst>
        </pc:graphicFrameChg>
        <pc:graphicFrameChg chg="add mod replST delST">
          <ac:chgData name="Grace, Morgan (Brisbane)" userId="221d5f7b-4a46-4bd5-bdf1-698d3a91c208" providerId="ADAL" clId="{D90324C1-6CE4-4C28-B886-AED0B666B37F}" dt="2024-06-07T04:51:27.195" v="82269"/>
          <ac:graphicFrameMkLst>
            <pc:docMk/>
            <pc:sldMk cId="3668082236" sldId="614"/>
            <ac:graphicFrameMk id="523" creationId="{7CCBA898-AF21-0BB8-9BF0-5F507031A7FF}"/>
          </ac:graphicFrameMkLst>
        </pc:graphicFrameChg>
        <pc:graphicFrameChg chg="add mod replST delST">
          <ac:chgData name="Grace, Morgan (Brisbane)" userId="221d5f7b-4a46-4bd5-bdf1-698d3a91c208" providerId="ADAL" clId="{D90324C1-6CE4-4C28-B886-AED0B666B37F}" dt="2024-06-07T04:51:33.286" v="82689"/>
          <ac:graphicFrameMkLst>
            <pc:docMk/>
            <pc:sldMk cId="3668082236" sldId="614"/>
            <ac:graphicFrameMk id="527" creationId="{5EED1008-14F8-0AC9-BE47-14447ED7BB97}"/>
          </ac:graphicFrameMkLst>
        </pc:graphicFrameChg>
        <pc:graphicFrameChg chg="add del mod replST delST">
          <ac:chgData name="Grace, Morgan (Brisbane)" userId="221d5f7b-4a46-4bd5-bdf1-698d3a91c208" providerId="ADAL" clId="{D90324C1-6CE4-4C28-B886-AED0B666B37F}" dt="2024-06-07T04:52:19.980" v="86199"/>
          <ac:graphicFrameMkLst>
            <pc:docMk/>
            <pc:sldMk cId="3668082236" sldId="614"/>
            <ac:graphicFrameMk id="529" creationId="{221C45C4-35E2-858D-818A-0747DE4C641D}"/>
          </ac:graphicFrameMkLst>
        </pc:graphicFrameChg>
        <pc:graphicFrameChg chg="add del mod replST delST">
          <ac:chgData name="Grace, Morgan (Brisbane)" userId="221d5f7b-4a46-4bd5-bdf1-698d3a91c208" providerId="ADAL" clId="{D90324C1-6CE4-4C28-B886-AED0B666B37F}" dt="2024-06-07T04:52:19.341" v="86123"/>
          <ac:graphicFrameMkLst>
            <pc:docMk/>
            <pc:sldMk cId="3668082236" sldId="614"/>
            <ac:graphicFrameMk id="548" creationId="{DB27E6E3-0AAE-18FD-01F7-A3911E898915}"/>
          </ac:graphicFrameMkLst>
        </pc:graphicFrameChg>
        <pc:graphicFrameChg chg="add del mod replST delST">
          <ac:chgData name="Grace, Morgan (Brisbane)" userId="221d5f7b-4a46-4bd5-bdf1-698d3a91c208" providerId="ADAL" clId="{D90324C1-6CE4-4C28-B886-AED0B666B37F}" dt="2024-06-07T04:52:18.541" v="85345"/>
          <ac:graphicFrameMkLst>
            <pc:docMk/>
            <pc:sldMk cId="3668082236" sldId="614"/>
            <ac:graphicFrameMk id="566" creationId="{06D33372-6F09-3C25-0D4A-C3EB546DA0E5}"/>
          </ac:graphicFrameMkLst>
        </pc:graphicFrameChg>
        <pc:graphicFrameChg chg="add del mod replST delST">
          <ac:chgData name="Grace, Morgan (Brisbane)" userId="221d5f7b-4a46-4bd5-bdf1-698d3a91c208" providerId="ADAL" clId="{D90324C1-6CE4-4C28-B886-AED0B666B37F}" dt="2024-06-07T04:52:17.957" v="85315"/>
          <ac:graphicFrameMkLst>
            <pc:docMk/>
            <pc:sldMk cId="3668082236" sldId="614"/>
            <ac:graphicFrameMk id="567" creationId="{1173BDC4-8141-731B-07E6-5F1E2333712B}"/>
          </ac:graphicFrameMkLst>
        </pc:graphicFrameChg>
        <pc:graphicFrameChg chg="add del mod replST delST">
          <ac:chgData name="Grace, Morgan (Brisbane)" userId="221d5f7b-4a46-4bd5-bdf1-698d3a91c208" providerId="ADAL" clId="{D90324C1-6CE4-4C28-B886-AED0B666B37F}" dt="2024-06-07T04:52:17.276" v="85284"/>
          <ac:graphicFrameMkLst>
            <pc:docMk/>
            <pc:sldMk cId="3668082236" sldId="614"/>
            <ac:graphicFrameMk id="568" creationId="{FB8EC012-1EE0-0E7B-E46B-A722FA64431C}"/>
          </ac:graphicFrameMkLst>
        </pc:graphicFrameChg>
        <pc:graphicFrameChg chg="add mod replST delST">
          <ac:chgData name="Grace, Morgan (Brisbane)" userId="221d5f7b-4a46-4bd5-bdf1-698d3a91c208" providerId="ADAL" clId="{D90324C1-6CE4-4C28-B886-AED0B666B37F}" dt="2024-06-07T04:52:16.687" v="85254"/>
          <ac:graphicFrameMkLst>
            <pc:docMk/>
            <pc:sldMk cId="3668082236" sldId="614"/>
            <ac:graphicFrameMk id="569" creationId="{A183AF6A-1377-A51A-76CC-7DCA89B7F6FD}"/>
          </ac:graphicFrameMkLst>
        </pc:graphicFrameChg>
        <pc:graphicFrameChg chg="add del mod replST">
          <ac:chgData name="Grace, Morgan (Brisbane)" userId="221d5f7b-4a46-4bd5-bdf1-698d3a91c208" providerId="ADAL" clId="{D90324C1-6CE4-4C28-B886-AED0B666B37F}" dt="2024-06-07T04:58:29.066" v="86903"/>
          <ac:graphicFrameMkLst>
            <pc:docMk/>
            <pc:sldMk cId="3668082236" sldId="614"/>
            <ac:graphicFrameMk id="574" creationId="{013742CC-C73E-3EF9-A950-2EDE771DA74F}"/>
          </ac:graphicFrameMkLst>
        </pc:graphicFrameChg>
        <pc:graphicFrameChg chg="add del mod replST">
          <ac:chgData name="Grace, Morgan (Brisbane)" userId="221d5f7b-4a46-4bd5-bdf1-698d3a91c208" providerId="ADAL" clId="{D90324C1-6CE4-4C28-B886-AED0B666B37F}" dt="2024-06-07T04:58:30.954" v="87036"/>
          <ac:graphicFrameMkLst>
            <pc:docMk/>
            <pc:sldMk cId="3668082236" sldId="614"/>
            <ac:graphicFrameMk id="575" creationId="{BFEB66EB-EFBB-CCB9-69E7-5F0344C6B768}"/>
          </ac:graphicFrameMkLst>
        </pc:graphicFrameChg>
        <pc:graphicFrameChg chg="add del mod replST">
          <ac:chgData name="Grace, Morgan (Brisbane)" userId="221d5f7b-4a46-4bd5-bdf1-698d3a91c208" providerId="ADAL" clId="{D90324C1-6CE4-4C28-B886-AED0B666B37F}" dt="2024-06-07T04:58:59.767" v="87513"/>
          <ac:graphicFrameMkLst>
            <pc:docMk/>
            <pc:sldMk cId="3668082236" sldId="614"/>
            <ac:graphicFrameMk id="576" creationId="{4755DFAA-2DC5-3174-4CF7-595D3DBCD32F}"/>
          </ac:graphicFrameMkLst>
        </pc:graphicFrameChg>
        <pc:graphicFrameChg chg="add del mod replST">
          <ac:chgData name="Grace, Morgan (Brisbane)" userId="221d5f7b-4a46-4bd5-bdf1-698d3a91c208" providerId="ADAL" clId="{D90324C1-6CE4-4C28-B886-AED0B666B37F}" dt="2024-06-07T04:59:13.714" v="87680"/>
          <ac:graphicFrameMkLst>
            <pc:docMk/>
            <pc:sldMk cId="3668082236" sldId="614"/>
            <ac:graphicFrameMk id="578" creationId="{90DD6E1D-96CE-1D5B-8BBC-5255A19EE0BF}"/>
          </ac:graphicFrameMkLst>
        </pc:graphicFrameChg>
        <pc:graphicFrameChg chg="add del mod replST">
          <ac:chgData name="Grace, Morgan (Brisbane)" userId="221d5f7b-4a46-4bd5-bdf1-698d3a91c208" providerId="ADAL" clId="{D90324C1-6CE4-4C28-B886-AED0B666B37F}" dt="2024-06-07T04:59:13.761" v="87797"/>
          <ac:graphicFrameMkLst>
            <pc:docMk/>
            <pc:sldMk cId="3668082236" sldId="614"/>
            <ac:graphicFrameMk id="579" creationId="{0369203B-3B29-466C-2CBC-35EA2701D3A9}"/>
          </ac:graphicFrameMkLst>
        </pc:graphicFrameChg>
        <pc:graphicFrameChg chg="add del mod replST">
          <ac:chgData name="Grace, Morgan (Brisbane)" userId="221d5f7b-4a46-4bd5-bdf1-698d3a91c208" providerId="ADAL" clId="{D90324C1-6CE4-4C28-B886-AED0B666B37F}" dt="2024-06-07T05:01:52.443" v="89809"/>
          <ac:graphicFrameMkLst>
            <pc:docMk/>
            <pc:sldMk cId="3668082236" sldId="614"/>
            <ac:graphicFrameMk id="580" creationId="{09389B31-61FD-9FB9-6D91-E20DA74CAE5C}"/>
          </ac:graphicFrameMkLst>
        </pc:graphicFrameChg>
        <pc:graphicFrameChg chg="add del mod replST">
          <ac:chgData name="Grace, Morgan (Brisbane)" userId="221d5f7b-4a46-4bd5-bdf1-698d3a91c208" providerId="ADAL" clId="{D90324C1-6CE4-4C28-B886-AED0B666B37F}" dt="2024-06-07T05:01:39.481" v="89104"/>
          <ac:graphicFrameMkLst>
            <pc:docMk/>
            <pc:sldMk cId="3668082236" sldId="614"/>
            <ac:graphicFrameMk id="581" creationId="{07361CE6-6A97-6C21-78C8-FC3D0601F456}"/>
          </ac:graphicFrameMkLst>
        </pc:graphicFrameChg>
        <pc:graphicFrameChg chg="add mod replST delST">
          <ac:chgData name="Grace, Morgan (Brisbane)" userId="221d5f7b-4a46-4bd5-bdf1-698d3a91c208" providerId="ADAL" clId="{D90324C1-6CE4-4C28-B886-AED0B666B37F}" dt="2024-06-07T05:00:56.679" v="88141"/>
          <ac:graphicFrameMkLst>
            <pc:docMk/>
            <pc:sldMk cId="3668082236" sldId="614"/>
            <ac:graphicFrameMk id="582" creationId="{A315C06C-EEE9-D25B-4C8D-8E108A871678}"/>
          </ac:graphicFrameMkLst>
        </pc:graphicFrameChg>
        <pc:graphicFrameChg chg="add mod replST delST">
          <ac:chgData name="Grace, Morgan (Brisbane)" userId="221d5f7b-4a46-4bd5-bdf1-698d3a91c208" providerId="ADAL" clId="{D90324C1-6CE4-4C28-B886-AED0B666B37F}" dt="2024-06-07T05:00:56.679" v="88141"/>
          <ac:graphicFrameMkLst>
            <pc:docMk/>
            <pc:sldMk cId="3668082236" sldId="614"/>
            <ac:graphicFrameMk id="583" creationId="{56C37CEB-FC30-864D-21FC-44D1C765EAD9}"/>
          </ac:graphicFrameMkLst>
        </pc:graphicFrameChg>
        <pc:graphicFrameChg chg="add del mod replST delST">
          <ac:chgData name="Grace, Morgan (Brisbane)" userId="221d5f7b-4a46-4bd5-bdf1-698d3a91c208" providerId="ADAL" clId="{D90324C1-6CE4-4C28-B886-AED0B666B37F}" dt="2024-06-07T05:01:06.155" v="88882"/>
          <ac:graphicFrameMkLst>
            <pc:docMk/>
            <pc:sldMk cId="3668082236" sldId="614"/>
            <ac:graphicFrameMk id="585" creationId="{47778BE6-D427-DEC4-7BBC-F14E2FB2B989}"/>
          </ac:graphicFrameMkLst>
        </pc:graphicFrameChg>
        <pc:graphicFrameChg chg="add del mod replST delST">
          <ac:chgData name="Grace, Morgan (Brisbane)" userId="221d5f7b-4a46-4bd5-bdf1-698d3a91c208" providerId="ADAL" clId="{D90324C1-6CE4-4C28-B886-AED0B666B37F}" dt="2024-06-07T05:01:06.155" v="88882"/>
          <ac:graphicFrameMkLst>
            <pc:docMk/>
            <pc:sldMk cId="3668082236" sldId="614"/>
            <ac:graphicFrameMk id="586" creationId="{88A4BBBC-7910-51FF-7DFD-0F58D72F9C0A}"/>
          </ac:graphicFrameMkLst>
        </pc:graphicFrameChg>
        <pc:graphicFrameChg chg="add del mod replST delST">
          <ac:chgData name="Grace, Morgan (Brisbane)" userId="221d5f7b-4a46-4bd5-bdf1-698d3a91c208" providerId="ADAL" clId="{D90324C1-6CE4-4C28-B886-AED0B666B37F}" dt="2024-06-07T05:01:05.188" v="88736"/>
          <ac:graphicFrameMkLst>
            <pc:docMk/>
            <pc:sldMk cId="3668082236" sldId="614"/>
            <ac:graphicFrameMk id="587" creationId="{E4A2B1BD-C125-9A98-4C46-750F7B52EDBA}"/>
          </ac:graphicFrameMkLst>
        </pc:graphicFrameChg>
        <pc:graphicFrameChg chg="add mod replST delST">
          <ac:chgData name="Grace, Morgan (Brisbane)" userId="221d5f7b-4a46-4bd5-bdf1-698d3a91c208" providerId="ADAL" clId="{D90324C1-6CE4-4C28-B886-AED0B666B37F}" dt="2024-06-07T05:01:04.591" v="88698"/>
          <ac:graphicFrameMkLst>
            <pc:docMk/>
            <pc:sldMk cId="3668082236" sldId="614"/>
            <ac:graphicFrameMk id="588" creationId="{4BFEC985-69D7-D8DA-78D8-2E3031093926}"/>
          </ac:graphicFrameMkLst>
        </pc:graphicFrameChg>
        <pc:graphicFrameChg chg="add mod replST delST">
          <ac:chgData name="Grace, Morgan (Brisbane)" userId="221d5f7b-4a46-4bd5-bdf1-698d3a91c208" providerId="ADAL" clId="{D90324C1-6CE4-4C28-B886-AED0B666B37F}" dt="2024-06-07T05:01:04.591" v="88698"/>
          <ac:graphicFrameMkLst>
            <pc:docMk/>
            <pc:sldMk cId="3668082236" sldId="614"/>
            <ac:graphicFrameMk id="589" creationId="{8A9664F6-6820-3E47-C736-C23CF10067C5}"/>
          </ac:graphicFrameMkLst>
        </pc:graphicFrameChg>
        <pc:graphicFrameChg chg="add del mod replST">
          <ac:chgData name="Grace, Morgan (Brisbane)" userId="221d5f7b-4a46-4bd5-bdf1-698d3a91c208" providerId="ADAL" clId="{D90324C1-6CE4-4C28-B886-AED0B666B37F}" dt="2024-06-07T05:01:46.339" v="89592"/>
          <ac:graphicFrameMkLst>
            <pc:docMk/>
            <pc:sldMk cId="3668082236" sldId="614"/>
            <ac:graphicFrameMk id="592" creationId="{897935C9-3AF1-BA09-1B44-7EB1C27DE7E7}"/>
          </ac:graphicFrameMkLst>
        </pc:graphicFrameChg>
        <pc:graphicFrameChg chg="add mod replST delST">
          <ac:chgData name="Grace, Morgan (Brisbane)" userId="221d5f7b-4a46-4bd5-bdf1-698d3a91c208" providerId="ADAL" clId="{D90324C1-6CE4-4C28-B886-AED0B666B37F}" dt="2024-06-07T05:01:44.490" v="89478"/>
          <ac:graphicFrameMkLst>
            <pc:docMk/>
            <pc:sldMk cId="3668082236" sldId="614"/>
            <ac:graphicFrameMk id="594" creationId="{6852FA9D-6328-3829-8F19-18704109824E}"/>
          </ac:graphicFrameMkLst>
        </pc:graphicFrameChg>
        <pc:graphicFrameChg chg="add mod replST delST">
          <ac:chgData name="Grace, Morgan (Brisbane)" userId="221d5f7b-4a46-4bd5-bdf1-698d3a91c208" providerId="ADAL" clId="{D90324C1-6CE4-4C28-B886-AED0B666B37F}" dt="2024-06-07T05:01:44.490" v="89478"/>
          <ac:graphicFrameMkLst>
            <pc:docMk/>
            <pc:sldMk cId="3668082236" sldId="614"/>
            <ac:graphicFrameMk id="595" creationId="{DCCAE52E-9F7C-9389-6506-B00E990305CF}"/>
          </ac:graphicFrameMkLst>
        </pc:graphicFrameChg>
        <pc:graphicFrameChg chg="add del mod replST">
          <ac:chgData name="Grace, Morgan (Brisbane)" userId="221d5f7b-4a46-4bd5-bdf1-698d3a91c208" providerId="ADAL" clId="{D90324C1-6CE4-4C28-B886-AED0B666B37F}" dt="2024-06-07T05:01:58.015" v="89947"/>
          <ac:graphicFrameMkLst>
            <pc:docMk/>
            <pc:sldMk cId="3668082236" sldId="614"/>
            <ac:graphicFrameMk id="597" creationId="{AFF80C85-9140-905F-8426-00B7E5A0F040}"/>
          </ac:graphicFrameMkLst>
        </pc:graphicFrameChg>
        <pc:graphicFrameChg chg="add del mod replST">
          <ac:chgData name="Grace, Morgan (Brisbane)" userId="221d5f7b-4a46-4bd5-bdf1-698d3a91c208" providerId="ADAL" clId="{D90324C1-6CE4-4C28-B886-AED0B666B37F}" dt="2024-06-07T05:02:01.835" v="90056"/>
          <ac:graphicFrameMkLst>
            <pc:docMk/>
            <pc:sldMk cId="3668082236" sldId="614"/>
            <ac:graphicFrameMk id="600" creationId="{603F9ABC-DC46-DF10-ADBF-2A2F1E4E14B0}"/>
          </ac:graphicFrameMkLst>
        </pc:graphicFrameChg>
        <pc:graphicFrameChg chg="add del mod replST">
          <ac:chgData name="Grace, Morgan (Brisbane)" userId="221d5f7b-4a46-4bd5-bdf1-698d3a91c208" providerId="ADAL" clId="{D90324C1-6CE4-4C28-B886-AED0B666B37F}" dt="2024-06-07T05:10:19.942" v="93474"/>
          <ac:graphicFrameMkLst>
            <pc:docMk/>
            <pc:sldMk cId="3668082236" sldId="614"/>
            <ac:graphicFrameMk id="601" creationId="{92BB67B9-383B-E0D3-A43E-6032721B1269}"/>
          </ac:graphicFrameMkLst>
        </pc:graphicFrameChg>
        <pc:graphicFrameChg chg="add del mod replST">
          <ac:chgData name="Grace, Morgan (Brisbane)" userId="221d5f7b-4a46-4bd5-bdf1-698d3a91c208" providerId="ADAL" clId="{D90324C1-6CE4-4C28-B886-AED0B666B37F}" dt="2024-06-07T05:02:04.270" v="90380"/>
          <ac:graphicFrameMkLst>
            <pc:docMk/>
            <pc:sldMk cId="3668082236" sldId="614"/>
            <ac:graphicFrameMk id="602" creationId="{4F6E8659-6C4E-0089-23DA-C5B405D28544}"/>
          </ac:graphicFrameMkLst>
        </pc:graphicFrameChg>
        <pc:graphicFrameChg chg="add del mod replST">
          <ac:chgData name="Grace, Morgan (Brisbane)" userId="221d5f7b-4a46-4bd5-bdf1-698d3a91c208" providerId="ADAL" clId="{D90324C1-6CE4-4C28-B886-AED0B666B37F}" dt="2024-06-07T05:02:44.068" v="90789"/>
          <ac:graphicFrameMkLst>
            <pc:docMk/>
            <pc:sldMk cId="3668082236" sldId="614"/>
            <ac:graphicFrameMk id="608" creationId="{E81551FA-9D6E-B6BE-09C2-460ED4E199F3}"/>
          </ac:graphicFrameMkLst>
        </pc:graphicFrameChg>
        <pc:graphicFrameChg chg="add del mod replST">
          <ac:chgData name="Grace, Morgan (Brisbane)" userId="221d5f7b-4a46-4bd5-bdf1-698d3a91c208" providerId="ADAL" clId="{D90324C1-6CE4-4C28-B886-AED0B666B37F}" dt="2024-06-07T05:02:46.187" v="91058"/>
          <ac:graphicFrameMkLst>
            <pc:docMk/>
            <pc:sldMk cId="3668082236" sldId="614"/>
            <ac:graphicFrameMk id="612" creationId="{F58FCE30-14FF-955D-4179-BA2B14DED766}"/>
          </ac:graphicFrameMkLst>
        </pc:graphicFrameChg>
        <pc:graphicFrameChg chg="add del mod replST">
          <ac:chgData name="Grace, Morgan (Brisbane)" userId="221d5f7b-4a46-4bd5-bdf1-698d3a91c208" providerId="ADAL" clId="{D90324C1-6CE4-4C28-B886-AED0B666B37F}" dt="2024-06-07T05:02:47.671" v="91199"/>
          <ac:graphicFrameMkLst>
            <pc:docMk/>
            <pc:sldMk cId="3668082236" sldId="614"/>
            <ac:graphicFrameMk id="619" creationId="{F1199ACD-7360-B3A2-3499-0A76DA408489}"/>
          </ac:graphicFrameMkLst>
        </pc:graphicFrameChg>
        <pc:graphicFrameChg chg="add del mod replST">
          <ac:chgData name="Grace, Morgan (Brisbane)" userId="221d5f7b-4a46-4bd5-bdf1-698d3a91c208" providerId="ADAL" clId="{D90324C1-6CE4-4C28-B886-AED0B666B37F}" dt="2024-06-07T05:02:49.341" v="91338"/>
          <ac:graphicFrameMkLst>
            <pc:docMk/>
            <pc:sldMk cId="3668082236" sldId="614"/>
            <ac:graphicFrameMk id="620" creationId="{E92EB9E8-5A34-7DE3-DB22-95B081AC31CB}"/>
          </ac:graphicFrameMkLst>
        </pc:graphicFrameChg>
        <pc:graphicFrameChg chg="add del mod replST">
          <ac:chgData name="Grace, Morgan (Brisbane)" userId="221d5f7b-4a46-4bd5-bdf1-698d3a91c208" providerId="ADAL" clId="{D90324C1-6CE4-4C28-B886-AED0B666B37F}" dt="2024-06-07T05:02:53.130" v="91493"/>
          <ac:graphicFrameMkLst>
            <pc:docMk/>
            <pc:sldMk cId="3668082236" sldId="614"/>
            <ac:graphicFrameMk id="621" creationId="{1C4A5B62-8D8D-D6DB-300C-3E92AD2998BE}"/>
          </ac:graphicFrameMkLst>
        </pc:graphicFrameChg>
        <pc:graphicFrameChg chg="add del mod replST">
          <ac:chgData name="Grace, Morgan (Brisbane)" userId="221d5f7b-4a46-4bd5-bdf1-698d3a91c208" providerId="ADAL" clId="{D90324C1-6CE4-4C28-B886-AED0B666B37F}" dt="2024-06-07T05:02:53.994" v="91649"/>
          <ac:graphicFrameMkLst>
            <pc:docMk/>
            <pc:sldMk cId="3668082236" sldId="614"/>
            <ac:graphicFrameMk id="623" creationId="{B2E679CA-38BC-79B4-0996-E4FB48B7D171}"/>
          </ac:graphicFrameMkLst>
        </pc:graphicFrameChg>
        <pc:graphicFrameChg chg="add del mod replST">
          <ac:chgData name="Grace, Morgan (Brisbane)" userId="221d5f7b-4a46-4bd5-bdf1-698d3a91c208" providerId="ADAL" clId="{D90324C1-6CE4-4C28-B886-AED0B666B37F}" dt="2024-06-07T05:02:55.266" v="91773"/>
          <ac:graphicFrameMkLst>
            <pc:docMk/>
            <pc:sldMk cId="3668082236" sldId="614"/>
            <ac:graphicFrameMk id="625" creationId="{24F61A51-1F75-EA74-DBCF-88B5FD6FF156}"/>
          </ac:graphicFrameMkLst>
        </pc:graphicFrameChg>
        <pc:graphicFrameChg chg="add del mod replST">
          <ac:chgData name="Grace, Morgan (Brisbane)" userId="221d5f7b-4a46-4bd5-bdf1-698d3a91c208" providerId="ADAL" clId="{D90324C1-6CE4-4C28-B886-AED0B666B37F}" dt="2024-06-07T05:02:56.519" v="91903"/>
          <ac:graphicFrameMkLst>
            <pc:docMk/>
            <pc:sldMk cId="3668082236" sldId="614"/>
            <ac:graphicFrameMk id="626" creationId="{72B95C15-1AB7-617F-BCA9-3E1AA5FAFB51}"/>
          </ac:graphicFrameMkLst>
        </pc:graphicFrameChg>
        <pc:graphicFrameChg chg="add del mod replST">
          <ac:chgData name="Grace, Morgan (Brisbane)" userId="221d5f7b-4a46-4bd5-bdf1-698d3a91c208" providerId="ADAL" clId="{D90324C1-6CE4-4C28-B886-AED0B666B37F}" dt="2024-06-07T05:02:59.254" v="92025"/>
          <ac:graphicFrameMkLst>
            <pc:docMk/>
            <pc:sldMk cId="3668082236" sldId="614"/>
            <ac:graphicFrameMk id="627" creationId="{E2320880-E349-9929-5868-F63CD13CAA15}"/>
          </ac:graphicFrameMkLst>
        </pc:graphicFrameChg>
        <pc:graphicFrameChg chg="add del mod replST">
          <ac:chgData name="Grace, Morgan (Brisbane)" userId="221d5f7b-4a46-4bd5-bdf1-698d3a91c208" providerId="ADAL" clId="{D90324C1-6CE4-4C28-B886-AED0B666B37F}" dt="2024-06-07T05:03:02.919" v="92147"/>
          <ac:graphicFrameMkLst>
            <pc:docMk/>
            <pc:sldMk cId="3668082236" sldId="614"/>
            <ac:graphicFrameMk id="628" creationId="{D3D15D14-BFD6-6B91-0859-B2FA46752E2A}"/>
          </ac:graphicFrameMkLst>
        </pc:graphicFrameChg>
        <pc:graphicFrameChg chg="add del mod replST">
          <ac:chgData name="Grace, Morgan (Brisbane)" userId="221d5f7b-4a46-4bd5-bdf1-698d3a91c208" providerId="ADAL" clId="{D90324C1-6CE4-4C28-B886-AED0B666B37F}" dt="2024-06-07T05:03:08.916" v="92277"/>
          <ac:graphicFrameMkLst>
            <pc:docMk/>
            <pc:sldMk cId="3668082236" sldId="614"/>
            <ac:graphicFrameMk id="629" creationId="{95F6FF5D-BE29-60BB-49B9-F87571F4A12A}"/>
          </ac:graphicFrameMkLst>
        </pc:graphicFrameChg>
        <pc:graphicFrameChg chg="add del mod replST">
          <ac:chgData name="Grace, Morgan (Brisbane)" userId="221d5f7b-4a46-4bd5-bdf1-698d3a91c208" providerId="ADAL" clId="{D90324C1-6CE4-4C28-B886-AED0B666B37F}" dt="2024-06-07T05:03:14.529" v="92401"/>
          <ac:graphicFrameMkLst>
            <pc:docMk/>
            <pc:sldMk cId="3668082236" sldId="614"/>
            <ac:graphicFrameMk id="630" creationId="{F7B928EA-68B5-6735-B10A-0B9498E2D282}"/>
          </ac:graphicFrameMkLst>
        </pc:graphicFrameChg>
        <pc:graphicFrameChg chg="add del mod replST">
          <ac:chgData name="Grace, Morgan (Brisbane)" userId="221d5f7b-4a46-4bd5-bdf1-698d3a91c208" providerId="ADAL" clId="{D90324C1-6CE4-4C28-B886-AED0B666B37F}" dt="2024-06-07T05:04:17.580" v="92952"/>
          <ac:graphicFrameMkLst>
            <pc:docMk/>
            <pc:sldMk cId="3668082236" sldId="614"/>
            <ac:graphicFrameMk id="631" creationId="{FFC1480F-B852-B8FE-F3A7-AA5FC6A01DBA}"/>
          </ac:graphicFrameMkLst>
        </pc:graphicFrameChg>
        <pc:graphicFrameChg chg="add del mod replST">
          <ac:chgData name="Grace, Morgan (Brisbane)" userId="221d5f7b-4a46-4bd5-bdf1-698d3a91c208" providerId="ADAL" clId="{D90324C1-6CE4-4C28-B886-AED0B666B37F}" dt="2024-06-07T05:04:25.236" v="93101"/>
          <ac:graphicFrameMkLst>
            <pc:docMk/>
            <pc:sldMk cId="3668082236" sldId="614"/>
            <ac:graphicFrameMk id="638" creationId="{D56CBC55-2480-211B-4766-F2B0B2611DEF}"/>
          </ac:graphicFrameMkLst>
        </pc:graphicFrameChg>
        <pc:graphicFrameChg chg="add del mod replST">
          <ac:chgData name="Grace, Morgan (Brisbane)" userId="221d5f7b-4a46-4bd5-bdf1-698d3a91c208" providerId="ADAL" clId="{D90324C1-6CE4-4C28-B886-AED0B666B37F}" dt="2024-06-07T05:05:29.147" v="93235"/>
          <ac:graphicFrameMkLst>
            <pc:docMk/>
            <pc:sldMk cId="3668082236" sldId="614"/>
            <ac:graphicFrameMk id="640" creationId="{0E8F4A6A-EF3E-1D7B-91D0-B360F8931F0C}"/>
          </ac:graphicFrameMkLst>
        </pc:graphicFrameChg>
        <pc:graphicFrameChg chg="add del mod">
          <ac:chgData name="Grace, Morgan (Brisbane)" userId="221d5f7b-4a46-4bd5-bdf1-698d3a91c208" providerId="ADAL" clId="{D90324C1-6CE4-4C28-B886-AED0B666B37F}" dt="2024-06-07T05:16:06.929" v="96519" actId="478"/>
          <ac:graphicFrameMkLst>
            <pc:docMk/>
            <pc:sldMk cId="3668082236" sldId="614"/>
            <ac:graphicFrameMk id="643" creationId="{8F78D714-7C43-9AB9-AC72-197269DD5748}"/>
          </ac:graphicFrameMkLst>
        </pc:graphicFrameChg>
        <pc:graphicFrameChg chg="add del mod replST">
          <ac:chgData name="Grace, Morgan (Brisbane)" userId="221d5f7b-4a46-4bd5-bdf1-698d3a91c208" providerId="ADAL" clId="{D90324C1-6CE4-4C28-B886-AED0B666B37F}" dt="2024-06-07T05:10:21.846" v="93667"/>
          <ac:graphicFrameMkLst>
            <pc:docMk/>
            <pc:sldMk cId="3668082236" sldId="614"/>
            <ac:graphicFrameMk id="645" creationId="{B1CECF33-185D-4DD1-A92C-670E775044D0}"/>
          </ac:graphicFrameMkLst>
        </pc:graphicFrameChg>
        <pc:graphicFrameChg chg="add del mod replST">
          <ac:chgData name="Grace, Morgan (Brisbane)" userId="221d5f7b-4a46-4bd5-bdf1-698d3a91c208" providerId="ADAL" clId="{D90324C1-6CE4-4C28-B886-AED0B666B37F}" dt="2024-06-07T05:10:23.347" v="93851"/>
          <ac:graphicFrameMkLst>
            <pc:docMk/>
            <pc:sldMk cId="3668082236" sldId="614"/>
            <ac:graphicFrameMk id="646" creationId="{88F5B1C0-9327-F82B-4BC0-A3216E224C75}"/>
          </ac:graphicFrameMkLst>
        </pc:graphicFrameChg>
        <pc:graphicFrameChg chg="add del mod replST">
          <ac:chgData name="Grace, Morgan (Brisbane)" userId="221d5f7b-4a46-4bd5-bdf1-698d3a91c208" providerId="ADAL" clId="{D90324C1-6CE4-4C28-B886-AED0B666B37F}" dt="2024-06-07T05:12:09.701" v="94053"/>
          <ac:graphicFrameMkLst>
            <pc:docMk/>
            <pc:sldMk cId="3668082236" sldId="614"/>
            <ac:graphicFrameMk id="647" creationId="{169906FC-9BD2-EF0C-9DB8-FA7AD1522370}"/>
          </ac:graphicFrameMkLst>
        </pc:graphicFrameChg>
        <pc:graphicFrameChg chg="add del mod replST">
          <ac:chgData name="Grace, Morgan (Brisbane)" userId="221d5f7b-4a46-4bd5-bdf1-698d3a91c208" providerId="ADAL" clId="{D90324C1-6CE4-4C28-B886-AED0B666B37F}" dt="2024-06-07T05:12:15.869" v="94232"/>
          <ac:graphicFrameMkLst>
            <pc:docMk/>
            <pc:sldMk cId="3668082236" sldId="614"/>
            <ac:graphicFrameMk id="648" creationId="{75E0BE17-73FE-7AF2-C2A3-9D33298BFDC7}"/>
          </ac:graphicFrameMkLst>
        </pc:graphicFrameChg>
        <pc:graphicFrameChg chg="add del mod replST">
          <ac:chgData name="Grace, Morgan (Brisbane)" userId="221d5f7b-4a46-4bd5-bdf1-698d3a91c208" providerId="ADAL" clId="{D90324C1-6CE4-4C28-B886-AED0B666B37F}" dt="2024-06-07T05:13:07.578" v="94427"/>
          <ac:graphicFrameMkLst>
            <pc:docMk/>
            <pc:sldMk cId="3668082236" sldId="614"/>
            <ac:graphicFrameMk id="649" creationId="{7DEF446F-0E8D-0F5C-25F9-EB22AFB94B9D}"/>
          </ac:graphicFrameMkLst>
        </pc:graphicFrameChg>
        <pc:graphicFrameChg chg="add del mod replST">
          <ac:chgData name="Grace, Morgan (Brisbane)" userId="221d5f7b-4a46-4bd5-bdf1-698d3a91c208" providerId="ADAL" clId="{D90324C1-6CE4-4C28-B886-AED0B666B37F}" dt="2024-06-07T05:13:09.347" v="94610"/>
          <ac:graphicFrameMkLst>
            <pc:docMk/>
            <pc:sldMk cId="3668082236" sldId="614"/>
            <ac:graphicFrameMk id="650" creationId="{1ED5C5CA-A2DE-EFFE-7E3D-848BD862C04B}"/>
          </ac:graphicFrameMkLst>
        </pc:graphicFrameChg>
        <pc:graphicFrameChg chg="add del mod replST">
          <ac:chgData name="Grace, Morgan (Brisbane)" userId="221d5f7b-4a46-4bd5-bdf1-698d3a91c208" providerId="ADAL" clId="{D90324C1-6CE4-4C28-B886-AED0B666B37F}" dt="2024-06-07T05:13:13.810" v="94793"/>
          <ac:graphicFrameMkLst>
            <pc:docMk/>
            <pc:sldMk cId="3668082236" sldId="614"/>
            <ac:graphicFrameMk id="651" creationId="{3694A14A-074D-4391-699E-8C8C1BCB2577}"/>
          </ac:graphicFrameMkLst>
        </pc:graphicFrameChg>
        <pc:graphicFrameChg chg="add del mod replST">
          <ac:chgData name="Grace, Morgan (Brisbane)" userId="221d5f7b-4a46-4bd5-bdf1-698d3a91c208" providerId="ADAL" clId="{D90324C1-6CE4-4C28-B886-AED0B666B37F}" dt="2024-06-07T05:13:21.361" v="95024"/>
          <ac:graphicFrameMkLst>
            <pc:docMk/>
            <pc:sldMk cId="3668082236" sldId="614"/>
            <ac:graphicFrameMk id="652" creationId="{6092103A-662D-DF9D-C53B-6BAF65F524A6}"/>
          </ac:graphicFrameMkLst>
        </pc:graphicFrameChg>
        <pc:graphicFrameChg chg="add del mod replST">
          <ac:chgData name="Grace, Morgan (Brisbane)" userId="221d5f7b-4a46-4bd5-bdf1-698d3a91c208" providerId="ADAL" clId="{D90324C1-6CE4-4C28-B886-AED0B666B37F}" dt="2024-06-07T05:13:59.965" v="95248"/>
          <ac:graphicFrameMkLst>
            <pc:docMk/>
            <pc:sldMk cId="3668082236" sldId="614"/>
            <ac:graphicFrameMk id="656" creationId="{6D38521E-298A-DE12-9BF7-91D122E2D548}"/>
          </ac:graphicFrameMkLst>
        </pc:graphicFrameChg>
        <pc:graphicFrameChg chg="add del mod replST">
          <ac:chgData name="Grace, Morgan (Brisbane)" userId="221d5f7b-4a46-4bd5-bdf1-698d3a91c208" providerId="ADAL" clId="{D90324C1-6CE4-4C28-B886-AED0B666B37F}" dt="2024-06-07T05:14:03.589" v="95415"/>
          <ac:graphicFrameMkLst>
            <pc:docMk/>
            <pc:sldMk cId="3668082236" sldId="614"/>
            <ac:graphicFrameMk id="657" creationId="{DB1B9867-521B-438E-B677-FF205C11A40D}"/>
          </ac:graphicFrameMkLst>
        </pc:graphicFrameChg>
        <pc:graphicFrameChg chg="add del mod replST">
          <ac:chgData name="Grace, Morgan (Brisbane)" userId="221d5f7b-4a46-4bd5-bdf1-698d3a91c208" providerId="ADAL" clId="{D90324C1-6CE4-4C28-B886-AED0B666B37F}" dt="2024-06-07T05:14:06.711" v="95633"/>
          <ac:graphicFrameMkLst>
            <pc:docMk/>
            <pc:sldMk cId="3668082236" sldId="614"/>
            <ac:graphicFrameMk id="658" creationId="{A5786320-887A-C759-DEE0-24C2E087718B}"/>
          </ac:graphicFrameMkLst>
        </pc:graphicFrameChg>
        <pc:graphicFrameChg chg="add del mod replST">
          <ac:chgData name="Grace, Morgan (Brisbane)" userId="221d5f7b-4a46-4bd5-bdf1-698d3a91c208" providerId="ADAL" clId="{D90324C1-6CE4-4C28-B886-AED0B666B37F}" dt="2024-06-07T05:14:22.291" v="95833"/>
          <ac:graphicFrameMkLst>
            <pc:docMk/>
            <pc:sldMk cId="3668082236" sldId="614"/>
            <ac:graphicFrameMk id="660" creationId="{5424C090-B320-4DA4-4D2D-70B7DF77E312}"/>
          </ac:graphicFrameMkLst>
        </pc:graphicFrameChg>
        <pc:graphicFrameChg chg="add del mod replST">
          <ac:chgData name="Grace, Morgan (Brisbane)" userId="221d5f7b-4a46-4bd5-bdf1-698d3a91c208" providerId="ADAL" clId="{D90324C1-6CE4-4C28-B886-AED0B666B37F}" dt="2024-06-07T05:14:25.127" v="96057"/>
          <ac:graphicFrameMkLst>
            <pc:docMk/>
            <pc:sldMk cId="3668082236" sldId="614"/>
            <ac:graphicFrameMk id="661" creationId="{B6DD92B0-D7D9-A339-8179-0054085AD581}"/>
          </ac:graphicFrameMkLst>
        </pc:graphicFrameChg>
        <pc:graphicFrameChg chg="add del mod replST">
          <ac:chgData name="Grace, Morgan (Brisbane)" userId="221d5f7b-4a46-4bd5-bdf1-698d3a91c208" providerId="ADAL" clId="{D90324C1-6CE4-4C28-B886-AED0B666B37F}" dt="2024-06-07T05:15:37.334" v="96288"/>
          <ac:graphicFrameMkLst>
            <pc:docMk/>
            <pc:sldMk cId="3668082236" sldId="614"/>
            <ac:graphicFrameMk id="664" creationId="{6C84839C-730F-986E-F4DF-FD61D4A81D26}"/>
          </ac:graphicFrameMkLst>
        </pc:graphicFrameChg>
        <pc:graphicFrameChg chg="add del mod replST">
          <ac:chgData name="Grace, Morgan (Brisbane)" userId="221d5f7b-4a46-4bd5-bdf1-698d3a91c208" providerId="ADAL" clId="{D90324C1-6CE4-4C28-B886-AED0B666B37F}" dt="2024-06-07T05:15:49.873" v="96440"/>
          <ac:graphicFrameMkLst>
            <pc:docMk/>
            <pc:sldMk cId="3668082236" sldId="614"/>
            <ac:graphicFrameMk id="665" creationId="{0715DA92-A741-8E20-A880-85A0C6A8E8E7}"/>
          </ac:graphicFrameMkLst>
        </pc:graphicFrameChg>
        <pc:graphicFrameChg chg="add del mod replST">
          <ac:chgData name="Grace, Morgan (Brisbane)" userId="221d5f7b-4a46-4bd5-bdf1-698d3a91c208" providerId="ADAL" clId="{D90324C1-6CE4-4C28-B886-AED0B666B37F}" dt="2024-06-07T05:16:09.288" v="96558"/>
          <ac:graphicFrameMkLst>
            <pc:docMk/>
            <pc:sldMk cId="3668082236" sldId="614"/>
            <ac:graphicFrameMk id="666" creationId="{3740BAB0-2CFE-25D3-EE90-1EF3236BE7FB}"/>
          </ac:graphicFrameMkLst>
        </pc:graphicFrameChg>
        <pc:graphicFrameChg chg="add del mod replST">
          <ac:chgData name="Grace, Morgan (Brisbane)" userId="221d5f7b-4a46-4bd5-bdf1-698d3a91c208" providerId="ADAL" clId="{D90324C1-6CE4-4C28-B886-AED0B666B37F}" dt="2024-06-07T05:16:10.747" v="96674"/>
          <ac:graphicFrameMkLst>
            <pc:docMk/>
            <pc:sldMk cId="3668082236" sldId="614"/>
            <ac:graphicFrameMk id="667" creationId="{6659C10C-EC0E-770F-E0EE-FBFD4437FF35}"/>
          </ac:graphicFrameMkLst>
        </pc:graphicFrameChg>
        <pc:graphicFrameChg chg="add del mod replST">
          <ac:chgData name="Grace, Morgan (Brisbane)" userId="221d5f7b-4a46-4bd5-bdf1-698d3a91c208" providerId="ADAL" clId="{D90324C1-6CE4-4C28-B886-AED0B666B37F}" dt="2024-06-07T05:16:16.336" v="96791"/>
          <ac:graphicFrameMkLst>
            <pc:docMk/>
            <pc:sldMk cId="3668082236" sldId="614"/>
            <ac:graphicFrameMk id="668" creationId="{67AAED09-111E-11A4-E1E6-63623B3D0050}"/>
          </ac:graphicFrameMkLst>
        </pc:graphicFrameChg>
        <pc:graphicFrameChg chg="add del mod replST">
          <ac:chgData name="Grace, Morgan (Brisbane)" userId="221d5f7b-4a46-4bd5-bdf1-698d3a91c208" providerId="ADAL" clId="{D90324C1-6CE4-4C28-B886-AED0B666B37F}" dt="2024-06-07T05:16:21.402" v="96884"/>
          <ac:graphicFrameMkLst>
            <pc:docMk/>
            <pc:sldMk cId="3668082236" sldId="614"/>
            <ac:graphicFrameMk id="669" creationId="{3E2147C4-ADD9-04B8-A8CC-4C9C55635845}"/>
          </ac:graphicFrameMkLst>
        </pc:graphicFrameChg>
        <pc:graphicFrameChg chg="add del mod replST">
          <ac:chgData name="Grace, Morgan (Brisbane)" userId="221d5f7b-4a46-4bd5-bdf1-698d3a91c208" providerId="ADAL" clId="{D90324C1-6CE4-4C28-B886-AED0B666B37F}" dt="2024-06-07T05:16:25.161" v="96977"/>
          <ac:graphicFrameMkLst>
            <pc:docMk/>
            <pc:sldMk cId="3668082236" sldId="614"/>
            <ac:graphicFrameMk id="670" creationId="{34AD0B99-12D1-D227-6AD0-1E1790F3AEA3}"/>
          </ac:graphicFrameMkLst>
        </pc:graphicFrameChg>
        <pc:graphicFrameChg chg="add del mod replST">
          <ac:chgData name="Grace, Morgan (Brisbane)" userId="221d5f7b-4a46-4bd5-bdf1-698d3a91c208" providerId="ADAL" clId="{D90324C1-6CE4-4C28-B886-AED0B666B37F}" dt="2024-06-07T05:16:28.163" v="97082"/>
          <ac:graphicFrameMkLst>
            <pc:docMk/>
            <pc:sldMk cId="3668082236" sldId="614"/>
            <ac:graphicFrameMk id="671" creationId="{4652188C-73A4-63EF-7987-AF8D3E2B04B6}"/>
          </ac:graphicFrameMkLst>
        </pc:graphicFrameChg>
        <pc:graphicFrameChg chg="add del mod replST">
          <ac:chgData name="Grace, Morgan (Brisbane)" userId="221d5f7b-4a46-4bd5-bdf1-698d3a91c208" providerId="ADAL" clId="{D90324C1-6CE4-4C28-B886-AED0B666B37F}" dt="2024-06-07T05:16:30.659" v="97175"/>
          <ac:graphicFrameMkLst>
            <pc:docMk/>
            <pc:sldMk cId="3668082236" sldId="614"/>
            <ac:graphicFrameMk id="672" creationId="{C175C791-A95E-47E3-4A3D-633C9C047082}"/>
          </ac:graphicFrameMkLst>
        </pc:graphicFrameChg>
        <pc:graphicFrameChg chg="add del mod replST">
          <ac:chgData name="Grace, Morgan (Brisbane)" userId="221d5f7b-4a46-4bd5-bdf1-698d3a91c208" providerId="ADAL" clId="{D90324C1-6CE4-4C28-B886-AED0B666B37F}" dt="2024-06-07T05:16:31.911" v="97268"/>
          <ac:graphicFrameMkLst>
            <pc:docMk/>
            <pc:sldMk cId="3668082236" sldId="614"/>
            <ac:graphicFrameMk id="673" creationId="{18ECE600-C5BE-A05C-F3B5-D9385FA3F519}"/>
          </ac:graphicFrameMkLst>
        </pc:graphicFrameChg>
        <pc:graphicFrameChg chg="add del mod replST">
          <ac:chgData name="Grace, Morgan (Brisbane)" userId="221d5f7b-4a46-4bd5-bdf1-698d3a91c208" providerId="ADAL" clId="{D90324C1-6CE4-4C28-B886-AED0B666B37F}" dt="2024-06-07T05:16:39.853" v="97384"/>
          <ac:graphicFrameMkLst>
            <pc:docMk/>
            <pc:sldMk cId="3668082236" sldId="614"/>
            <ac:graphicFrameMk id="674" creationId="{EBBCF474-6CB1-4DD2-4494-16DF063C25E8}"/>
          </ac:graphicFrameMkLst>
        </pc:graphicFrameChg>
        <pc:graphicFrameChg chg="add del mod replST">
          <ac:chgData name="Grace, Morgan (Brisbane)" userId="221d5f7b-4a46-4bd5-bdf1-698d3a91c208" providerId="ADAL" clId="{D90324C1-6CE4-4C28-B886-AED0B666B37F}" dt="2024-06-07T05:18:04.004" v="99110"/>
          <ac:graphicFrameMkLst>
            <pc:docMk/>
            <pc:sldMk cId="3668082236" sldId="614"/>
            <ac:graphicFrameMk id="675" creationId="{97A6AED3-7754-8DC7-21D5-BE57AF4FF022}"/>
          </ac:graphicFrameMkLst>
        </pc:graphicFrameChg>
        <pc:graphicFrameChg chg="add del mod replST">
          <ac:chgData name="Grace, Morgan (Brisbane)" userId="221d5f7b-4a46-4bd5-bdf1-698d3a91c208" providerId="ADAL" clId="{D90324C1-6CE4-4C28-B886-AED0B666B37F}" dt="2024-06-07T05:17:25.402" v="97830"/>
          <ac:graphicFrameMkLst>
            <pc:docMk/>
            <pc:sldMk cId="3668082236" sldId="614"/>
            <ac:graphicFrameMk id="680" creationId="{2E8407DB-595E-88C9-3D15-450F6095D457}"/>
          </ac:graphicFrameMkLst>
        </pc:graphicFrameChg>
        <pc:graphicFrameChg chg="add del mod replST">
          <ac:chgData name="Grace, Morgan (Brisbane)" userId="221d5f7b-4a46-4bd5-bdf1-698d3a91c208" providerId="ADAL" clId="{D90324C1-6CE4-4C28-B886-AED0B666B37F}" dt="2024-06-07T05:17:29.998" v="98075"/>
          <ac:graphicFrameMkLst>
            <pc:docMk/>
            <pc:sldMk cId="3668082236" sldId="614"/>
            <ac:graphicFrameMk id="683" creationId="{583670E7-CE86-7269-8AF5-333D52DDCAAC}"/>
          </ac:graphicFrameMkLst>
        </pc:graphicFrameChg>
        <pc:graphicFrameChg chg="add del mod replST">
          <ac:chgData name="Grace, Morgan (Brisbane)" userId="221d5f7b-4a46-4bd5-bdf1-698d3a91c208" providerId="ADAL" clId="{D90324C1-6CE4-4C28-B886-AED0B666B37F}" dt="2024-06-07T05:17:31.784" v="98210"/>
          <ac:graphicFrameMkLst>
            <pc:docMk/>
            <pc:sldMk cId="3668082236" sldId="614"/>
            <ac:graphicFrameMk id="687" creationId="{5207DD09-4AE5-3A82-B8F3-77D686B70A25}"/>
          </ac:graphicFrameMkLst>
        </pc:graphicFrameChg>
        <pc:graphicFrameChg chg="add del mod replST">
          <ac:chgData name="Grace, Morgan (Brisbane)" userId="221d5f7b-4a46-4bd5-bdf1-698d3a91c208" providerId="ADAL" clId="{D90324C1-6CE4-4C28-B886-AED0B666B37F}" dt="2024-06-07T05:17:35.696" v="98416"/>
          <ac:graphicFrameMkLst>
            <pc:docMk/>
            <pc:sldMk cId="3668082236" sldId="614"/>
            <ac:graphicFrameMk id="688" creationId="{DA11E8D5-B029-BC65-8992-8F7FAFCBB10E}"/>
          </ac:graphicFrameMkLst>
        </pc:graphicFrameChg>
        <pc:graphicFrameChg chg="add del mod replST">
          <ac:chgData name="Grace, Morgan (Brisbane)" userId="221d5f7b-4a46-4bd5-bdf1-698d3a91c208" providerId="ADAL" clId="{D90324C1-6CE4-4C28-B886-AED0B666B37F}" dt="2024-06-07T05:17:41" v="98551"/>
          <ac:graphicFrameMkLst>
            <pc:docMk/>
            <pc:sldMk cId="3668082236" sldId="614"/>
            <ac:graphicFrameMk id="690" creationId="{529174DE-05B8-E0BF-F389-88ADA5EB81DD}"/>
          </ac:graphicFrameMkLst>
        </pc:graphicFrameChg>
        <pc:graphicFrameChg chg="add del mod replST">
          <ac:chgData name="Grace, Morgan (Brisbane)" userId="221d5f7b-4a46-4bd5-bdf1-698d3a91c208" providerId="ADAL" clId="{D90324C1-6CE4-4C28-B886-AED0B666B37F}" dt="2024-06-07T05:17:46.413" v="98695"/>
          <ac:graphicFrameMkLst>
            <pc:docMk/>
            <pc:sldMk cId="3668082236" sldId="614"/>
            <ac:graphicFrameMk id="691" creationId="{3EC04176-A86D-5776-A469-A28FE1F31FF1}"/>
          </ac:graphicFrameMkLst>
        </pc:graphicFrameChg>
        <pc:graphicFrameChg chg="add del mod replST">
          <ac:chgData name="Grace, Morgan (Brisbane)" userId="221d5f7b-4a46-4bd5-bdf1-698d3a91c208" providerId="ADAL" clId="{D90324C1-6CE4-4C28-B886-AED0B666B37F}" dt="2024-06-07T05:17:49.644" v="98882"/>
          <ac:graphicFrameMkLst>
            <pc:docMk/>
            <pc:sldMk cId="3668082236" sldId="614"/>
            <ac:graphicFrameMk id="693" creationId="{20D799A3-A078-0ADA-9751-BD56507579D5}"/>
          </ac:graphicFrameMkLst>
        </pc:graphicFrameChg>
        <pc:graphicFrameChg chg="add del mod replST">
          <ac:chgData name="Grace, Morgan (Brisbane)" userId="221d5f7b-4a46-4bd5-bdf1-698d3a91c208" providerId="ADAL" clId="{D90324C1-6CE4-4C28-B886-AED0B666B37F}" dt="2024-06-07T05:19:04.072" v="100502"/>
          <ac:graphicFrameMkLst>
            <pc:docMk/>
            <pc:sldMk cId="3668082236" sldId="614"/>
            <ac:graphicFrameMk id="698" creationId="{97CA40BA-6D22-AB51-140A-2C8487DE7D76}"/>
          </ac:graphicFrameMkLst>
        </pc:graphicFrameChg>
        <pc:graphicFrameChg chg="add del mod replST">
          <ac:chgData name="Grace, Morgan (Brisbane)" userId="221d5f7b-4a46-4bd5-bdf1-698d3a91c208" providerId="ADAL" clId="{D90324C1-6CE4-4C28-B886-AED0B666B37F}" dt="2024-06-07T05:18:08.083" v="99219"/>
          <ac:graphicFrameMkLst>
            <pc:docMk/>
            <pc:sldMk cId="3668082236" sldId="614"/>
            <ac:graphicFrameMk id="699" creationId="{9962A5DD-F519-F076-4748-C3751E2D6846}"/>
          </ac:graphicFrameMkLst>
        </pc:graphicFrameChg>
        <pc:graphicFrameChg chg="add del mod replST">
          <ac:chgData name="Grace, Morgan (Brisbane)" userId="221d5f7b-4a46-4bd5-bdf1-698d3a91c208" providerId="ADAL" clId="{D90324C1-6CE4-4C28-B886-AED0B666B37F}" dt="2024-06-07T05:18:12.163" v="99353"/>
          <ac:graphicFrameMkLst>
            <pc:docMk/>
            <pc:sldMk cId="3668082236" sldId="614"/>
            <ac:graphicFrameMk id="700" creationId="{498DC74E-44CE-1CE9-EFF6-611A39CC923D}"/>
          </ac:graphicFrameMkLst>
        </pc:graphicFrameChg>
        <pc:graphicFrameChg chg="add del mod replST">
          <ac:chgData name="Grace, Morgan (Brisbane)" userId="221d5f7b-4a46-4bd5-bdf1-698d3a91c208" providerId="ADAL" clId="{D90324C1-6CE4-4C28-B886-AED0B666B37F}" dt="2024-06-07T05:18:15.323" v="99462"/>
          <ac:graphicFrameMkLst>
            <pc:docMk/>
            <pc:sldMk cId="3668082236" sldId="614"/>
            <ac:graphicFrameMk id="701" creationId="{EF2F1653-B0F7-646A-92ED-BFFF54BBC53C}"/>
          </ac:graphicFrameMkLst>
        </pc:graphicFrameChg>
        <pc:graphicFrameChg chg="add del mod replST">
          <ac:chgData name="Grace, Morgan (Brisbane)" userId="221d5f7b-4a46-4bd5-bdf1-698d3a91c208" providerId="ADAL" clId="{D90324C1-6CE4-4C28-B886-AED0B666B37F}" dt="2024-06-07T05:18:19.020" v="99571"/>
          <ac:graphicFrameMkLst>
            <pc:docMk/>
            <pc:sldMk cId="3668082236" sldId="614"/>
            <ac:graphicFrameMk id="702" creationId="{3C567440-1F94-7072-2A89-D030031EDC98}"/>
          </ac:graphicFrameMkLst>
        </pc:graphicFrameChg>
        <pc:graphicFrameChg chg="add del mod replST">
          <ac:chgData name="Grace, Morgan (Brisbane)" userId="221d5f7b-4a46-4bd5-bdf1-698d3a91c208" providerId="ADAL" clId="{D90324C1-6CE4-4C28-B886-AED0B666B37F}" dt="2024-06-07T05:18:26.649" v="99680"/>
          <ac:graphicFrameMkLst>
            <pc:docMk/>
            <pc:sldMk cId="3668082236" sldId="614"/>
            <ac:graphicFrameMk id="703" creationId="{D1659AD5-E645-E0D6-B4EF-8EE721A2E72E}"/>
          </ac:graphicFrameMkLst>
        </pc:graphicFrameChg>
        <pc:graphicFrameChg chg="add del mod replST">
          <ac:chgData name="Grace, Morgan (Brisbane)" userId="221d5f7b-4a46-4bd5-bdf1-698d3a91c208" providerId="ADAL" clId="{D90324C1-6CE4-4C28-B886-AED0B666B37F}" dt="2024-06-07T05:18:27.258" v="99854"/>
          <ac:graphicFrameMkLst>
            <pc:docMk/>
            <pc:sldMk cId="3668082236" sldId="614"/>
            <ac:graphicFrameMk id="704" creationId="{8549731C-6BF5-BAE0-0664-E82DD596B699}"/>
          </ac:graphicFrameMkLst>
        </pc:graphicFrameChg>
        <pc:graphicFrameChg chg="add del mod replST">
          <ac:chgData name="Grace, Morgan (Brisbane)" userId="221d5f7b-4a46-4bd5-bdf1-698d3a91c208" providerId="ADAL" clId="{D90324C1-6CE4-4C28-B886-AED0B666B37F}" dt="2024-06-07T05:18:50.357" v="100384"/>
          <ac:graphicFrameMkLst>
            <pc:docMk/>
            <pc:sldMk cId="3668082236" sldId="614"/>
            <ac:graphicFrameMk id="706" creationId="{D2ABBFE7-7BC7-3C29-C0BB-738CB6284AA8}"/>
          </ac:graphicFrameMkLst>
        </pc:graphicFrameChg>
        <pc:graphicFrameChg chg="add del mod replST delST">
          <ac:chgData name="Grace, Morgan (Brisbane)" userId="221d5f7b-4a46-4bd5-bdf1-698d3a91c208" providerId="ADAL" clId="{D90324C1-6CE4-4C28-B886-AED0B666B37F}" dt="2024-06-07T05:18:48.007" v="100377"/>
          <ac:graphicFrameMkLst>
            <pc:docMk/>
            <pc:sldMk cId="3668082236" sldId="614"/>
            <ac:graphicFrameMk id="708" creationId="{54842698-A589-765F-BA55-7754737CD200}"/>
          </ac:graphicFrameMkLst>
        </pc:graphicFrameChg>
        <pc:graphicFrameChg chg="add mod replST delST">
          <ac:chgData name="Grace, Morgan (Brisbane)" userId="221d5f7b-4a46-4bd5-bdf1-698d3a91c208" providerId="ADAL" clId="{D90324C1-6CE4-4C28-B886-AED0B666B37F}" dt="2024-06-07T05:18:47.396" v="100288"/>
          <ac:graphicFrameMkLst>
            <pc:docMk/>
            <pc:sldMk cId="3668082236" sldId="614"/>
            <ac:graphicFrameMk id="709" creationId="{4EF67590-F803-1661-19BF-410E0A91B08E}"/>
          </ac:graphicFrameMkLst>
        </pc:graphicFrameChg>
        <pc:graphicFrameChg chg="add del mod replST">
          <ac:chgData name="Grace, Morgan (Brisbane)" userId="221d5f7b-4a46-4bd5-bdf1-698d3a91c208" providerId="ADAL" clId="{D90324C1-6CE4-4C28-B886-AED0B666B37F}" dt="2024-06-07T05:19:39.636" v="100646"/>
          <ac:graphicFrameMkLst>
            <pc:docMk/>
            <pc:sldMk cId="3668082236" sldId="614"/>
            <ac:graphicFrameMk id="712" creationId="{C14165F3-6CC8-80E4-701B-A785DB21BF65}"/>
          </ac:graphicFrameMkLst>
        </pc:graphicFrameChg>
        <pc:graphicFrameChg chg="add del mod replST">
          <ac:chgData name="Grace, Morgan (Brisbane)" userId="221d5f7b-4a46-4bd5-bdf1-698d3a91c208" providerId="ADAL" clId="{D90324C1-6CE4-4C28-B886-AED0B666B37F}" dt="2024-06-07T05:19:51.478" v="100838"/>
          <ac:graphicFrameMkLst>
            <pc:docMk/>
            <pc:sldMk cId="3668082236" sldId="614"/>
            <ac:graphicFrameMk id="713" creationId="{F3A3AA08-6445-7A76-ED81-2735E35FF461}"/>
          </ac:graphicFrameMkLst>
        </pc:graphicFrameChg>
        <pc:graphicFrameChg chg="add del mod replST">
          <ac:chgData name="Grace, Morgan (Brisbane)" userId="221d5f7b-4a46-4bd5-bdf1-698d3a91c208" providerId="ADAL" clId="{D90324C1-6CE4-4C28-B886-AED0B666B37F}" dt="2024-06-07T05:23:13.771" v="102916"/>
          <ac:graphicFrameMkLst>
            <pc:docMk/>
            <pc:sldMk cId="3668082236" sldId="614"/>
            <ac:graphicFrameMk id="714" creationId="{91C2A992-AD37-3365-03E7-B81A9D5A6450}"/>
          </ac:graphicFrameMkLst>
        </pc:graphicFrameChg>
        <pc:graphicFrameChg chg="add del mod replST">
          <ac:chgData name="Grace, Morgan (Brisbane)" userId="221d5f7b-4a46-4bd5-bdf1-698d3a91c208" providerId="ADAL" clId="{D90324C1-6CE4-4C28-B886-AED0B666B37F}" dt="2024-06-07T05:20:22.227" v="101451"/>
          <ac:graphicFrameMkLst>
            <pc:docMk/>
            <pc:sldMk cId="3668082236" sldId="614"/>
            <ac:graphicFrameMk id="719" creationId="{FFFD0866-7211-AB1A-B8ED-764385D2FDFD}"/>
          </ac:graphicFrameMkLst>
        </pc:graphicFrameChg>
        <pc:graphicFrameChg chg="add del mod replST">
          <ac:chgData name="Grace, Morgan (Brisbane)" userId="221d5f7b-4a46-4bd5-bdf1-698d3a91c208" providerId="ADAL" clId="{D90324C1-6CE4-4C28-B886-AED0B666B37F}" dt="2024-06-07T05:20:38.255" v="101900"/>
          <ac:graphicFrameMkLst>
            <pc:docMk/>
            <pc:sldMk cId="3668082236" sldId="614"/>
            <ac:graphicFrameMk id="725" creationId="{CECFF91C-FD73-0923-3012-474CB4C4B91C}"/>
          </ac:graphicFrameMkLst>
        </pc:graphicFrameChg>
        <pc:graphicFrameChg chg="add del mod replST">
          <ac:chgData name="Grace, Morgan (Brisbane)" userId="221d5f7b-4a46-4bd5-bdf1-698d3a91c208" providerId="ADAL" clId="{D90324C1-6CE4-4C28-B886-AED0B666B37F}" dt="2024-06-07T05:20:39.883" v="102101"/>
          <ac:graphicFrameMkLst>
            <pc:docMk/>
            <pc:sldMk cId="3668082236" sldId="614"/>
            <ac:graphicFrameMk id="732" creationId="{313DD445-4687-8228-1910-C853D158C6AD}"/>
          </ac:graphicFrameMkLst>
        </pc:graphicFrameChg>
        <pc:graphicFrameChg chg="add del mod replST">
          <ac:chgData name="Grace, Morgan (Brisbane)" userId="221d5f7b-4a46-4bd5-bdf1-698d3a91c208" providerId="ADAL" clId="{D90324C1-6CE4-4C28-B886-AED0B666B37F}" dt="2024-06-07T05:21:00.940" v="102361"/>
          <ac:graphicFrameMkLst>
            <pc:docMk/>
            <pc:sldMk cId="3668082236" sldId="614"/>
            <ac:graphicFrameMk id="733" creationId="{0D9FD88D-25A4-9D5B-01F7-B343AAC62144}"/>
          </ac:graphicFrameMkLst>
        </pc:graphicFrameChg>
        <pc:graphicFrameChg chg="add del mod replST">
          <ac:chgData name="Grace, Morgan (Brisbane)" userId="221d5f7b-4a46-4bd5-bdf1-698d3a91c208" providerId="ADAL" clId="{D90324C1-6CE4-4C28-B886-AED0B666B37F}" dt="2024-06-07T05:22:58.121" v="102758"/>
          <ac:graphicFrameMkLst>
            <pc:docMk/>
            <pc:sldMk cId="3668082236" sldId="614"/>
            <ac:graphicFrameMk id="735" creationId="{266D374F-552A-EE15-A59E-7076B4101FF1}"/>
          </ac:graphicFrameMkLst>
        </pc:graphicFrameChg>
        <pc:graphicFrameChg chg="add del mod replST">
          <ac:chgData name="Grace, Morgan (Brisbane)" userId="221d5f7b-4a46-4bd5-bdf1-698d3a91c208" providerId="ADAL" clId="{D90324C1-6CE4-4C28-B886-AED0B666B37F}" dt="2024-06-07T05:23:09.091" v="102878"/>
          <ac:graphicFrameMkLst>
            <pc:docMk/>
            <pc:sldMk cId="3668082236" sldId="614"/>
            <ac:graphicFrameMk id="741" creationId="{C2381471-2294-BD04-225A-AC867485A09A}"/>
          </ac:graphicFrameMkLst>
        </pc:graphicFrameChg>
        <pc:graphicFrameChg chg="add del mod replST">
          <ac:chgData name="Grace, Morgan (Brisbane)" userId="221d5f7b-4a46-4bd5-bdf1-698d3a91c208" providerId="ADAL" clId="{D90324C1-6CE4-4C28-B886-AED0B666B37F}" dt="2024-06-07T05:23:16.008" v="103022"/>
          <ac:graphicFrameMkLst>
            <pc:docMk/>
            <pc:sldMk cId="3668082236" sldId="614"/>
            <ac:graphicFrameMk id="742" creationId="{3CE392D7-CFBB-E6C4-AA8E-4B6A046EB649}"/>
          </ac:graphicFrameMkLst>
        </pc:graphicFrameChg>
        <pc:graphicFrameChg chg="add del mod replST">
          <ac:chgData name="Grace, Morgan (Brisbane)" userId="221d5f7b-4a46-4bd5-bdf1-698d3a91c208" providerId="ADAL" clId="{D90324C1-6CE4-4C28-B886-AED0B666B37F}" dt="2024-06-07T05:23:24.802" v="103207"/>
          <ac:graphicFrameMkLst>
            <pc:docMk/>
            <pc:sldMk cId="3668082236" sldId="614"/>
            <ac:graphicFrameMk id="743" creationId="{33A473FF-2CF8-9389-3D67-25016FB7F0AF}"/>
          </ac:graphicFrameMkLst>
        </pc:graphicFrameChg>
        <pc:graphicFrameChg chg="add del mod replST">
          <ac:chgData name="Grace, Morgan (Brisbane)" userId="221d5f7b-4a46-4bd5-bdf1-698d3a91c208" providerId="ADAL" clId="{D90324C1-6CE4-4C28-B886-AED0B666B37F}" dt="2024-06-07T05:23:36.278" v="103368"/>
          <ac:graphicFrameMkLst>
            <pc:docMk/>
            <pc:sldMk cId="3668082236" sldId="614"/>
            <ac:graphicFrameMk id="744" creationId="{8B4F1314-E753-C69A-378F-F800BE833D54}"/>
          </ac:graphicFrameMkLst>
        </pc:graphicFrameChg>
        <pc:graphicFrameChg chg="add del mod replST">
          <ac:chgData name="Grace, Morgan (Brisbane)" userId="221d5f7b-4a46-4bd5-bdf1-698d3a91c208" providerId="ADAL" clId="{D90324C1-6CE4-4C28-B886-AED0B666B37F}" dt="2024-06-07T05:23:38.782" v="103480"/>
          <ac:graphicFrameMkLst>
            <pc:docMk/>
            <pc:sldMk cId="3668082236" sldId="614"/>
            <ac:graphicFrameMk id="746" creationId="{77639E53-D01E-29FC-838A-393683D9B6F2}"/>
          </ac:graphicFrameMkLst>
        </pc:graphicFrameChg>
        <pc:graphicFrameChg chg="add del mod replST">
          <ac:chgData name="Grace, Morgan (Brisbane)" userId="221d5f7b-4a46-4bd5-bdf1-698d3a91c208" providerId="ADAL" clId="{D90324C1-6CE4-4C28-B886-AED0B666B37F}" dt="2024-06-07T05:23:41.354" v="103607"/>
          <ac:graphicFrameMkLst>
            <pc:docMk/>
            <pc:sldMk cId="3668082236" sldId="614"/>
            <ac:graphicFrameMk id="747" creationId="{18DC10E8-BC3C-D5A1-B2FA-434D4159A5B8}"/>
          </ac:graphicFrameMkLst>
        </pc:graphicFrameChg>
        <pc:graphicFrameChg chg="add del mod replST">
          <ac:chgData name="Grace, Morgan (Brisbane)" userId="221d5f7b-4a46-4bd5-bdf1-698d3a91c208" providerId="ADAL" clId="{D90324C1-6CE4-4C28-B886-AED0B666B37F}" dt="2024-06-07T05:23:43.497" v="103734"/>
          <ac:graphicFrameMkLst>
            <pc:docMk/>
            <pc:sldMk cId="3668082236" sldId="614"/>
            <ac:graphicFrameMk id="748" creationId="{B00BF177-828F-F245-4937-A22E639DE854}"/>
          </ac:graphicFrameMkLst>
        </pc:graphicFrameChg>
        <pc:graphicFrameChg chg="add del mod replST">
          <ac:chgData name="Grace, Morgan (Brisbane)" userId="221d5f7b-4a46-4bd5-bdf1-698d3a91c208" providerId="ADAL" clId="{D90324C1-6CE4-4C28-B886-AED0B666B37F}" dt="2024-06-07T05:23:45.138" v="103855"/>
          <ac:graphicFrameMkLst>
            <pc:docMk/>
            <pc:sldMk cId="3668082236" sldId="614"/>
            <ac:graphicFrameMk id="749" creationId="{067707EB-71CB-6F95-D7A3-39A6AD6186E3}"/>
          </ac:graphicFrameMkLst>
        </pc:graphicFrameChg>
        <pc:graphicFrameChg chg="add del mod replST">
          <ac:chgData name="Grace, Morgan (Brisbane)" userId="221d5f7b-4a46-4bd5-bdf1-698d3a91c208" providerId="ADAL" clId="{D90324C1-6CE4-4C28-B886-AED0B666B37F}" dt="2024-06-07T05:23:46.655" v="103959"/>
          <ac:graphicFrameMkLst>
            <pc:docMk/>
            <pc:sldMk cId="3668082236" sldId="614"/>
            <ac:graphicFrameMk id="750" creationId="{5CD59853-03AA-54B7-AD37-41799E9DF2AE}"/>
          </ac:graphicFrameMkLst>
        </pc:graphicFrameChg>
        <pc:graphicFrameChg chg="add del mod replST">
          <ac:chgData name="Grace, Morgan (Brisbane)" userId="221d5f7b-4a46-4bd5-bdf1-698d3a91c208" providerId="ADAL" clId="{D90324C1-6CE4-4C28-B886-AED0B666B37F}" dt="2024-06-07T05:23:49.798" v="104075"/>
          <ac:graphicFrameMkLst>
            <pc:docMk/>
            <pc:sldMk cId="3668082236" sldId="614"/>
            <ac:graphicFrameMk id="751" creationId="{6599FEFD-F50B-86FF-C740-079CDD5DB2A0}"/>
          </ac:graphicFrameMkLst>
        </pc:graphicFrameChg>
        <pc:graphicFrameChg chg="add del mod replST">
          <ac:chgData name="Grace, Morgan (Brisbane)" userId="221d5f7b-4a46-4bd5-bdf1-698d3a91c208" providerId="ADAL" clId="{D90324C1-6CE4-4C28-B886-AED0B666B37F}" dt="2024-06-07T05:23:58.003" v="104257"/>
          <ac:graphicFrameMkLst>
            <pc:docMk/>
            <pc:sldMk cId="3668082236" sldId="614"/>
            <ac:graphicFrameMk id="752" creationId="{0F2D94CC-A8B7-7202-7B3E-09E023AE65B6}"/>
          </ac:graphicFrameMkLst>
        </pc:graphicFrameChg>
        <pc:graphicFrameChg chg="add del mod replST">
          <ac:chgData name="Grace, Morgan (Brisbane)" userId="221d5f7b-4a46-4bd5-bdf1-698d3a91c208" providerId="ADAL" clId="{D90324C1-6CE4-4C28-B886-AED0B666B37F}" dt="2024-06-07T05:24:02.748" v="104449"/>
          <ac:graphicFrameMkLst>
            <pc:docMk/>
            <pc:sldMk cId="3668082236" sldId="614"/>
            <ac:graphicFrameMk id="754" creationId="{760A20A4-CB40-670C-6B3F-103B1F5C8CE1}"/>
          </ac:graphicFrameMkLst>
        </pc:graphicFrameChg>
        <pc:graphicFrameChg chg="add del mod replST">
          <ac:chgData name="Grace, Morgan (Brisbane)" userId="221d5f7b-4a46-4bd5-bdf1-698d3a91c208" providerId="ADAL" clId="{D90324C1-6CE4-4C28-B886-AED0B666B37F}" dt="2024-06-07T05:24:08.325" v="104642"/>
          <ac:graphicFrameMkLst>
            <pc:docMk/>
            <pc:sldMk cId="3668082236" sldId="614"/>
            <ac:graphicFrameMk id="757" creationId="{7156AF02-DACC-3C5E-BC18-62F93163B1A8}"/>
          </ac:graphicFrameMkLst>
        </pc:graphicFrameChg>
        <pc:graphicFrameChg chg="add del mod replST">
          <ac:chgData name="Grace, Morgan (Brisbane)" userId="221d5f7b-4a46-4bd5-bdf1-698d3a91c208" providerId="ADAL" clId="{D90324C1-6CE4-4C28-B886-AED0B666B37F}" dt="2024-06-07T05:24:31.043" v="105182"/>
          <ac:graphicFrameMkLst>
            <pc:docMk/>
            <pc:sldMk cId="3668082236" sldId="614"/>
            <ac:graphicFrameMk id="759" creationId="{21E960B4-E363-6406-7F43-A4A8CF440C36}"/>
          </ac:graphicFrameMkLst>
        </pc:graphicFrameChg>
        <pc:graphicFrameChg chg="add del mod replST">
          <ac:chgData name="Grace, Morgan (Brisbane)" userId="221d5f7b-4a46-4bd5-bdf1-698d3a91c208" providerId="ADAL" clId="{D90324C1-6CE4-4C28-B886-AED0B666B37F}" dt="2024-06-07T05:24:26.542" v="105090"/>
          <ac:graphicFrameMkLst>
            <pc:docMk/>
            <pc:sldMk cId="3668082236" sldId="614"/>
            <ac:graphicFrameMk id="764" creationId="{FFCBD95B-03E8-02A4-7BD0-E8EA3F8943BD}"/>
          </ac:graphicFrameMkLst>
        </pc:graphicFrameChg>
        <pc:graphicFrameChg chg="add del mod replST">
          <ac:chgData name="Grace, Morgan (Brisbane)" userId="221d5f7b-4a46-4bd5-bdf1-698d3a91c208" providerId="ADAL" clId="{D90324C1-6CE4-4C28-B886-AED0B666B37F}" dt="2024-06-07T05:24:31.057" v="105195"/>
          <ac:graphicFrameMkLst>
            <pc:docMk/>
            <pc:sldMk cId="3668082236" sldId="614"/>
            <ac:graphicFrameMk id="767" creationId="{719488D4-679B-8927-B054-56A70C0446EF}"/>
          </ac:graphicFrameMkLst>
        </pc:graphicFrameChg>
        <pc:graphicFrameChg chg="add del mod replST">
          <ac:chgData name="Grace, Morgan (Brisbane)" userId="221d5f7b-4a46-4bd5-bdf1-698d3a91c208" providerId="ADAL" clId="{D90324C1-6CE4-4C28-B886-AED0B666B37F}" dt="2024-06-07T05:24:32.226" v="105299"/>
          <ac:graphicFrameMkLst>
            <pc:docMk/>
            <pc:sldMk cId="3668082236" sldId="614"/>
            <ac:graphicFrameMk id="768" creationId="{BC0F2600-3D6A-93E8-915F-6D3DF1FACFDB}"/>
          </ac:graphicFrameMkLst>
        </pc:graphicFrameChg>
        <pc:graphicFrameChg chg="add del mod replST">
          <ac:chgData name="Grace, Morgan (Brisbane)" userId="221d5f7b-4a46-4bd5-bdf1-698d3a91c208" providerId="ADAL" clId="{D90324C1-6CE4-4C28-B886-AED0B666B37F}" dt="2024-06-07T05:24:34.721" v="105649"/>
          <ac:graphicFrameMkLst>
            <pc:docMk/>
            <pc:sldMk cId="3668082236" sldId="614"/>
            <ac:graphicFrameMk id="769" creationId="{D9B7B20B-92B5-CB3F-6E14-8060B82A92F7}"/>
          </ac:graphicFrameMkLst>
        </pc:graphicFrameChg>
        <pc:graphicFrameChg chg="add del mod replST">
          <ac:chgData name="Grace, Morgan (Brisbane)" userId="221d5f7b-4a46-4bd5-bdf1-698d3a91c208" providerId="ADAL" clId="{D90324C1-6CE4-4C28-B886-AED0B666B37F}" dt="2024-06-07T05:24:39.118" v="105864"/>
          <ac:graphicFrameMkLst>
            <pc:docMk/>
            <pc:sldMk cId="3668082236" sldId="614"/>
            <ac:graphicFrameMk id="775" creationId="{35A643C5-559E-581D-9605-3E1418829D87}"/>
          </ac:graphicFrameMkLst>
        </pc:graphicFrameChg>
        <pc:graphicFrameChg chg="add del mod replST">
          <ac:chgData name="Grace, Morgan (Brisbane)" userId="221d5f7b-4a46-4bd5-bdf1-698d3a91c208" providerId="ADAL" clId="{D90324C1-6CE4-4C28-B886-AED0B666B37F}" dt="2024-06-07T05:24:42.521" v="105992"/>
          <ac:graphicFrameMkLst>
            <pc:docMk/>
            <pc:sldMk cId="3668082236" sldId="614"/>
            <ac:graphicFrameMk id="777" creationId="{1DC8FEA7-0D7E-11DC-F9B2-4070501B47B1}"/>
          </ac:graphicFrameMkLst>
        </pc:graphicFrameChg>
        <pc:graphicFrameChg chg="add del mod replST">
          <ac:chgData name="Grace, Morgan (Brisbane)" userId="221d5f7b-4a46-4bd5-bdf1-698d3a91c208" providerId="ADAL" clId="{D90324C1-6CE4-4C28-B886-AED0B666B37F}" dt="2024-06-07T05:24:43.869" v="106108"/>
          <ac:graphicFrameMkLst>
            <pc:docMk/>
            <pc:sldMk cId="3668082236" sldId="614"/>
            <ac:graphicFrameMk id="778" creationId="{EBA038DA-46EC-951B-4F14-B8D1DC8ED20B}"/>
          </ac:graphicFrameMkLst>
        </pc:graphicFrameChg>
        <pc:graphicFrameChg chg="add del mod replST">
          <ac:chgData name="Grace, Morgan (Brisbane)" userId="221d5f7b-4a46-4bd5-bdf1-698d3a91c208" providerId="ADAL" clId="{D90324C1-6CE4-4C28-B886-AED0B666B37F}" dt="2024-06-07T05:24:44.666" v="106224"/>
          <ac:graphicFrameMkLst>
            <pc:docMk/>
            <pc:sldMk cId="3668082236" sldId="614"/>
            <ac:graphicFrameMk id="779" creationId="{9AD86ED7-38E9-C79F-89F7-939D5C4C172D}"/>
          </ac:graphicFrameMkLst>
        </pc:graphicFrameChg>
        <pc:graphicFrameChg chg="add del mod replST">
          <ac:chgData name="Grace, Morgan (Brisbane)" userId="221d5f7b-4a46-4bd5-bdf1-698d3a91c208" providerId="ADAL" clId="{D90324C1-6CE4-4C28-B886-AED0B666B37F}" dt="2024-06-07T05:24:47.073" v="106315"/>
          <ac:graphicFrameMkLst>
            <pc:docMk/>
            <pc:sldMk cId="3668082236" sldId="614"/>
            <ac:graphicFrameMk id="780" creationId="{70241CB0-6136-6974-0473-BB6BE6481CF9}"/>
          </ac:graphicFrameMkLst>
        </pc:graphicFrameChg>
        <pc:graphicFrameChg chg="add del mod replST">
          <ac:chgData name="Grace, Morgan (Brisbane)" userId="221d5f7b-4a46-4bd5-bdf1-698d3a91c208" providerId="ADAL" clId="{D90324C1-6CE4-4C28-B886-AED0B666B37F}" dt="2024-06-07T05:24:49.526" v="106539"/>
          <ac:graphicFrameMkLst>
            <pc:docMk/>
            <pc:sldMk cId="3668082236" sldId="614"/>
            <ac:graphicFrameMk id="781" creationId="{1DEFF270-FF3C-FB23-D9F3-A08E5EB2002D}"/>
          </ac:graphicFrameMkLst>
        </pc:graphicFrameChg>
        <pc:graphicFrameChg chg="add del mod replST">
          <ac:chgData name="Grace, Morgan (Brisbane)" userId="221d5f7b-4a46-4bd5-bdf1-698d3a91c208" providerId="ADAL" clId="{D90324C1-6CE4-4C28-B886-AED0B666B37F}" dt="2024-06-07T05:24:51.482" v="106642"/>
          <ac:graphicFrameMkLst>
            <pc:docMk/>
            <pc:sldMk cId="3668082236" sldId="614"/>
            <ac:graphicFrameMk id="785" creationId="{D8887BC9-F186-B130-11B9-1D6BB56BFC19}"/>
          </ac:graphicFrameMkLst>
        </pc:graphicFrameChg>
        <pc:graphicFrameChg chg="add del mod replST">
          <ac:chgData name="Grace, Morgan (Brisbane)" userId="221d5f7b-4a46-4bd5-bdf1-698d3a91c208" providerId="ADAL" clId="{D90324C1-6CE4-4C28-B886-AED0B666B37F}" dt="2024-06-07T05:24:56.082" v="106776"/>
          <ac:graphicFrameMkLst>
            <pc:docMk/>
            <pc:sldMk cId="3668082236" sldId="614"/>
            <ac:graphicFrameMk id="786" creationId="{A1D1E3F6-B804-83C5-61A8-E3B79E0BC55C}"/>
          </ac:graphicFrameMkLst>
        </pc:graphicFrameChg>
        <pc:graphicFrameChg chg="add del mod replST">
          <ac:chgData name="Grace, Morgan (Brisbane)" userId="221d5f7b-4a46-4bd5-bdf1-698d3a91c208" providerId="ADAL" clId="{D90324C1-6CE4-4C28-B886-AED0B666B37F}" dt="2024-06-07T05:24:58.604" v="106942"/>
          <ac:graphicFrameMkLst>
            <pc:docMk/>
            <pc:sldMk cId="3668082236" sldId="614"/>
            <ac:graphicFrameMk id="788" creationId="{049538DC-520C-BBE6-EC27-26C7CB87AEDD}"/>
          </ac:graphicFrameMkLst>
        </pc:graphicFrameChg>
        <pc:graphicFrameChg chg="add del mod replST">
          <ac:chgData name="Grace, Morgan (Brisbane)" userId="221d5f7b-4a46-4bd5-bdf1-698d3a91c208" providerId="ADAL" clId="{D90324C1-6CE4-4C28-B886-AED0B666B37F}" dt="2024-06-07T05:25:06.100" v="107135"/>
          <ac:graphicFrameMkLst>
            <pc:docMk/>
            <pc:sldMk cId="3668082236" sldId="614"/>
            <ac:graphicFrameMk id="793" creationId="{2B76320E-9054-9E54-7D8C-E5C3E92010CE}"/>
          </ac:graphicFrameMkLst>
        </pc:graphicFrameChg>
        <pc:graphicFrameChg chg="add del mod replST">
          <ac:chgData name="Grace, Morgan (Brisbane)" userId="221d5f7b-4a46-4bd5-bdf1-698d3a91c208" providerId="ADAL" clId="{D90324C1-6CE4-4C28-B886-AED0B666B37F}" dt="2024-06-07T05:25:07.501" v="107239"/>
          <ac:graphicFrameMkLst>
            <pc:docMk/>
            <pc:sldMk cId="3668082236" sldId="614"/>
            <ac:graphicFrameMk id="794" creationId="{9064374C-B4DB-453A-263C-F3F9D778D3CE}"/>
          </ac:graphicFrameMkLst>
        </pc:graphicFrameChg>
        <pc:graphicFrameChg chg="add del mod replST">
          <ac:chgData name="Grace, Morgan (Brisbane)" userId="221d5f7b-4a46-4bd5-bdf1-698d3a91c208" providerId="ADAL" clId="{D90324C1-6CE4-4C28-B886-AED0B666B37F}" dt="2024-06-07T05:25:10.426" v="107342"/>
          <ac:graphicFrameMkLst>
            <pc:docMk/>
            <pc:sldMk cId="3668082236" sldId="614"/>
            <ac:graphicFrameMk id="795" creationId="{BA2B0AC7-5622-096C-BE20-9BDD266B3AF2}"/>
          </ac:graphicFrameMkLst>
        </pc:graphicFrameChg>
        <pc:graphicFrameChg chg="add del mod replST">
          <ac:chgData name="Grace, Morgan (Brisbane)" userId="221d5f7b-4a46-4bd5-bdf1-698d3a91c208" providerId="ADAL" clId="{D90324C1-6CE4-4C28-B886-AED0B666B37F}" dt="2024-06-07T05:25:19.552" v="107494"/>
          <ac:graphicFrameMkLst>
            <pc:docMk/>
            <pc:sldMk cId="3668082236" sldId="614"/>
            <ac:graphicFrameMk id="796" creationId="{DC669946-6747-8732-69F0-7D00A5940E18}"/>
          </ac:graphicFrameMkLst>
        </pc:graphicFrameChg>
        <pc:graphicFrameChg chg="add del mod replST">
          <ac:chgData name="Grace, Morgan (Brisbane)" userId="221d5f7b-4a46-4bd5-bdf1-698d3a91c208" providerId="ADAL" clId="{D90324C1-6CE4-4C28-B886-AED0B666B37F}" dt="2024-06-07T05:25:21.489" v="107610"/>
          <ac:graphicFrameMkLst>
            <pc:docMk/>
            <pc:sldMk cId="3668082236" sldId="614"/>
            <ac:graphicFrameMk id="797" creationId="{42AA7001-E4D8-9564-3B7F-CB56AD1A4CD8}"/>
          </ac:graphicFrameMkLst>
        </pc:graphicFrameChg>
        <pc:graphicFrameChg chg="add del mod replST">
          <ac:chgData name="Grace, Morgan (Brisbane)" userId="221d5f7b-4a46-4bd5-bdf1-698d3a91c208" providerId="ADAL" clId="{D90324C1-6CE4-4C28-B886-AED0B666B37F}" dt="2024-06-07T05:25:22.759" v="107713"/>
          <ac:graphicFrameMkLst>
            <pc:docMk/>
            <pc:sldMk cId="3668082236" sldId="614"/>
            <ac:graphicFrameMk id="798" creationId="{AD9216D0-B80E-E71E-8C97-75A4CFDCDD6B}"/>
          </ac:graphicFrameMkLst>
        </pc:graphicFrameChg>
        <pc:graphicFrameChg chg="add del mod replST">
          <ac:chgData name="Grace, Morgan (Brisbane)" userId="221d5f7b-4a46-4bd5-bdf1-698d3a91c208" providerId="ADAL" clId="{D90324C1-6CE4-4C28-B886-AED0B666B37F}" dt="2024-06-07T05:25:50.779" v="107893"/>
          <ac:graphicFrameMkLst>
            <pc:docMk/>
            <pc:sldMk cId="3668082236" sldId="614"/>
            <ac:graphicFrameMk id="799" creationId="{DF7C6FD8-4F17-BAD5-CD46-B30ECCA549C7}"/>
          </ac:graphicFrameMkLst>
        </pc:graphicFrameChg>
        <pc:graphicFrameChg chg="add del mod replST">
          <ac:chgData name="Grace, Morgan (Brisbane)" userId="221d5f7b-4a46-4bd5-bdf1-698d3a91c208" providerId="ADAL" clId="{D90324C1-6CE4-4C28-B886-AED0B666B37F}" dt="2024-06-07T05:30:12.447" v="113035"/>
          <ac:graphicFrameMkLst>
            <pc:docMk/>
            <pc:sldMk cId="3668082236" sldId="614"/>
            <ac:graphicFrameMk id="800" creationId="{5A43D235-0977-CBF3-F299-ABD0D2C6A061}"/>
          </ac:graphicFrameMkLst>
        </pc:graphicFrameChg>
        <pc:graphicFrameChg chg="add del mod replST">
          <ac:chgData name="Grace, Morgan (Brisbane)" userId="221d5f7b-4a46-4bd5-bdf1-698d3a91c208" providerId="ADAL" clId="{D90324C1-6CE4-4C28-B886-AED0B666B37F}" dt="2024-06-07T05:27:12.003" v="108847"/>
          <ac:graphicFrameMkLst>
            <pc:docMk/>
            <pc:sldMk cId="3668082236" sldId="614"/>
            <ac:graphicFrameMk id="811" creationId="{1DE96F46-5976-6683-E0E9-258C0BF1D63F}"/>
          </ac:graphicFrameMkLst>
        </pc:graphicFrameChg>
        <pc:graphicFrameChg chg="add del mod replST">
          <ac:chgData name="Grace, Morgan (Brisbane)" userId="221d5f7b-4a46-4bd5-bdf1-698d3a91c208" providerId="ADAL" clId="{D90324C1-6CE4-4C28-B886-AED0B666B37F}" dt="2024-06-07T05:27:13.215" v="108991"/>
          <ac:graphicFrameMkLst>
            <pc:docMk/>
            <pc:sldMk cId="3668082236" sldId="614"/>
            <ac:graphicFrameMk id="817" creationId="{550748A8-A4B7-CD79-46F6-51F87B30E62D}"/>
          </ac:graphicFrameMkLst>
        </pc:graphicFrameChg>
        <pc:graphicFrameChg chg="add del mod replST">
          <ac:chgData name="Grace, Morgan (Brisbane)" userId="221d5f7b-4a46-4bd5-bdf1-698d3a91c208" providerId="ADAL" clId="{D90324C1-6CE4-4C28-B886-AED0B666B37F}" dt="2024-06-07T05:27:14.318" v="109107"/>
          <ac:graphicFrameMkLst>
            <pc:docMk/>
            <pc:sldMk cId="3668082236" sldId="614"/>
            <ac:graphicFrameMk id="818" creationId="{863DC1C4-3E11-8E11-34C5-455F6EA4333C}"/>
          </ac:graphicFrameMkLst>
        </pc:graphicFrameChg>
        <pc:graphicFrameChg chg="add del mod replST">
          <ac:chgData name="Grace, Morgan (Brisbane)" userId="221d5f7b-4a46-4bd5-bdf1-698d3a91c208" providerId="ADAL" clId="{D90324C1-6CE4-4C28-B886-AED0B666B37F}" dt="2024-06-07T05:27:17.355" v="109238"/>
          <ac:graphicFrameMkLst>
            <pc:docMk/>
            <pc:sldMk cId="3668082236" sldId="614"/>
            <ac:graphicFrameMk id="819" creationId="{4F85F886-27B4-DA44-12B7-53E562D70739}"/>
          </ac:graphicFrameMkLst>
        </pc:graphicFrameChg>
        <pc:graphicFrameChg chg="add del mod replST">
          <ac:chgData name="Grace, Morgan (Brisbane)" userId="221d5f7b-4a46-4bd5-bdf1-698d3a91c208" providerId="ADAL" clId="{D90324C1-6CE4-4C28-B886-AED0B666B37F}" dt="2024-06-07T05:27:23.406" v="109421"/>
          <ac:graphicFrameMkLst>
            <pc:docMk/>
            <pc:sldMk cId="3668082236" sldId="614"/>
            <ac:graphicFrameMk id="820" creationId="{DE0BE3FD-E661-0BE3-D839-51EDAA4EB2F3}"/>
          </ac:graphicFrameMkLst>
        </pc:graphicFrameChg>
        <pc:graphicFrameChg chg="add del mod replST">
          <ac:chgData name="Grace, Morgan (Brisbane)" userId="221d5f7b-4a46-4bd5-bdf1-698d3a91c208" providerId="ADAL" clId="{D90324C1-6CE4-4C28-B886-AED0B666B37F}" dt="2024-06-07T05:27:23.858" v="109537"/>
          <ac:graphicFrameMkLst>
            <pc:docMk/>
            <pc:sldMk cId="3668082236" sldId="614"/>
            <ac:graphicFrameMk id="823" creationId="{3CC8A9C8-82DB-BD96-0310-7729262B199B}"/>
          </ac:graphicFrameMkLst>
        </pc:graphicFrameChg>
        <pc:graphicFrameChg chg="add del mod replST">
          <ac:chgData name="Grace, Morgan (Brisbane)" userId="221d5f7b-4a46-4bd5-bdf1-698d3a91c208" providerId="ADAL" clId="{D90324C1-6CE4-4C28-B886-AED0B666B37F}" dt="2024-06-07T05:27:24.638" v="109651"/>
          <ac:graphicFrameMkLst>
            <pc:docMk/>
            <pc:sldMk cId="3668082236" sldId="614"/>
            <ac:graphicFrameMk id="824" creationId="{D5459848-2F51-E34D-2B9A-FD465885F82E}"/>
          </ac:graphicFrameMkLst>
        </pc:graphicFrameChg>
        <pc:graphicFrameChg chg="add del mod replST">
          <ac:chgData name="Grace, Morgan (Brisbane)" userId="221d5f7b-4a46-4bd5-bdf1-698d3a91c208" providerId="ADAL" clId="{D90324C1-6CE4-4C28-B886-AED0B666B37F}" dt="2024-06-07T05:27:26.241" v="109766"/>
          <ac:graphicFrameMkLst>
            <pc:docMk/>
            <pc:sldMk cId="3668082236" sldId="614"/>
            <ac:graphicFrameMk id="825" creationId="{12AA99CA-C4F9-38CF-E268-B5C418832037}"/>
          </ac:graphicFrameMkLst>
        </pc:graphicFrameChg>
        <pc:graphicFrameChg chg="add del mod replST">
          <ac:chgData name="Grace, Morgan (Brisbane)" userId="221d5f7b-4a46-4bd5-bdf1-698d3a91c208" providerId="ADAL" clId="{D90324C1-6CE4-4C28-B886-AED0B666B37F}" dt="2024-06-07T05:27:36.625" v="109929"/>
          <ac:graphicFrameMkLst>
            <pc:docMk/>
            <pc:sldMk cId="3668082236" sldId="614"/>
            <ac:graphicFrameMk id="826" creationId="{94C77E2D-38C2-0659-DEB3-264B6FC8281E}"/>
          </ac:graphicFrameMkLst>
        </pc:graphicFrameChg>
        <pc:graphicFrameChg chg="add del mod replST">
          <ac:chgData name="Grace, Morgan (Brisbane)" userId="221d5f7b-4a46-4bd5-bdf1-698d3a91c208" providerId="ADAL" clId="{D90324C1-6CE4-4C28-B886-AED0B666B37F}" dt="2024-06-07T05:27:41.224" v="110330"/>
          <ac:graphicFrameMkLst>
            <pc:docMk/>
            <pc:sldMk cId="3668082236" sldId="614"/>
            <ac:graphicFrameMk id="828" creationId="{ED01E175-CCAD-CFB8-F13D-1A2BBD01AF52}"/>
          </ac:graphicFrameMkLst>
        </pc:graphicFrameChg>
        <pc:graphicFrameChg chg="add del mod replST">
          <ac:chgData name="Grace, Morgan (Brisbane)" userId="221d5f7b-4a46-4bd5-bdf1-698d3a91c208" providerId="ADAL" clId="{D90324C1-6CE4-4C28-B886-AED0B666B37F}" dt="2024-06-07T05:27:43.948" v="110668"/>
          <ac:graphicFrameMkLst>
            <pc:docMk/>
            <pc:sldMk cId="3668082236" sldId="614"/>
            <ac:graphicFrameMk id="837" creationId="{8FEA0E74-1BF9-E06D-16FD-FB48984C11BE}"/>
          </ac:graphicFrameMkLst>
        </pc:graphicFrameChg>
        <pc:graphicFrameChg chg="add del mod replST">
          <ac:chgData name="Grace, Morgan (Brisbane)" userId="221d5f7b-4a46-4bd5-bdf1-698d3a91c208" providerId="ADAL" clId="{D90324C1-6CE4-4C28-B886-AED0B666B37F}" dt="2024-06-07T05:27:47.604" v="110828"/>
          <ac:graphicFrameMkLst>
            <pc:docMk/>
            <pc:sldMk cId="3668082236" sldId="614"/>
            <ac:graphicFrameMk id="840" creationId="{C0D9086D-8E17-5552-FC71-7DCBDCBF106A}"/>
          </ac:graphicFrameMkLst>
        </pc:graphicFrameChg>
        <pc:graphicFrameChg chg="add del mod replST">
          <ac:chgData name="Grace, Morgan (Brisbane)" userId="221d5f7b-4a46-4bd5-bdf1-698d3a91c208" providerId="ADAL" clId="{D90324C1-6CE4-4C28-B886-AED0B666B37F}" dt="2024-06-07T05:28:00.038" v="110974"/>
          <ac:graphicFrameMkLst>
            <pc:docMk/>
            <pc:sldMk cId="3668082236" sldId="614"/>
            <ac:graphicFrameMk id="841" creationId="{8ABA7460-5B5A-DA1F-76C1-25CD7B2DF4A2}"/>
          </ac:graphicFrameMkLst>
        </pc:graphicFrameChg>
        <pc:graphicFrameChg chg="add del mod replST">
          <ac:chgData name="Grace, Morgan (Brisbane)" userId="221d5f7b-4a46-4bd5-bdf1-698d3a91c208" providerId="ADAL" clId="{D90324C1-6CE4-4C28-B886-AED0B666B37F}" dt="2024-06-07T05:28:07.953" v="111122"/>
          <ac:graphicFrameMkLst>
            <pc:docMk/>
            <pc:sldMk cId="3668082236" sldId="614"/>
            <ac:graphicFrameMk id="843" creationId="{4DE6C90B-88BB-1DF8-2048-5E862CB89570}"/>
          </ac:graphicFrameMkLst>
        </pc:graphicFrameChg>
        <pc:graphicFrameChg chg="add del mod replST">
          <ac:chgData name="Grace, Morgan (Brisbane)" userId="221d5f7b-4a46-4bd5-bdf1-698d3a91c208" providerId="ADAL" clId="{D90324C1-6CE4-4C28-B886-AED0B666B37F}" dt="2024-06-07T05:28:16.900" v="111282"/>
          <ac:graphicFrameMkLst>
            <pc:docMk/>
            <pc:sldMk cId="3668082236" sldId="614"/>
            <ac:graphicFrameMk id="845" creationId="{52008319-2214-5DDF-5531-C3E1DD6C663C}"/>
          </ac:graphicFrameMkLst>
        </pc:graphicFrameChg>
        <pc:graphicFrameChg chg="add del mod replST">
          <ac:chgData name="Grace, Morgan (Brisbane)" userId="221d5f7b-4a46-4bd5-bdf1-698d3a91c208" providerId="ADAL" clId="{D90324C1-6CE4-4C28-B886-AED0B666B37F}" dt="2024-06-07T05:28:29.339" v="111419"/>
          <ac:graphicFrameMkLst>
            <pc:docMk/>
            <pc:sldMk cId="3668082236" sldId="614"/>
            <ac:graphicFrameMk id="846" creationId="{B394F9D3-DF47-AFAF-377B-B5A3C14F25C8}"/>
          </ac:graphicFrameMkLst>
        </pc:graphicFrameChg>
        <pc:graphicFrameChg chg="add del mod replST">
          <ac:chgData name="Grace, Morgan (Brisbane)" userId="221d5f7b-4a46-4bd5-bdf1-698d3a91c208" providerId="ADAL" clId="{D90324C1-6CE4-4C28-B886-AED0B666B37F}" dt="2024-06-07T05:28:31.378" v="111591"/>
          <ac:graphicFrameMkLst>
            <pc:docMk/>
            <pc:sldMk cId="3668082236" sldId="614"/>
            <ac:graphicFrameMk id="847" creationId="{931D484A-9367-2B1C-7019-E9D548EF9D2A}"/>
          </ac:graphicFrameMkLst>
        </pc:graphicFrameChg>
        <pc:graphicFrameChg chg="add del mod replST">
          <ac:chgData name="Grace, Morgan (Brisbane)" userId="221d5f7b-4a46-4bd5-bdf1-698d3a91c208" providerId="ADAL" clId="{D90324C1-6CE4-4C28-B886-AED0B666B37F}" dt="2024-06-07T05:28:33.750" v="111759"/>
          <ac:graphicFrameMkLst>
            <pc:docMk/>
            <pc:sldMk cId="3668082236" sldId="614"/>
            <ac:graphicFrameMk id="849" creationId="{F67324B4-97B0-9B79-D8A1-0C495E43FD98}"/>
          </ac:graphicFrameMkLst>
        </pc:graphicFrameChg>
        <pc:graphicFrameChg chg="add del mod replST">
          <ac:chgData name="Grace, Morgan (Brisbane)" userId="221d5f7b-4a46-4bd5-bdf1-698d3a91c208" providerId="ADAL" clId="{D90324C1-6CE4-4C28-B886-AED0B666B37F}" dt="2024-06-07T05:28:39.500" v="111927"/>
          <ac:graphicFrameMkLst>
            <pc:docMk/>
            <pc:sldMk cId="3668082236" sldId="614"/>
            <ac:graphicFrameMk id="850" creationId="{F8830683-A36F-ECD9-63B8-4F31CF906CCC}"/>
          </ac:graphicFrameMkLst>
        </pc:graphicFrameChg>
        <pc:graphicFrameChg chg="add del mod replST">
          <ac:chgData name="Grace, Morgan (Brisbane)" userId="221d5f7b-4a46-4bd5-bdf1-698d3a91c208" providerId="ADAL" clId="{D90324C1-6CE4-4C28-B886-AED0B666B37F}" dt="2024-06-07T05:29:01.383" v="112095"/>
          <ac:graphicFrameMkLst>
            <pc:docMk/>
            <pc:sldMk cId="3668082236" sldId="614"/>
            <ac:graphicFrameMk id="851" creationId="{E45F8043-736C-E9BA-7AE6-089D3ECF5032}"/>
          </ac:graphicFrameMkLst>
        </pc:graphicFrameChg>
        <pc:graphicFrameChg chg="add del mod replST">
          <ac:chgData name="Grace, Morgan (Brisbane)" userId="221d5f7b-4a46-4bd5-bdf1-698d3a91c208" providerId="ADAL" clId="{D90324C1-6CE4-4C28-B886-AED0B666B37F}" dt="2024-06-07T05:29:04.981" v="112211"/>
          <ac:graphicFrameMkLst>
            <pc:docMk/>
            <pc:sldMk cId="3668082236" sldId="614"/>
            <ac:graphicFrameMk id="852" creationId="{D856F70E-A1AF-9C0E-417C-ADFE40E8DE08}"/>
          </ac:graphicFrameMkLst>
        </pc:graphicFrameChg>
        <pc:graphicFrameChg chg="add del mod replST">
          <ac:chgData name="Grace, Morgan (Brisbane)" userId="221d5f7b-4a46-4bd5-bdf1-698d3a91c208" providerId="ADAL" clId="{D90324C1-6CE4-4C28-B886-AED0B666B37F}" dt="2024-06-07T05:29:27.448" v="112339"/>
          <ac:graphicFrameMkLst>
            <pc:docMk/>
            <pc:sldMk cId="3668082236" sldId="614"/>
            <ac:graphicFrameMk id="853" creationId="{D792DAC2-EB76-2738-6851-17B6331E8806}"/>
          </ac:graphicFrameMkLst>
        </pc:graphicFrameChg>
        <pc:graphicFrameChg chg="add del mod replST">
          <ac:chgData name="Grace, Morgan (Brisbane)" userId="221d5f7b-4a46-4bd5-bdf1-698d3a91c208" providerId="ADAL" clId="{D90324C1-6CE4-4C28-B886-AED0B666B37F}" dt="2024-06-07T05:29:32.234" v="112491"/>
          <ac:graphicFrameMkLst>
            <pc:docMk/>
            <pc:sldMk cId="3668082236" sldId="614"/>
            <ac:graphicFrameMk id="854" creationId="{B8047965-74A8-E891-9E1C-3F6E10351FF7}"/>
          </ac:graphicFrameMkLst>
        </pc:graphicFrameChg>
        <pc:graphicFrameChg chg="add del mod replST">
          <ac:chgData name="Grace, Morgan (Brisbane)" userId="221d5f7b-4a46-4bd5-bdf1-698d3a91c208" providerId="ADAL" clId="{D90324C1-6CE4-4C28-B886-AED0B666B37F}" dt="2024-06-07T05:29:38.839" v="112681"/>
          <ac:graphicFrameMkLst>
            <pc:docMk/>
            <pc:sldMk cId="3668082236" sldId="614"/>
            <ac:graphicFrameMk id="855" creationId="{54A2FC66-C134-8CD5-1432-2C7B0D6DC09C}"/>
          </ac:graphicFrameMkLst>
        </pc:graphicFrameChg>
        <pc:graphicFrameChg chg="add del mod replST">
          <ac:chgData name="Grace, Morgan (Brisbane)" userId="221d5f7b-4a46-4bd5-bdf1-698d3a91c208" providerId="ADAL" clId="{D90324C1-6CE4-4C28-B886-AED0B666B37F}" dt="2024-06-07T05:29:45.368" v="112802"/>
          <ac:graphicFrameMkLst>
            <pc:docMk/>
            <pc:sldMk cId="3668082236" sldId="614"/>
            <ac:graphicFrameMk id="858" creationId="{FDB77D47-4D62-34E7-39FD-2D92A1DE43FA}"/>
          </ac:graphicFrameMkLst>
        </pc:graphicFrameChg>
        <pc:graphicFrameChg chg="add del mod replST">
          <ac:chgData name="Grace, Morgan (Brisbane)" userId="221d5f7b-4a46-4bd5-bdf1-698d3a91c208" providerId="ADAL" clId="{D90324C1-6CE4-4C28-B886-AED0B666B37F}" dt="2024-06-07T05:29:48.350" v="112921"/>
          <ac:graphicFrameMkLst>
            <pc:docMk/>
            <pc:sldMk cId="3668082236" sldId="614"/>
            <ac:graphicFrameMk id="859" creationId="{D8FA8DC3-B73C-6BC7-EACF-4E84CB308775}"/>
          </ac:graphicFrameMkLst>
        </pc:graphicFrameChg>
        <pc:graphicFrameChg chg="add del mod replST">
          <ac:chgData name="Grace, Morgan (Brisbane)" userId="221d5f7b-4a46-4bd5-bdf1-698d3a91c208" providerId="ADAL" clId="{D90324C1-6CE4-4C28-B886-AED0B666B37F}" dt="2024-06-07T05:30:47.034" v="113491"/>
          <ac:graphicFrameMkLst>
            <pc:docMk/>
            <pc:sldMk cId="3668082236" sldId="614"/>
            <ac:graphicFrameMk id="860" creationId="{5F04E00B-7556-69A8-6746-2D966561C5E9}"/>
          </ac:graphicFrameMkLst>
        </pc:graphicFrameChg>
        <pc:graphicFrameChg chg="add del mod replST">
          <ac:chgData name="Grace, Morgan (Brisbane)" userId="221d5f7b-4a46-4bd5-bdf1-698d3a91c208" providerId="ADAL" clId="{D90324C1-6CE4-4C28-B886-AED0B666B37F}" dt="2024-06-07T05:30:43.982" v="113341"/>
          <ac:graphicFrameMkLst>
            <pc:docMk/>
            <pc:sldMk cId="3668082236" sldId="614"/>
            <ac:graphicFrameMk id="861" creationId="{EBF13978-1274-CB43-D3DA-9EB4415843EA}"/>
          </ac:graphicFrameMkLst>
        </pc:graphicFrameChg>
        <pc:graphicFrameChg chg="add del mod replST">
          <ac:chgData name="Grace, Morgan (Brisbane)" userId="221d5f7b-4a46-4bd5-bdf1-698d3a91c208" providerId="ADAL" clId="{D90324C1-6CE4-4C28-B886-AED0B666B37F}" dt="2024-06-07T05:31:23.687" v="115039"/>
          <ac:graphicFrameMkLst>
            <pc:docMk/>
            <pc:sldMk cId="3668082236" sldId="614"/>
            <ac:graphicFrameMk id="862" creationId="{CDF005DA-25CB-8010-2763-EE97E7A6039D}"/>
          </ac:graphicFrameMkLst>
        </pc:graphicFrameChg>
        <pc:graphicFrameChg chg="add del mod replST">
          <ac:chgData name="Grace, Morgan (Brisbane)" userId="221d5f7b-4a46-4bd5-bdf1-698d3a91c208" providerId="ADAL" clId="{D90324C1-6CE4-4C28-B886-AED0B666B37F}" dt="2024-06-07T05:30:49.400" v="113604"/>
          <ac:graphicFrameMkLst>
            <pc:docMk/>
            <pc:sldMk cId="3668082236" sldId="614"/>
            <ac:graphicFrameMk id="863" creationId="{8F51124C-D0BE-0A03-DFD1-565A853A83E6}"/>
          </ac:graphicFrameMkLst>
        </pc:graphicFrameChg>
        <pc:graphicFrameChg chg="add del mod replST">
          <ac:chgData name="Grace, Morgan (Brisbane)" userId="221d5f7b-4a46-4bd5-bdf1-698d3a91c208" providerId="ADAL" clId="{D90324C1-6CE4-4C28-B886-AED0B666B37F}" dt="2024-06-07T05:30:50.990" v="113717"/>
          <ac:graphicFrameMkLst>
            <pc:docMk/>
            <pc:sldMk cId="3668082236" sldId="614"/>
            <ac:graphicFrameMk id="864" creationId="{DB4D34D0-BA5F-BE57-78FE-BD75C4F75B86}"/>
          </ac:graphicFrameMkLst>
        </pc:graphicFrameChg>
        <pc:graphicFrameChg chg="add del mod replST">
          <ac:chgData name="Grace, Morgan (Brisbane)" userId="221d5f7b-4a46-4bd5-bdf1-698d3a91c208" providerId="ADAL" clId="{D90324C1-6CE4-4C28-B886-AED0B666B37F}" dt="2024-06-07T05:30:53.902" v="113832"/>
          <ac:graphicFrameMkLst>
            <pc:docMk/>
            <pc:sldMk cId="3668082236" sldId="614"/>
            <ac:graphicFrameMk id="865" creationId="{97DEAF33-C99B-6A3E-64BD-12BFC3BECCBB}"/>
          </ac:graphicFrameMkLst>
        </pc:graphicFrameChg>
        <pc:graphicFrameChg chg="add del mod replST">
          <ac:chgData name="Grace, Morgan (Brisbane)" userId="221d5f7b-4a46-4bd5-bdf1-698d3a91c208" providerId="ADAL" clId="{D90324C1-6CE4-4C28-B886-AED0B666B37F}" dt="2024-06-07T05:30:55.815" v="113951"/>
          <ac:graphicFrameMkLst>
            <pc:docMk/>
            <pc:sldMk cId="3668082236" sldId="614"/>
            <ac:graphicFrameMk id="866" creationId="{578205BF-9379-9986-9167-5CD481B82752}"/>
          </ac:graphicFrameMkLst>
        </pc:graphicFrameChg>
        <pc:graphicFrameChg chg="add del mod replST">
          <ac:chgData name="Grace, Morgan (Brisbane)" userId="221d5f7b-4a46-4bd5-bdf1-698d3a91c208" providerId="ADAL" clId="{D90324C1-6CE4-4C28-B886-AED0B666B37F}" dt="2024-06-07T05:31:03.571" v="114339"/>
          <ac:graphicFrameMkLst>
            <pc:docMk/>
            <pc:sldMk cId="3668082236" sldId="614"/>
            <ac:graphicFrameMk id="867" creationId="{B24F6231-F370-1B4D-D761-1AEE8F0AE989}"/>
          </ac:graphicFrameMkLst>
        </pc:graphicFrameChg>
        <pc:graphicFrameChg chg="add mod replST delST">
          <ac:chgData name="Grace, Morgan (Brisbane)" userId="221d5f7b-4a46-4bd5-bdf1-698d3a91c208" providerId="ADAL" clId="{D90324C1-6CE4-4C28-B886-AED0B666B37F}" dt="2024-06-07T05:31:01.381" v="114206"/>
          <ac:graphicFrameMkLst>
            <pc:docMk/>
            <pc:sldMk cId="3668082236" sldId="614"/>
            <ac:graphicFrameMk id="869" creationId="{0B149E32-C597-85EE-7955-DD39342ED3BD}"/>
          </ac:graphicFrameMkLst>
        </pc:graphicFrameChg>
        <pc:graphicFrameChg chg="add del mod replST">
          <ac:chgData name="Grace, Morgan (Brisbane)" userId="221d5f7b-4a46-4bd5-bdf1-698d3a91c208" providerId="ADAL" clId="{D90324C1-6CE4-4C28-B886-AED0B666B37F}" dt="2024-06-07T05:31:06.047" v="114464"/>
          <ac:graphicFrameMkLst>
            <pc:docMk/>
            <pc:sldMk cId="3668082236" sldId="614"/>
            <ac:graphicFrameMk id="872" creationId="{E1C61C31-75B9-A33F-471D-462383DB2D88}"/>
          </ac:graphicFrameMkLst>
        </pc:graphicFrameChg>
        <pc:graphicFrameChg chg="add del mod replST">
          <ac:chgData name="Grace, Morgan (Brisbane)" userId="221d5f7b-4a46-4bd5-bdf1-698d3a91c208" providerId="ADAL" clId="{D90324C1-6CE4-4C28-B886-AED0B666B37F}" dt="2024-06-07T05:31:14.927" v="114705"/>
          <ac:graphicFrameMkLst>
            <pc:docMk/>
            <pc:sldMk cId="3668082236" sldId="614"/>
            <ac:graphicFrameMk id="873" creationId="{3C64FAA6-BBEF-3151-A6CF-E7361A4D7494}"/>
          </ac:graphicFrameMkLst>
        </pc:graphicFrameChg>
        <pc:graphicFrameChg chg="add del mod replST">
          <ac:chgData name="Grace, Morgan (Brisbane)" userId="221d5f7b-4a46-4bd5-bdf1-698d3a91c208" providerId="ADAL" clId="{D90324C1-6CE4-4C28-B886-AED0B666B37F}" dt="2024-06-07T05:31:19.459" v="114894"/>
          <ac:graphicFrameMkLst>
            <pc:docMk/>
            <pc:sldMk cId="3668082236" sldId="614"/>
            <ac:graphicFrameMk id="877" creationId="{203636E0-36BC-FE59-E882-807126AA1CA3}"/>
          </ac:graphicFrameMkLst>
        </pc:graphicFrameChg>
        <pc:graphicFrameChg chg="add del mod replST">
          <ac:chgData name="Grace, Morgan (Brisbane)" userId="221d5f7b-4a46-4bd5-bdf1-698d3a91c208" providerId="ADAL" clId="{D90324C1-6CE4-4C28-B886-AED0B666B37F}" dt="2024-06-07T05:31:58.035" v="115177"/>
          <ac:graphicFrameMkLst>
            <pc:docMk/>
            <pc:sldMk cId="3668082236" sldId="614"/>
            <ac:graphicFrameMk id="878" creationId="{0142656C-5FF1-180B-2FBA-98325F7833B3}"/>
          </ac:graphicFrameMkLst>
        </pc:graphicFrameChg>
        <pc:graphicFrameChg chg="add del mod replST">
          <ac:chgData name="Grace, Morgan (Brisbane)" userId="221d5f7b-4a46-4bd5-bdf1-698d3a91c208" providerId="ADAL" clId="{D90324C1-6CE4-4C28-B886-AED0B666B37F}" dt="2024-06-07T05:34:25.510" v="119776"/>
          <ac:graphicFrameMkLst>
            <pc:docMk/>
            <pc:sldMk cId="3668082236" sldId="614"/>
            <ac:graphicFrameMk id="880" creationId="{64C647E1-024A-737A-E4FF-CAE88A4FCC8F}"/>
          </ac:graphicFrameMkLst>
        </pc:graphicFrameChg>
        <pc:graphicFrameChg chg="add del mod replST">
          <ac:chgData name="Grace, Morgan (Brisbane)" userId="221d5f7b-4a46-4bd5-bdf1-698d3a91c208" providerId="ADAL" clId="{D90324C1-6CE4-4C28-B886-AED0B666B37F}" dt="2024-06-07T05:32:06.567" v="115295"/>
          <ac:graphicFrameMkLst>
            <pc:docMk/>
            <pc:sldMk cId="3668082236" sldId="614"/>
            <ac:graphicFrameMk id="883" creationId="{8FA46768-7850-55B5-7F52-28D85FFAC1B7}"/>
          </ac:graphicFrameMkLst>
        </pc:graphicFrameChg>
        <pc:graphicFrameChg chg="add del mod replST">
          <ac:chgData name="Grace, Morgan (Brisbane)" userId="221d5f7b-4a46-4bd5-bdf1-698d3a91c208" providerId="ADAL" clId="{D90324C1-6CE4-4C28-B886-AED0B666B37F}" dt="2024-06-07T05:32:12.869" v="115415"/>
          <ac:graphicFrameMkLst>
            <pc:docMk/>
            <pc:sldMk cId="3668082236" sldId="614"/>
            <ac:graphicFrameMk id="884" creationId="{6E67BB71-915C-F15F-7F80-6FCD8FCE2309}"/>
          </ac:graphicFrameMkLst>
        </pc:graphicFrameChg>
        <pc:graphicFrameChg chg="add del mod replST">
          <ac:chgData name="Grace, Morgan (Brisbane)" userId="221d5f7b-4a46-4bd5-bdf1-698d3a91c208" providerId="ADAL" clId="{D90324C1-6CE4-4C28-B886-AED0B666B37F}" dt="2024-06-07T05:32:19.550" v="115532"/>
          <ac:graphicFrameMkLst>
            <pc:docMk/>
            <pc:sldMk cId="3668082236" sldId="614"/>
            <ac:graphicFrameMk id="885" creationId="{FC87C372-6D0D-7CAE-376D-57BDD86AD9CF}"/>
          </ac:graphicFrameMkLst>
        </pc:graphicFrameChg>
        <pc:graphicFrameChg chg="add del mod replST">
          <ac:chgData name="Grace, Morgan (Brisbane)" userId="221d5f7b-4a46-4bd5-bdf1-698d3a91c208" providerId="ADAL" clId="{D90324C1-6CE4-4C28-B886-AED0B666B37F}" dt="2024-06-07T05:32:24.415" v="115650"/>
          <ac:graphicFrameMkLst>
            <pc:docMk/>
            <pc:sldMk cId="3668082236" sldId="614"/>
            <ac:graphicFrameMk id="886" creationId="{85EFC579-1D33-0CF5-8E60-89EF6D372BA4}"/>
          </ac:graphicFrameMkLst>
        </pc:graphicFrameChg>
        <pc:graphicFrameChg chg="add del mod replST">
          <ac:chgData name="Grace, Morgan (Brisbane)" userId="221d5f7b-4a46-4bd5-bdf1-698d3a91c208" providerId="ADAL" clId="{D90324C1-6CE4-4C28-B886-AED0B666B37F}" dt="2024-06-07T05:32:29.185" v="115768"/>
          <ac:graphicFrameMkLst>
            <pc:docMk/>
            <pc:sldMk cId="3668082236" sldId="614"/>
            <ac:graphicFrameMk id="887" creationId="{74DE77FE-B589-5A7B-2F7B-179CB42000FB}"/>
          </ac:graphicFrameMkLst>
        </pc:graphicFrameChg>
        <pc:graphicFrameChg chg="add del mod replST">
          <ac:chgData name="Grace, Morgan (Brisbane)" userId="221d5f7b-4a46-4bd5-bdf1-698d3a91c208" providerId="ADAL" clId="{D90324C1-6CE4-4C28-B886-AED0B666B37F}" dt="2024-06-07T05:32:48.159" v="115956"/>
          <ac:graphicFrameMkLst>
            <pc:docMk/>
            <pc:sldMk cId="3668082236" sldId="614"/>
            <ac:graphicFrameMk id="888" creationId="{92EA6E11-5BE2-4D2E-DB6A-D021C9FF4AE9}"/>
          </ac:graphicFrameMkLst>
        </pc:graphicFrameChg>
        <pc:graphicFrameChg chg="add del mod replST">
          <ac:chgData name="Grace, Morgan (Brisbane)" userId="221d5f7b-4a46-4bd5-bdf1-698d3a91c208" providerId="ADAL" clId="{D90324C1-6CE4-4C28-B886-AED0B666B37F}" dt="2024-06-07T05:32:52.642" v="116189"/>
          <ac:graphicFrameMkLst>
            <pc:docMk/>
            <pc:sldMk cId="3668082236" sldId="614"/>
            <ac:graphicFrameMk id="890" creationId="{B4FFA3A6-9695-898F-F85C-00FF203D1FB1}"/>
          </ac:graphicFrameMkLst>
        </pc:graphicFrameChg>
        <pc:graphicFrameChg chg="add del mod replST">
          <ac:chgData name="Grace, Morgan (Brisbane)" userId="221d5f7b-4a46-4bd5-bdf1-698d3a91c208" providerId="ADAL" clId="{D90324C1-6CE4-4C28-B886-AED0B666B37F}" dt="2024-06-07T05:32:55.524" v="116452"/>
          <ac:graphicFrameMkLst>
            <pc:docMk/>
            <pc:sldMk cId="3668082236" sldId="614"/>
            <ac:graphicFrameMk id="894" creationId="{D8AFCFD5-AB90-905E-8936-FCF68AE918C4}"/>
          </ac:graphicFrameMkLst>
        </pc:graphicFrameChg>
        <pc:graphicFrameChg chg="add del mod replST">
          <ac:chgData name="Grace, Morgan (Brisbane)" userId="221d5f7b-4a46-4bd5-bdf1-698d3a91c208" providerId="ADAL" clId="{D90324C1-6CE4-4C28-B886-AED0B666B37F}" dt="2024-06-07T05:32:58.936" v="116641"/>
          <ac:graphicFrameMkLst>
            <pc:docMk/>
            <pc:sldMk cId="3668082236" sldId="614"/>
            <ac:graphicFrameMk id="898" creationId="{F887FE74-0A0F-DA85-C3EA-A7EC3BFF59B6}"/>
          </ac:graphicFrameMkLst>
        </pc:graphicFrameChg>
        <pc:graphicFrameChg chg="add del mod replST">
          <ac:chgData name="Grace, Morgan (Brisbane)" userId="221d5f7b-4a46-4bd5-bdf1-698d3a91c208" providerId="ADAL" clId="{D90324C1-6CE4-4C28-B886-AED0B666B37F}" dt="2024-06-07T05:33:03.241" v="116793"/>
          <ac:graphicFrameMkLst>
            <pc:docMk/>
            <pc:sldMk cId="3668082236" sldId="614"/>
            <ac:graphicFrameMk id="901" creationId="{0E385E0C-4161-D6B8-F97E-964BE7C78604}"/>
          </ac:graphicFrameMkLst>
        </pc:graphicFrameChg>
        <pc:graphicFrameChg chg="add del mod replST">
          <ac:chgData name="Grace, Morgan (Brisbane)" userId="221d5f7b-4a46-4bd5-bdf1-698d3a91c208" providerId="ADAL" clId="{D90324C1-6CE4-4C28-B886-AED0B666B37F}" dt="2024-06-07T05:33:04.932" v="116912"/>
          <ac:graphicFrameMkLst>
            <pc:docMk/>
            <pc:sldMk cId="3668082236" sldId="614"/>
            <ac:graphicFrameMk id="903" creationId="{211EB81A-0300-A8BE-6E7F-E50676B2CF5A}"/>
          </ac:graphicFrameMkLst>
        </pc:graphicFrameChg>
        <pc:graphicFrameChg chg="add del mod replST">
          <ac:chgData name="Grace, Morgan (Brisbane)" userId="221d5f7b-4a46-4bd5-bdf1-698d3a91c208" providerId="ADAL" clId="{D90324C1-6CE4-4C28-B886-AED0B666B37F}" dt="2024-06-07T05:33:24.572" v="117101"/>
          <ac:graphicFrameMkLst>
            <pc:docMk/>
            <pc:sldMk cId="3668082236" sldId="614"/>
            <ac:graphicFrameMk id="904" creationId="{88890297-1A5F-774C-6FC6-C2482BC8D876}"/>
          </ac:graphicFrameMkLst>
        </pc:graphicFrameChg>
        <pc:graphicFrameChg chg="add del mod replST">
          <ac:chgData name="Grace, Morgan (Brisbane)" userId="221d5f7b-4a46-4bd5-bdf1-698d3a91c208" providerId="ADAL" clId="{D90324C1-6CE4-4C28-B886-AED0B666B37F}" dt="2024-06-07T05:33:29.676" v="117255"/>
          <ac:graphicFrameMkLst>
            <pc:docMk/>
            <pc:sldMk cId="3668082236" sldId="614"/>
            <ac:graphicFrameMk id="907" creationId="{B408562A-AAD5-7020-53BF-4828E8F9BC84}"/>
          </ac:graphicFrameMkLst>
        </pc:graphicFrameChg>
        <pc:graphicFrameChg chg="add del mod replST">
          <ac:chgData name="Grace, Morgan (Brisbane)" userId="221d5f7b-4a46-4bd5-bdf1-698d3a91c208" providerId="ADAL" clId="{D90324C1-6CE4-4C28-B886-AED0B666B37F}" dt="2024-06-07T05:33:30.605" v="117376"/>
          <ac:graphicFrameMkLst>
            <pc:docMk/>
            <pc:sldMk cId="3668082236" sldId="614"/>
            <ac:graphicFrameMk id="909" creationId="{6286A286-E605-3F1B-EEF6-A183D096C7E3}"/>
          </ac:graphicFrameMkLst>
        </pc:graphicFrameChg>
        <pc:graphicFrameChg chg="add del mod replST">
          <ac:chgData name="Grace, Morgan (Brisbane)" userId="221d5f7b-4a46-4bd5-bdf1-698d3a91c208" providerId="ADAL" clId="{D90324C1-6CE4-4C28-B886-AED0B666B37F}" dt="2024-06-07T05:33:33.021" v="117567"/>
          <ac:graphicFrameMkLst>
            <pc:docMk/>
            <pc:sldMk cId="3668082236" sldId="614"/>
            <ac:graphicFrameMk id="910" creationId="{CABF182B-B0C1-A525-7C74-1A02668B95F2}"/>
          </ac:graphicFrameMkLst>
        </pc:graphicFrameChg>
        <pc:graphicFrameChg chg="add del mod replST">
          <ac:chgData name="Grace, Morgan (Brisbane)" userId="221d5f7b-4a46-4bd5-bdf1-698d3a91c208" providerId="ADAL" clId="{D90324C1-6CE4-4C28-B886-AED0B666B37F}" dt="2024-06-07T05:33:35.774" v="117723"/>
          <ac:graphicFrameMkLst>
            <pc:docMk/>
            <pc:sldMk cId="3668082236" sldId="614"/>
            <ac:graphicFrameMk id="913" creationId="{85404E1B-A6C6-D842-2B34-A60CA261523E}"/>
          </ac:graphicFrameMkLst>
        </pc:graphicFrameChg>
        <pc:graphicFrameChg chg="add del mod replST">
          <ac:chgData name="Grace, Morgan (Brisbane)" userId="221d5f7b-4a46-4bd5-bdf1-698d3a91c208" providerId="ADAL" clId="{D90324C1-6CE4-4C28-B886-AED0B666B37F}" dt="2024-06-07T05:33:36.701" v="117846"/>
          <ac:graphicFrameMkLst>
            <pc:docMk/>
            <pc:sldMk cId="3668082236" sldId="614"/>
            <ac:graphicFrameMk id="915" creationId="{B788279B-98B6-5FFE-1A71-C4DD8A4E7B2C}"/>
          </ac:graphicFrameMkLst>
        </pc:graphicFrameChg>
        <pc:graphicFrameChg chg="add del mod replST">
          <ac:chgData name="Grace, Morgan (Brisbane)" userId="221d5f7b-4a46-4bd5-bdf1-698d3a91c208" providerId="ADAL" clId="{D90324C1-6CE4-4C28-B886-AED0B666B37F}" dt="2024-06-07T05:33:40.544" v="118002"/>
          <ac:graphicFrameMkLst>
            <pc:docMk/>
            <pc:sldMk cId="3668082236" sldId="614"/>
            <ac:graphicFrameMk id="916" creationId="{ABA6BE51-5EC1-9C80-3952-40F45981ECFF}"/>
          </ac:graphicFrameMkLst>
        </pc:graphicFrameChg>
        <pc:graphicFrameChg chg="add del mod replST">
          <ac:chgData name="Grace, Morgan (Brisbane)" userId="221d5f7b-4a46-4bd5-bdf1-698d3a91c208" providerId="ADAL" clId="{D90324C1-6CE4-4C28-B886-AED0B666B37F}" dt="2024-06-07T05:33:41.134" v="118125"/>
          <ac:graphicFrameMkLst>
            <pc:docMk/>
            <pc:sldMk cId="3668082236" sldId="614"/>
            <ac:graphicFrameMk id="918" creationId="{6F41E8B3-9F78-8989-4161-C4416046DAA5}"/>
          </ac:graphicFrameMkLst>
        </pc:graphicFrameChg>
        <pc:graphicFrameChg chg="add del mod replST">
          <ac:chgData name="Grace, Morgan (Brisbane)" userId="221d5f7b-4a46-4bd5-bdf1-698d3a91c208" providerId="ADAL" clId="{D90324C1-6CE4-4C28-B886-AED0B666B37F}" dt="2024-06-07T05:33:41.577" v="118319"/>
          <ac:graphicFrameMkLst>
            <pc:docMk/>
            <pc:sldMk cId="3668082236" sldId="614"/>
            <ac:graphicFrameMk id="919" creationId="{F8E3D12D-ED47-B41B-A81D-721157B46567}"/>
          </ac:graphicFrameMkLst>
        </pc:graphicFrameChg>
        <pc:graphicFrameChg chg="add del mod replST">
          <ac:chgData name="Grace, Morgan (Brisbane)" userId="221d5f7b-4a46-4bd5-bdf1-698d3a91c208" providerId="ADAL" clId="{D90324C1-6CE4-4C28-B886-AED0B666B37F}" dt="2024-06-07T05:33:46.217" v="118602"/>
          <ac:graphicFrameMkLst>
            <pc:docMk/>
            <pc:sldMk cId="3668082236" sldId="614"/>
            <ac:graphicFrameMk id="922" creationId="{2A7DA451-5B0C-1069-2C20-8597D3335FBC}"/>
          </ac:graphicFrameMkLst>
        </pc:graphicFrameChg>
        <pc:graphicFrameChg chg="add del mod replST">
          <ac:chgData name="Grace, Morgan (Brisbane)" userId="221d5f7b-4a46-4bd5-bdf1-698d3a91c208" providerId="ADAL" clId="{D90324C1-6CE4-4C28-B886-AED0B666B37F}" dt="2024-06-07T05:33:46.943" v="118735"/>
          <ac:graphicFrameMkLst>
            <pc:docMk/>
            <pc:sldMk cId="3668082236" sldId="614"/>
            <ac:graphicFrameMk id="930" creationId="{74F7D71F-0EDD-A1CB-3D81-A707A47CAEC8}"/>
          </ac:graphicFrameMkLst>
        </pc:graphicFrameChg>
        <pc:graphicFrameChg chg="add del mod replST">
          <ac:chgData name="Grace, Morgan (Brisbane)" userId="221d5f7b-4a46-4bd5-bdf1-698d3a91c208" providerId="ADAL" clId="{D90324C1-6CE4-4C28-B886-AED0B666B37F}" dt="2024-06-07T05:33:47.836" v="118939"/>
          <ac:graphicFrameMkLst>
            <pc:docMk/>
            <pc:sldMk cId="3668082236" sldId="614"/>
            <ac:graphicFrameMk id="931" creationId="{AAA0A8A4-7B79-827A-8BA7-CE43E9FEB332}"/>
          </ac:graphicFrameMkLst>
        </pc:graphicFrameChg>
        <pc:graphicFrameChg chg="add del mod replST">
          <ac:chgData name="Grace, Morgan (Brisbane)" userId="221d5f7b-4a46-4bd5-bdf1-698d3a91c208" providerId="ADAL" clId="{D90324C1-6CE4-4C28-B886-AED0B666B37F}" dt="2024-06-07T05:33:52.288" v="119107"/>
          <ac:graphicFrameMkLst>
            <pc:docMk/>
            <pc:sldMk cId="3668082236" sldId="614"/>
            <ac:graphicFrameMk id="934" creationId="{2785C60E-4991-64E7-783F-B04BFE1150CB}"/>
          </ac:graphicFrameMkLst>
        </pc:graphicFrameChg>
        <pc:graphicFrameChg chg="add del mod replST">
          <ac:chgData name="Grace, Morgan (Brisbane)" userId="221d5f7b-4a46-4bd5-bdf1-698d3a91c208" providerId="ADAL" clId="{D90324C1-6CE4-4C28-B886-AED0B666B37F}" dt="2024-06-07T05:33:53.045" v="119242"/>
          <ac:graphicFrameMkLst>
            <pc:docMk/>
            <pc:sldMk cId="3668082236" sldId="614"/>
            <ac:graphicFrameMk id="936" creationId="{86B94654-0B95-510E-9C85-D59839506B71}"/>
          </ac:graphicFrameMkLst>
        </pc:graphicFrameChg>
        <pc:graphicFrameChg chg="add del mod replST">
          <ac:chgData name="Grace, Morgan (Brisbane)" userId="221d5f7b-4a46-4bd5-bdf1-698d3a91c208" providerId="ADAL" clId="{D90324C1-6CE4-4C28-B886-AED0B666B37F}" dt="2024-06-07T05:33:55.981" v="119454"/>
          <ac:graphicFrameMkLst>
            <pc:docMk/>
            <pc:sldMk cId="3668082236" sldId="614"/>
            <ac:graphicFrameMk id="937" creationId="{FD6CD9CE-2808-CCC8-B8B7-C36AB3748D6A}"/>
          </ac:graphicFrameMkLst>
        </pc:graphicFrameChg>
        <pc:graphicFrameChg chg="add del mod replST">
          <ac:chgData name="Grace, Morgan (Brisbane)" userId="221d5f7b-4a46-4bd5-bdf1-698d3a91c208" providerId="ADAL" clId="{D90324C1-6CE4-4C28-B886-AED0B666B37F}" dt="2024-06-07T05:34:04.294" v="119624"/>
          <ac:graphicFrameMkLst>
            <pc:docMk/>
            <pc:sldMk cId="3668082236" sldId="614"/>
            <ac:graphicFrameMk id="938" creationId="{A32CD8EF-DCB8-B5DE-2626-3815080CA239}"/>
          </ac:graphicFrameMkLst>
        </pc:graphicFrameChg>
        <pc:graphicFrameChg chg="add del mod replST">
          <ac:chgData name="Grace, Morgan (Brisbane)" userId="221d5f7b-4a46-4bd5-bdf1-698d3a91c208" providerId="ADAL" clId="{D90324C1-6CE4-4C28-B886-AED0B666B37F}" dt="2024-06-07T05:34:39.797" v="120238"/>
          <ac:graphicFrameMkLst>
            <pc:docMk/>
            <pc:sldMk cId="3668082236" sldId="614"/>
            <ac:graphicFrameMk id="939" creationId="{82545144-4FBD-1D85-37C4-9A77DCD8D450}"/>
          </ac:graphicFrameMkLst>
        </pc:graphicFrameChg>
        <pc:graphicFrameChg chg="add del mod replST">
          <ac:chgData name="Grace, Morgan (Brisbane)" userId="221d5f7b-4a46-4bd5-bdf1-698d3a91c208" providerId="ADAL" clId="{D90324C1-6CE4-4C28-B886-AED0B666B37F}" dt="2024-06-07T05:34:29.361" v="119894"/>
          <ac:graphicFrameMkLst>
            <pc:docMk/>
            <pc:sldMk cId="3668082236" sldId="614"/>
            <ac:graphicFrameMk id="940" creationId="{04B184ED-F744-3AD5-FB72-48640D1D5D83}"/>
          </ac:graphicFrameMkLst>
        </pc:graphicFrameChg>
        <pc:graphicFrameChg chg="add del mod replST">
          <ac:chgData name="Grace, Morgan (Brisbane)" userId="221d5f7b-4a46-4bd5-bdf1-698d3a91c208" providerId="ADAL" clId="{D90324C1-6CE4-4C28-B886-AED0B666B37F}" dt="2024-06-07T05:34:31.669" v="120011"/>
          <ac:graphicFrameMkLst>
            <pc:docMk/>
            <pc:sldMk cId="3668082236" sldId="614"/>
            <ac:graphicFrameMk id="941" creationId="{482228A9-AD17-29E1-7BF2-48E06C84238C}"/>
          </ac:graphicFrameMkLst>
        </pc:graphicFrameChg>
        <pc:graphicFrameChg chg="add del mod replST">
          <ac:chgData name="Grace, Morgan (Brisbane)" userId="221d5f7b-4a46-4bd5-bdf1-698d3a91c208" providerId="ADAL" clId="{D90324C1-6CE4-4C28-B886-AED0B666B37F}" dt="2024-06-07T05:35:56.318" v="120805"/>
          <ac:graphicFrameMkLst>
            <pc:docMk/>
            <pc:sldMk cId="3668082236" sldId="614"/>
            <ac:graphicFrameMk id="942" creationId="{5635B2D0-7894-3240-F734-F4CA7132ADF1}"/>
          </ac:graphicFrameMkLst>
        </pc:graphicFrameChg>
        <pc:graphicFrameChg chg="add del mod replST">
          <ac:chgData name="Grace, Morgan (Brisbane)" userId="221d5f7b-4a46-4bd5-bdf1-698d3a91c208" providerId="ADAL" clId="{D90324C1-6CE4-4C28-B886-AED0B666B37F}" dt="2024-06-07T05:34:41.694" v="120381"/>
          <ac:graphicFrameMkLst>
            <pc:docMk/>
            <pc:sldMk cId="3668082236" sldId="614"/>
            <ac:graphicFrameMk id="943" creationId="{20B13179-E769-B358-642F-87AEE75113DF}"/>
          </ac:graphicFrameMkLst>
        </pc:graphicFrameChg>
        <pc:graphicFrameChg chg="add del mod replST">
          <ac:chgData name="Grace, Morgan (Brisbane)" userId="221d5f7b-4a46-4bd5-bdf1-698d3a91c208" providerId="ADAL" clId="{D90324C1-6CE4-4C28-B886-AED0B666B37F}" dt="2024-06-07T05:35:15.605" v="120529"/>
          <ac:graphicFrameMkLst>
            <pc:docMk/>
            <pc:sldMk cId="3668082236" sldId="614"/>
            <ac:graphicFrameMk id="944" creationId="{2B590FA4-522F-EFB2-DF90-7F415A672F2E}"/>
          </ac:graphicFrameMkLst>
        </pc:graphicFrameChg>
        <pc:graphicFrameChg chg="add del mod replST">
          <ac:chgData name="Grace, Morgan (Brisbane)" userId="221d5f7b-4a46-4bd5-bdf1-698d3a91c208" providerId="ADAL" clId="{D90324C1-6CE4-4C28-B886-AED0B666B37F}" dt="2024-06-07T05:35:40.357" v="120685"/>
          <ac:graphicFrameMkLst>
            <pc:docMk/>
            <pc:sldMk cId="3668082236" sldId="614"/>
            <ac:graphicFrameMk id="950" creationId="{9ADACDAF-6545-D233-E365-BB7A1BB24245}"/>
          </ac:graphicFrameMkLst>
        </pc:graphicFrameChg>
        <pc:graphicFrameChg chg="add del mod replST">
          <ac:chgData name="Grace, Morgan (Brisbane)" userId="221d5f7b-4a46-4bd5-bdf1-698d3a91c208" providerId="ADAL" clId="{D90324C1-6CE4-4C28-B886-AED0B666B37F}" dt="2024-06-07T05:36:22.274" v="121633"/>
          <ac:graphicFrameMkLst>
            <pc:docMk/>
            <pc:sldMk cId="3668082236" sldId="614"/>
            <ac:graphicFrameMk id="954" creationId="{48A025B8-B9DF-FF3B-8CC9-131007882B5E}"/>
          </ac:graphicFrameMkLst>
        </pc:graphicFrameChg>
        <pc:graphicFrameChg chg="add del mod replST">
          <ac:chgData name="Grace, Morgan (Brisbane)" userId="221d5f7b-4a46-4bd5-bdf1-698d3a91c208" providerId="ADAL" clId="{D90324C1-6CE4-4C28-B886-AED0B666B37F}" dt="2024-06-07T05:35:58.422" v="120923"/>
          <ac:graphicFrameMkLst>
            <pc:docMk/>
            <pc:sldMk cId="3668082236" sldId="614"/>
            <ac:graphicFrameMk id="957" creationId="{B54A3628-14B1-6CD7-2028-99FD866812C3}"/>
          </ac:graphicFrameMkLst>
        </pc:graphicFrameChg>
        <pc:graphicFrameChg chg="add del mod replST">
          <ac:chgData name="Grace, Morgan (Brisbane)" userId="221d5f7b-4a46-4bd5-bdf1-698d3a91c208" providerId="ADAL" clId="{D90324C1-6CE4-4C28-B886-AED0B666B37F}" dt="2024-06-07T05:36:00.433" v="121041"/>
          <ac:graphicFrameMkLst>
            <pc:docMk/>
            <pc:sldMk cId="3668082236" sldId="614"/>
            <ac:graphicFrameMk id="958" creationId="{9D780A9A-38E0-7F6B-F353-4C637202D7BF}"/>
          </ac:graphicFrameMkLst>
        </pc:graphicFrameChg>
        <pc:graphicFrameChg chg="add del mod replST">
          <ac:chgData name="Grace, Morgan (Brisbane)" userId="221d5f7b-4a46-4bd5-bdf1-698d3a91c208" providerId="ADAL" clId="{D90324C1-6CE4-4C28-B886-AED0B666B37F}" dt="2024-06-07T05:36:06.965" v="121163"/>
          <ac:graphicFrameMkLst>
            <pc:docMk/>
            <pc:sldMk cId="3668082236" sldId="614"/>
            <ac:graphicFrameMk id="959" creationId="{0B09A38A-E0D2-726B-6E1A-523C05097A34}"/>
          </ac:graphicFrameMkLst>
        </pc:graphicFrameChg>
        <pc:graphicFrameChg chg="add del mod replST">
          <ac:chgData name="Grace, Morgan (Brisbane)" userId="221d5f7b-4a46-4bd5-bdf1-698d3a91c208" providerId="ADAL" clId="{D90324C1-6CE4-4C28-B886-AED0B666B37F}" dt="2024-06-07T05:36:16.285" v="121348"/>
          <ac:graphicFrameMkLst>
            <pc:docMk/>
            <pc:sldMk cId="3668082236" sldId="614"/>
            <ac:graphicFrameMk id="960" creationId="{E01C2E9C-3C87-8770-38F4-60D45629CBD5}"/>
          </ac:graphicFrameMkLst>
        </pc:graphicFrameChg>
        <pc:graphicFrameChg chg="add del mod replST">
          <ac:chgData name="Grace, Morgan (Brisbane)" userId="221d5f7b-4a46-4bd5-bdf1-698d3a91c208" providerId="ADAL" clId="{D90324C1-6CE4-4C28-B886-AED0B666B37F}" dt="2024-06-07T05:36:17.384" v="121466"/>
          <ac:graphicFrameMkLst>
            <pc:docMk/>
            <pc:sldMk cId="3668082236" sldId="614"/>
            <ac:graphicFrameMk id="963" creationId="{7AC0ADEA-A4D1-67B7-D5C9-28474DC547B7}"/>
          </ac:graphicFrameMkLst>
        </pc:graphicFrameChg>
        <pc:graphicFrameChg chg="add del mod replST">
          <ac:chgData name="Grace, Morgan (Brisbane)" userId="221d5f7b-4a46-4bd5-bdf1-698d3a91c208" providerId="ADAL" clId="{D90324C1-6CE4-4C28-B886-AED0B666B37F}" dt="2024-06-07T05:36:22.232" v="121583"/>
          <ac:graphicFrameMkLst>
            <pc:docMk/>
            <pc:sldMk cId="3668082236" sldId="614"/>
            <ac:graphicFrameMk id="964" creationId="{E00F8723-BB2F-721E-9D16-D66A94EACF3D}"/>
          </ac:graphicFrameMkLst>
        </pc:graphicFrameChg>
        <pc:graphicFrameChg chg="add del mod replST">
          <ac:chgData name="Grace, Morgan (Brisbane)" userId="221d5f7b-4a46-4bd5-bdf1-698d3a91c208" providerId="ADAL" clId="{D90324C1-6CE4-4C28-B886-AED0B666B37F}" dt="2024-06-07T05:37:01.719" v="121924"/>
          <ac:graphicFrameMkLst>
            <pc:docMk/>
            <pc:sldMk cId="3668082236" sldId="614"/>
            <ac:graphicFrameMk id="965" creationId="{5CA22BAF-48DC-C6D9-0EF7-8EEFC1528BF3}"/>
          </ac:graphicFrameMkLst>
        </pc:graphicFrameChg>
        <pc:graphicFrameChg chg="add del mod replST">
          <ac:chgData name="Grace, Morgan (Brisbane)" userId="221d5f7b-4a46-4bd5-bdf1-698d3a91c208" providerId="ADAL" clId="{D90324C1-6CE4-4C28-B886-AED0B666B37F}" dt="2024-06-07T05:36:37.559" v="121794"/>
          <ac:graphicFrameMkLst>
            <pc:docMk/>
            <pc:sldMk cId="3668082236" sldId="614"/>
            <ac:graphicFrameMk id="966" creationId="{09641749-1EE8-24AA-437F-90824BBD757D}"/>
          </ac:graphicFrameMkLst>
        </pc:graphicFrameChg>
        <pc:graphicFrameChg chg="add del mod replST">
          <ac:chgData name="Grace, Morgan (Brisbane)" userId="221d5f7b-4a46-4bd5-bdf1-698d3a91c208" providerId="ADAL" clId="{D90324C1-6CE4-4C28-B886-AED0B666B37F}" dt="2024-06-07T05:37:15.516" v="122052"/>
          <ac:graphicFrameMkLst>
            <pc:docMk/>
            <pc:sldMk cId="3668082236" sldId="614"/>
            <ac:graphicFrameMk id="967" creationId="{69E8D03B-A3BD-2A11-CB44-4E5751618FCE}"/>
          </ac:graphicFrameMkLst>
        </pc:graphicFrameChg>
        <pc:graphicFrameChg chg="add mod replST">
          <ac:chgData name="Grace, Morgan (Brisbane)" userId="221d5f7b-4a46-4bd5-bdf1-698d3a91c208" providerId="ADAL" clId="{D90324C1-6CE4-4C28-B886-AED0B666B37F}" dt="2024-06-07T05:38:15.255" v="122777"/>
          <ac:graphicFrameMkLst>
            <pc:docMk/>
            <pc:sldMk cId="3668082236" sldId="614"/>
            <ac:graphicFrameMk id="970" creationId="{E8BC691B-5173-45E4-8CD3-03A871A296C2}"/>
          </ac:graphicFrameMkLst>
        </pc:graphicFrameChg>
        <pc:graphicFrameChg chg="add del mod replST">
          <ac:chgData name="Grace, Morgan (Brisbane)" userId="221d5f7b-4a46-4bd5-bdf1-698d3a91c208" providerId="ADAL" clId="{D90324C1-6CE4-4C28-B886-AED0B666B37F}" dt="2024-06-07T05:37:17.123" v="122176"/>
          <ac:graphicFrameMkLst>
            <pc:docMk/>
            <pc:sldMk cId="3668082236" sldId="614"/>
            <ac:graphicFrameMk id="972" creationId="{C27C42BC-99F4-9287-C3B6-F634315C8751}"/>
          </ac:graphicFrameMkLst>
        </pc:graphicFrameChg>
        <pc:graphicFrameChg chg="add del mod replST">
          <ac:chgData name="Grace, Morgan (Brisbane)" userId="221d5f7b-4a46-4bd5-bdf1-698d3a91c208" providerId="ADAL" clId="{D90324C1-6CE4-4C28-B886-AED0B666B37F}" dt="2024-06-07T05:37:18.563" v="122331"/>
          <ac:graphicFrameMkLst>
            <pc:docMk/>
            <pc:sldMk cId="3668082236" sldId="614"/>
            <ac:graphicFrameMk id="973" creationId="{8200A0E5-FAC8-9684-9988-712EF62BA6C3}"/>
          </ac:graphicFrameMkLst>
        </pc:graphicFrameChg>
        <pc:graphicFrameChg chg="add mod replST">
          <ac:chgData name="Grace, Morgan (Brisbane)" userId="221d5f7b-4a46-4bd5-bdf1-698d3a91c208" providerId="ADAL" clId="{D90324C1-6CE4-4C28-B886-AED0B666B37F}" dt="2024-06-07T05:38:15.255" v="122788"/>
          <ac:graphicFrameMkLst>
            <pc:docMk/>
            <pc:sldMk cId="3668082236" sldId="614"/>
            <ac:graphicFrameMk id="974" creationId="{B94ACB9E-032A-B7DF-114B-EF1C4A0BE8B4}"/>
          </ac:graphicFrameMkLst>
        </pc:graphicFrameChg>
        <pc:graphicFrameChg chg="add mod replST">
          <ac:chgData name="Grace, Morgan (Brisbane)" userId="221d5f7b-4a46-4bd5-bdf1-698d3a91c208" providerId="ADAL" clId="{D90324C1-6CE4-4C28-B886-AED0B666B37F}" dt="2024-06-07T05:38:15.238" v="122729"/>
          <ac:graphicFrameMkLst>
            <pc:docMk/>
            <pc:sldMk cId="3668082236" sldId="614"/>
            <ac:graphicFrameMk id="976" creationId="{0CAD6C18-DBD3-9798-41EB-F0DB75B961E2}"/>
          </ac:graphicFrameMkLst>
        </pc:graphicFrameChg>
        <pc:picChg chg="add del mod ord">
          <ac:chgData name="Grace, Morgan (Brisbane)" userId="221d5f7b-4a46-4bd5-bdf1-698d3a91c208" providerId="ADAL" clId="{D90324C1-6CE4-4C28-B886-AED0B666B37F}" dt="2024-06-07T04:14:31.736" v="54132" actId="478"/>
          <ac:picMkLst>
            <pc:docMk/>
            <pc:sldMk cId="3668082236" sldId="614"/>
            <ac:picMk id="9" creationId="{506910E7-AD93-E372-FD63-B6C85982A57F}"/>
          </ac:picMkLst>
        </pc:picChg>
        <pc:picChg chg="add del mod ord">
          <ac:chgData name="Grace, Morgan (Brisbane)" userId="221d5f7b-4a46-4bd5-bdf1-698d3a91c208" providerId="ADAL" clId="{D90324C1-6CE4-4C28-B886-AED0B666B37F}" dt="2024-06-07T04:43:07.468" v="72136" actId="478"/>
          <ac:picMkLst>
            <pc:docMk/>
            <pc:sldMk cId="3668082236" sldId="614"/>
            <ac:picMk id="354" creationId="{194F363D-51F1-2162-E0C9-7ABA69413B0E}"/>
          </ac:picMkLst>
        </pc:picChg>
        <pc:picChg chg="add del mod ord">
          <ac:chgData name="Grace, Morgan (Brisbane)" userId="221d5f7b-4a46-4bd5-bdf1-698d3a91c208" providerId="ADAL" clId="{D90324C1-6CE4-4C28-B886-AED0B666B37F}" dt="2024-06-07T04:47:02.815" v="77066" actId="478"/>
          <ac:picMkLst>
            <pc:docMk/>
            <pc:sldMk cId="3668082236" sldId="614"/>
            <ac:picMk id="431" creationId="{8D5C5104-FBB1-5FC9-EAC9-C6F87F3964CF}"/>
          </ac:picMkLst>
        </pc:picChg>
        <pc:picChg chg="add del mod ord">
          <ac:chgData name="Grace, Morgan (Brisbane)" userId="221d5f7b-4a46-4bd5-bdf1-698d3a91c208" providerId="ADAL" clId="{D90324C1-6CE4-4C28-B886-AED0B666B37F}" dt="2024-06-07T05:32:31.604" v="115866" actId="478"/>
          <ac:picMkLst>
            <pc:docMk/>
            <pc:sldMk cId="3668082236" sldId="614"/>
            <ac:picMk id="882" creationId="{69299F9F-A6A2-77D8-9704-937AA44AE947}"/>
          </ac:picMkLst>
        </pc:picChg>
        <pc:cxnChg chg="add del mod ord replST">
          <ac:chgData name="Grace, Morgan (Brisbane)" userId="221d5f7b-4a46-4bd5-bdf1-698d3a91c208" providerId="ADAL" clId="{D90324C1-6CE4-4C28-B886-AED0B666B37F}" dt="2024-06-07T04:13:03.241" v="50749"/>
          <ac:cxnSpMkLst>
            <pc:docMk/>
            <pc:sldMk cId="3668082236" sldId="614"/>
            <ac:cxnSpMk id="89" creationId="{F3D99195-6332-9BCD-D6D9-4BC3FD4BEE17}"/>
          </ac:cxnSpMkLst>
        </pc:cxnChg>
        <pc:cxnChg chg="add del mod ord replST">
          <ac:chgData name="Grace, Morgan (Brisbane)" userId="221d5f7b-4a46-4bd5-bdf1-698d3a91c208" providerId="ADAL" clId="{D90324C1-6CE4-4C28-B886-AED0B666B37F}" dt="2024-06-07T04:13:03.241" v="50759"/>
          <ac:cxnSpMkLst>
            <pc:docMk/>
            <pc:sldMk cId="3668082236" sldId="614"/>
            <ac:cxnSpMk id="91" creationId="{1E2D899A-5125-A0E1-DCD8-10DA04FDE24F}"/>
          </ac:cxnSpMkLst>
        </pc:cxnChg>
        <pc:cxnChg chg="add del mod ord replST">
          <ac:chgData name="Grace, Morgan (Brisbane)" userId="221d5f7b-4a46-4bd5-bdf1-698d3a91c208" providerId="ADAL" clId="{D90324C1-6CE4-4C28-B886-AED0B666B37F}" dt="2024-06-07T04:13:03.241" v="50757"/>
          <ac:cxnSpMkLst>
            <pc:docMk/>
            <pc:sldMk cId="3668082236" sldId="614"/>
            <ac:cxnSpMk id="92" creationId="{197AEDEC-5658-1203-2FEB-4167DE262EE2}"/>
          </ac:cxnSpMkLst>
        </pc:cxnChg>
        <pc:cxnChg chg="add del mod ord replST">
          <ac:chgData name="Grace, Morgan (Brisbane)" userId="221d5f7b-4a46-4bd5-bdf1-698d3a91c208" providerId="ADAL" clId="{D90324C1-6CE4-4C28-B886-AED0B666B37F}" dt="2024-06-07T04:13:03.241" v="50767"/>
          <ac:cxnSpMkLst>
            <pc:docMk/>
            <pc:sldMk cId="3668082236" sldId="614"/>
            <ac:cxnSpMk id="94" creationId="{2A80DB64-876A-72C4-B4F3-FDFE4D9210A1}"/>
          </ac:cxnSpMkLst>
        </pc:cxnChg>
        <pc:cxnChg chg="add del mod ord replST">
          <ac:chgData name="Grace, Morgan (Brisbane)" userId="221d5f7b-4a46-4bd5-bdf1-698d3a91c208" providerId="ADAL" clId="{D90324C1-6CE4-4C28-B886-AED0B666B37F}" dt="2024-06-07T04:13:03.109" v="50575"/>
          <ac:cxnSpMkLst>
            <pc:docMk/>
            <pc:sldMk cId="3668082236" sldId="614"/>
            <ac:cxnSpMk id="96" creationId="{C342526D-4D61-D7CC-7D1B-C89AC431AD0D}"/>
          </ac:cxnSpMkLst>
        </pc:cxnChg>
        <pc:cxnChg chg="add del mod ord replST">
          <ac:chgData name="Grace, Morgan (Brisbane)" userId="221d5f7b-4a46-4bd5-bdf1-698d3a91c208" providerId="ADAL" clId="{D90324C1-6CE4-4C28-B886-AED0B666B37F}" dt="2024-06-07T04:13:03.109" v="50573"/>
          <ac:cxnSpMkLst>
            <pc:docMk/>
            <pc:sldMk cId="3668082236" sldId="614"/>
            <ac:cxnSpMk id="97" creationId="{13A0353F-3B6A-14D7-F065-2C55B28D2356}"/>
          </ac:cxnSpMkLst>
        </pc:cxnChg>
        <pc:cxnChg chg="add del mod ord replST">
          <ac:chgData name="Grace, Morgan (Brisbane)" userId="221d5f7b-4a46-4bd5-bdf1-698d3a91c208" providerId="ADAL" clId="{D90324C1-6CE4-4C28-B886-AED0B666B37F}" dt="2024-06-07T04:13:03.125" v="50591"/>
          <ac:cxnSpMkLst>
            <pc:docMk/>
            <pc:sldMk cId="3668082236" sldId="614"/>
            <ac:cxnSpMk id="101" creationId="{C6E6CDF6-0C75-0AA3-D7A3-5E3E3B57FAED}"/>
          </ac:cxnSpMkLst>
        </pc:cxnChg>
        <pc:cxnChg chg="add del mod ord replST">
          <ac:chgData name="Grace, Morgan (Brisbane)" userId="221d5f7b-4a46-4bd5-bdf1-698d3a91c208" providerId="ADAL" clId="{D90324C1-6CE4-4C28-B886-AED0B666B37F}" dt="2024-06-07T04:13:03.109" v="50589"/>
          <ac:cxnSpMkLst>
            <pc:docMk/>
            <pc:sldMk cId="3668082236" sldId="614"/>
            <ac:cxnSpMk id="102" creationId="{2C28137A-28AF-C787-8602-C3857AF7E8E2}"/>
          </ac:cxnSpMkLst>
        </pc:cxnChg>
        <pc:cxnChg chg="add del mod ord replST">
          <ac:chgData name="Grace, Morgan (Brisbane)" userId="221d5f7b-4a46-4bd5-bdf1-698d3a91c208" providerId="ADAL" clId="{D90324C1-6CE4-4C28-B886-AED0B666B37F}" dt="2024-06-07T04:13:03.125" v="50596"/>
          <ac:cxnSpMkLst>
            <pc:docMk/>
            <pc:sldMk cId="3668082236" sldId="614"/>
            <ac:cxnSpMk id="104" creationId="{B27D157B-B24A-9607-BEC4-7B563861E144}"/>
          </ac:cxnSpMkLst>
        </pc:cxnChg>
        <pc:cxnChg chg="add del mod ord replST">
          <ac:chgData name="Grace, Morgan (Brisbane)" userId="221d5f7b-4a46-4bd5-bdf1-698d3a91c208" providerId="ADAL" clId="{D90324C1-6CE4-4C28-B886-AED0B666B37F}" dt="2024-06-07T04:13:03.125" v="50601"/>
          <ac:cxnSpMkLst>
            <pc:docMk/>
            <pc:sldMk cId="3668082236" sldId="614"/>
            <ac:cxnSpMk id="106" creationId="{6E6D06DA-6B86-A4E6-D292-173ACF8C597B}"/>
          </ac:cxnSpMkLst>
        </pc:cxnChg>
        <pc:cxnChg chg="add del mod ord replST">
          <ac:chgData name="Grace, Morgan (Brisbane)" userId="221d5f7b-4a46-4bd5-bdf1-698d3a91c208" providerId="ADAL" clId="{D90324C1-6CE4-4C28-B886-AED0B666B37F}" dt="2024-06-07T04:13:03.125" v="50606"/>
          <ac:cxnSpMkLst>
            <pc:docMk/>
            <pc:sldMk cId="3668082236" sldId="614"/>
            <ac:cxnSpMk id="107" creationId="{B56B1D00-C29B-C0BF-926D-8CBD9EC9C455}"/>
          </ac:cxnSpMkLst>
        </pc:cxnChg>
        <pc:cxnChg chg="add del mod ord replST">
          <ac:chgData name="Grace, Morgan (Brisbane)" userId="221d5f7b-4a46-4bd5-bdf1-698d3a91c208" providerId="ADAL" clId="{D90324C1-6CE4-4C28-B886-AED0B666B37F}" dt="2024-06-07T04:13:03.125" v="50611"/>
          <ac:cxnSpMkLst>
            <pc:docMk/>
            <pc:sldMk cId="3668082236" sldId="614"/>
            <ac:cxnSpMk id="108" creationId="{AB44F634-D902-7E17-0139-57E1CE924E1E}"/>
          </ac:cxnSpMkLst>
        </pc:cxnChg>
        <pc:cxnChg chg="add del mod ord replST">
          <ac:chgData name="Grace, Morgan (Brisbane)" userId="221d5f7b-4a46-4bd5-bdf1-698d3a91c208" providerId="ADAL" clId="{D90324C1-6CE4-4C28-B886-AED0B666B37F}" dt="2024-06-07T04:13:03.125" v="50609"/>
          <ac:cxnSpMkLst>
            <pc:docMk/>
            <pc:sldMk cId="3668082236" sldId="614"/>
            <ac:cxnSpMk id="109" creationId="{D1A65499-5DF3-E673-9664-1C28D47DE353}"/>
          </ac:cxnSpMkLst>
        </pc:cxnChg>
        <pc:cxnChg chg="add del mod ord replST">
          <ac:chgData name="Grace, Morgan (Brisbane)" userId="221d5f7b-4a46-4bd5-bdf1-698d3a91c208" providerId="ADAL" clId="{D90324C1-6CE4-4C28-B886-AED0B666B37F}" dt="2024-06-07T04:13:03.125" v="50638"/>
          <ac:cxnSpMkLst>
            <pc:docMk/>
            <pc:sldMk cId="3668082236" sldId="614"/>
            <ac:cxnSpMk id="117" creationId="{A8AEBCAE-EC81-8823-05B6-F7D3354D61D7}"/>
          </ac:cxnSpMkLst>
        </pc:cxnChg>
        <pc:cxnChg chg="add del mod ord replST">
          <ac:chgData name="Grace, Morgan (Brisbane)" userId="221d5f7b-4a46-4bd5-bdf1-698d3a91c208" providerId="ADAL" clId="{D90324C1-6CE4-4C28-B886-AED0B666B37F}" dt="2024-06-07T04:13:03.125" v="50643"/>
          <ac:cxnSpMkLst>
            <pc:docMk/>
            <pc:sldMk cId="3668082236" sldId="614"/>
            <ac:cxnSpMk id="119" creationId="{1D2363C3-DE6E-27AF-280B-A3EC0499A01C}"/>
          </ac:cxnSpMkLst>
        </pc:cxnChg>
        <pc:cxnChg chg="add del mod ord replST">
          <ac:chgData name="Grace, Morgan (Brisbane)" userId="221d5f7b-4a46-4bd5-bdf1-698d3a91c208" providerId="ADAL" clId="{D90324C1-6CE4-4C28-B886-AED0B666B37F}" dt="2024-06-07T04:13:03.125" v="50648"/>
          <ac:cxnSpMkLst>
            <pc:docMk/>
            <pc:sldMk cId="3668082236" sldId="614"/>
            <ac:cxnSpMk id="121" creationId="{09581921-EE69-AD49-5CD8-8962380F387F}"/>
          </ac:cxnSpMkLst>
        </pc:cxnChg>
        <pc:cxnChg chg="add del mod ord replST">
          <ac:chgData name="Grace, Morgan (Brisbane)" userId="221d5f7b-4a46-4bd5-bdf1-698d3a91c208" providerId="ADAL" clId="{D90324C1-6CE4-4C28-B886-AED0B666B37F}" dt="2024-06-07T04:13:15.852" v="52474"/>
          <ac:cxnSpMkLst>
            <pc:docMk/>
            <pc:sldMk cId="3668082236" sldId="614"/>
            <ac:cxnSpMk id="146" creationId="{F74FC997-C6CF-158D-C478-4DD88D975452}"/>
          </ac:cxnSpMkLst>
        </pc:cxnChg>
        <pc:cxnChg chg="add del mod ord replST">
          <ac:chgData name="Grace, Morgan (Brisbane)" userId="221d5f7b-4a46-4bd5-bdf1-698d3a91c208" providerId="ADAL" clId="{D90324C1-6CE4-4C28-B886-AED0B666B37F}" dt="2024-06-07T04:13:15.852" v="52464"/>
          <ac:cxnSpMkLst>
            <pc:docMk/>
            <pc:sldMk cId="3668082236" sldId="614"/>
            <ac:cxnSpMk id="155" creationId="{DA2E87DE-A388-D8F4-8F45-CD10B27239E1}"/>
          </ac:cxnSpMkLst>
        </pc:cxnChg>
        <pc:cxnChg chg="add del mod ord replST">
          <ac:chgData name="Grace, Morgan (Brisbane)" userId="221d5f7b-4a46-4bd5-bdf1-698d3a91c208" providerId="ADAL" clId="{D90324C1-6CE4-4C28-B886-AED0B666B37F}" dt="2024-06-07T04:13:15.852" v="52469"/>
          <ac:cxnSpMkLst>
            <pc:docMk/>
            <pc:sldMk cId="3668082236" sldId="614"/>
            <ac:cxnSpMk id="156" creationId="{B0E3041A-20FB-3392-56CC-77548B2501F7}"/>
          </ac:cxnSpMkLst>
        </pc:cxnChg>
        <pc:cxnChg chg="add del mod ord replST">
          <ac:chgData name="Grace, Morgan (Brisbane)" userId="221d5f7b-4a46-4bd5-bdf1-698d3a91c208" providerId="ADAL" clId="{D90324C1-6CE4-4C28-B886-AED0B666B37F}" dt="2024-06-07T04:38:57.186" v="66285"/>
          <ac:cxnSpMkLst>
            <pc:docMk/>
            <pc:sldMk cId="3668082236" sldId="614"/>
            <ac:cxnSpMk id="331" creationId="{B900C083-60F7-B14B-5BA8-C661FFB60FCF}"/>
          </ac:cxnSpMkLst>
        </pc:cxnChg>
        <pc:cxnChg chg="add del mod ord replST">
          <ac:chgData name="Grace, Morgan (Brisbane)" userId="221d5f7b-4a46-4bd5-bdf1-698d3a91c208" providerId="ADAL" clId="{D90324C1-6CE4-4C28-B886-AED0B666B37F}" dt="2024-06-07T04:38:57.186" v="66282"/>
          <ac:cxnSpMkLst>
            <pc:docMk/>
            <pc:sldMk cId="3668082236" sldId="614"/>
            <ac:cxnSpMk id="342" creationId="{6141FBE5-5D9E-5A00-30E1-A0D1B2A6F156}"/>
          </ac:cxnSpMkLst>
        </pc:cxnChg>
        <pc:cxnChg chg="add del mod ord replST">
          <ac:chgData name="Grace, Morgan (Brisbane)" userId="221d5f7b-4a46-4bd5-bdf1-698d3a91c208" providerId="ADAL" clId="{D90324C1-6CE4-4C28-B886-AED0B666B37F}" dt="2024-06-07T04:38:45.127" v="65562"/>
          <ac:cxnSpMkLst>
            <pc:docMk/>
            <pc:sldMk cId="3668082236" sldId="614"/>
            <ac:cxnSpMk id="343" creationId="{570C1867-2104-7228-0251-40E9321BBF62}"/>
          </ac:cxnSpMkLst>
        </pc:cxnChg>
        <pc:cxnChg chg="add del mod ord replST">
          <ac:chgData name="Grace, Morgan (Brisbane)" userId="221d5f7b-4a46-4bd5-bdf1-698d3a91c208" providerId="ADAL" clId="{D90324C1-6CE4-4C28-B886-AED0B666B37F}" dt="2024-06-07T04:38:45.127" v="65560"/>
          <ac:cxnSpMkLst>
            <pc:docMk/>
            <pc:sldMk cId="3668082236" sldId="614"/>
            <ac:cxnSpMk id="344" creationId="{EB8D0C10-9123-6717-64FA-FB24B3F379C7}"/>
          </ac:cxnSpMkLst>
        </pc:cxnChg>
        <pc:cxnChg chg="add del mod ord replST">
          <ac:chgData name="Grace, Morgan (Brisbane)" userId="221d5f7b-4a46-4bd5-bdf1-698d3a91c208" providerId="ADAL" clId="{D90324C1-6CE4-4C28-B886-AED0B666B37F}" dt="2024-06-07T04:42:47.584" v="71716"/>
          <ac:cxnSpMkLst>
            <pc:docMk/>
            <pc:sldMk cId="3668082236" sldId="614"/>
            <ac:cxnSpMk id="389" creationId="{6D168E83-32E9-D77C-90B5-74AE79752A97}"/>
          </ac:cxnSpMkLst>
        </pc:cxnChg>
        <pc:cxnChg chg="add del mod ord replST">
          <ac:chgData name="Grace, Morgan (Brisbane)" userId="221d5f7b-4a46-4bd5-bdf1-698d3a91c208" providerId="ADAL" clId="{D90324C1-6CE4-4C28-B886-AED0B666B37F}" dt="2024-06-07T04:42:47.500" v="71595"/>
          <ac:cxnSpMkLst>
            <pc:docMk/>
            <pc:sldMk cId="3668082236" sldId="614"/>
            <ac:cxnSpMk id="390" creationId="{4D56BE4D-D16A-A0DB-6197-84E180C73B10}"/>
          </ac:cxnSpMkLst>
        </pc:cxnChg>
        <pc:cxnChg chg="add del mod ord replST">
          <ac:chgData name="Grace, Morgan (Brisbane)" userId="221d5f7b-4a46-4bd5-bdf1-698d3a91c208" providerId="ADAL" clId="{D90324C1-6CE4-4C28-B886-AED0B666B37F}" dt="2024-06-07T04:42:47.484" v="71593"/>
          <ac:cxnSpMkLst>
            <pc:docMk/>
            <pc:sldMk cId="3668082236" sldId="614"/>
            <ac:cxnSpMk id="391" creationId="{66C105E2-1A0E-5956-F4FB-BEE8547D446F}"/>
          </ac:cxnSpMkLst>
        </pc:cxnChg>
        <pc:cxnChg chg="add del mod ord replST">
          <ac:chgData name="Grace, Morgan (Brisbane)" userId="221d5f7b-4a46-4bd5-bdf1-698d3a91c208" providerId="ADAL" clId="{D90324C1-6CE4-4C28-B886-AED0B666B37F}" dt="2024-06-07T05:10:21.846" v="93657"/>
          <ac:cxnSpMkLst>
            <pc:docMk/>
            <pc:sldMk cId="3668082236" sldId="614"/>
            <ac:cxnSpMk id="484" creationId="{13A38AA1-EC06-ADCB-1E19-B0E6E00397FB}"/>
          </ac:cxnSpMkLst>
        </pc:cxnChg>
        <pc:cxnChg chg="add del mod ord replST">
          <ac:chgData name="Grace, Morgan (Brisbane)" userId="221d5f7b-4a46-4bd5-bdf1-698d3a91c208" providerId="ADAL" clId="{D90324C1-6CE4-4C28-B886-AED0B666B37F}" dt="2024-06-07T05:10:21.846" v="93663"/>
          <ac:cxnSpMkLst>
            <pc:docMk/>
            <pc:sldMk cId="3668082236" sldId="614"/>
            <ac:cxnSpMk id="485" creationId="{5A60D0F6-9B1C-265B-69D6-510FF4A3664C}"/>
          </ac:cxnSpMkLst>
        </pc:cxnChg>
        <pc:cxnChg chg="add del mod ord replST">
          <ac:chgData name="Grace, Morgan (Brisbane)" userId="221d5f7b-4a46-4bd5-bdf1-698d3a91c208" providerId="ADAL" clId="{D90324C1-6CE4-4C28-B886-AED0B666B37F}" dt="2024-06-07T05:10:21.846" v="93661"/>
          <ac:cxnSpMkLst>
            <pc:docMk/>
            <pc:sldMk cId="3668082236" sldId="614"/>
            <ac:cxnSpMk id="486" creationId="{095F7D0D-7BC3-EA73-7211-B2163C47AAB2}"/>
          </ac:cxnSpMkLst>
        </pc:cxnChg>
        <pc:cxnChg chg="add del mod ord replST">
          <ac:chgData name="Grace, Morgan (Brisbane)" userId="221d5f7b-4a46-4bd5-bdf1-698d3a91c208" providerId="ADAL" clId="{D90324C1-6CE4-4C28-B886-AED0B666B37F}" dt="2024-06-07T04:51:09.852" v="81966"/>
          <ac:cxnSpMkLst>
            <pc:docMk/>
            <pc:sldMk cId="3668082236" sldId="614"/>
            <ac:cxnSpMk id="517" creationId="{EA4DF1F1-BBF4-2969-E38C-B718985C24D7}"/>
          </ac:cxnSpMkLst>
        </pc:cxnChg>
        <pc:cxnChg chg="add del mod ord replST">
          <ac:chgData name="Grace, Morgan (Brisbane)" userId="221d5f7b-4a46-4bd5-bdf1-698d3a91c208" providerId="ADAL" clId="{D90324C1-6CE4-4C28-B886-AED0B666B37F}" dt="2024-06-07T04:51:09.852" v="81964"/>
          <ac:cxnSpMkLst>
            <pc:docMk/>
            <pc:sldMk cId="3668082236" sldId="614"/>
            <ac:cxnSpMk id="518" creationId="{D5C29BEA-924C-987C-7AB1-D66725F1C814}"/>
          </ac:cxnSpMkLst>
        </pc:cxnChg>
        <pc:cxnChg chg="add del mod ord replST">
          <ac:chgData name="Grace, Morgan (Brisbane)" userId="221d5f7b-4a46-4bd5-bdf1-698d3a91c208" providerId="ADAL" clId="{D90324C1-6CE4-4C28-B886-AED0B666B37F}" dt="2024-06-07T04:51:09.852" v="81970"/>
          <ac:cxnSpMkLst>
            <pc:docMk/>
            <pc:sldMk cId="3668082236" sldId="614"/>
            <ac:cxnSpMk id="519" creationId="{382D467D-26D0-008E-AF32-267D6EF64E0F}"/>
          </ac:cxnSpMkLst>
        </pc:cxnChg>
        <pc:cxnChg chg="add del mod ord replST">
          <ac:chgData name="Grace, Morgan (Brisbane)" userId="221d5f7b-4a46-4bd5-bdf1-698d3a91c208" providerId="ADAL" clId="{D90324C1-6CE4-4C28-B886-AED0B666B37F}" dt="2024-06-07T04:51:09.852" v="81972"/>
          <ac:cxnSpMkLst>
            <pc:docMk/>
            <pc:sldMk cId="3668082236" sldId="614"/>
            <ac:cxnSpMk id="520" creationId="{FC3088D9-3C4F-0868-71A0-E0999B845724}"/>
          </ac:cxnSpMkLst>
        </pc:cxnChg>
        <pc:cxnChg chg="add del mod ord replST">
          <ac:chgData name="Grace, Morgan (Brisbane)" userId="221d5f7b-4a46-4bd5-bdf1-698d3a91c208" providerId="ADAL" clId="{D90324C1-6CE4-4C28-B886-AED0B666B37F}" dt="2024-06-07T05:15:49.837" v="96393"/>
          <ac:cxnSpMkLst>
            <pc:docMk/>
            <pc:sldMk cId="3668082236" sldId="614"/>
            <ac:cxnSpMk id="653" creationId="{690E9845-B6F2-61FF-435B-F6A267B593B0}"/>
          </ac:cxnSpMkLst>
        </pc:cxnChg>
        <pc:cxnChg chg="add del mod ord replST">
          <ac:chgData name="Grace, Morgan (Brisbane)" userId="221d5f7b-4a46-4bd5-bdf1-698d3a91c208" providerId="ADAL" clId="{D90324C1-6CE4-4C28-B886-AED0B666B37F}" dt="2024-06-07T05:14:06.709" v="95627"/>
          <ac:cxnSpMkLst>
            <pc:docMk/>
            <pc:sldMk cId="3668082236" sldId="614"/>
            <ac:cxnSpMk id="654" creationId="{2982E12C-66C4-F189-770F-8968AA4CFFB5}"/>
          </ac:cxnSpMkLst>
        </pc:cxnChg>
        <pc:cxnChg chg="add del mod ord replST">
          <ac:chgData name="Grace, Morgan (Brisbane)" userId="221d5f7b-4a46-4bd5-bdf1-698d3a91c208" providerId="ADAL" clId="{D90324C1-6CE4-4C28-B886-AED0B666B37F}" dt="2024-06-07T05:14:06.709" v="95625"/>
          <ac:cxnSpMkLst>
            <pc:docMk/>
            <pc:sldMk cId="3668082236" sldId="614"/>
            <ac:cxnSpMk id="655" creationId="{34E66CA7-C7B0-5B32-6702-7EDC260304A1}"/>
          </ac:cxnSpMkLst>
        </pc:cxnChg>
        <pc:cxnChg chg="add del mod ord replST">
          <ac:chgData name="Grace, Morgan (Brisbane)" userId="221d5f7b-4a46-4bd5-bdf1-698d3a91c208" providerId="ADAL" clId="{D90324C1-6CE4-4C28-B886-AED0B666B37F}" dt="2024-06-07T05:14:22.282" v="95811"/>
          <ac:cxnSpMkLst>
            <pc:docMk/>
            <pc:sldMk cId="3668082236" sldId="614"/>
            <ac:cxnSpMk id="659" creationId="{901F771E-2F87-1362-9B5E-2234387B60C2}"/>
          </ac:cxnSpMkLst>
        </pc:cxnChg>
        <pc:cxnChg chg="add del mod ord replST">
          <ac:chgData name="Grace, Morgan (Brisbane)" userId="221d5f7b-4a46-4bd5-bdf1-698d3a91c208" providerId="ADAL" clId="{D90324C1-6CE4-4C28-B886-AED0B666B37F}" dt="2024-06-07T05:15:49.837" v="96398"/>
          <ac:cxnSpMkLst>
            <pc:docMk/>
            <pc:sldMk cId="3668082236" sldId="614"/>
            <ac:cxnSpMk id="662" creationId="{93037245-E8A6-2062-C753-BD56284ECC64}"/>
          </ac:cxnSpMkLst>
        </pc:cxnChg>
        <pc:cxnChg chg="add del mod ord replST">
          <ac:chgData name="Grace, Morgan (Brisbane)" userId="221d5f7b-4a46-4bd5-bdf1-698d3a91c208" providerId="ADAL" clId="{D90324C1-6CE4-4C28-B886-AED0B666B37F}" dt="2024-06-07T05:15:49.837" v="96396"/>
          <ac:cxnSpMkLst>
            <pc:docMk/>
            <pc:sldMk cId="3668082236" sldId="614"/>
            <ac:cxnSpMk id="663" creationId="{940CF5CE-125E-8DFB-DD57-1E5CAC3D55E4}"/>
          </ac:cxnSpMkLst>
        </pc:cxnChg>
        <pc:cxnChg chg="add del mod ord replST">
          <ac:chgData name="Grace, Morgan (Brisbane)" userId="221d5f7b-4a46-4bd5-bdf1-698d3a91c208" providerId="ADAL" clId="{D90324C1-6CE4-4C28-B886-AED0B666B37F}" dt="2024-06-07T05:30:55.813" v="113945"/>
          <ac:cxnSpMkLst>
            <pc:docMk/>
            <pc:sldMk cId="3668082236" sldId="614"/>
            <ac:cxnSpMk id="827" creationId="{CED9ADCA-B07A-2296-BD1C-C655036796D9}"/>
          </ac:cxnSpMkLst>
        </pc:cxnChg>
        <pc:cxnChg chg="add del mod ord replST">
          <ac:chgData name="Grace, Morgan (Brisbane)" userId="221d5f7b-4a46-4bd5-bdf1-698d3a91c208" providerId="ADAL" clId="{D90324C1-6CE4-4C28-B886-AED0B666B37F}" dt="2024-06-07T05:27:43.932" v="110604"/>
          <ac:cxnSpMkLst>
            <pc:docMk/>
            <pc:sldMk cId="3668082236" sldId="614"/>
            <ac:cxnSpMk id="831" creationId="{D5DD7C27-B7D1-B53D-1F21-00B666F442E6}"/>
          </ac:cxnSpMkLst>
        </pc:cxnChg>
        <pc:cxnChg chg="add del mod ord replST">
          <ac:chgData name="Grace, Morgan (Brisbane)" userId="221d5f7b-4a46-4bd5-bdf1-698d3a91c208" providerId="ADAL" clId="{D90324C1-6CE4-4C28-B886-AED0B666B37F}" dt="2024-06-07T05:27:43.932" v="110615"/>
          <ac:cxnSpMkLst>
            <pc:docMk/>
            <pc:sldMk cId="3668082236" sldId="614"/>
            <ac:cxnSpMk id="832" creationId="{7360B42E-0F00-B9DB-A58D-E1F15F6A32CB}"/>
          </ac:cxnSpMkLst>
        </pc:cxnChg>
        <pc:cxnChg chg="add del mod ord replST">
          <ac:chgData name="Grace, Morgan (Brisbane)" userId="221d5f7b-4a46-4bd5-bdf1-698d3a91c208" providerId="ADAL" clId="{D90324C1-6CE4-4C28-B886-AED0B666B37F}" dt="2024-06-07T05:27:43.932" v="110636"/>
          <ac:cxnSpMkLst>
            <pc:docMk/>
            <pc:sldMk cId="3668082236" sldId="614"/>
            <ac:cxnSpMk id="833" creationId="{8D2410B0-3A5D-C2EB-4044-B1854A6BE6C4}"/>
          </ac:cxnSpMkLst>
        </pc:cxnChg>
        <pc:cxnChg chg="add del mod ord replST">
          <ac:chgData name="Grace, Morgan (Brisbane)" userId="221d5f7b-4a46-4bd5-bdf1-698d3a91c208" providerId="ADAL" clId="{D90324C1-6CE4-4C28-B886-AED0B666B37F}" dt="2024-06-07T05:27:43.932" v="110642"/>
          <ac:cxnSpMkLst>
            <pc:docMk/>
            <pc:sldMk cId="3668082236" sldId="614"/>
            <ac:cxnSpMk id="834" creationId="{80855A46-C301-E333-FC39-3E8B5B2480B2}"/>
          </ac:cxnSpMkLst>
        </pc:cxnChg>
        <pc:cxnChg chg="add del mod ord replST">
          <ac:chgData name="Grace, Morgan (Brisbane)" userId="221d5f7b-4a46-4bd5-bdf1-698d3a91c208" providerId="ADAL" clId="{D90324C1-6CE4-4C28-B886-AED0B666B37F}" dt="2024-06-07T05:27:43.948" v="110660"/>
          <ac:cxnSpMkLst>
            <pc:docMk/>
            <pc:sldMk cId="3668082236" sldId="614"/>
            <ac:cxnSpMk id="835" creationId="{C415BC4B-1C9D-139D-E212-F7F7C71AE7FD}"/>
          </ac:cxnSpMkLst>
        </pc:cxnChg>
        <pc:cxnChg chg="add del mod ord replST">
          <ac:chgData name="Grace, Morgan (Brisbane)" userId="221d5f7b-4a46-4bd5-bdf1-698d3a91c208" providerId="ADAL" clId="{D90324C1-6CE4-4C28-B886-AED0B666B37F}" dt="2024-06-07T05:27:43.948" v="110666"/>
          <ac:cxnSpMkLst>
            <pc:docMk/>
            <pc:sldMk cId="3668082236" sldId="614"/>
            <ac:cxnSpMk id="836" creationId="{FEB6B6E2-F9DA-4B0A-50EB-9AEE3B78EA44}"/>
          </ac:cxnSpMkLst>
        </pc:cxnChg>
        <pc:cxnChg chg="add del mod ord replST">
          <ac:chgData name="Grace, Morgan (Brisbane)" userId="221d5f7b-4a46-4bd5-bdf1-698d3a91c208" providerId="ADAL" clId="{D90324C1-6CE4-4C28-B886-AED0B666B37F}" dt="2024-06-07T05:29:27.447" v="112335"/>
          <ac:cxnSpMkLst>
            <pc:docMk/>
            <pc:sldMk cId="3668082236" sldId="614"/>
            <ac:cxnSpMk id="848" creationId="{03FEA59E-1025-6D7D-8A5E-2C525B05DF3C}"/>
          </ac:cxnSpMkLst>
        </pc:cxnChg>
        <pc:cxnChg chg="add del mod ord replST delST">
          <ac:chgData name="Grace, Morgan (Brisbane)" userId="221d5f7b-4a46-4bd5-bdf1-698d3a91c208" providerId="ADAL" clId="{D90324C1-6CE4-4C28-B886-AED0B666B37F}" dt="2024-06-07T05:31:01.381" v="114206"/>
          <ac:cxnSpMkLst>
            <pc:docMk/>
            <pc:sldMk cId="3668082236" sldId="614"/>
            <ac:cxnSpMk id="868" creationId="{718E1731-0631-6AAE-2A8D-520EABD09FAC}"/>
          </ac:cxnSpMkLst>
        </pc:cxnChg>
        <pc:cxnChg chg="add mod ord replST">
          <ac:chgData name="Grace, Morgan (Brisbane)" userId="221d5f7b-4a46-4bd5-bdf1-698d3a91c208" providerId="ADAL" clId="{D90324C1-6CE4-4C28-B886-AED0B666B37F}" dt="2024-06-07T05:38:15.255" v="122790"/>
          <ac:cxnSpMkLst>
            <pc:docMk/>
            <pc:sldMk cId="3668082236" sldId="614"/>
            <ac:cxnSpMk id="871" creationId="{641FB580-32C7-518B-EF29-4154719BB2F2}"/>
          </ac:cxnSpMkLst>
        </pc:cxnChg>
        <pc:cxnChg chg="add del mod ord replST">
          <ac:chgData name="Grace, Morgan (Brisbane)" userId="221d5f7b-4a46-4bd5-bdf1-698d3a91c208" providerId="ADAL" clId="{D90324C1-6CE4-4C28-B886-AED0B666B37F}" dt="2024-06-07T05:32:52.642" v="116187"/>
          <ac:cxnSpMkLst>
            <pc:docMk/>
            <pc:sldMk cId="3668082236" sldId="614"/>
            <ac:cxnSpMk id="876" creationId="{EE209030-F4BF-BAC2-D38A-90894934BDBA}"/>
          </ac:cxnSpMkLst>
        </pc:cxnChg>
        <pc:cxnChg chg="add del mod ord replST">
          <ac:chgData name="Grace, Morgan (Brisbane)" userId="221d5f7b-4a46-4bd5-bdf1-698d3a91c208" providerId="ADAL" clId="{D90324C1-6CE4-4C28-B886-AED0B666B37F}" dt="2024-06-07T05:32:55.522" v="116429"/>
          <ac:cxnSpMkLst>
            <pc:docMk/>
            <pc:sldMk cId="3668082236" sldId="614"/>
            <ac:cxnSpMk id="893" creationId="{52CE6C68-EB30-0A57-F57A-266D29699068}"/>
          </ac:cxnSpMkLst>
        </pc:cxnChg>
        <pc:cxnChg chg="add del mod ord replST">
          <ac:chgData name="Grace, Morgan (Brisbane)" userId="221d5f7b-4a46-4bd5-bdf1-698d3a91c208" providerId="ADAL" clId="{D90324C1-6CE4-4C28-B886-AED0B666B37F}" dt="2024-06-07T05:34:04.292" v="119620"/>
          <ac:cxnSpMkLst>
            <pc:docMk/>
            <pc:sldMk cId="3668082236" sldId="614"/>
            <ac:cxnSpMk id="897" creationId="{5553E603-E343-08EB-B9D2-51A914170D67}"/>
          </ac:cxnSpMkLst>
        </pc:cxnChg>
        <pc:cxnChg chg="add del mod ord replST">
          <ac:chgData name="Grace, Morgan (Brisbane)" userId="221d5f7b-4a46-4bd5-bdf1-698d3a91c208" providerId="ADAL" clId="{D90324C1-6CE4-4C28-B886-AED0B666B37F}" dt="2024-06-07T05:33:55.959" v="119380"/>
          <ac:cxnSpMkLst>
            <pc:docMk/>
            <pc:sldMk cId="3668082236" sldId="614"/>
            <ac:cxnSpMk id="924" creationId="{53A670D2-2DAA-DFD5-5603-EBEBCC4BAFB9}"/>
          </ac:cxnSpMkLst>
        </pc:cxnChg>
        <pc:cxnChg chg="add del mod ord replST">
          <ac:chgData name="Grace, Morgan (Brisbane)" userId="221d5f7b-4a46-4bd5-bdf1-698d3a91c208" providerId="ADAL" clId="{D90324C1-6CE4-4C28-B886-AED0B666B37F}" dt="2024-06-07T05:33:55.964" v="119393"/>
          <ac:cxnSpMkLst>
            <pc:docMk/>
            <pc:sldMk cId="3668082236" sldId="614"/>
            <ac:cxnSpMk id="925" creationId="{41B46F0F-26F1-E49E-457E-43F8163F7436}"/>
          </ac:cxnSpMkLst>
        </pc:cxnChg>
        <pc:cxnChg chg="add del mod ord replST">
          <ac:chgData name="Grace, Morgan (Brisbane)" userId="221d5f7b-4a46-4bd5-bdf1-698d3a91c208" providerId="ADAL" clId="{D90324C1-6CE4-4C28-B886-AED0B666B37F}" dt="2024-06-07T05:33:55.970" v="119410"/>
          <ac:cxnSpMkLst>
            <pc:docMk/>
            <pc:sldMk cId="3668082236" sldId="614"/>
            <ac:cxnSpMk id="926" creationId="{26E779BD-44DC-B823-938D-2EFAAA30AB28}"/>
          </ac:cxnSpMkLst>
        </pc:cxnChg>
        <pc:cxnChg chg="add del mod ord replST">
          <ac:chgData name="Grace, Morgan (Brisbane)" userId="221d5f7b-4a46-4bd5-bdf1-698d3a91c208" providerId="ADAL" clId="{D90324C1-6CE4-4C28-B886-AED0B666B37F}" dt="2024-06-07T05:33:55.971" v="119416"/>
          <ac:cxnSpMkLst>
            <pc:docMk/>
            <pc:sldMk cId="3668082236" sldId="614"/>
            <ac:cxnSpMk id="927" creationId="{659E474B-80AB-D6CB-1B6B-BBA837A0D2FB}"/>
          </ac:cxnSpMkLst>
        </pc:cxnChg>
        <pc:cxnChg chg="add del mod ord replST">
          <ac:chgData name="Grace, Morgan (Brisbane)" userId="221d5f7b-4a46-4bd5-bdf1-698d3a91c208" providerId="ADAL" clId="{D90324C1-6CE4-4C28-B886-AED0B666B37F}" dt="2024-06-07T05:33:55.973" v="119422"/>
          <ac:cxnSpMkLst>
            <pc:docMk/>
            <pc:sldMk cId="3668082236" sldId="614"/>
            <ac:cxnSpMk id="928" creationId="{D931FCC1-B45F-6EB6-54EE-C6D9C62FFCCA}"/>
          </ac:cxnSpMkLst>
        </pc:cxnChg>
        <pc:cxnChg chg="add del mod ord replST">
          <ac:chgData name="Grace, Morgan (Brisbane)" userId="221d5f7b-4a46-4bd5-bdf1-698d3a91c208" providerId="ADAL" clId="{D90324C1-6CE4-4C28-B886-AED0B666B37F}" dt="2024-06-07T05:33:55.980" v="119452"/>
          <ac:cxnSpMkLst>
            <pc:docMk/>
            <pc:sldMk cId="3668082236" sldId="614"/>
            <ac:cxnSpMk id="929" creationId="{34984F1C-7AD3-E512-4635-2CA5E9F8E3B7}"/>
          </ac:cxnSpMkLst>
        </pc:cxnChg>
        <pc:cxnChg chg="add mod ord">
          <ac:chgData name="Grace, Morgan (Brisbane)" userId="221d5f7b-4a46-4bd5-bdf1-698d3a91c208" providerId="ADAL" clId="{D90324C1-6CE4-4C28-B886-AED0B666B37F}" dt="2024-06-07T05:38:15.266" v="122805"/>
          <ac:cxnSpMkLst>
            <pc:docMk/>
            <pc:sldMk cId="3668082236" sldId="614"/>
            <ac:cxnSpMk id="946" creationId="{0B8C6AF2-4D16-83A8-227F-B9BF7EA2FAF8}"/>
          </ac:cxnSpMkLst>
        </pc:cxnChg>
        <pc:cxnChg chg="add mod ord">
          <ac:chgData name="Grace, Morgan (Brisbane)" userId="221d5f7b-4a46-4bd5-bdf1-698d3a91c208" providerId="ADAL" clId="{D90324C1-6CE4-4C28-B886-AED0B666B37F}" dt="2024-06-07T05:38:15.266" v="122807"/>
          <ac:cxnSpMkLst>
            <pc:docMk/>
            <pc:sldMk cId="3668082236" sldId="614"/>
            <ac:cxnSpMk id="951" creationId="{48CE05C7-3072-8713-0B9E-EEA7E718717D}"/>
          </ac:cxnSpMkLst>
        </pc:cxnChg>
      </pc:sldChg>
      <pc:sldChg chg="addSp delSp modSp new del mod modClrScheme chgLayout modNotes">
        <pc:chgData name="Grace, Morgan (Brisbane)" userId="221d5f7b-4a46-4bd5-bdf1-698d3a91c208" providerId="ADAL" clId="{D90324C1-6CE4-4C28-B886-AED0B666B37F}" dt="2024-06-24T03:37:22.345" v="127469" actId="2696"/>
        <pc:sldMkLst>
          <pc:docMk/>
          <pc:sldMk cId="1975722733" sldId="615"/>
        </pc:sldMkLst>
        <pc:spChg chg="del mod ord">
          <ac:chgData name="Grace, Morgan (Brisbane)" userId="221d5f7b-4a46-4bd5-bdf1-698d3a91c208" providerId="ADAL" clId="{D90324C1-6CE4-4C28-B886-AED0B666B37F}" dt="2024-06-06T01:47:25.969" v="40877" actId="700"/>
          <ac:spMkLst>
            <pc:docMk/>
            <pc:sldMk cId="1975722733" sldId="615"/>
            <ac:spMk id="2" creationId="{7C3FDFCB-2733-F01F-A5F6-9A4E970013FE}"/>
          </ac:spMkLst>
        </pc:spChg>
        <pc:spChg chg="mod ord">
          <ac:chgData name="Grace, Morgan (Brisbane)" userId="221d5f7b-4a46-4bd5-bdf1-698d3a91c208" providerId="ADAL" clId="{D90324C1-6CE4-4C28-B886-AED0B666B37F}" dt="2024-06-06T05:13:57.652" v="44053" actId="947"/>
          <ac:spMkLst>
            <pc:docMk/>
            <pc:sldMk cId="1975722733" sldId="615"/>
            <ac:spMk id="3" creationId="{4F7F76A1-63BD-0B4A-7099-ED9EC6A2A4FC}"/>
          </ac:spMkLst>
        </pc:spChg>
        <pc:spChg chg="del mod ord">
          <ac:chgData name="Grace, Morgan (Brisbane)" userId="221d5f7b-4a46-4bd5-bdf1-698d3a91c208" providerId="ADAL" clId="{D90324C1-6CE4-4C28-B886-AED0B666B37F}" dt="2024-06-06T01:47:25.969" v="40877" actId="700"/>
          <ac:spMkLst>
            <pc:docMk/>
            <pc:sldMk cId="1975722733" sldId="615"/>
            <ac:spMk id="4" creationId="{B6E00674-E6A5-E543-93D6-3459E5E180EA}"/>
          </ac:spMkLst>
        </pc:spChg>
        <pc:spChg chg="del mod ord">
          <ac:chgData name="Grace, Morgan (Brisbane)" userId="221d5f7b-4a46-4bd5-bdf1-698d3a91c208" providerId="ADAL" clId="{D90324C1-6CE4-4C28-B886-AED0B666B37F}" dt="2024-06-06T01:47:25.969" v="40877" actId="700"/>
          <ac:spMkLst>
            <pc:docMk/>
            <pc:sldMk cId="1975722733" sldId="615"/>
            <ac:spMk id="5" creationId="{AE82FBE4-BDB1-4F59-D7EF-C219F7A901CC}"/>
          </ac:spMkLst>
        </pc:spChg>
        <pc:spChg chg="add mod ord">
          <ac:chgData name="Grace, Morgan (Brisbane)" userId="221d5f7b-4a46-4bd5-bdf1-698d3a91c208" providerId="ADAL" clId="{D90324C1-6CE4-4C28-B886-AED0B666B37F}" dt="2024-06-06T05:13:57.652" v="44051" actId="947"/>
          <ac:spMkLst>
            <pc:docMk/>
            <pc:sldMk cId="1975722733" sldId="615"/>
            <ac:spMk id="6" creationId="{42F49FF6-7F41-CFE9-6E1B-E1122C149DEF}"/>
          </ac:spMkLst>
        </pc:spChg>
        <pc:spChg chg="add mod ord">
          <ac:chgData name="Grace, Morgan (Brisbane)" userId="221d5f7b-4a46-4bd5-bdf1-698d3a91c208" providerId="ADAL" clId="{D90324C1-6CE4-4C28-B886-AED0B666B37F}" dt="2024-06-06T05:13:57.667" v="44055" actId="947"/>
          <ac:spMkLst>
            <pc:docMk/>
            <pc:sldMk cId="1975722733" sldId="615"/>
            <ac:spMk id="7" creationId="{F6AFCB5A-2911-CEB5-1357-97279C8CA8AD}"/>
          </ac:spMkLst>
        </pc:spChg>
        <pc:spChg chg="add mod ord">
          <ac:chgData name="Grace, Morgan (Brisbane)" userId="221d5f7b-4a46-4bd5-bdf1-698d3a91c208" providerId="ADAL" clId="{D90324C1-6CE4-4C28-B886-AED0B666B37F}" dt="2024-06-06T05:13:57.667" v="44057" actId="947"/>
          <ac:spMkLst>
            <pc:docMk/>
            <pc:sldMk cId="1975722733" sldId="615"/>
            <ac:spMk id="8" creationId="{CDF85795-FD04-3ECD-3C07-28D11CEB7E54}"/>
          </ac:spMkLst>
        </pc:spChg>
        <pc:spChg chg="add mod ord">
          <ac:chgData name="Grace, Morgan (Brisbane)" userId="221d5f7b-4a46-4bd5-bdf1-698d3a91c208" providerId="ADAL" clId="{D90324C1-6CE4-4C28-B886-AED0B666B37F}" dt="2024-06-06T05:13:57.667" v="44059" actId="947"/>
          <ac:spMkLst>
            <pc:docMk/>
            <pc:sldMk cId="1975722733" sldId="615"/>
            <ac:spMk id="9" creationId="{B4326E88-A448-E4D3-7ABB-A34FD28AAF0D}"/>
          </ac:spMkLst>
        </pc:spChg>
        <pc:spChg chg="add mod ord">
          <ac:chgData name="Grace, Morgan (Brisbane)" userId="221d5f7b-4a46-4bd5-bdf1-698d3a91c208" providerId="ADAL" clId="{D90324C1-6CE4-4C28-B886-AED0B666B37F}" dt="2024-06-06T05:13:57.667" v="44061" actId="947"/>
          <ac:spMkLst>
            <pc:docMk/>
            <pc:sldMk cId="1975722733" sldId="615"/>
            <ac:spMk id="10" creationId="{4023A685-A75F-435D-7958-ED3257A8A2E9}"/>
          </ac:spMkLst>
        </pc:spChg>
        <pc:graphicFrameChg chg="add mod ord modVis replST">
          <ac:chgData name="Grace, Morgan (Brisbane)" userId="221d5f7b-4a46-4bd5-bdf1-698d3a91c208" providerId="ADAL" clId="{D90324C1-6CE4-4C28-B886-AED0B666B37F}" dt="2024-06-06T05:14:01.990" v="46334" actId="1076"/>
          <ac:graphicFrameMkLst>
            <pc:docMk/>
            <pc:sldMk cId="1975722733" sldId="615"/>
            <ac:graphicFrameMk id="11" creationId="{7332D49F-DDE0-8849-A905-190DD5829F71}"/>
          </ac:graphicFrameMkLst>
        </pc:graphicFrameChg>
      </pc:sldChg>
      <pc:sldChg chg="addSp delSp modSp new del mod">
        <pc:chgData name="Grace, Morgan (Brisbane)" userId="221d5f7b-4a46-4bd5-bdf1-698d3a91c208" providerId="ADAL" clId="{D90324C1-6CE4-4C28-B886-AED0B666B37F}" dt="2024-06-24T03:37:22.345" v="127469" actId="2696"/>
        <pc:sldMkLst>
          <pc:docMk/>
          <pc:sldMk cId="2325822152" sldId="616"/>
        </pc:sldMkLst>
        <pc:spChg chg="mod">
          <ac:chgData name="Grace, Morgan (Brisbane)" userId="221d5f7b-4a46-4bd5-bdf1-698d3a91c208" providerId="ADAL" clId="{D90324C1-6CE4-4C28-B886-AED0B666B37F}" dt="2024-06-19T04:35:52.701" v="123448" actId="948"/>
          <ac:spMkLst>
            <pc:docMk/>
            <pc:sldMk cId="2325822152" sldId="616"/>
            <ac:spMk id="2" creationId="{89BF30D0-4E63-219F-0FA3-358485510985}"/>
          </ac:spMkLst>
        </pc:spChg>
        <pc:spChg chg="mod">
          <ac:chgData name="Grace, Morgan (Brisbane)" userId="221d5f7b-4a46-4bd5-bdf1-698d3a91c208" providerId="ADAL" clId="{D90324C1-6CE4-4C28-B886-AED0B666B37F}" dt="2024-06-19T05:04:44.612" v="124273" actId="6549"/>
          <ac:spMkLst>
            <pc:docMk/>
            <pc:sldMk cId="2325822152" sldId="616"/>
            <ac:spMk id="6" creationId="{B4324608-99C0-6A98-D37E-206D7A54CCCB}"/>
          </ac:spMkLst>
        </pc:spChg>
        <pc:spChg chg="mod">
          <ac:chgData name="Grace, Morgan (Brisbane)" userId="221d5f7b-4a46-4bd5-bdf1-698d3a91c208" providerId="ADAL" clId="{D90324C1-6CE4-4C28-B886-AED0B666B37F}" dt="2024-06-21T05:35:23.466" v="125736" actId="5793"/>
          <ac:spMkLst>
            <pc:docMk/>
            <pc:sldMk cId="2325822152" sldId="616"/>
            <ac:spMk id="7" creationId="{CF60E0B8-8B73-8C31-ABA1-3D19DAB818A4}"/>
          </ac:spMkLst>
        </pc:spChg>
        <pc:spChg chg="add del mod modVis">
          <ac:chgData name="Grace, Morgan (Brisbane)" userId="221d5f7b-4a46-4bd5-bdf1-698d3a91c208" providerId="ADAL" clId="{D90324C1-6CE4-4C28-B886-AED0B666B37F}" dt="2024-06-19T04:35:51.672" v="123444"/>
          <ac:spMkLst>
            <pc:docMk/>
            <pc:sldMk cId="2325822152" sldId="616"/>
            <ac:spMk id="9" creationId="{D3E357AE-25DE-D9D2-85ED-90376B01425B}"/>
          </ac:spMkLst>
        </pc:spChg>
        <pc:spChg chg="add del mod modVis">
          <ac:chgData name="Grace, Morgan (Brisbane)" userId="221d5f7b-4a46-4bd5-bdf1-698d3a91c208" providerId="ADAL" clId="{D90324C1-6CE4-4C28-B886-AED0B666B37F}" dt="2024-06-19T04:35:52.711" v="123472"/>
          <ac:spMkLst>
            <pc:docMk/>
            <pc:sldMk cId="2325822152" sldId="616"/>
            <ac:spMk id="10" creationId="{0B188ACD-5651-0262-460D-23AAFB16B80A}"/>
          </ac:spMkLst>
        </pc:spChg>
        <pc:graphicFrameChg chg="add mod ord modVis replST">
          <ac:chgData name="Grace, Morgan (Brisbane)" userId="221d5f7b-4a46-4bd5-bdf1-698d3a91c208" providerId="ADAL" clId="{D90324C1-6CE4-4C28-B886-AED0B666B37F}" dt="2024-06-19T04:35:52.721" v="123474"/>
          <ac:graphicFrameMkLst>
            <pc:docMk/>
            <pc:sldMk cId="2325822152" sldId="616"/>
            <ac:graphicFrameMk id="8" creationId="{073014C4-D518-D4C2-68BD-E995B6828716}"/>
          </ac:graphicFrameMkLst>
        </pc:graphicFrameChg>
      </pc:sldChg>
      <pc:sldChg chg="addSp delSp modSp new mod modClrScheme chgLayout">
        <pc:chgData name="Grace, Morgan (Brisbane)" userId="221d5f7b-4a46-4bd5-bdf1-698d3a91c208" providerId="ADAL" clId="{D90324C1-6CE4-4C28-B886-AED0B666B37F}" dt="2024-06-24T03:58:35.397" v="128044"/>
        <pc:sldMkLst>
          <pc:docMk/>
          <pc:sldMk cId="3717797693" sldId="617"/>
        </pc:sldMkLst>
        <pc:spChg chg="mod ord">
          <ac:chgData name="Grace, Morgan (Brisbane)" userId="221d5f7b-4a46-4bd5-bdf1-698d3a91c208" providerId="ADAL" clId="{D90324C1-6CE4-4C28-B886-AED0B666B37F}" dt="2024-06-23T23:47:04.142" v="126929" actId="700"/>
          <ac:spMkLst>
            <pc:docMk/>
            <pc:sldMk cId="3717797693" sldId="617"/>
            <ac:spMk id="2" creationId="{43712A5C-A284-F43F-0A58-7F6ADF99694A}"/>
          </ac:spMkLst>
        </pc:spChg>
        <pc:spChg chg="mod ord">
          <ac:chgData name="Grace, Morgan (Brisbane)" userId="221d5f7b-4a46-4bd5-bdf1-698d3a91c208" providerId="ADAL" clId="{D90324C1-6CE4-4C28-B886-AED0B666B37F}" dt="2024-06-23T23:49:30.913" v="127013" actId="1076"/>
          <ac:spMkLst>
            <pc:docMk/>
            <pc:sldMk cId="3717797693" sldId="617"/>
            <ac:spMk id="3" creationId="{138C30BE-C798-AFCC-F40C-9F7013CEF4BB}"/>
          </ac:spMkLst>
        </pc:spChg>
        <pc:spChg chg="mod ord">
          <ac:chgData name="Grace, Morgan (Brisbane)" userId="221d5f7b-4a46-4bd5-bdf1-698d3a91c208" providerId="ADAL" clId="{D90324C1-6CE4-4C28-B886-AED0B666B37F}" dt="2024-06-23T23:47:04.142" v="126929" actId="700"/>
          <ac:spMkLst>
            <pc:docMk/>
            <pc:sldMk cId="3717797693" sldId="617"/>
            <ac:spMk id="4" creationId="{ABF2FF4F-24F0-C818-E8D1-ABEE56E047A5}"/>
          </ac:spMkLst>
        </pc:spChg>
        <pc:spChg chg="mod ord">
          <ac:chgData name="Grace, Morgan (Brisbane)" userId="221d5f7b-4a46-4bd5-bdf1-698d3a91c208" providerId="ADAL" clId="{D90324C1-6CE4-4C28-B886-AED0B666B37F}" dt="2024-06-23T23:47:04.142" v="126929" actId="700"/>
          <ac:spMkLst>
            <pc:docMk/>
            <pc:sldMk cId="3717797693" sldId="617"/>
            <ac:spMk id="5" creationId="{1E53C53F-8D3C-70D1-D8FA-3304FFE55728}"/>
          </ac:spMkLst>
        </pc:spChg>
        <pc:spChg chg="mod ord">
          <ac:chgData name="Grace, Morgan (Brisbane)" userId="221d5f7b-4a46-4bd5-bdf1-698d3a91c208" providerId="ADAL" clId="{D90324C1-6CE4-4C28-B886-AED0B666B37F}" dt="2024-06-23T23:49:29.032" v="127002" actId="14100"/>
          <ac:spMkLst>
            <pc:docMk/>
            <pc:sldMk cId="3717797693" sldId="617"/>
            <ac:spMk id="6" creationId="{BB97F205-6C97-1241-7100-DE009A9CD937}"/>
          </ac:spMkLst>
        </pc:spChg>
        <pc:spChg chg="add del mod modVis">
          <ac:chgData name="Grace, Morgan (Brisbane)" userId="221d5f7b-4a46-4bd5-bdf1-698d3a91c208" providerId="ADAL" clId="{D90324C1-6CE4-4C28-B886-AED0B666B37F}" dt="2024-06-23T23:33:33.394" v="126582"/>
          <ac:spMkLst>
            <pc:docMk/>
            <pc:sldMk cId="3717797693" sldId="617"/>
            <ac:spMk id="7" creationId="{30997BA5-4EF8-C922-0355-893B20CC3BE7}"/>
          </ac:spMkLst>
        </pc:spChg>
        <pc:spChg chg="add del mod modVis">
          <ac:chgData name="Grace, Morgan (Brisbane)" userId="221d5f7b-4a46-4bd5-bdf1-698d3a91c208" providerId="ADAL" clId="{D90324C1-6CE4-4C28-B886-AED0B666B37F}" dt="2024-06-23T23:33:34.819" v="126623"/>
          <ac:spMkLst>
            <pc:docMk/>
            <pc:sldMk cId="3717797693" sldId="617"/>
            <ac:spMk id="9" creationId="{03007B88-F2F9-0B24-07D1-10C3C90B318A}"/>
          </ac:spMkLst>
        </pc:spChg>
        <pc:spChg chg="add mod">
          <ac:chgData name="Grace, Morgan (Brisbane)" userId="221d5f7b-4a46-4bd5-bdf1-698d3a91c208" providerId="ADAL" clId="{D90324C1-6CE4-4C28-B886-AED0B666B37F}" dt="2024-06-23T23:49:44.942" v="127016" actId="164"/>
          <ac:spMkLst>
            <pc:docMk/>
            <pc:sldMk cId="3717797693" sldId="617"/>
            <ac:spMk id="10" creationId="{5C0A49A6-25A4-20C0-2F29-4BC0FC5F09D0}"/>
          </ac:spMkLst>
        </pc:spChg>
        <pc:spChg chg="add mod">
          <ac:chgData name="Grace, Morgan (Brisbane)" userId="221d5f7b-4a46-4bd5-bdf1-698d3a91c208" providerId="ADAL" clId="{D90324C1-6CE4-4C28-B886-AED0B666B37F}" dt="2024-06-23T23:49:44.942" v="127016" actId="164"/>
          <ac:spMkLst>
            <pc:docMk/>
            <pc:sldMk cId="3717797693" sldId="617"/>
            <ac:spMk id="11" creationId="{6CB18BF0-46CD-4EF7-74D8-686E485818CD}"/>
          </ac:spMkLst>
        </pc:spChg>
        <pc:spChg chg="add mod">
          <ac:chgData name="Grace, Morgan (Brisbane)" userId="221d5f7b-4a46-4bd5-bdf1-698d3a91c208" providerId="ADAL" clId="{D90324C1-6CE4-4C28-B886-AED0B666B37F}" dt="2024-06-23T23:49:44.942" v="127016" actId="164"/>
          <ac:spMkLst>
            <pc:docMk/>
            <pc:sldMk cId="3717797693" sldId="617"/>
            <ac:spMk id="12" creationId="{D6A18078-3D61-ED69-1F3F-4BC7FF65B282}"/>
          </ac:spMkLst>
        </pc:spChg>
        <pc:spChg chg="add mod">
          <ac:chgData name="Grace, Morgan (Brisbane)" userId="221d5f7b-4a46-4bd5-bdf1-698d3a91c208" providerId="ADAL" clId="{D90324C1-6CE4-4C28-B886-AED0B666B37F}" dt="2024-06-23T23:49:44.942" v="127016" actId="164"/>
          <ac:spMkLst>
            <pc:docMk/>
            <pc:sldMk cId="3717797693" sldId="617"/>
            <ac:spMk id="13" creationId="{16AAAF45-E3BA-9788-1227-89DB4E48B451}"/>
          </ac:spMkLst>
        </pc:spChg>
        <pc:spChg chg="add mod">
          <ac:chgData name="Grace, Morgan (Brisbane)" userId="221d5f7b-4a46-4bd5-bdf1-698d3a91c208" providerId="ADAL" clId="{D90324C1-6CE4-4C28-B886-AED0B666B37F}" dt="2024-06-23T23:49:44.942" v="127016" actId="164"/>
          <ac:spMkLst>
            <pc:docMk/>
            <pc:sldMk cId="3717797693" sldId="617"/>
            <ac:spMk id="14" creationId="{B9DC1DCC-91C4-EC25-6F2A-570964EB10D9}"/>
          </ac:spMkLst>
        </pc:spChg>
        <pc:spChg chg="add mod">
          <ac:chgData name="Grace, Morgan (Brisbane)" userId="221d5f7b-4a46-4bd5-bdf1-698d3a91c208" providerId="ADAL" clId="{D90324C1-6CE4-4C28-B886-AED0B666B37F}" dt="2024-06-23T23:49:44.942" v="127016" actId="164"/>
          <ac:spMkLst>
            <pc:docMk/>
            <pc:sldMk cId="3717797693" sldId="617"/>
            <ac:spMk id="15" creationId="{EAC0FCB9-290E-F187-CBF4-3F7BD994485C}"/>
          </ac:spMkLst>
        </pc:spChg>
        <pc:spChg chg="add mod">
          <ac:chgData name="Grace, Morgan (Brisbane)" userId="221d5f7b-4a46-4bd5-bdf1-698d3a91c208" providerId="ADAL" clId="{D90324C1-6CE4-4C28-B886-AED0B666B37F}" dt="2024-06-23T23:49:44.942" v="127016" actId="164"/>
          <ac:spMkLst>
            <pc:docMk/>
            <pc:sldMk cId="3717797693" sldId="617"/>
            <ac:spMk id="16" creationId="{F1052C8A-43F1-AFF0-71B1-D088913F15AC}"/>
          </ac:spMkLst>
        </pc:spChg>
        <pc:spChg chg="add mod">
          <ac:chgData name="Grace, Morgan (Brisbane)" userId="221d5f7b-4a46-4bd5-bdf1-698d3a91c208" providerId="ADAL" clId="{D90324C1-6CE4-4C28-B886-AED0B666B37F}" dt="2024-06-23T23:49:44.942" v="127016" actId="164"/>
          <ac:spMkLst>
            <pc:docMk/>
            <pc:sldMk cId="3717797693" sldId="617"/>
            <ac:spMk id="17" creationId="{5D4AAD32-A899-5495-E646-295BB0EC0A43}"/>
          </ac:spMkLst>
        </pc:spChg>
        <pc:spChg chg="add del mod modVis">
          <ac:chgData name="Grace, Morgan (Brisbane)" userId="221d5f7b-4a46-4bd5-bdf1-698d3a91c208" providerId="ADAL" clId="{D90324C1-6CE4-4C28-B886-AED0B666B37F}" dt="2024-06-23T23:47:04.667" v="126954"/>
          <ac:spMkLst>
            <pc:docMk/>
            <pc:sldMk cId="3717797693" sldId="617"/>
            <ac:spMk id="18" creationId="{6EB4FF7A-2DA2-40C3-5FD3-EF9341AF5DFD}"/>
          </ac:spMkLst>
        </pc:spChg>
        <pc:spChg chg="add mod">
          <ac:chgData name="Grace, Morgan (Brisbane)" userId="221d5f7b-4a46-4bd5-bdf1-698d3a91c208" providerId="ADAL" clId="{D90324C1-6CE4-4C28-B886-AED0B666B37F}" dt="2024-06-24T03:58:35.397" v="128044"/>
          <ac:spMkLst>
            <pc:docMk/>
            <pc:sldMk cId="3717797693" sldId="617"/>
            <ac:spMk id="20" creationId="{D1D25873-D9F9-0B17-19AC-01D6E174C5C0}"/>
          </ac:spMkLst>
        </pc:spChg>
        <pc:spChg chg="add mod">
          <ac:chgData name="Grace, Morgan (Brisbane)" userId="221d5f7b-4a46-4bd5-bdf1-698d3a91c208" providerId="ADAL" clId="{D90324C1-6CE4-4C28-B886-AED0B666B37F}" dt="2024-06-24T03:58:35.397" v="128044"/>
          <ac:spMkLst>
            <pc:docMk/>
            <pc:sldMk cId="3717797693" sldId="617"/>
            <ac:spMk id="21" creationId="{6701B5B0-FB28-07E3-7F56-440A6785E519}"/>
          </ac:spMkLst>
        </pc:spChg>
        <pc:grpChg chg="add mod">
          <ac:chgData name="Grace, Morgan (Brisbane)" userId="221d5f7b-4a46-4bd5-bdf1-698d3a91c208" providerId="ADAL" clId="{D90324C1-6CE4-4C28-B886-AED0B666B37F}" dt="2024-06-23T23:49:47.394" v="127017" actId="1076"/>
          <ac:grpSpMkLst>
            <pc:docMk/>
            <pc:sldMk cId="3717797693" sldId="617"/>
            <ac:grpSpMk id="19" creationId="{530D2EC1-0946-F350-600B-53E3BEA74921}"/>
          </ac:grpSpMkLst>
        </pc:grpChg>
        <pc:graphicFrameChg chg="add mod ord modVis replST">
          <ac:chgData name="Grace, Morgan (Brisbane)" userId="221d5f7b-4a46-4bd5-bdf1-698d3a91c208" providerId="ADAL" clId="{D90324C1-6CE4-4C28-B886-AED0B666B37F}" dt="2024-06-23T23:49:30.928" v="127015"/>
          <ac:graphicFrameMkLst>
            <pc:docMk/>
            <pc:sldMk cId="3717797693" sldId="617"/>
            <ac:graphicFrameMk id="8" creationId="{5EA5CEC8-3101-9B1E-DE1F-C84722E722B9}"/>
          </ac:graphicFrameMkLst>
        </pc:graphicFrameChg>
      </pc:sldChg>
      <pc:sldChg chg="addSp delSp modSp add mod">
        <pc:chgData name="Grace, Morgan (Brisbane)" userId="221d5f7b-4a46-4bd5-bdf1-698d3a91c208" providerId="ADAL" clId="{D90324C1-6CE4-4C28-B886-AED0B666B37F}" dt="2024-06-24T03:59:16.744" v="128054" actId="12789"/>
        <pc:sldMkLst>
          <pc:docMk/>
          <pc:sldMk cId="660557553" sldId="618"/>
        </pc:sldMkLst>
        <pc:spChg chg="mod">
          <ac:chgData name="Grace, Morgan (Brisbane)" userId="221d5f7b-4a46-4bd5-bdf1-698d3a91c208" providerId="ADAL" clId="{D90324C1-6CE4-4C28-B886-AED0B666B37F}" dt="2024-06-24T03:55:28.336" v="127987" actId="948"/>
          <ac:spMkLst>
            <pc:docMk/>
            <pc:sldMk cId="660557553" sldId="618"/>
            <ac:spMk id="2" creationId="{C1E0C783-C1A7-4C16-8161-C0B0A65BA529}"/>
          </ac:spMkLst>
        </pc:spChg>
        <pc:spChg chg="del mod">
          <ac:chgData name="Grace, Morgan (Brisbane)" userId="221d5f7b-4a46-4bd5-bdf1-698d3a91c208" providerId="ADAL" clId="{D90324C1-6CE4-4C28-B886-AED0B666B37F}" dt="2024-06-24T03:51:35.986" v="127794" actId="478"/>
          <ac:spMkLst>
            <pc:docMk/>
            <pc:sldMk cId="660557553" sldId="618"/>
            <ac:spMk id="3" creationId="{F0908B13-A0A5-0E09-7F85-1BE273182E88}"/>
          </ac:spMkLst>
        </pc:spChg>
        <pc:spChg chg="add del mod">
          <ac:chgData name="Grace, Morgan (Brisbane)" userId="221d5f7b-4a46-4bd5-bdf1-698d3a91c208" providerId="ADAL" clId="{D90324C1-6CE4-4C28-B886-AED0B666B37F}" dt="2024-06-24T03:54:20.092" v="127832" actId="478"/>
          <ac:spMkLst>
            <pc:docMk/>
            <pc:sldMk cId="660557553" sldId="618"/>
            <ac:spMk id="4" creationId="{0CA110F8-CB82-0637-2060-CF6C296F6E6F}"/>
          </ac:spMkLst>
        </pc:spChg>
        <pc:spChg chg="add del mod modVis">
          <ac:chgData name="Grace, Morgan (Brisbane)" userId="221d5f7b-4a46-4bd5-bdf1-698d3a91c208" providerId="ADAL" clId="{D90324C1-6CE4-4C28-B886-AED0B666B37F}" dt="2024-06-24T03:55:17.388" v="127875"/>
          <ac:spMkLst>
            <pc:docMk/>
            <pc:sldMk cId="660557553" sldId="618"/>
            <ac:spMk id="5" creationId="{3E837F35-CC21-DDD8-8F14-CE4BEE8D9BD1}"/>
          </ac:spMkLst>
        </pc:spChg>
        <pc:spChg chg="add del mod modVis">
          <ac:chgData name="Grace, Morgan (Brisbane)" userId="221d5f7b-4a46-4bd5-bdf1-698d3a91c208" providerId="ADAL" clId="{D90324C1-6CE4-4C28-B886-AED0B666B37F}" dt="2024-06-24T03:55:20.810" v="127916"/>
          <ac:spMkLst>
            <pc:docMk/>
            <pc:sldMk cId="660557553" sldId="618"/>
            <ac:spMk id="7" creationId="{ECA99CAF-1373-30BD-3709-3686CB929688}"/>
          </ac:spMkLst>
        </pc:spChg>
        <pc:spChg chg="add del mod modVis">
          <ac:chgData name="Grace, Morgan (Brisbane)" userId="221d5f7b-4a46-4bd5-bdf1-698d3a91c208" providerId="ADAL" clId="{D90324C1-6CE4-4C28-B886-AED0B666B37F}" dt="2024-06-24T03:55:24.808" v="127947"/>
          <ac:spMkLst>
            <pc:docMk/>
            <pc:sldMk cId="660557553" sldId="618"/>
            <ac:spMk id="8" creationId="{3B35EEA6-C147-AECF-5485-BC0F07AD5E88}"/>
          </ac:spMkLst>
        </pc:spChg>
        <pc:spChg chg="del mod">
          <ac:chgData name="Grace, Morgan (Brisbane)" userId="221d5f7b-4a46-4bd5-bdf1-698d3a91c208" providerId="ADAL" clId="{D90324C1-6CE4-4C28-B886-AED0B666B37F}" dt="2024-06-24T03:51:35.986" v="127794" actId="478"/>
          <ac:spMkLst>
            <pc:docMk/>
            <pc:sldMk cId="660557553" sldId="618"/>
            <ac:spMk id="9" creationId="{E65C16FF-07AA-D8B4-F60D-1BD5D2A3709C}"/>
          </ac:spMkLst>
        </pc:spChg>
        <pc:spChg chg="del mod">
          <ac:chgData name="Grace, Morgan (Brisbane)" userId="221d5f7b-4a46-4bd5-bdf1-698d3a91c208" providerId="ADAL" clId="{D90324C1-6CE4-4C28-B886-AED0B666B37F}" dt="2024-06-24T03:51:35.986" v="127794" actId="478"/>
          <ac:spMkLst>
            <pc:docMk/>
            <pc:sldMk cId="660557553" sldId="618"/>
            <ac:spMk id="10" creationId="{B98D460E-A280-C116-73A1-22E853368713}"/>
          </ac:spMkLst>
        </pc:spChg>
        <pc:spChg chg="del mod">
          <ac:chgData name="Grace, Morgan (Brisbane)" userId="221d5f7b-4a46-4bd5-bdf1-698d3a91c208" providerId="ADAL" clId="{D90324C1-6CE4-4C28-B886-AED0B666B37F}" dt="2024-06-24T03:51:35.986" v="127794" actId="478"/>
          <ac:spMkLst>
            <pc:docMk/>
            <pc:sldMk cId="660557553" sldId="618"/>
            <ac:spMk id="11" creationId="{ADF0BA30-CD14-0DAF-278D-2AF710F518E9}"/>
          </ac:spMkLst>
        </pc:spChg>
        <pc:spChg chg="del mod">
          <ac:chgData name="Grace, Morgan (Brisbane)" userId="221d5f7b-4a46-4bd5-bdf1-698d3a91c208" providerId="ADAL" clId="{D90324C1-6CE4-4C28-B886-AED0B666B37F}" dt="2024-06-24T03:51:35.986" v="127794" actId="478"/>
          <ac:spMkLst>
            <pc:docMk/>
            <pc:sldMk cId="660557553" sldId="618"/>
            <ac:spMk id="12" creationId="{59FF4BB8-72CC-E9A0-3E8E-7EF061838E73}"/>
          </ac:spMkLst>
        </pc:spChg>
        <pc:spChg chg="add del mod modVis">
          <ac:chgData name="Grace, Morgan (Brisbane)" userId="221d5f7b-4a46-4bd5-bdf1-698d3a91c208" providerId="ADAL" clId="{D90324C1-6CE4-4C28-B886-AED0B666B37F}" dt="2024-06-24T03:55:26.588" v="127975"/>
          <ac:spMkLst>
            <pc:docMk/>
            <pc:sldMk cId="660557553" sldId="618"/>
            <ac:spMk id="13" creationId="{870089AA-66E0-A1C5-5A97-89DF2799E70F}"/>
          </ac:spMkLst>
        </pc:spChg>
        <pc:spChg chg="add del mod modVis">
          <ac:chgData name="Grace, Morgan (Brisbane)" userId="221d5f7b-4a46-4bd5-bdf1-698d3a91c208" providerId="ADAL" clId="{D90324C1-6CE4-4C28-B886-AED0B666B37F}" dt="2024-06-24T03:55:28.360" v="128011"/>
          <ac:spMkLst>
            <pc:docMk/>
            <pc:sldMk cId="660557553" sldId="618"/>
            <ac:spMk id="14" creationId="{DA305BC2-0165-CDF1-C897-CE14F3D6C072}"/>
          </ac:spMkLst>
        </pc:spChg>
        <pc:spChg chg="add mod">
          <ac:chgData name="Grace, Morgan (Brisbane)" userId="221d5f7b-4a46-4bd5-bdf1-698d3a91c208" providerId="ADAL" clId="{D90324C1-6CE4-4C28-B886-AED0B666B37F}" dt="2024-06-24T03:58:39.337" v="128046"/>
          <ac:spMkLst>
            <pc:docMk/>
            <pc:sldMk cId="660557553" sldId="618"/>
            <ac:spMk id="15" creationId="{9CA6E128-10D0-A259-1AEA-1304C4214838}"/>
          </ac:spMkLst>
        </pc:spChg>
        <pc:spChg chg="add del mod">
          <ac:chgData name="Grace, Morgan (Brisbane)" userId="221d5f7b-4a46-4bd5-bdf1-698d3a91c208" providerId="ADAL" clId="{D90324C1-6CE4-4C28-B886-AED0B666B37F}" dt="2024-06-24T03:59:16.744" v="128054" actId="12789"/>
          <ac:spMkLst>
            <pc:docMk/>
            <pc:sldMk cId="660557553" sldId="618"/>
            <ac:spMk id="16" creationId="{B9D024CA-D0EE-FCE4-D570-EC807FB59658}"/>
          </ac:spMkLst>
        </pc:spChg>
        <pc:spChg chg="add mod">
          <ac:chgData name="Grace, Morgan (Brisbane)" userId="221d5f7b-4a46-4bd5-bdf1-698d3a91c208" providerId="ADAL" clId="{D90324C1-6CE4-4C28-B886-AED0B666B37F}" dt="2024-06-24T03:58:39.337" v="128046"/>
          <ac:spMkLst>
            <pc:docMk/>
            <pc:sldMk cId="660557553" sldId="618"/>
            <ac:spMk id="18" creationId="{1A8E0329-AACF-09C1-5DA3-293BAF282834}"/>
          </ac:spMkLst>
        </pc:spChg>
        <pc:spChg chg="del mod">
          <ac:chgData name="Grace, Morgan (Brisbane)" userId="221d5f7b-4a46-4bd5-bdf1-698d3a91c208" providerId="ADAL" clId="{D90324C1-6CE4-4C28-B886-AED0B666B37F}" dt="2024-06-24T03:51:35.986" v="127794" actId="478"/>
          <ac:spMkLst>
            <pc:docMk/>
            <pc:sldMk cId="660557553" sldId="618"/>
            <ac:spMk id="21" creationId="{05A6BD4B-366A-7960-8A59-6FCF7E635225}"/>
          </ac:spMkLst>
        </pc:spChg>
        <pc:spChg chg="del mod">
          <ac:chgData name="Grace, Morgan (Brisbane)" userId="221d5f7b-4a46-4bd5-bdf1-698d3a91c208" providerId="ADAL" clId="{D90324C1-6CE4-4C28-B886-AED0B666B37F}" dt="2024-06-24T03:51:35.986" v="127794" actId="478"/>
          <ac:spMkLst>
            <pc:docMk/>
            <pc:sldMk cId="660557553" sldId="618"/>
            <ac:spMk id="22" creationId="{110D0AF8-2F1A-5755-A2E0-5F6502AC4D94}"/>
          </ac:spMkLst>
        </pc:spChg>
        <pc:spChg chg="add del">
          <ac:chgData name="Grace, Morgan (Brisbane)" userId="221d5f7b-4a46-4bd5-bdf1-698d3a91c208" providerId="ADAL" clId="{D90324C1-6CE4-4C28-B886-AED0B666B37F}" dt="2024-06-24T03:54:20.092" v="127832" actId="478"/>
          <ac:spMkLst>
            <pc:docMk/>
            <pc:sldMk cId="660557553" sldId="618"/>
            <ac:spMk id="24" creationId="{41749448-A528-6B03-1AC1-964D7CCE2AD1}"/>
          </ac:spMkLst>
        </pc:spChg>
        <pc:spChg chg="add del">
          <ac:chgData name="Grace, Morgan (Brisbane)" userId="221d5f7b-4a46-4bd5-bdf1-698d3a91c208" providerId="ADAL" clId="{D90324C1-6CE4-4C28-B886-AED0B666B37F}" dt="2024-06-24T03:54:20.092" v="127832" actId="478"/>
          <ac:spMkLst>
            <pc:docMk/>
            <pc:sldMk cId="660557553" sldId="618"/>
            <ac:spMk id="25" creationId="{C20A5AB2-6F07-72DB-129A-7B8D5DB3AFF2}"/>
          </ac:spMkLst>
        </pc:spChg>
        <pc:spChg chg="del mod">
          <ac:chgData name="Grace, Morgan (Brisbane)" userId="221d5f7b-4a46-4bd5-bdf1-698d3a91c208" providerId="ADAL" clId="{D90324C1-6CE4-4C28-B886-AED0B666B37F}" dt="2024-06-24T03:51:35.986" v="127794" actId="478"/>
          <ac:spMkLst>
            <pc:docMk/>
            <pc:sldMk cId="660557553" sldId="618"/>
            <ac:spMk id="39" creationId="{98BBF6C0-4565-0FFE-9E80-364C37A4F5E4}"/>
          </ac:spMkLst>
        </pc:spChg>
        <pc:spChg chg="del mod">
          <ac:chgData name="Grace, Morgan (Brisbane)" userId="221d5f7b-4a46-4bd5-bdf1-698d3a91c208" providerId="ADAL" clId="{D90324C1-6CE4-4C28-B886-AED0B666B37F}" dt="2024-06-24T03:51:35.986" v="127794" actId="478"/>
          <ac:spMkLst>
            <pc:docMk/>
            <pc:sldMk cId="660557553" sldId="618"/>
            <ac:spMk id="40" creationId="{D0B926AF-64CD-1BF8-09CB-8F6167BB51DE}"/>
          </ac:spMkLst>
        </pc:spChg>
        <pc:spChg chg="del mod">
          <ac:chgData name="Grace, Morgan (Brisbane)" userId="221d5f7b-4a46-4bd5-bdf1-698d3a91c208" providerId="ADAL" clId="{D90324C1-6CE4-4C28-B886-AED0B666B37F}" dt="2024-06-24T03:51:35.986" v="127794" actId="478"/>
          <ac:spMkLst>
            <pc:docMk/>
            <pc:sldMk cId="660557553" sldId="618"/>
            <ac:spMk id="43" creationId="{0403AB99-6355-1DCC-A0CB-449C04C2CE17}"/>
          </ac:spMkLst>
        </pc:spChg>
        <pc:spChg chg="del mod">
          <ac:chgData name="Grace, Morgan (Brisbane)" userId="221d5f7b-4a46-4bd5-bdf1-698d3a91c208" providerId="ADAL" clId="{D90324C1-6CE4-4C28-B886-AED0B666B37F}" dt="2024-06-24T03:50:43.290" v="127765" actId="478"/>
          <ac:spMkLst>
            <pc:docMk/>
            <pc:sldMk cId="660557553" sldId="618"/>
            <ac:spMk id="45" creationId="{AB026AC2-7395-743B-68A6-0A989FDB42F9}"/>
          </ac:spMkLst>
        </pc:spChg>
        <pc:graphicFrameChg chg="mod">
          <ac:chgData name="Grace, Morgan (Brisbane)" userId="221d5f7b-4a46-4bd5-bdf1-698d3a91c208" providerId="ADAL" clId="{D90324C1-6CE4-4C28-B886-AED0B666B37F}" dt="2024-06-24T03:55:28.360" v="128013"/>
          <ac:graphicFrameMkLst>
            <pc:docMk/>
            <pc:sldMk cId="660557553" sldId="618"/>
            <ac:graphicFrameMk id="6" creationId="{44A1C16C-2003-47F1-BAF1-138B351CAA9C}"/>
          </ac:graphicFrameMkLst>
        </pc:graphicFrameChg>
        <pc:graphicFrameChg chg="add del mod modGraphic">
          <ac:chgData name="Grace, Morgan (Brisbane)" userId="221d5f7b-4a46-4bd5-bdf1-698d3a91c208" providerId="ADAL" clId="{D90324C1-6CE4-4C28-B886-AED0B666B37F}" dt="2024-06-24T03:59:16.744" v="128054" actId="12789"/>
          <ac:graphicFrameMkLst>
            <pc:docMk/>
            <pc:sldMk cId="660557553" sldId="618"/>
            <ac:graphicFrameMk id="17" creationId="{8067AAAE-CAAB-C6D0-2A41-2BD89AF10AED}"/>
          </ac:graphicFrameMkLst>
        </pc:graphicFrameChg>
      </pc:sldChg>
      <pc:sldChg chg="delSp modSp add del mod">
        <pc:chgData name="Grace, Morgan (Brisbane)" userId="221d5f7b-4a46-4bd5-bdf1-698d3a91c208" providerId="ADAL" clId="{D90324C1-6CE4-4C28-B886-AED0B666B37F}" dt="2024-06-24T01:03:50.478" v="127236" actId="2696"/>
        <pc:sldMkLst>
          <pc:docMk/>
          <pc:sldMk cId="2894292511" sldId="618"/>
        </pc:sldMkLst>
        <pc:spChg chg="mod">
          <ac:chgData name="Grace, Morgan (Brisbane)" userId="221d5f7b-4a46-4bd5-bdf1-698d3a91c208" providerId="ADAL" clId="{D90324C1-6CE4-4C28-B886-AED0B666B37F}" dt="2024-06-24T00:59:00.001" v="127161" actId="14100"/>
          <ac:spMkLst>
            <pc:docMk/>
            <pc:sldMk cId="2894292511" sldId="618"/>
            <ac:spMk id="20" creationId="{D349DB9C-D7C0-8CAB-1A9F-BF69A48B2077}"/>
          </ac:spMkLst>
        </pc:spChg>
        <pc:spChg chg="del">
          <ac:chgData name="Grace, Morgan (Brisbane)" userId="221d5f7b-4a46-4bd5-bdf1-698d3a91c208" providerId="ADAL" clId="{D90324C1-6CE4-4C28-B886-AED0B666B37F}" dt="2024-06-24T00:58:53.381" v="127159" actId="478"/>
          <ac:spMkLst>
            <pc:docMk/>
            <pc:sldMk cId="2894292511" sldId="618"/>
            <ac:spMk id="38" creationId="{6121F324-3794-FAE6-1486-0DC3A26A57BF}"/>
          </ac:spMkLst>
        </pc:spChg>
      </pc:sldChg>
      <pc:sldMasterChg chg="delSp modSp mod modSldLayout">
        <pc:chgData name="Grace, Morgan (Brisbane)" userId="221d5f7b-4a46-4bd5-bdf1-698d3a91c208" providerId="ADAL" clId="{D90324C1-6CE4-4C28-B886-AED0B666B37F}" dt="2024-06-06T05:14:01.990" v="46336" actId="1076"/>
        <pc:sldMasterMkLst>
          <pc:docMk/>
          <pc:sldMasterMk cId="1584551246" sldId="2147483648"/>
        </pc:sldMasterMkLst>
        <pc:spChg chg="mod">
          <ac:chgData name="Grace, Morgan (Brisbane)" userId="221d5f7b-4a46-4bd5-bdf1-698d3a91c208" providerId="ADAL" clId="{D90324C1-6CE4-4C28-B886-AED0B666B37F}" dt="2024-06-06T05:13:59.732" v="45359" actId="948"/>
          <ac:spMkLst>
            <pc:docMk/>
            <pc:sldMasterMk cId="1584551246" sldId="2147483648"/>
            <ac:spMk id="2" creationId="{106F217F-D8E3-0146-D631-EC38566A36EF}"/>
          </ac:spMkLst>
        </pc:spChg>
        <pc:spChg chg="del mod modVis">
          <ac:chgData name="Grace, Morgan (Brisbane)" userId="221d5f7b-4a46-4bd5-bdf1-698d3a91c208" providerId="ADAL" clId="{D90324C1-6CE4-4C28-B886-AED0B666B37F}" dt="2024-06-06T05:14:01.990" v="46335" actId="478"/>
          <ac:spMkLst>
            <pc:docMk/>
            <pc:sldMasterMk cId="1584551246" sldId="2147483648"/>
            <ac:spMk id="3" creationId="{8CEBA1D9-6858-3096-30D6-0A9C3B565975}"/>
          </ac:spMkLst>
        </pc:spChg>
        <pc:spChg chg="mod">
          <ac:chgData name="Grace, Morgan (Brisbane)" userId="221d5f7b-4a46-4bd5-bdf1-698d3a91c208" providerId="ADAL" clId="{D90324C1-6CE4-4C28-B886-AED0B666B37F}" dt="2024-06-06T05:13:57.683" v="44064" actId="790"/>
          <ac:spMkLst>
            <pc:docMk/>
            <pc:sldMasterMk cId="1584551246" sldId="2147483648"/>
            <ac:spMk id="4" creationId="{3C98C8E9-53A9-E726-DFE9-07714F5557F9}"/>
          </ac:spMkLst>
        </pc:spChg>
        <pc:spChg chg="mod">
          <ac:chgData name="Grace, Morgan (Brisbane)" userId="221d5f7b-4a46-4bd5-bdf1-698d3a91c208" providerId="ADAL" clId="{D90324C1-6CE4-4C28-B886-AED0B666B37F}" dt="2024-06-06T05:13:57.683" v="44065" actId="790"/>
          <ac:spMkLst>
            <pc:docMk/>
            <pc:sldMasterMk cId="1584551246" sldId="2147483648"/>
            <ac:spMk id="6" creationId="{87DF0065-1E85-3CAE-AFF2-1B24507DE8EE}"/>
          </ac:spMkLst>
        </pc:spChg>
        <pc:spChg chg="mod">
          <ac:chgData name="Grace, Morgan (Brisbane)" userId="221d5f7b-4a46-4bd5-bdf1-698d3a91c208" providerId="ADAL" clId="{D90324C1-6CE4-4C28-B886-AED0B666B37F}" dt="2024-06-06T05:13:57.683" v="44063" actId="790"/>
          <ac:spMkLst>
            <pc:docMk/>
            <pc:sldMasterMk cId="1584551246" sldId="2147483648"/>
            <ac:spMk id="8" creationId="{05AC2582-4AF7-82C5-5AFC-CAEBC21F3E32}"/>
          </ac:spMkLst>
        </pc:spChg>
        <pc:graphicFrameChg chg="mod">
          <ac:chgData name="Grace, Morgan (Brisbane)" userId="221d5f7b-4a46-4bd5-bdf1-698d3a91c208" providerId="ADAL" clId="{D90324C1-6CE4-4C28-B886-AED0B666B37F}" dt="2024-06-06T05:14:01.990" v="46336" actId="1076"/>
          <ac:graphicFrameMkLst>
            <pc:docMk/>
            <pc:sldMasterMk cId="1584551246" sldId="2147483648"/>
            <ac:graphicFrameMk id="5" creationId="{EE43F4F5-BB70-1230-2900-2B330697C0C1}"/>
          </ac:graphicFrameMkLst>
        </pc:graphicFrameChg>
        <pc:sldLayoutChg chg="delSp modSp mod">
          <pc:chgData name="Grace, Morgan (Brisbane)" userId="221d5f7b-4a46-4bd5-bdf1-698d3a91c208" providerId="ADAL" clId="{D90324C1-6CE4-4C28-B886-AED0B666B37F}" dt="2024-06-06T05:14:01.342" v="46108"/>
          <pc:sldLayoutMkLst>
            <pc:docMk/>
            <pc:sldMasterMk cId="1584551246" sldId="2147483648"/>
            <pc:sldLayoutMk cId="2702459064" sldId="2147483656"/>
          </pc:sldLayoutMkLst>
          <pc:spChg chg="del mod modVis">
            <ac:chgData name="Grace, Morgan (Brisbane)" userId="221d5f7b-4a46-4bd5-bdf1-698d3a91c208" providerId="ADAL" clId="{D90324C1-6CE4-4C28-B886-AED0B666B37F}" dt="2024-06-06T05:14:01.320" v="46101" actId="478"/>
            <ac:spMkLst>
              <pc:docMk/>
              <pc:sldMasterMk cId="1584551246" sldId="2147483648"/>
              <pc:sldLayoutMk cId="2702459064" sldId="2147483656"/>
              <ac:spMk id="3" creationId="{02A9AF5B-93D2-F055-20C8-642718C2D94B}"/>
            </ac:spMkLst>
          </pc:spChg>
          <pc:spChg chg="mod">
            <ac:chgData name="Grace, Morgan (Brisbane)" userId="221d5f7b-4a46-4bd5-bdf1-698d3a91c208" providerId="ADAL" clId="{D90324C1-6CE4-4C28-B886-AED0B666B37F}" dt="2024-06-06T05:13:59.339" v="45047" actId="948"/>
            <ac:spMkLst>
              <pc:docMk/>
              <pc:sldMasterMk cId="1584551246" sldId="2147483648"/>
              <pc:sldLayoutMk cId="2702459064" sldId="2147483656"/>
              <ac:spMk id="14" creationId="{04935328-5165-4BEA-58F2-DFB9A3D2CC52}"/>
            </ac:spMkLst>
          </pc:spChg>
          <pc:spChg chg="mod">
            <ac:chgData name="Grace, Morgan (Brisbane)" userId="221d5f7b-4a46-4bd5-bdf1-698d3a91c208" providerId="ADAL" clId="{D90324C1-6CE4-4C28-B886-AED0B666B37F}" dt="2024-06-06T05:13:56.181" v="42666" actId="790"/>
            <ac:spMkLst>
              <pc:docMk/>
              <pc:sldMasterMk cId="1584551246" sldId="2147483648"/>
              <pc:sldLayoutMk cId="2702459064" sldId="2147483656"/>
              <ac:spMk id="17" creationId="{58C64552-3CC2-033A-D0B2-40559B174871}"/>
            </ac:spMkLst>
          </pc:spChg>
          <pc:spChg chg="mod">
            <ac:chgData name="Grace, Morgan (Brisbane)" userId="221d5f7b-4a46-4bd5-bdf1-698d3a91c208" providerId="ADAL" clId="{D90324C1-6CE4-4C28-B886-AED0B666B37F}" dt="2024-06-06T05:13:56.181" v="42667" actId="790"/>
            <ac:spMkLst>
              <pc:docMk/>
              <pc:sldMasterMk cId="1584551246" sldId="2147483648"/>
              <pc:sldLayoutMk cId="2702459064" sldId="2147483656"/>
              <ac:spMk id="18" creationId="{49723328-F83F-E36F-A23C-C63BA0452F08}"/>
            </ac:spMkLst>
          </pc:spChg>
          <pc:spChg chg="mod">
            <ac:chgData name="Grace, Morgan (Brisbane)" userId="221d5f7b-4a46-4bd5-bdf1-698d3a91c208" providerId="ADAL" clId="{D90324C1-6CE4-4C28-B886-AED0B666B37F}" dt="2024-06-06T05:13:56.181" v="42668" actId="790"/>
            <ac:spMkLst>
              <pc:docMk/>
              <pc:sldMasterMk cId="1584551246" sldId="2147483648"/>
              <pc:sldLayoutMk cId="2702459064" sldId="2147483656"/>
              <ac:spMk id="19" creationId="{10F85AFF-0099-B004-10E7-3264A4FAD960}"/>
            </ac:spMkLst>
          </pc:spChg>
          <pc:spChg chg="mod">
            <ac:chgData name="Grace, Morgan (Brisbane)" userId="221d5f7b-4a46-4bd5-bdf1-698d3a91c208" providerId="ADAL" clId="{D90324C1-6CE4-4C28-B886-AED0B666B37F}" dt="2024-06-06T05:13:56.181" v="42669" actId="790"/>
            <ac:spMkLst>
              <pc:docMk/>
              <pc:sldMasterMk cId="1584551246" sldId="2147483648"/>
              <pc:sldLayoutMk cId="2702459064" sldId="2147483656"/>
              <ac:spMk id="21" creationId="{4FCEAD4B-3D9E-1FE1-F7EA-4DF4F676AA75}"/>
            </ac:spMkLst>
          </pc:spChg>
          <pc:spChg chg="mod">
            <ac:chgData name="Grace, Morgan (Brisbane)" userId="221d5f7b-4a46-4bd5-bdf1-698d3a91c208" providerId="ADAL" clId="{D90324C1-6CE4-4C28-B886-AED0B666B37F}" dt="2024-06-06T05:13:56.181" v="42670" actId="790"/>
            <ac:spMkLst>
              <pc:docMk/>
              <pc:sldMasterMk cId="1584551246" sldId="2147483648"/>
              <pc:sldLayoutMk cId="2702459064" sldId="2147483656"/>
              <ac:spMk id="25" creationId="{06FF9D0B-79EE-D560-2F78-5A8EA1CAC3B6}"/>
            </ac:spMkLst>
          </pc:spChg>
          <pc:spChg chg="mod">
            <ac:chgData name="Grace, Morgan (Brisbane)" userId="221d5f7b-4a46-4bd5-bdf1-698d3a91c208" providerId="ADAL" clId="{D90324C1-6CE4-4C28-B886-AED0B666B37F}" dt="2024-06-06T05:13:56.228" v="42724" actId="947"/>
            <ac:spMkLst>
              <pc:docMk/>
              <pc:sldMasterMk cId="1584551246" sldId="2147483648"/>
              <pc:sldLayoutMk cId="2702459064" sldId="2147483656"/>
              <ac:spMk id="63" creationId="{97150034-37F2-29F3-57CA-AA2AE5547658}"/>
            </ac:spMkLst>
          </pc:spChg>
          <pc:spChg chg="mod">
            <ac:chgData name="Grace, Morgan (Brisbane)" userId="221d5f7b-4a46-4bd5-bdf1-698d3a91c208" providerId="ADAL" clId="{D90324C1-6CE4-4C28-B886-AED0B666B37F}" dt="2024-06-06T05:13:56.228" v="42722" actId="947"/>
            <ac:spMkLst>
              <pc:docMk/>
              <pc:sldMasterMk cId="1584551246" sldId="2147483648"/>
              <pc:sldLayoutMk cId="2702459064" sldId="2147483656"/>
              <ac:spMk id="64" creationId="{B7401D2C-A9BA-4231-1F1C-8DAD9282CF96}"/>
            </ac:spMkLst>
          </pc:spChg>
          <pc:spChg chg="mod">
            <ac:chgData name="Grace, Morgan (Brisbane)" userId="221d5f7b-4a46-4bd5-bdf1-698d3a91c208" providerId="ADAL" clId="{D90324C1-6CE4-4C28-B886-AED0B666B37F}" dt="2024-06-06T05:13:56.228" v="42720" actId="947"/>
            <ac:spMkLst>
              <pc:docMk/>
              <pc:sldMasterMk cId="1584551246" sldId="2147483648"/>
              <pc:sldLayoutMk cId="2702459064" sldId="2147483656"/>
              <ac:spMk id="65" creationId="{4496FBC8-4D19-3AFE-DC88-F2BBFB7DDC1E}"/>
            </ac:spMkLst>
          </pc:spChg>
          <pc:spChg chg="mod">
            <ac:chgData name="Grace, Morgan (Brisbane)" userId="221d5f7b-4a46-4bd5-bdf1-698d3a91c208" providerId="ADAL" clId="{D90324C1-6CE4-4C28-B886-AED0B666B37F}" dt="2024-06-06T05:13:56.228" v="42718" actId="947"/>
            <ac:spMkLst>
              <pc:docMk/>
              <pc:sldMasterMk cId="1584551246" sldId="2147483648"/>
              <pc:sldLayoutMk cId="2702459064" sldId="2147483656"/>
              <ac:spMk id="66" creationId="{24A03F2A-FCB5-D6BF-CBF6-C92A873D3BAF}"/>
            </ac:spMkLst>
          </pc:spChg>
          <pc:spChg chg="mod">
            <ac:chgData name="Grace, Morgan (Brisbane)" userId="221d5f7b-4a46-4bd5-bdf1-698d3a91c208" providerId="ADAL" clId="{D90324C1-6CE4-4C28-B886-AED0B666B37F}" dt="2024-06-06T05:13:56.212" v="42716" actId="947"/>
            <ac:spMkLst>
              <pc:docMk/>
              <pc:sldMasterMk cId="1584551246" sldId="2147483648"/>
              <pc:sldLayoutMk cId="2702459064" sldId="2147483656"/>
              <ac:spMk id="67" creationId="{4644C45C-E6B1-E599-C7CF-99F4991B3E4B}"/>
            </ac:spMkLst>
          </pc:spChg>
          <pc:spChg chg="mod">
            <ac:chgData name="Grace, Morgan (Brisbane)" userId="221d5f7b-4a46-4bd5-bdf1-698d3a91c208" providerId="ADAL" clId="{D90324C1-6CE4-4C28-B886-AED0B666B37F}" dt="2024-06-06T05:13:56.212" v="42714" actId="947"/>
            <ac:spMkLst>
              <pc:docMk/>
              <pc:sldMasterMk cId="1584551246" sldId="2147483648"/>
              <pc:sldLayoutMk cId="2702459064" sldId="2147483656"/>
              <ac:spMk id="68" creationId="{C9C7213D-84E0-2687-7F0E-E8C2105A6D78}"/>
            </ac:spMkLst>
          </pc:spChg>
          <pc:spChg chg="mod">
            <ac:chgData name="Grace, Morgan (Brisbane)" userId="221d5f7b-4a46-4bd5-bdf1-698d3a91c208" providerId="ADAL" clId="{D90324C1-6CE4-4C28-B886-AED0B666B37F}" dt="2024-06-06T05:13:56.212" v="42712" actId="947"/>
            <ac:spMkLst>
              <pc:docMk/>
              <pc:sldMasterMk cId="1584551246" sldId="2147483648"/>
              <pc:sldLayoutMk cId="2702459064" sldId="2147483656"/>
              <ac:spMk id="69" creationId="{1C6DE4A6-AAD3-255B-D3B7-7324CE78D78E}"/>
            </ac:spMkLst>
          </pc:spChg>
          <pc:spChg chg="mod">
            <ac:chgData name="Grace, Morgan (Brisbane)" userId="221d5f7b-4a46-4bd5-bdf1-698d3a91c208" providerId="ADAL" clId="{D90324C1-6CE4-4C28-B886-AED0B666B37F}" dt="2024-06-06T05:13:56.212" v="42710" actId="947"/>
            <ac:spMkLst>
              <pc:docMk/>
              <pc:sldMasterMk cId="1584551246" sldId="2147483648"/>
              <pc:sldLayoutMk cId="2702459064" sldId="2147483656"/>
              <ac:spMk id="70" creationId="{6E113DBC-208B-9B42-AB32-DB8528CA9F0C}"/>
            </ac:spMkLst>
          </pc:spChg>
          <pc:spChg chg="mod">
            <ac:chgData name="Grace, Morgan (Brisbane)" userId="221d5f7b-4a46-4bd5-bdf1-698d3a91c208" providerId="ADAL" clId="{D90324C1-6CE4-4C28-B886-AED0B666B37F}" dt="2024-06-06T05:13:56.212" v="42708" actId="947"/>
            <ac:spMkLst>
              <pc:docMk/>
              <pc:sldMasterMk cId="1584551246" sldId="2147483648"/>
              <pc:sldLayoutMk cId="2702459064" sldId="2147483656"/>
              <ac:spMk id="71" creationId="{BAB87FB9-B5FC-7F38-4FB1-F3F6B73A99C4}"/>
            </ac:spMkLst>
          </pc:spChg>
          <pc:spChg chg="mod">
            <ac:chgData name="Grace, Morgan (Brisbane)" userId="221d5f7b-4a46-4bd5-bdf1-698d3a91c208" providerId="ADAL" clId="{D90324C1-6CE4-4C28-B886-AED0B666B37F}" dt="2024-06-06T05:13:56.212" v="42706" actId="947"/>
            <ac:spMkLst>
              <pc:docMk/>
              <pc:sldMasterMk cId="1584551246" sldId="2147483648"/>
              <pc:sldLayoutMk cId="2702459064" sldId="2147483656"/>
              <ac:spMk id="72" creationId="{D6102E3F-5561-C149-E23F-081155FF55FA}"/>
            </ac:spMkLst>
          </pc:spChg>
          <pc:spChg chg="mod">
            <ac:chgData name="Grace, Morgan (Brisbane)" userId="221d5f7b-4a46-4bd5-bdf1-698d3a91c208" providerId="ADAL" clId="{D90324C1-6CE4-4C28-B886-AED0B666B37F}" dt="2024-06-06T05:13:56.212" v="42704" actId="947"/>
            <ac:spMkLst>
              <pc:docMk/>
              <pc:sldMasterMk cId="1584551246" sldId="2147483648"/>
              <pc:sldLayoutMk cId="2702459064" sldId="2147483656"/>
              <ac:spMk id="73" creationId="{53E84CE0-39E0-D367-F42E-2AF2BA5E9605}"/>
            </ac:spMkLst>
          </pc:spChg>
          <pc:spChg chg="mod">
            <ac:chgData name="Grace, Morgan (Brisbane)" userId="221d5f7b-4a46-4bd5-bdf1-698d3a91c208" providerId="ADAL" clId="{D90324C1-6CE4-4C28-B886-AED0B666B37F}" dt="2024-06-06T05:13:56.212" v="42702" actId="947"/>
            <ac:spMkLst>
              <pc:docMk/>
              <pc:sldMasterMk cId="1584551246" sldId="2147483648"/>
              <pc:sldLayoutMk cId="2702459064" sldId="2147483656"/>
              <ac:spMk id="74" creationId="{DF9CBE72-AA0D-3C46-BCAD-244FBEE16CBB}"/>
            </ac:spMkLst>
          </pc:spChg>
          <pc:spChg chg="mod">
            <ac:chgData name="Grace, Morgan (Brisbane)" userId="221d5f7b-4a46-4bd5-bdf1-698d3a91c208" providerId="ADAL" clId="{D90324C1-6CE4-4C28-B886-AED0B666B37F}" dt="2024-06-06T05:13:56.212" v="42700" actId="947"/>
            <ac:spMkLst>
              <pc:docMk/>
              <pc:sldMasterMk cId="1584551246" sldId="2147483648"/>
              <pc:sldLayoutMk cId="2702459064" sldId="2147483656"/>
              <ac:spMk id="75" creationId="{7B09F69C-3275-B716-DE7E-1D18CE1EB43C}"/>
            </ac:spMkLst>
          </pc:spChg>
          <pc:spChg chg="mod">
            <ac:chgData name="Grace, Morgan (Brisbane)" userId="221d5f7b-4a46-4bd5-bdf1-698d3a91c208" providerId="ADAL" clId="{D90324C1-6CE4-4C28-B886-AED0B666B37F}" dt="2024-06-06T05:13:56.212" v="42698" actId="947"/>
            <ac:spMkLst>
              <pc:docMk/>
              <pc:sldMasterMk cId="1584551246" sldId="2147483648"/>
              <pc:sldLayoutMk cId="2702459064" sldId="2147483656"/>
              <ac:spMk id="76" creationId="{187C8A10-BCE4-B913-995B-512D383CBB42}"/>
            </ac:spMkLst>
          </pc:spChg>
          <pc:spChg chg="mod">
            <ac:chgData name="Grace, Morgan (Brisbane)" userId="221d5f7b-4a46-4bd5-bdf1-698d3a91c208" providerId="ADAL" clId="{D90324C1-6CE4-4C28-B886-AED0B666B37F}" dt="2024-06-06T05:13:56.196" v="42696" actId="947"/>
            <ac:spMkLst>
              <pc:docMk/>
              <pc:sldMasterMk cId="1584551246" sldId="2147483648"/>
              <pc:sldLayoutMk cId="2702459064" sldId="2147483656"/>
              <ac:spMk id="77" creationId="{EC7E9F71-676D-9C89-F4F1-2B3D8C9714E1}"/>
            </ac:spMkLst>
          </pc:spChg>
          <pc:spChg chg="mod">
            <ac:chgData name="Grace, Morgan (Brisbane)" userId="221d5f7b-4a46-4bd5-bdf1-698d3a91c208" providerId="ADAL" clId="{D90324C1-6CE4-4C28-B886-AED0B666B37F}" dt="2024-06-06T05:13:56.196" v="42694" actId="947"/>
            <ac:spMkLst>
              <pc:docMk/>
              <pc:sldMasterMk cId="1584551246" sldId="2147483648"/>
              <pc:sldLayoutMk cId="2702459064" sldId="2147483656"/>
              <ac:spMk id="78" creationId="{3FE377E6-EFDB-32B0-8A7D-EE0B80BF0F4B}"/>
            </ac:spMkLst>
          </pc:spChg>
          <pc:spChg chg="mod">
            <ac:chgData name="Grace, Morgan (Brisbane)" userId="221d5f7b-4a46-4bd5-bdf1-698d3a91c208" providerId="ADAL" clId="{D90324C1-6CE4-4C28-B886-AED0B666B37F}" dt="2024-06-06T05:13:56.196" v="42692" actId="947"/>
            <ac:spMkLst>
              <pc:docMk/>
              <pc:sldMasterMk cId="1584551246" sldId="2147483648"/>
              <pc:sldLayoutMk cId="2702459064" sldId="2147483656"/>
              <ac:spMk id="79" creationId="{A372BABA-926E-ED9B-4DA1-571CC13CA4DE}"/>
            </ac:spMkLst>
          </pc:spChg>
          <pc:spChg chg="mod">
            <ac:chgData name="Grace, Morgan (Brisbane)" userId="221d5f7b-4a46-4bd5-bdf1-698d3a91c208" providerId="ADAL" clId="{D90324C1-6CE4-4C28-B886-AED0B666B37F}" dt="2024-06-06T05:13:56.196" v="42690" actId="947"/>
            <ac:spMkLst>
              <pc:docMk/>
              <pc:sldMasterMk cId="1584551246" sldId="2147483648"/>
              <pc:sldLayoutMk cId="2702459064" sldId="2147483656"/>
              <ac:spMk id="80" creationId="{EE949030-72DE-E2DD-32B8-4F57B4585148}"/>
            </ac:spMkLst>
          </pc:spChg>
          <pc:spChg chg="mod">
            <ac:chgData name="Grace, Morgan (Brisbane)" userId="221d5f7b-4a46-4bd5-bdf1-698d3a91c208" providerId="ADAL" clId="{D90324C1-6CE4-4C28-B886-AED0B666B37F}" dt="2024-06-06T05:13:56.196" v="42688" actId="947"/>
            <ac:spMkLst>
              <pc:docMk/>
              <pc:sldMasterMk cId="1584551246" sldId="2147483648"/>
              <pc:sldLayoutMk cId="2702459064" sldId="2147483656"/>
              <ac:spMk id="81" creationId="{F42931E5-3D6D-77D1-D490-C18CDF415A7B}"/>
            </ac:spMkLst>
          </pc:spChg>
          <pc:spChg chg="mod">
            <ac:chgData name="Grace, Morgan (Brisbane)" userId="221d5f7b-4a46-4bd5-bdf1-698d3a91c208" providerId="ADAL" clId="{D90324C1-6CE4-4C28-B886-AED0B666B37F}" dt="2024-06-06T05:13:56.196" v="42686" actId="947"/>
            <ac:spMkLst>
              <pc:docMk/>
              <pc:sldMasterMk cId="1584551246" sldId="2147483648"/>
              <pc:sldLayoutMk cId="2702459064" sldId="2147483656"/>
              <ac:spMk id="82" creationId="{D8320F2B-E145-FF6F-58E6-E8F5E536C914}"/>
            </ac:spMkLst>
          </pc:spChg>
          <pc:spChg chg="mod">
            <ac:chgData name="Grace, Morgan (Brisbane)" userId="221d5f7b-4a46-4bd5-bdf1-698d3a91c208" providerId="ADAL" clId="{D90324C1-6CE4-4C28-B886-AED0B666B37F}" dt="2024-06-06T05:13:56.196" v="42684" actId="947"/>
            <ac:spMkLst>
              <pc:docMk/>
              <pc:sldMasterMk cId="1584551246" sldId="2147483648"/>
              <pc:sldLayoutMk cId="2702459064" sldId="2147483656"/>
              <ac:spMk id="83" creationId="{DC105AF8-6584-7B47-4C73-D3AFFCCAF010}"/>
            </ac:spMkLst>
          </pc:spChg>
          <pc:spChg chg="mod">
            <ac:chgData name="Grace, Morgan (Brisbane)" userId="221d5f7b-4a46-4bd5-bdf1-698d3a91c208" providerId="ADAL" clId="{D90324C1-6CE4-4C28-B886-AED0B666B37F}" dt="2024-06-06T05:13:56.196" v="42682" actId="947"/>
            <ac:spMkLst>
              <pc:docMk/>
              <pc:sldMasterMk cId="1584551246" sldId="2147483648"/>
              <pc:sldLayoutMk cId="2702459064" sldId="2147483656"/>
              <ac:spMk id="84" creationId="{99CC4347-EF78-8278-067D-3F81F73323BD}"/>
            </ac:spMkLst>
          </pc:spChg>
          <pc:spChg chg="mod">
            <ac:chgData name="Grace, Morgan (Brisbane)" userId="221d5f7b-4a46-4bd5-bdf1-698d3a91c208" providerId="ADAL" clId="{D90324C1-6CE4-4C28-B886-AED0B666B37F}" dt="2024-06-06T05:13:56.196" v="42680" actId="947"/>
            <ac:spMkLst>
              <pc:docMk/>
              <pc:sldMasterMk cId="1584551246" sldId="2147483648"/>
              <pc:sldLayoutMk cId="2702459064" sldId="2147483656"/>
              <ac:spMk id="85" creationId="{D7637253-B15F-9C1E-4E7B-AAD92FEF1022}"/>
            </ac:spMkLst>
          </pc:spChg>
          <pc:spChg chg="mod">
            <ac:chgData name="Grace, Morgan (Brisbane)" userId="221d5f7b-4a46-4bd5-bdf1-698d3a91c208" providerId="ADAL" clId="{D90324C1-6CE4-4C28-B886-AED0B666B37F}" dt="2024-06-06T05:13:56.196" v="42678" actId="947"/>
            <ac:spMkLst>
              <pc:docMk/>
              <pc:sldMasterMk cId="1584551246" sldId="2147483648"/>
              <pc:sldLayoutMk cId="2702459064" sldId="2147483656"/>
              <ac:spMk id="86" creationId="{CCDED543-DCE3-27DC-C9E9-D4F2A28848E9}"/>
            </ac:spMkLst>
          </pc:spChg>
          <pc:spChg chg="mod">
            <ac:chgData name="Grace, Morgan (Brisbane)" userId="221d5f7b-4a46-4bd5-bdf1-698d3a91c208" providerId="ADAL" clId="{D90324C1-6CE4-4C28-B886-AED0B666B37F}" dt="2024-06-06T05:13:56.196" v="42676" actId="947"/>
            <ac:spMkLst>
              <pc:docMk/>
              <pc:sldMasterMk cId="1584551246" sldId="2147483648"/>
              <pc:sldLayoutMk cId="2702459064" sldId="2147483656"/>
              <ac:spMk id="87" creationId="{A7A65AA0-F37D-6E9E-2AC2-67FBF07D72CC}"/>
            </ac:spMkLst>
          </pc:spChg>
          <pc:spChg chg="mod">
            <ac:chgData name="Grace, Morgan (Brisbane)" userId="221d5f7b-4a46-4bd5-bdf1-698d3a91c208" providerId="ADAL" clId="{D90324C1-6CE4-4C28-B886-AED0B666B37F}" dt="2024-06-06T05:13:56.181" v="42674" actId="947"/>
            <ac:spMkLst>
              <pc:docMk/>
              <pc:sldMasterMk cId="1584551246" sldId="2147483648"/>
              <pc:sldLayoutMk cId="2702459064" sldId="2147483656"/>
              <ac:spMk id="88" creationId="{4F4C0843-3582-E694-4C90-9E498A8BF75F}"/>
            </ac:spMkLst>
          </pc:spChg>
          <pc:spChg chg="mod">
            <ac:chgData name="Grace, Morgan (Brisbane)" userId="221d5f7b-4a46-4bd5-bdf1-698d3a91c208" providerId="ADAL" clId="{D90324C1-6CE4-4C28-B886-AED0B666B37F}" dt="2024-06-06T05:13:56.181" v="42672" actId="947"/>
            <ac:spMkLst>
              <pc:docMk/>
              <pc:sldMasterMk cId="1584551246" sldId="2147483648"/>
              <pc:sldLayoutMk cId="2702459064" sldId="2147483656"/>
              <ac:spMk id="89" creationId="{E51C777E-E5B0-EC80-669F-36BEDE592F7D}"/>
            </ac:spMkLst>
          </pc:spChg>
          <pc:spChg chg="mod">
            <ac:chgData name="Grace, Morgan (Brisbane)" userId="221d5f7b-4a46-4bd5-bdf1-698d3a91c208" providerId="ADAL" clId="{D90324C1-6CE4-4C28-B886-AED0B666B37F}" dt="2024-06-06T05:13:56.234" v="42742" actId="947"/>
            <ac:spMkLst>
              <pc:docMk/>
              <pc:sldMasterMk cId="1584551246" sldId="2147483648"/>
              <pc:sldLayoutMk cId="2702459064" sldId="2147483656"/>
              <ac:spMk id="90" creationId="{5A721BBD-E01B-BE04-735F-9C4DB9BB880B}"/>
            </ac:spMkLst>
          </pc:spChg>
          <pc:spChg chg="mod">
            <ac:chgData name="Grace, Morgan (Brisbane)" userId="221d5f7b-4a46-4bd5-bdf1-698d3a91c208" providerId="ADAL" clId="{D90324C1-6CE4-4C28-B886-AED0B666B37F}" dt="2024-06-06T05:13:56.234" v="42740" actId="947"/>
            <ac:spMkLst>
              <pc:docMk/>
              <pc:sldMasterMk cId="1584551246" sldId="2147483648"/>
              <pc:sldLayoutMk cId="2702459064" sldId="2147483656"/>
              <ac:spMk id="91" creationId="{A98498F4-D4DA-8C3A-587E-0E5FAC09AE21}"/>
            </ac:spMkLst>
          </pc:spChg>
          <pc:spChg chg="mod">
            <ac:chgData name="Grace, Morgan (Brisbane)" userId="221d5f7b-4a46-4bd5-bdf1-698d3a91c208" providerId="ADAL" clId="{D90324C1-6CE4-4C28-B886-AED0B666B37F}" dt="2024-06-06T05:13:56.234" v="42738" actId="947"/>
            <ac:spMkLst>
              <pc:docMk/>
              <pc:sldMasterMk cId="1584551246" sldId="2147483648"/>
              <pc:sldLayoutMk cId="2702459064" sldId="2147483656"/>
              <ac:spMk id="92" creationId="{E8B9DED5-6CB2-8717-C71E-0D4F29B4FAEF}"/>
            </ac:spMkLst>
          </pc:spChg>
          <pc:spChg chg="mod">
            <ac:chgData name="Grace, Morgan (Brisbane)" userId="221d5f7b-4a46-4bd5-bdf1-698d3a91c208" providerId="ADAL" clId="{D90324C1-6CE4-4C28-B886-AED0B666B37F}" dt="2024-06-06T05:13:56.234" v="42736" actId="947"/>
            <ac:spMkLst>
              <pc:docMk/>
              <pc:sldMasterMk cId="1584551246" sldId="2147483648"/>
              <pc:sldLayoutMk cId="2702459064" sldId="2147483656"/>
              <ac:spMk id="93" creationId="{15BF3525-F6B2-F40B-270C-EA581BFBEAC2}"/>
            </ac:spMkLst>
          </pc:spChg>
          <pc:spChg chg="mod">
            <ac:chgData name="Grace, Morgan (Brisbane)" userId="221d5f7b-4a46-4bd5-bdf1-698d3a91c208" providerId="ADAL" clId="{D90324C1-6CE4-4C28-B886-AED0B666B37F}" dt="2024-06-06T05:13:56.234" v="42734" actId="947"/>
            <ac:spMkLst>
              <pc:docMk/>
              <pc:sldMasterMk cId="1584551246" sldId="2147483648"/>
              <pc:sldLayoutMk cId="2702459064" sldId="2147483656"/>
              <ac:spMk id="94" creationId="{628F32D8-5D48-FEF2-A093-87DDDC8EDC2F}"/>
            </ac:spMkLst>
          </pc:spChg>
          <pc:spChg chg="mod">
            <ac:chgData name="Grace, Morgan (Brisbane)" userId="221d5f7b-4a46-4bd5-bdf1-698d3a91c208" providerId="ADAL" clId="{D90324C1-6CE4-4C28-B886-AED0B666B37F}" dt="2024-06-06T05:13:56.234" v="42732" actId="947"/>
            <ac:spMkLst>
              <pc:docMk/>
              <pc:sldMasterMk cId="1584551246" sldId="2147483648"/>
              <pc:sldLayoutMk cId="2702459064" sldId="2147483656"/>
              <ac:spMk id="95" creationId="{69D197FB-2E13-D222-497E-643BD53320EE}"/>
            </ac:spMkLst>
          </pc:spChg>
          <pc:spChg chg="mod">
            <ac:chgData name="Grace, Morgan (Brisbane)" userId="221d5f7b-4a46-4bd5-bdf1-698d3a91c208" providerId="ADAL" clId="{D90324C1-6CE4-4C28-B886-AED0B666B37F}" dt="2024-06-06T05:13:56.234" v="42730" actId="947"/>
            <ac:spMkLst>
              <pc:docMk/>
              <pc:sldMasterMk cId="1584551246" sldId="2147483648"/>
              <pc:sldLayoutMk cId="2702459064" sldId="2147483656"/>
              <ac:spMk id="96" creationId="{C0E29149-03B9-A108-D1F0-03C7C8D8040A}"/>
            </ac:spMkLst>
          </pc:spChg>
          <pc:spChg chg="mod">
            <ac:chgData name="Grace, Morgan (Brisbane)" userId="221d5f7b-4a46-4bd5-bdf1-698d3a91c208" providerId="ADAL" clId="{D90324C1-6CE4-4C28-B886-AED0B666B37F}" dt="2024-06-06T05:13:56.234" v="42728" actId="947"/>
            <ac:spMkLst>
              <pc:docMk/>
              <pc:sldMasterMk cId="1584551246" sldId="2147483648"/>
              <pc:sldLayoutMk cId="2702459064" sldId="2147483656"/>
              <ac:spMk id="97" creationId="{04A97BF7-A6C4-3823-B5A4-A2EBB3AD9EF2}"/>
            </ac:spMkLst>
          </pc:spChg>
          <pc:spChg chg="mod">
            <ac:chgData name="Grace, Morgan (Brisbane)" userId="221d5f7b-4a46-4bd5-bdf1-698d3a91c208" providerId="ADAL" clId="{D90324C1-6CE4-4C28-B886-AED0B666B37F}" dt="2024-06-06T05:13:56.234" v="42726" actId="947"/>
            <ac:spMkLst>
              <pc:docMk/>
              <pc:sldMasterMk cId="1584551246" sldId="2147483648"/>
              <pc:sldLayoutMk cId="2702459064" sldId="2147483656"/>
              <ac:spMk id="98" creationId="{DD2FB2E4-AB13-2E9E-FCF7-F4CAFEB84E2A}"/>
            </ac:spMkLst>
          </pc:spChg>
          <pc:spChg chg="mod">
            <ac:chgData name="Grace, Morgan (Brisbane)" userId="221d5f7b-4a46-4bd5-bdf1-698d3a91c208" providerId="ADAL" clId="{D90324C1-6CE4-4C28-B886-AED0B666B37F}" dt="2024-06-06T05:13:56.249" v="42754" actId="947"/>
            <ac:spMkLst>
              <pc:docMk/>
              <pc:sldMasterMk cId="1584551246" sldId="2147483648"/>
              <pc:sldLayoutMk cId="2702459064" sldId="2147483656"/>
              <ac:spMk id="99" creationId="{09AC0592-F4CF-506B-A754-3323CA77D1C0}"/>
            </ac:spMkLst>
          </pc:spChg>
          <pc:spChg chg="mod">
            <ac:chgData name="Grace, Morgan (Brisbane)" userId="221d5f7b-4a46-4bd5-bdf1-698d3a91c208" providerId="ADAL" clId="{D90324C1-6CE4-4C28-B886-AED0B666B37F}" dt="2024-06-06T05:13:56.249" v="42752" actId="947"/>
            <ac:spMkLst>
              <pc:docMk/>
              <pc:sldMasterMk cId="1584551246" sldId="2147483648"/>
              <pc:sldLayoutMk cId="2702459064" sldId="2147483656"/>
              <ac:spMk id="100" creationId="{07202E2A-3873-B09D-4D53-F43ABDB01ED5}"/>
            </ac:spMkLst>
          </pc:spChg>
          <pc:spChg chg="mod">
            <ac:chgData name="Grace, Morgan (Brisbane)" userId="221d5f7b-4a46-4bd5-bdf1-698d3a91c208" providerId="ADAL" clId="{D90324C1-6CE4-4C28-B886-AED0B666B37F}" dt="2024-06-06T05:13:56.249" v="42750" actId="947"/>
            <ac:spMkLst>
              <pc:docMk/>
              <pc:sldMasterMk cId="1584551246" sldId="2147483648"/>
              <pc:sldLayoutMk cId="2702459064" sldId="2147483656"/>
              <ac:spMk id="101" creationId="{A1C64B76-3857-407B-0CF2-9682C0A91BAB}"/>
            </ac:spMkLst>
          </pc:spChg>
          <pc:spChg chg="mod">
            <ac:chgData name="Grace, Morgan (Brisbane)" userId="221d5f7b-4a46-4bd5-bdf1-698d3a91c208" providerId="ADAL" clId="{D90324C1-6CE4-4C28-B886-AED0B666B37F}" dt="2024-06-06T05:13:56.249" v="42748" actId="947"/>
            <ac:spMkLst>
              <pc:docMk/>
              <pc:sldMasterMk cId="1584551246" sldId="2147483648"/>
              <pc:sldLayoutMk cId="2702459064" sldId="2147483656"/>
              <ac:spMk id="102" creationId="{5DCBAB91-EBA4-5B9E-9F6F-191D78DD6FAE}"/>
            </ac:spMkLst>
          </pc:spChg>
          <pc:spChg chg="mod">
            <ac:chgData name="Grace, Morgan (Brisbane)" userId="221d5f7b-4a46-4bd5-bdf1-698d3a91c208" providerId="ADAL" clId="{D90324C1-6CE4-4C28-B886-AED0B666B37F}" dt="2024-06-06T05:13:56.234" v="42746" actId="947"/>
            <ac:spMkLst>
              <pc:docMk/>
              <pc:sldMasterMk cId="1584551246" sldId="2147483648"/>
              <pc:sldLayoutMk cId="2702459064" sldId="2147483656"/>
              <ac:spMk id="103" creationId="{CABB67F2-C469-D610-75C8-13AAFED5DC10}"/>
            </ac:spMkLst>
          </pc:spChg>
          <pc:spChg chg="mod">
            <ac:chgData name="Grace, Morgan (Brisbane)" userId="221d5f7b-4a46-4bd5-bdf1-698d3a91c208" providerId="ADAL" clId="{D90324C1-6CE4-4C28-B886-AED0B666B37F}" dt="2024-06-06T05:13:56.234" v="42744" actId="947"/>
            <ac:spMkLst>
              <pc:docMk/>
              <pc:sldMasterMk cId="1584551246" sldId="2147483648"/>
              <pc:sldLayoutMk cId="2702459064" sldId="2147483656"/>
              <ac:spMk id="104" creationId="{53C3EF4E-4070-474A-2077-DD14B6773E77}"/>
            </ac:spMkLst>
          </pc:spChg>
          <pc:graphicFrameChg chg="mod ord modVis replST">
            <ac:chgData name="Grace, Morgan (Brisbane)" userId="221d5f7b-4a46-4bd5-bdf1-698d3a91c208" providerId="ADAL" clId="{D90324C1-6CE4-4C28-B886-AED0B666B37F}" dt="2024-06-06T05:14:01.342" v="46108"/>
            <ac:graphicFrameMkLst>
              <pc:docMk/>
              <pc:sldMasterMk cId="1584551246" sldId="2147483648"/>
              <pc:sldLayoutMk cId="2702459064" sldId="2147483656"/>
              <ac:graphicFrameMk id="4" creationId="{7D388EF1-C053-DA31-E743-3AEDAD9BDF0B}"/>
            </ac:graphicFrameMkLst>
          </pc:graphicFrameChg>
        </pc:sldLayoutChg>
        <pc:sldLayoutChg chg="delSp modSp mod">
          <pc:chgData name="Grace, Morgan (Brisbane)" userId="221d5f7b-4a46-4bd5-bdf1-698d3a91c208" providerId="ADAL" clId="{D90324C1-6CE4-4C28-B886-AED0B666B37F}" dt="2024-06-06T05:14:01.357" v="46116"/>
          <pc:sldLayoutMkLst>
            <pc:docMk/>
            <pc:sldMasterMk cId="1584551246" sldId="2147483648"/>
            <pc:sldLayoutMk cId="4139019306" sldId="2147483657"/>
          </pc:sldLayoutMkLst>
          <pc:spChg chg="del mod modVis">
            <ac:chgData name="Grace, Morgan (Brisbane)" userId="221d5f7b-4a46-4bd5-bdf1-698d3a91c208" providerId="ADAL" clId="{D90324C1-6CE4-4C28-B886-AED0B666B37F}" dt="2024-06-06T05:14:01.342" v="46109" actId="478"/>
            <ac:spMkLst>
              <pc:docMk/>
              <pc:sldMasterMk cId="1584551246" sldId="2147483648"/>
              <pc:sldLayoutMk cId="4139019306" sldId="2147483657"/>
              <ac:spMk id="5" creationId="{53FE8DCD-2148-B052-F911-47C3664191BF}"/>
            </ac:spMkLst>
          </pc:spChg>
          <pc:spChg chg="mod">
            <ac:chgData name="Grace, Morgan (Brisbane)" userId="221d5f7b-4a46-4bd5-bdf1-698d3a91c208" providerId="ADAL" clId="{D90324C1-6CE4-4C28-B886-AED0B666B37F}" dt="2024-06-06T05:13:56.265" v="42760" actId="790"/>
            <ac:spMkLst>
              <pc:docMk/>
              <pc:sldMasterMk cId="1584551246" sldId="2147483648"/>
              <pc:sldLayoutMk cId="4139019306" sldId="2147483657"/>
              <ac:spMk id="8" creationId="{6F2029BB-61B9-13FE-E35E-3A342C284F4D}"/>
            </ac:spMkLst>
          </pc:spChg>
          <pc:spChg chg="mod">
            <ac:chgData name="Grace, Morgan (Brisbane)" userId="221d5f7b-4a46-4bd5-bdf1-698d3a91c208" providerId="ADAL" clId="{D90324C1-6CE4-4C28-B886-AED0B666B37F}" dt="2024-06-06T05:13:56.312" v="42814" actId="947"/>
            <ac:spMkLst>
              <pc:docMk/>
              <pc:sldMasterMk cId="1584551246" sldId="2147483648"/>
              <pc:sldLayoutMk cId="4139019306" sldId="2147483657"/>
              <ac:spMk id="9" creationId="{BFAF5792-95CE-8AF1-816A-E863E507531D}"/>
            </ac:spMkLst>
          </pc:spChg>
          <pc:spChg chg="mod">
            <ac:chgData name="Grace, Morgan (Brisbane)" userId="221d5f7b-4a46-4bd5-bdf1-698d3a91c208" providerId="ADAL" clId="{D90324C1-6CE4-4C28-B886-AED0B666B37F}" dt="2024-06-06T05:13:56.312" v="42812" actId="947"/>
            <ac:spMkLst>
              <pc:docMk/>
              <pc:sldMasterMk cId="1584551246" sldId="2147483648"/>
              <pc:sldLayoutMk cId="4139019306" sldId="2147483657"/>
              <ac:spMk id="10" creationId="{45EE2772-3BF7-FB16-1645-2991E8937CFC}"/>
            </ac:spMkLst>
          </pc:spChg>
          <pc:spChg chg="mod">
            <ac:chgData name="Grace, Morgan (Brisbane)" userId="221d5f7b-4a46-4bd5-bdf1-698d3a91c208" providerId="ADAL" clId="{D90324C1-6CE4-4C28-B886-AED0B666B37F}" dt="2024-06-06T05:13:56.296" v="42810" actId="947"/>
            <ac:spMkLst>
              <pc:docMk/>
              <pc:sldMasterMk cId="1584551246" sldId="2147483648"/>
              <pc:sldLayoutMk cId="4139019306" sldId="2147483657"/>
              <ac:spMk id="11" creationId="{030A39C0-C936-44D1-C272-45AD419D6E5C}"/>
            </ac:spMkLst>
          </pc:spChg>
          <pc:spChg chg="mod">
            <ac:chgData name="Grace, Morgan (Brisbane)" userId="221d5f7b-4a46-4bd5-bdf1-698d3a91c208" providerId="ADAL" clId="{D90324C1-6CE4-4C28-B886-AED0B666B37F}" dt="2024-06-06T05:13:56.296" v="42808" actId="947"/>
            <ac:spMkLst>
              <pc:docMk/>
              <pc:sldMasterMk cId="1584551246" sldId="2147483648"/>
              <pc:sldLayoutMk cId="4139019306" sldId="2147483657"/>
              <ac:spMk id="12" creationId="{014D6F35-CE6C-1B1A-55E6-F1B95D48C8F7}"/>
            </ac:spMkLst>
          </pc:spChg>
          <pc:spChg chg="mod">
            <ac:chgData name="Grace, Morgan (Brisbane)" userId="221d5f7b-4a46-4bd5-bdf1-698d3a91c208" providerId="ADAL" clId="{D90324C1-6CE4-4C28-B886-AED0B666B37F}" dt="2024-06-06T05:13:56.296" v="42806" actId="947"/>
            <ac:spMkLst>
              <pc:docMk/>
              <pc:sldMasterMk cId="1584551246" sldId="2147483648"/>
              <pc:sldLayoutMk cId="4139019306" sldId="2147483657"/>
              <ac:spMk id="13" creationId="{E08FACEC-40E1-EA3B-51C1-001103FBB293}"/>
            </ac:spMkLst>
          </pc:spChg>
          <pc:spChg chg="mod">
            <ac:chgData name="Grace, Morgan (Brisbane)" userId="221d5f7b-4a46-4bd5-bdf1-698d3a91c208" providerId="ADAL" clId="{D90324C1-6CE4-4C28-B886-AED0B666B37F}" dt="2024-06-06T05:13:59.370" v="45066" actId="948"/>
            <ac:spMkLst>
              <pc:docMk/>
              <pc:sldMasterMk cId="1584551246" sldId="2147483648"/>
              <pc:sldLayoutMk cId="4139019306" sldId="2147483657"/>
              <ac:spMk id="14" creationId="{04935328-5165-4BEA-58F2-DFB9A3D2CC52}"/>
            </ac:spMkLst>
          </pc:spChg>
          <pc:spChg chg="mod">
            <ac:chgData name="Grace, Morgan (Brisbane)" userId="221d5f7b-4a46-4bd5-bdf1-698d3a91c208" providerId="ADAL" clId="{D90324C1-6CE4-4C28-B886-AED0B666B37F}" dt="2024-06-06T05:13:56.296" v="42804" actId="947"/>
            <ac:spMkLst>
              <pc:docMk/>
              <pc:sldMasterMk cId="1584551246" sldId="2147483648"/>
              <pc:sldLayoutMk cId="4139019306" sldId="2147483657"/>
              <ac:spMk id="15" creationId="{45F82B16-4709-8A6A-F178-E9A88D159444}"/>
            </ac:spMkLst>
          </pc:spChg>
          <pc:spChg chg="mod">
            <ac:chgData name="Grace, Morgan (Brisbane)" userId="221d5f7b-4a46-4bd5-bdf1-698d3a91c208" providerId="ADAL" clId="{D90324C1-6CE4-4C28-B886-AED0B666B37F}" dt="2024-06-06T05:13:56.296" v="42802" actId="947"/>
            <ac:spMkLst>
              <pc:docMk/>
              <pc:sldMasterMk cId="1584551246" sldId="2147483648"/>
              <pc:sldLayoutMk cId="4139019306" sldId="2147483657"/>
              <ac:spMk id="16" creationId="{FDF4B683-A4EC-873A-B9BC-BDF3E1C18878}"/>
            </ac:spMkLst>
          </pc:spChg>
          <pc:spChg chg="mod">
            <ac:chgData name="Grace, Morgan (Brisbane)" userId="221d5f7b-4a46-4bd5-bdf1-698d3a91c208" providerId="ADAL" clId="{D90324C1-6CE4-4C28-B886-AED0B666B37F}" dt="2024-06-06T05:13:56.265" v="42756" actId="790"/>
            <ac:spMkLst>
              <pc:docMk/>
              <pc:sldMasterMk cId="1584551246" sldId="2147483648"/>
              <pc:sldLayoutMk cId="4139019306" sldId="2147483657"/>
              <ac:spMk id="17" creationId="{58C64552-3CC2-033A-D0B2-40559B174871}"/>
            </ac:spMkLst>
          </pc:spChg>
          <pc:spChg chg="mod">
            <ac:chgData name="Grace, Morgan (Brisbane)" userId="221d5f7b-4a46-4bd5-bdf1-698d3a91c208" providerId="ADAL" clId="{D90324C1-6CE4-4C28-B886-AED0B666B37F}" dt="2024-06-06T05:13:56.265" v="42757" actId="790"/>
            <ac:spMkLst>
              <pc:docMk/>
              <pc:sldMasterMk cId="1584551246" sldId="2147483648"/>
              <pc:sldLayoutMk cId="4139019306" sldId="2147483657"/>
              <ac:spMk id="18" creationId="{49723328-F83F-E36F-A23C-C63BA0452F08}"/>
            </ac:spMkLst>
          </pc:spChg>
          <pc:spChg chg="mod">
            <ac:chgData name="Grace, Morgan (Brisbane)" userId="221d5f7b-4a46-4bd5-bdf1-698d3a91c208" providerId="ADAL" clId="{D90324C1-6CE4-4C28-B886-AED0B666B37F}" dt="2024-06-06T05:13:56.265" v="42758" actId="790"/>
            <ac:spMkLst>
              <pc:docMk/>
              <pc:sldMasterMk cId="1584551246" sldId="2147483648"/>
              <pc:sldLayoutMk cId="4139019306" sldId="2147483657"/>
              <ac:spMk id="19" creationId="{10F85AFF-0099-B004-10E7-3264A4FAD960}"/>
            </ac:spMkLst>
          </pc:spChg>
          <pc:spChg chg="mod">
            <ac:chgData name="Grace, Morgan (Brisbane)" userId="221d5f7b-4a46-4bd5-bdf1-698d3a91c208" providerId="ADAL" clId="{D90324C1-6CE4-4C28-B886-AED0B666B37F}" dt="2024-06-06T05:13:56.296" v="42800" actId="947"/>
            <ac:spMkLst>
              <pc:docMk/>
              <pc:sldMasterMk cId="1584551246" sldId="2147483648"/>
              <pc:sldLayoutMk cId="4139019306" sldId="2147483657"/>
              <ac:spMk id="20" creationId="{E226C0BA-5281-3B0B-C105-D79B9DD06728}"/>
            </ac:spMkLst>
          </pc:spChg>
          <pc:spChg chg="mod">
            <ac:chgData name="Grace, Morgan (Brisbane)" userId="221d5f7b-4a46-4bd5-bdf1-698d3a91c208" providerId="ADAL" clId="{D90324C1-6CE4-4C28-B886-AED0B666B37F}" dt="2024-06-06T05:13:56.265" v="42759" actId="790"/>
            <ac:spMkLst>
              <pc:docMk/>
              <pc:sldMasterMk cId="1584551246" sldId="2147483648"/>
              <pc:sldLayoutMk cId="4139019306" sldId="2147483657"/>
              <ac:spMk id="21" creationId="{4FCEAD4B-3D9E-1FE1-F7EA-4DF4F676AA75}"/>
            </ac:spMkLst>
          </pc:spChg>
          <pc:spChg chg="mod">
            <ac:chgData name="Grace, Morgan (Brisbane)" userId="221d5f7b-4a46-4bd5-bdf1-698d3a91c208" providerId="ADAL" clId="{D90324C1-6CE4-4C28-B886-AED0B666B37F}" dt="2024-06-06T05:13:56.296" v="42798" actId="947"/>
            <ac:spMkLst>
              <pc:docMk/>
              <pc:sldMasterMk cId="1584551246" sldId="2147483648"/>
              <pc:sldLayoutMk cId="4139019306" sldId="2147483657"/>
              <ac:spMk id="22" creationId="{B59CA6C8-3E76-1B36-B2D3-031A3FF16632}"/>
            </ac:spMkLst>
          </pc:spChg>
          <pc:spChg chg="mod">
            <ac:chgData name="Grace, Morgan (Brisbane)" userId="221d5f7b-4a46-4bd5-bdf1-698d3a91c208" providerId="ADAL" clId="{D90324C1-6CE4-4C28-B886-AED0B666B37F}" dt="2024-06-06T05:13:56.296" v="42796" actId="947"/>
            <ac:spMkLst>
              <pc:docMk/>
              <pc:sldMasterMk cId="1584551246" sldId="2147483648"/>
              <pc:sldLayoutMk cId="4139019306" sldId="2147483657"/>
              <ac:spMk id="23" creationId="{0392104D-0B63-87AB-866A-5C6A8405CDB6}"/>
            </ac:spMkLst>
          </pc:spChg>
          <pc:spChg chg="mod">
            <ac:chgData name="Grace, Morgan (Brisbane)" userId="221d5f7b-4a46-4bd5-bdf1-698d3a91c208" providerId="ADAL" clId="{D90324C1-6CE4-4C28-B886-AED0B666B37F}" dt="2024-06-06T05:13:56.296" v="42794" actId="947"/>
            <ac:spMkLst>
              <pc:docMk/>
              <pc:sldMasterMk cId="1584551246" sldId="2147483648"/>
              <pc:sldLayoutMk cId="4139019306" sldId="2147483657"/>
              <ac:spMk id="24" creationId="{8085E0D7-670A-8799-8012-FD9116E26C23}"/>
            </ac:spMkLst>
          </pc:spChg>
          <pc:spChg chg="mod">
            <ac:chgData name="Grace, Morgan (Brisbane)" userId="221d5f7b-4a46-4bd5-bdf1-698d3a91c208" providerId="ADAL" clId="{D90324C1-6CE4-4C28-B886-AED0B666B37F}" dt="2024-06-06T05:13:56.296" v="42792" actId="947"/>
            <ac:spMkLst>
              <pc:docMk/>
              <pc:sldMasterMk cId="1584551246" sldId="2147483648"/>
              <pc:sldLayoutMk cId="4139019306" sldId="2147483657"/>
              <ac:spMk id="25" creationId="{F7A07456-225A-267E-E37F-83FC0AFDE331}"/>
            </ac:spMkLst>
          </pc:spChg>
          <pc:spChg chg="mod">
            <ac:chgData name="Grace, Morgan (Brisbane)" userId="221d5f7b-4a46-4bd5-bdf1-698d3a91c208" providerId="ADAL" clId="{D90324C1-6CE4-4C28-B886-AED0B666B37F}" dt="2024-06-06T05:13:56.281" v="42790" actId="947"/>
            <ac:spMkLst>
              <pc:docMk/>
              <pc:sldMasterMk cId="1584551246" sldId="2147483648"/>
              <pc:sldLayoutMk cId="4139019306" sldId="2147483657"/>
              <ac:spMk id="26" creationId="{C04A89B4-3B91-6718-058B-C69891276D83}"/>
            </ac:spMkLst>
          </pc:spChg>
          <pc:spChg chg="mod">
            <ac:chgData name="Grace, Morgan (Brisbane)" userId="221d5f7b-4a46-4bd5-bdf1-698d3a91c208" providerId="ADAL" clId="{D90324C1-6CE4-4C28-B886-AED0B666B37F}" dt="2024-06-06T05:13:56.281" v="42788" actId="947"/>
            <ac:spMkLst>
              <pc:docMk/>
              <pc:sldMasterMk cId="1584551246" sldId="2147483648"/>
              <pc:sldLayoutMk cId="4139019306" sldId="2147483657"/>
              <ac:spMk id="27" creationId="{B89AD26A-4F71-CACA-9206-66DF1B85B6D0}"/>
            </ac:spMkLst>
          </pc:spChg>
          <pc:spChg chg="mod">
            <ac:chgData name="Grace, Morgan (Brisbane)" userId="221d5f7b-4a46-4bd5-bdf1-698d3a91c208" providerId="ADAL" clId="{D90324C1-6CE4-4C28-B886-AED0B666B37F}" dt="2024-06-06T05:13:56.281" v="42786" actId="947"/>
            <ac:spMkLst>
              <pc:docMk/>
              <pc:sldMasterMk cId="1584551246" sldId="2147483648"/>
              <pc:sldLayoutMk cId="4139019306" sldId="2147483657"/>
              <ac:spMk id="28" creationId="{2AB9FD0B-5792-6E64-62DD-4AD74126686D}"/>
            </ac:spMkLst>
          </pc:spChg>
          <pc:spChg chg="mod">
            <ac:chgData name="Grace, Morgan (Brisbane)" userId="221d5f7b-4a46-4bd5-bdf1-698d3a91c208" providerId="ADAL" clId="{D90324C1-6CE4-4C28-B886-AED0B666B37F}" dt="2024-06-06T05:13:56.281" v="42784" actId="947"/>
            <ac:spMkLst>
              <pc:docMk/>
              <pc:sldMasterMk cId="1584551246" sldId="2147483648"/>
              <pc:sldLayoutMk cId="4139019306" sldId="2147483657"/>
              <ac:spMk id="29" creationId="{A25D48F5-8440-B83F-6B0C-ACCD1481CA31}"/>
            </ac:spMkLst>
          </pc:spChg>
          <pc:spChg chg="mod">
            <ac:chgData name="Grace, Morgan (Brisbane)" userId="221d5f7b-4a46-4bd5-bdf1-698d3a91c208" providerId="ADAL" clId="{D90324C1-6CE4-4C28-B886-AED0B666B37F}" dt="2024-06-06T05:13:56.281" v="42782" actId="947"/>
            <ac:spMkLst>
              <pc:docMk/>
              <pc:sldMasterMk cId="1584551246" sldId="2147483648"/>
              <pc:sldLayoutMk cId="4139019306" sldId="2147483657"/>
              <ac:spMk id="30" creationId="{CE3E66DD-E297-E6F4-6D14-C09312346A52}"/>
            </ac:spMkLst>
          </pc:spChg>
          <pc:spChg chg="mod">
            <ac:chgData name="Grace, Morgan (Brisbane)" userId="221d5f7b-4a46-4bd5-bdf1-698d3a91c208" providerId="ADAL" clId="{D90324C1-6CE4-4C28-B886-AED0B666B37F}" dt="2024-06-06T05:13:56.281" v="42780" actId="947"/>
            <ac:spMkLst>
              <pc:docMk/>
              <pc:sldMasterMk cId="1584551246" sldId="2147483648"/>
              <pc:sldLayoutMk cId="4139019306" sldId="2147483657"/>
              <ac:spMk id="31" creationId="{E8677F52-C183-2479-3D5D-DA0CA59190EF}"/>
            </ac:spMkLst>
          </pc:spChg>
          <pc:spChg chg="mod">
            <ac:chgData name="Grace, Morgan (Brisbane)" userId="221d5f7b-4a46-4bd5-bdf1-698d3a91c208" providerId="ADAL" clId="{D90324C1-6CE4-4C28-B886-AED0B666B37F}" dt="2024-06-06T05:13:56.281" v="42778" actId="947"/>
            <ac:spMkLst>
              <pc:docMk/>
              <pc:sldMasterMk cId="1584551246" sldId="2147483648"/>
              <pc:sldLayoutMk cId="4139019306" sldId="2147483657"/>
              <ac:spMk id="32" creationId="{900CBFE7-8C2F-2583-B5D9-23D4F2B2630A}"/>
            </ac:spMkLst>
          </pc:spChg>
          <pc:spChg chg="mod">
            <ac:chgData name="Grace, Morgan (Brisbane)" userId="221d5f7b-4a46-4bd5-bdf1-698d3a91c208" providerId="ADAL" clId="{D90324C1-6CE4-4C28-B886-AED0B666B37F}" dt="2024-06-06T05:13:56.281" v="42776" actId="947"/>
            <ac:spMkLst>
              <pc:docMk/>
              <pc:sldMasterMk cId="1584551246" sldId="2147483648"/>
              <pc:sldLayoutMk cId="4139019306" sldId="2147483657"/>
              <ac:spMk id="33" creationId="{20DE469F-68C5-0E1B-92AD-388E7A628074}"/>
            </ac:spMkLst>
          </pc:spChg>
          <pc:spChg chg="mod">
            <ac:chgData name="Grace, Morgan (Brisbane)" userId="221d5f7b-4a46-4bd5-bdf1-698d3a91c208" providerId="ADAL" clId="{D90324C1-6CE4-4C28-B886-AED0B666B37F}" dt="2024-06-06T05:13:56.281" v="42774" actId="947"/>
            <ac:spMkLst>
              <pc:docMk/>
              <pc:sldMasterMk cId="1584551246" sldId="2147483648"/>
              <pc:sldLayoutMk cId="4139019306" sldId="2147483657"/>
              <ac:spMk id="34" creationId="{1BDE55E2-EFC3-95B7-F802-A08A3D569608}"/>
            </ac:spMkLst>
          </pc:spChg>
          <pc:spChg chg="mod">
            <ac:chgData name="Grace, Morgan (Brisbane)" userId="221d5f7b-4a46-4bd5-bdf1-698d3a91c208" providerId="ADAL" clId="{D90324C1-6CE4-4C28-B886-AED0B666B37F}" dt="2024-06-06T05:13:56.281" v="42772" actId="947"/>
            <ac:spMkLst>
              <pc:docMk/>
              <pc:sldMasterMk cId="1584551246" sldId="2147483648"/>
              <pc:sldLayoutMk cId="4139019306" sldId="2147483657"/>
              <ac:spMk id="35" creationId="{D5C098AF-B6EF-A62F-DD66-7C42FDAA5EA8}"/>
            </ac:spMkLst>
          </pc:spChg>
          <pc:spChg chg="mod">
            <ac:chgData name="Grace, Morgan (Brisbane)" userId="221d5f7b-4a46-4bd5-bdf1-698d3a91c208" providerId="ADAL" clId="{D90324C1-6CE4-4C28-B886-AED0B666B37F}" dt="2024-06-06T05:13:56.281" v="42770" actId="947"/>
            <ac:spMkLst>
              <pc:docMk/>
              <pc:sldMasterMk cId="1584551246" sldId="2147483648"/>
              <pc:sldLayoutMk cId="4139019306" sldId="2147483657"/>
              <ac:spMk id="36" creationId="{34005B05-1F6D-5A35-7ACA-75496A61C6B8}"/>
            </ac:spMkLst>
          </pc:spChg>
          <pc:spChg chg="mod">
            <ac:chgData name="Grace, Morgan (Brisbane)" userId="221d5f7b-4a46-4bd5-bdf1-698d3a91c208" providerId="ADAL" clId="{D90324C1-6CE4-4C28-B886-AED0B666B37F}" dt="2024-06-06T05:13:56.265" v="42768" actId="947"/>
            <ac:spMkLst>
              <pc:docMk/>
              <pc:sldMasterMk cId="1584551246" sldId="2147483648"/>
              <pc:sldLayoutMk cId="4139019306" sldId="2147483657"/>
              <ac:spMk id="37" creationId="{3706674F-013E-DEF6-A9D2-59F72A95FDCD}"/>
            </ac:spMkLst>
          </pc:spChg>
          <pc:spChg chg="mod">
            <ac:chgData name="Grace, Morgan (Brisbane)" userId="221d5f7b-4a46-4bd5-bdf1-698d3a91c208" providerId="ADAL" clId="{D90324C1-6CE4-4C28-B886-AED0B666B37F}" dt="2024-06-06T05:13:56.265" v="42766" actId="947"/>
            <ac:spMkLst>
              <pc:docMk/>
              <pc:sldMasterMk cId="1584551246" sldId="2147483648"/>
              <pc:sldLayoutMk cId="4139019306" sldId="2147483657"/>
              <ac:spMk id="38" creationId="{277B0895-C650-B2D3-146D-9D7054485E58}"/>
            </ac:spMkLst>
          </pc:spChg>
          <pc:spChg chg="mod">
            <ac:chgData name="Grace, Morgan (Brisbane)" userId="221d5f7b-4a46-4bd5-bdf1-698d3a91c208" providerId="ADAL" clId="{D90324C1-6CE4-4C28-B886-AED0B666B37F}" dt="2024-06-06T05:13:56.265" v="42764" actId="947"/>
            <ac:spMkLst>
              <pc:docMk/>
              <pc:sldMasterMk cId="1584551246" sldId="2147483648"/>
              <pc:sldLayoutMk cId="4139019306" sldId="2147483657"/>
              <ac:spMk id="39" creationId="{EB924FE6-94A5-9C27-0D86-FB9EF37C26FF}"/>
            </ac:spMkLst>
          </pc:spChg>
          <pc:spChg chg="mod">
            <ac:chgData name="Grace, Morgan (Brisbane)" userId="221d5f7b-4a46-4bd5-bdf1-698d3a91c208" providerId="ADAL" clId="{D90324C1-6CE4-4C28-B886-AED0B666B37F}" dt="2024-06-06T05:13:56.265" v="42762" actId="947"/>
            <ac:spMkLst>
              <pc:docMk/>
              <pc:sldMasterMk cId="1584551246" sldId="2147483648"/>
              <pc:sldLayoutMk cId="4139019306" sldId="2147483657"/>
              <ac:spMk id="40" creationId="{3963DB24-8163-A97C-EF93-B79DEB23BE37}"/>
            </ac:spMkLst>
          </pc:spChg>
          <pc:spChg chg="mod">
            <ac:chgData name="Grace, Morgan (Brisbane)" userId="221d5f7b-4a46-4bd5-bdf1-698d3a91c208" providerId="ADAL" clId="{D90324C1-6CE4-4C28-B886-AED0B666B37F}" dt="2024-06-06T05:13:56.312" v="42832" actId="947"/>
            <ac:spMkLst>
              <pc:docMk/>
              <pc:sldMasterMk cId="1584551246" sldId="2147483648"/>
              <pc:sldLayoutMk cId="4139019306" sldId="2147483657"/>
              <ac:spMk id="41" creationId="{53ED348E-7050-1444-0EAB-B8FA9BA764D1}"/>
            </ac:spMkLst>
          </pc:spChg>
          <pc:spChg chg="mod">
            <ac:chgData name="Grace, Morgan (Brisbane)" userId="221d5f7b-4a46-4bd5-bdf1-698d3a91c208" providerId="ADAL" clId="{D90324C1-6CE4-4C28-B886-AED0B666B37F}" dt="2024-06-06T05:13:56.312" v="42830" actId="947"/>
            <ac:spMkLst>
              <pc:docMk/>
              <pc:sldMasterMk cId="1584551246" sldId="2147483648"/>
              <pc:sldLayoutMk cId="4139019306" sldId="2147483657"/>
              <ac:spMk id="42" creationId="{659C5CEA-AC36-E5CB-F16B-21AEA082CFBB}"/>
            </ac:spMkLst>
          </pc:spChg>
          <pc:spChg chg="mod">
            <ac:chgData name="Grace, Morgan (Brisbane)" userId="221d5f7b-4a46-4bd5-bdf1-698d3a91c208" providerId="ADAL" clId="{D90324C1-6CE4-4C28-B886-AED0B666B37F}" dt="2024-06-06T05:13:56.312" v="42828" actId="947"/>
            <ac:spMkLst>
              <pc:docMk/>
              <pc:sldMasterMk cId="1584551246" sldId="2147483648"/>
              <pc:sldLayoutMk cId="4139019306" sldId="2147483657"/>
              <ac:spMk id="43" creationId="{73F67495-F56D-12F7-DE93-7C6E9E186345}"/>
            </ac:spMkLst>
          </pc:spChg>
          <pc:spChg chg="mod">
            <ac:chgData name="Grace, Morgan (Brisbane)" userId="221d5f7b-4a46-4bd5-bdf1-698d3a91c208" providerId="ADAL" clId="{D90324C1-6CE4-4C28-B886-AED0B666B37F}" dt="2024-06-06T05:13:56.312" v="42826" actId="947"/>
            <ac:spMkLst>
              <pc:docMk/>
              <pc:sldMasterMk cId="1584551246" sldId="2147483648"/>
              <pc:sldLayoutMk cId="4139019306" sldId="2147483657"/>
              <ac:spMk id="44" creationId="{111AA8E6-6CAC-29FC-0F5D-6E06EC203CDE}"/>
            </ac:spMkLst>
          </pc:spChg>
          <pc:spChg chg="mod">
            <ac:chgData name="Grace, Morgan (Brisbane)" userId="221d5f7b-4a46-4bd5-bdf1-698d3a91c208" providerId="ADAL" clId="{D90324C1-6CE4-4C28-B886-AED0B666B37F}" dt="2024-06-06T05:13:56.312" v="42824" actId="947"/>
            <ac:spMkLst>
              <pc:docMk/>
              <pc:sldMasterMk cId="1584551246" sldId="2147483648"/>
              <pc:sldLayoutMk cId="4139019306" sldId="2147483657"/>
              <ac:spMk id="45" creationId="{0058833E-9201-83FE-FD10-E464C9F4D0B2}"/>
            </ac:spMkLst>
          </pc:spChg>
          <pc:spChg chg="mod">
            <ac:chgData name="Grace, Morgan (Brisbane)" userId="221d5f7b-4a46-4bd5-bdf1-698d3a91c208" providerId="ADAL" clId="{D90324C1-6CE4-4C28-B886-AED0B666B37F}" dt="2024-06-06T05:13:56.312" v="42822" actId="947"/>
            <ac:spMkLst>
              <pc:docMk/>
              <pc:sldMasterMk cId="1584551246" sldId="2147483648"/>
              <pc:sldLayoutMk cId="4139019306" sldId="2147483657"/>
              <ac:spMk id="46" creationId="{5CA2FE09-B505-0171-8EF4-C4AC6E88E722}"/>
            </ac:spMkLst>
          </pc:spChg>
          <pc:spChg chg="mod">
            <ac:chgData name="Grace, Morgan (Brisbane)" userId="221d5f7b-4a46-4bd5-bdf1-698d3a91c208" providerId="ADAL" clId="{D90324C1-6CE4-4C28-B886-AED0B666B37F}" dt="2024-06-06T05:13:56.312" v="42820" actId="947"/>
            <ac:spMkLst>
              <pc:docMk/>
              <pc:sldMasterMk cId="1584551246" sldId="2147483648"/>
              <pc:sldLayoutMk cId="4139019306" sldId="2147483657"/>
              <ac:spMk id="47" creationId="{BCF25E8B-C8A9-0D5E-0067-BA5A24387598}"/>
            </ac:spMkLst>
          </pc:spChg>
          <pc:spChg chg="mod">
            <ac:chgData name="Grace, Morgan (Brisbane)" userId="221d5f7b-4a46-4bd5-bdf1-698d3a91c208" providerId="ADAL" clId="{D90324C1-6CE4-4C28-B886-AED0B666B37F}" dt="2024-06-06T05:13:56.312" v="42818" actId="947"/>
            <ac:spMkLst>
              <pc:docMk/>
              <pc:sldMasterMk cId="1584551246" sldId="2147483648"/>
              <pc:sldLayoutMk cId="4139019306" sldId="2147483657"/>
              <ac:spMk id="48" creationId="{3E22B9DA-FF4D-99AF-3D02-EC17AF25F693}"/>
            </ac:spMkLst>
          </pc:spChg>
          <pc:spChg chg="mod">
            <ac:chgData name="Grace, Morgan (Brisbane)" userId="221d5f7b-4a46-4bd5-bdf1-698d3a91c208" providerId="ADAL" clId="{D90324C1-6CE4-4C28-B886-AED0B666B37F}" dt="2024-06-06T05:13:56.312" v="42816" actId="947"/>
            <ac:spMkLst>
              <pc:docMk/>
              <pc:sldMasterMk cId="1584551246" sldId="2147483648"/>
              <pc:sldLayoutMk cId="4139019306" sldId="2147483657"/>
              <ac:spMk id="49" creationId="{23830026-EC7D-DBDA-1AC1-8C588AB7DE19}"/>
            </ac:spMkLst>
          </pc:spChg>
          <pc:spChg chg="mod">
            <ac:chgData name="Grace, Morgan (Brisbane)" userId="221d5f7b-4a46-4bd5-bdf1-698d3a91c208" providerId="ADAL" clId="{D90324C1-6CE4-4C28-B886-AED0B666B37F}" dt="2024-06-06T05:13:56.334" v="42844" actId="947"/>
            <ac:spMkLst>
              <pc:docMk/>
              <pc:sldMasterMk cId="1584551246" sldId="2147483648"/>
              <pc:sldLayoutMk cId="4139019306" sldId="2147483657"/>
              <ac:spMk id="50" creationId="{2303C3A8-C489-EBD6-1496-65A60BCF2731}"/>
            </ac:spMkLst>
          </pc:spChg>
          <pc:spChg chg="mod">
            <ac:chgData name="Grace, Morgan (Brisbane)" userId="221d5f7b-4a46-4bd5-bdf1-698d3a91c208" providerId="ADAL" clId="{D90324C1-6CE4-4C28-B886-AED0B666B37F}" dt="2024-06-06T05:13:56.334" v="42842" actId="947"/>
            <ac:spMkLst>
              <pc:docMk/>
              <pc:sldMasterMk cId="1584551246" sldId="2147483648"/>
              <pc:sldLayoutMk cId="4139019306" sldId="2147483657"/>
              <ac:spMk id="51" creationId="{0DE23145-49C1-F205-6E4A-280587F61460}"/>
            </ac:spMkLst>
          </pc:spChg>
          <pc:spChg chg="mod">
            <ac:chgData name="Grace, Morgan (Brisbane)" userId="221d5f7b-4a46-4bd5-bdf1-698d3a91c208" providerId="ADAL" clId="{D90324C1-6CE4-4C28-B886-AED0B666B37F}" dt="2024-06-06T05:13:56.327" v="42840" actId="947"/>
            <ac:spMkLst>
              <pc:docMk/>
              <pc:sldMasterMk cId="1584551246" sldId="2147483648"/>
              <pc:sldLayoutMk cId="4139019306" sldId="2147483657"/>
              <ac:spMk id="52" creationId="{4E23572B-1D83-13A4-7949-92267F6D94A7}"/>
            </ac:spMkLst>
          </pc:spChg>
          <pc:spChg chg="mod">
            <ac:chgData name="Grace, Morgan (Brisbane)" userId="221d5f7b-4a46-4bd5-bdf1-698d3a91c208" providerId="ADAL" clId="{D90324C1-6CE4-4C28-B886-AED0B666B37F}" dt="2024-06-06T05:13:56.327" v="42838" actId="947"/>
            <ac:spMkLst>
              <pc:docMk/>
              <pc:sldMasterMk cId="1584551246" sldId="2147483648"/>
              <pc:sldLayoutMk cId="4139019306" sldId="2147483657"/>
              <ac:spMk id="53" creationId="{199B6A7B-8125-2F9A-9C5D-6434EE1F6384}"/>
            </ac:spMkLst>
          </pc:spChg>
          <pc:spChg chg="mod">
            <ac:chgData name="Grace, Morgan (Brisbane)" userId="221d5f7b-4a46-4bd5-bdf1-698d3a91c208" providerId="ADAL" clId="{D90324C1-6CE4-4C28-B886-AED0B666B37F}" dt="2024-06-06T05:13:56.327" v="42836" actId="947"/>
            <ac:spMkLst>
              <pc:docMk/>
              <pc:sldMasterMk cId="1584551246" sldId="2147483648"/>
              <pc:sldLayoutMk cId="4139019306" sldId="2147483657"/>
              <ac:spMk id="54" creationId="{F425CA87-DCB9-8677-0C7F-D2CF49D177FC}"/>
            </ac:spMkLst>
          </pc:spChg>
          <pc:spChg chg="mod">
            <ac:chgData name="Grace, Morgan (Brisbane)" userId="221d5f7b-4a46-4bd5-bdf1-698d3a91c208" providerId="ADAL" clId="{D90324C1-6CE4-4C28-B886-AED0B666B37F}" dt="2024-06-06T05:13:56.327" v="42834" actId="947"/>
            <ac:spMkLst>
              <pc:docMk/>
              <pc:sldMasterMk cId="1584551246" sldId="2147483648"/>
              <pc:sldLayoutMk cId="4139019306" sldId="2147483657"/>
              <ac:spMk id="55" creationId="{8A834E26-6A1C-1435-2061-3E48952C0D2F}"/>
            </ac:spMkLst>
          </pc:spChg>
          <pc:graphicFrameChg chg="mod ord modVis replST">
            <ac:chgData name="Grace, Morgan (Brisbane)" userId="221d5f7b-4a46-4bd5-bdf1-698d3a91c208" providerId="ADAL" clId="{D90324C1-6CE4-4C28-B886-AED0B666B37F}" dt="2024-06-06T05:14:01.357" v="46116"/>
            <ac:graphicFrameMkLst>
              <pc:docMk/>
              <pc:sldMasterMk cId="1584551246" sldId="2147483648"/>
              <pc:sldLayoutMk cId="4139019306" sldId="2147483657"/>
              <ac:graphicFrameMk id="56" creationId="{18A64C17-8F21-4242-4E04-D9FB5A0ECA39}"/>
            </ac:graphicFrameMkLst>
          </pc:graphicFrameChg>
        </pc:sldLayoutChg>
        <pc:sldLayoutChg chg="delSp modSp mod">
          <pc:chgData name="Grace, Morgan (Brisbane)" userId="221d5f7b-4a46-4bd5-bdf1-698d3a91c208" providerId="ADAL" clId="{D90324C1-6CE4-4C28-B886-AED0B666B37F}" dt="2024-06-06T05:14:01.320" v="46100"/>
          <pc:sldLayoutMkLst>
            <pc:docMk/>
            <pc:sldMasterMk cId="1584551246" sldId="2147483648"/>
            <pc:sldLayoutMk cId="158243433" sldId="2147483658"/>
          </pc:sldLayoutMkLst>
          <pc:spChg chg="del mod modVis">
            <ac:chgData name="Grace, Morgan (Brisbane)" userId="221d5f7b-4a46-4bd5-bdf1-698d3a91c208" providerId="ADAL" clId="{D90324C1-6CE4-4C28-B886-AED0B666B37F}" dt="2024-06-06T05:14:01.305" v="46093" actId="478"/>
            <ac:spMkLst>
              <pc:docMk/>
              <pc:sldMasterMk cId="1584551246" sldId="2147483648"/>
              <pc:sldLayoutMk cId="158243433" sldId="2147483658"/>
              <ac:spMk id="2" creationId="{50441F94-CE07-60F2-EF6A-E437BADAD25B}"/>
            </ac:spMkLst>
          </pc:spChg>
          <pc:spChg chg="mod">
            <ac:chgData name="Grace, Morgan (Brisbane)" userId="221d5f7b-4a46-4bd5-bdf1-698d3a91c208" providerId="ADAL" clId="{D90324C1-6CE4-4C28-B886-AED0B666B37F}" dt="2024-06-06T05:13:56.096" v="42579" actId="790"/>
            <ac:spMkLst>
              <pc:docMk/>
              <pc:sldMasterMk cId="1584551246" sldId="2147483648"/>
              <pc:sldLayoutMk cId="158243433" sldId="2147483658"/>
              <ac:spMk id="12" creationId="{F90C5A34-8444-BF51-CC40-CEE10A575BE0}"/>
            </ac:spMkLst>
          </pc:spChg>
          <pc:spChg chg="mod">
            <ac:chgData name="Grace, Morgan (Brisbane)" userId="221d5f7b-4a46-4bd5-bdf1-698d3a91c208" providerId="ADAL" clId="{D90324C1-6CE4-4C28-B886-AED0B666B37F}" dt="2024-06-06T05:13:59.332" v="45028" actId="948"/>
            <ac:spMkLst>
              <pc:docMk/>
              <pc:sldMasterMk cId="1584551246" sldId="2147483648"/>
              <pc:sldLayoutMk cId="158243433" sldId="2147483658"/>
              <ac:spMk id="14" creationId="{04935328-5165-4BEA-58F2-DFB9A3D2CC52}"/>
            </ac:spMkLst>
          </pc:spChg>
          <pc:spChg chg="mod">
            <ac:chgData name="Grace, Morgan (Brisbane)" userId="221d5f7b-4a46-4bd5-bdf1-698d3a91c208" providerId="ADAL" clId="{D90324C1-6CE4-4C28-B886-AED0B666B37F}" dt="2024-06-06T05:13:56.096" v="42575" actId="790"/>
            <ac:spMkLst>
              <pc:docMk/>
              <pc:sldMasterMk cId="1584551246" sldId="2147483648"/>
              <pc:sldLayoutMk cId="158243433" sldId="2147483658"/>
              <ac:spMk id="17" creationId="{58C64552-3CC2-033A-D0B2-40559B174871}"/>
            </ac:spMkLst>
          </pc:spChg>
          <pc:spChg chg="mod">
            <ac:chgData name="Grace, Morgan (Brisbane)" userId="221d5f7b-4a46-4bd5-bdf1-698d3a91c208" providerId="ADAL" clId="{D90324C1-6CE4-4C28-B886-AED0B666B37F}" dt="2024-06-06T05:13:56.096" v="42576" actId="790"/>
            <ac:spMkLst>
              <pc:docMk/>
              <pc:sldMasterMk cId="1584551246" sldId="2147483648"/>
              <pc:sldLayoutMk cId="158243433" sldId="2147483658"/>
              <ac:spMk id="18" creationId="{49723328-F83F-E36F-A23C-C63BA0452F08}"/>
            </ac:spMkLst>
          </pc:spChg>
          <pc:spChg chg="mod">
            <ac:chgData name="Grace, Morgan (Brisbane)" userId="221d5f7b-4a46-4bd5-bdf1-698d3a91c208" providerId="ADAL" clId="{D90324C1-6CE4-4C28-B886-AED0B666B37F}" dt="2024-06-06T05:13:56.096" v="42577" actId="790"/>
            <ac:spMkLst>
              <pc:docMk/>
              <pc:sldMasterMk cId="1584551246" sldId="2147483648"/>
              <pc:sldLayoutMk cId="158243433" sldId="2147483658"/>
              <ac:spMk id="19" creationId="{10F85AFF-0099-B004-10E7-3264A4FAD960}"/>
            </ac:spMkLst>
          </pc:spChg>
          <pc:spChg chg="mod">
            <ac:chgData name="Grace, Morgan (Brisbane)" userId="221d5f7b-4a46-4bd5-bdf1-698d3a91c208" providerId="ADAL" clId="{D90324C1-6CE4-4C28-B886-AED0B666B37F}" dt="2024-06-06T05:13:56.096" v="42580" actId="790"/>
            <ac:spMkLst>
              <pc:docMk/>
              <pc:sldMasterMk cId="1584551246" sldId="2147483648"/>
              <pc:sldLayoutMk cId="158243433" sldId="2147483658"/>
              <ac:spMk id="20" creationId="{2D4433C4-2C39-FAC2-206D-EAC7F406E4D1}"/>
            </ac:spMkLst>
          </pc:spChg>
          <pc:spChg chg="mod">
            <ac:chgData name="Grace, Morgan (Brisbane)" userId="221d5f7b-4a46-4bd5-bdf1-698d3a91c208" providerId="ADAL" clId="{D90324C1-6CE4-4C28-B886-AED0B666B37F}" dt="2024-06-06T05:13:56.096" v="42578" actId="790"/>
            <ac:spMkLst>
              <pc:docMk/>
              <pc:sldMasterMk cId="1584551246" sldId="2147483648"/>
              <pc:sldLayoutMk cId="158243433" sldId="2147483658"/>
              <ac:spMk id="21" creationId="{4FCEAD4B-3D9E-1FE1-F7EA-4DF4F676AA75}"/>
            </ac:spMkLst>
          </pc:spChg>
          <pc:spChg chg="mod">
            <ac:chgData name="Grace, Morgan (Brisbane)" userId="221d5f7b-4a46-4bd5-bdf1-698d3a91c208" providerId="ADAL" clId="{D90324C1-6CE4-4C28-B886-AED0B666B37F}" dt="2024-06-06T05:13:56.149" v="42634" actId="947"/>
            <ac:spMkLst>
              <pc:docMk/>
              <pc:sldMasterMk cId="1584551246" sldId="2147483648"/>
              <pc:sldLayoutMk cId="158243433" sldId="2147483658"/>
              <ac:spMk id="63" creationId="{7FDFB0EA-6E80-BBCA-2D37-EAB8FC6A7F33}"/>
            </ac:spMkLst>
          </pc:spChg>
          <pc:spChg chg="mod">
            <ac:chgData name="Grace, Morgan (Brisbane)" userId="221d5f7b-4a46-4bd5-bdf1-698d3a91c208" providerId="ADAL" clId="{D90324C1-6CE4-4C28-B886-AED0B666B37F}" dt="2024-06-06T05:13:56.149" v="42632" actId="947"/>
            <ac:spMkLst>
              <pc:docMk/>
              <pc:sldMasterMk cId="1584551246" sldId="2147483648"/>
              <pc:sldLayoutMk cId="158243433" sldId="2147483658"/>
              <ac:spMk id="64" creationId="{58FF3B5D-0639-924F-C26E-6361B82C008E}"/>
            </ac:spMkLst>
          </pc:spChg>
          <pc:spChg chg="mod">
            <ac:chgData name="Grace, Morgan (Brisbane)" userId="221d5f7b-4a46-4bd5-bdf1-698d3a91c208" providerId="ADAL" clId="{D90324C1-6CE4-4C28-B886-AED0B666B37F}" dt="2024-06-06T05:13:56.134" v="42630" actId="947"/>
            <ac:spMkLst>
              <pc:docMk/>
              <pc:sldMasterMk cId="1584551246" sldId="2147483648"/>
              <pc:sldLayoutMk cId="158243433" sldId="2147483658"/>
              <ac:spMk id="65" creationId="{ABC6A8DA-BA34-6B71-720F-3D6587697334}"/>
            </ac:spMkLst>
          </pc:spChg>
          <pc:spChg chg="mod">
            <ac:chgData name="Grace, Morgan (Brisbane)" userId="221d5f7b-4a46-4bd5-bdf1-698d3a91c208" providerId="ADAL" clId="{D90324C1-6CE4-4C28-B886-AED0B666B37F}" dt="2024-06-06T05:13:56.134" v="42628" actId="947"/>
            <ac:spMkLst>
              <pc:docMk/>
              <pc:sldMasterMk cId="1584551246" sldId="2147483648"/>
              <pc:sldLayoutMk cId="158243433" sldId="2147483658"/>
              <ac:spMk id="66" creationId="{99D30950-276C-EEB8-A112-32E33FE0DD67}"/>
            </ac:spMkLst>
          </pc:spChg>
          <pc:spChg chg="mod">
            <ac:chgData name="Grace, Morgan (Brisbane)" userId="221d5f7b-4a46-4bd5-bdf1-698d3a91c208" providerId="ADAL" clId="{D90324C1-6CE4-4C28-B886-AED0B666B37F}" dt="2024-06-06T05:13:56.134" v="42626" actId="947"/>
            <ac:spMkLst>
              <pc:docMk/>
              <pc:sldMasterMk cId="1584551246" sldId="2147483648"/>
              <pc:sldLayoutMk cId="158243433" sldId="2147483658"/>
              <ac:spMk id="67" creationId="{6796F446-374F-C5B2-1E67-7F6F6BE363B4}"/>
            </ac:spMkLst>
          </pc:spChg>
          <pc:spChg chg="mod">
            <ac:chgData name="Grace, Morgan (Brisbane)" userId="221d5f7b-4a46-4bd5-bdf1-698d3a91c208" providerId="ADAL" clId="{D90324C1-6CE4-4C28-B886-AED0B666B37F}" dt="2024-06-06T05:13:56.134" v="42624" actId="947"/>
            <ac:spMkLst>
              <pc:docMk/>
              <pc:sldMasterMk cId="1584551246" sldId="2147483648"/>
              <pc:sldLayoutMk cId="158243433" sldId="2147483658"/>
              <ac:spMk id="68" creationId="{9F7B7AA6-1F8C-9B11-E351-E7D11E425922}"/>
            </ac:spMkLst>
          </pc:spChg>
          <pc:spChg chg="mod">
            <ac:chgData name="Grace, Morgan (Brisbane)" userId="221d5f7b-4a46-4bd5-bdf1-698d3a91c208" providerId="ADAL" clId="{D90324C1-6CE4-4C28-B886-AED0B666B37F}" dt="2024-06-06T05:13:56.134" v="42622" actId="947"/>
            <ac:spMkLst>
              <pc:docMk/>
              <pc:sldMasterMk cId="1584551246" sldId="2147483648"/>
              <pc:sldLayoutMk cId="158243433" sldId="2147483658"/>
              <ac:spMk id="69" creationId="{2BC7434D-39EB-8E6B-266F-860D430F462D}"/>
            </ac:spMkLst>
          </pc:spChg>
          <pc:spChg chg="mod">
            <ac:chgData name="Grace, Morgan (Brisbane)" userId="221d5f7b-4a46-4bd5-bdf1-698d3a91c208" providerId="ADAL" clId="{D90324C1-6CE4-4C28-B886-AED0B666B37F}" dt="2024-06-06T05:13:56.134" v="42620" actId="947"/>
            <ac:spMkLst>
              <pc:docMk/>
              <pc:sldMasterMk cId="1584551246" sldId="2147483648"/>
              <pc:sldLayoutMk cId="158243433" sldId="2147483658"/>
              <ac:spMk id="70" creationId="{D8AA1B28-C7CA-7CE5-0300-20813F65DF9B}"/>
            </ac:spMkLst>
          </pc:spChg>
          <pc:spChg chg="mod">
            <ac:chgData name="Grace, Morgan (Brisbane)" userId="221d5f7b-4a46-4bd5-bdf1-698d3a91c208" providerId="ADAL" clId="{D90324C1-6CE4-4C28-B886-AED0B666B37F}" dt="2024-06-06T05:13:56.134" v="42618" actId="947"/>
            <ac:spMkLst>
              <pc:docMk/>
              <pc:sldMasterMk cId="1584551246" sldId="2147483648"/>
              <pc:sldLayoutMk cId="158243433" sldId="2147483658"/>
              <ac:spMk id="71" creationId="{72C628CE-37A1-58B1-18DF-87088AA27E23}"/>
            </ac:spMkLst>
          </pc:spChg>
          <pc:spChg chg="mod">
            <ac:chgData name="Grace, Morgan (Brisbane)" userId="221d5f7b-4a46-4bd5-bdf1-698d3a91c208" providerId="ADAL" clId="{D90324C1-6CE4-4C28-B886-AED0B666B37F}" dt="2024-06-06T05:13:56.134" v="42616" actId="947"/>
            <ac:spMkLst>
              <pc:docMk/>
              <pc:sldMasterMk cId="1584551246" sldId="2147483648"/>
              <pc:sldLayoutMk cId="158243433" sldId="2147483658"/>
              <ac:spMk id="72" creationId="{87890E4C-3B72-F264-042B-BF1088BAE4E3}"/>
            </ac:spMkLst>
          </pc:spChg>
          <pc:spChg chg="mod">
            <ac:chgData name="Grace, Morgan (Brisbane)" userId="221d5f7b-4a46-4bd5-bdf1-698d3a91c208" providerId="ADAL" clId="{D90324C1-6CE4-4C28-B886-AED0B666B37F}" dt="2024-06-06T05:13:56.134" v="42614" actId="947"/>
            <ac:spMkLst>
              <pc:docMk/>
              <pc:sldMasterMk cId="1584551246" sldId="2147483648"/>
              <pc:sldLayoutMk cId="158243433" sldId="2147483658"/>
              <ac:spMk id="73" creationId="{30A07A76-FFD8-5365-9FB5-C172E4B08CFC}"/>
            </ac:spMkLst>
          </pc:spChg>
          <pc:spChg chg="mod">
            <ac:chgData name="Grace, Morgan (Brisbane)" userId="221d5f7b-4a46-4bd5-bdf1-698d3a91c208" providerId="ADAL" clId="{D90324C1-6CE4-4C28-B886-AED0B666B37F}" dt="2024-06-06T05:13:56.134" v="42612" actId="947"/>
            <ac:spMkLst>
              <pc:docMk/>
              <pc:sldMasterMk cId="1584551246" sldId="2147483648"/>
              <pc:sldLayoutMk cId="158243433" sldId="2147483658"/>
              <ac:spMk id="74" creationId="{7F3B4343-17E6-78D6-1729-52A945F6A044}"/>
            </ac:spMkLst>
          </pc:spChg>
          <pc:spChg chg="mod">
            <ac:chgData name="Grace, Morgan (Brisbane)" userId="221d5f7b-4a46-4bd5-bdf1-698d3a91c208" providerId="ADAL" clId="{D90324C1-6CE4-4C28-B886-AED0B666B37F}" dt="2024-06-06T05:13:56.134" v="42610" actId="947"/>
            <ac:spMkLst>
              <pc:docMk/>
              <pc:sldMasterMk cId="1584551246" sldId="2147483648"/>
              <pc:sldLayoutMk cId="158243433" sldId="2147483658"/>
              <ac:spMk id="75" creationId="{19F24D60-61DD-99CA-EEF5-B33249A26169}"/>
            </ac:spMkLst>
          </pc:spChg>
          <pc:spChg chg="mod">
            <ac:chgData name="Grace, Morgan (Brisbane)" userId="221d5f7b-4a46-4bd5-bdf1-698d3a91c208" providerId="ADAL" clId="{D90324C1-6CE4-4C28-B886-AED0B666B37F}" dt="2024-06-06T05:13:56.127" v="42608" actId="947"/>
            <ac:spMkLst>
              <pc:docMk/>
              <pc:sldMasterMk cId="1584551246" sldId="2147483648"/>
              <pc:sldLayoutMk cId="158243433" sldId="2147483658"/>
              <ac:spMk id="76" creationId="{613D404D-58D0-9D89-08B7-51DEF6AF197E}"/>
            </ac:spMkLst>
          </pc:spChg>
          <pc:spChg chg="mod">
            <ac:chgData name="Grace, Morgan (Brisbane)" userId="221d5f7b-4a46-4bd5-bdf1-698d3a91c208" providerId="ADAL" clId="{D90324C1-6CE4-4C28-B886-AED0B666B37F}" dt="2024-06-06T05:13:56.127" v="42606" actId="947"/>
            <ac:spMkLst>
              <pc:docMk/>
              <pc:sldMasterMk cId="1584551246" sldId="2147483648"/>
              <pc:sldLayoutMk cId="158243433" sldId="2147483658"/>
              <ac:spMk id="77" creationId="{A1EE9A1A-0E67-9DB0-ED6C-34EF75EF837D}"/>
            </ac:spMkLst>
          </pc:spChg>
          <pc:spChg chg="mod">
            <ac:chgData name="Grace, Morgan (Brisbane)" userId="221d5f7b-4a46-4bd5-bdf1-698d3a91c208" providerId="ADAL" clId="{D90324C1-6CE4-4C28-B886-AED0B666B37F}" dt="2024-06-06T05:13:56.127" v="42604" actId="947"/>
            <ac:spMkLst>
              <pc:docMk/>
              <pc:sldMasterMk cId="1584551246" sldId="2147483648"/>
              <pc:sldLayoutMk cId="158243433" sldId="2147483658"/>
              <ac:spMk id="78" creationId="{EFB62BCE-61DE-7F5C-C611-70DDA9034558}"/>
            </ac:spMkLst>
          </pc:spChg>
          <pc:spChg chg="mod">
            <ac:chgData name="Grace, Morgan (Brisbane)" userId="221d5f7b-4a46-4bd5-bdf1-698d3a91c208" providerId="ADAL" clId="{D90324C1-6CE4-4C28-B886-AED0B666B37F}" dt="2024-06-06T05:13:56.127" v="42602" actId="947"/>
            <ac:spMkLst>
              <pc:docMk/>
              <pc:sldMasterMk cId="1584551246" sldId="2147483648"/>
              <pc:sldLayoutMk cId="158243433" sldId="2147483658"/>
              <ac:spMk id="79" creationId="{771F8157-57D5-003C-F47E-D408BF15C4EE}"/>
            </ac:spMkLst>
          </pc:spChg>
          <pc:spChg chg="mod">
            <ac:chgData name="Grace, Morgan (Brisbane)" userId="221d5f7b-4a46-4bd5-bdf1-698d3a91c208" providerId="ADAL" clId="{D90324C1-6CE4-4C28-B886-AED0B666B37F}" dt="2024-06-06T05:13:56.112" v="42600" actId="947"/>
            <ac:spMkLst>
              <pc:docMk/>
              <pc:sldMasterMk cId="1584551246" sldId="2147483648"/>
              <pc:sldLayoutMk cId="158243433" sldId="2147483658"/>
              <ac:spMk id="80" creationId="{F1DF9C4B-B88E-3A25-4C46-C79B86686100}"/>
            </ac:spMkLst>
          </pc:spChg>
          <pc:spChg chg="mod">
            <ac:chgData name="Grace, Morgan (Brisbane)" userId="221d5f7b-4a46-4bd5-bdf1-698d3a91c208" providerId="ADAL" clId="{D90324C1-6CE4-4C28-B886-AED0B666B37F}" dt="2024-06-06T05:13:56.112" v="42598" actId="947"/>
            <ac:spMkLst>
              <pc:docMk/>
              <pc:sldMasterMk cId="1584551246" sldId="2147483648"/>
              <pc:sldLayoutMk cId="158243433" sldId="2147483658"/>
              <ac:spMk id="81" creationId="{46D404B8-DC55-5B28-D35C-A909781D9156}"/>
            </ac:spMkLst>
          </pc:spChg>
          <pc:spChg chg="mod">
            <ac:chgData name="Grace, Morgan (Brisbane)" userId="221d5f7b-4a46-4bd5-bdf1-698d3a91c208" providerId="ADAL" clId="{D90324C1-6CE4-4C28-B886-AED0B666B37F}" dt="2024-06-06T05:13:56.112" v="42596" actId="947"/>
            <ac:spMkLst>
              <pc:docMk/>
              <pc:sldMasterMk cId="1584551246" sldId="2147483648"/>
              <pc:sldLayoutMk cId="158243433" sldId="2147483658"/>
              <ac:spMk id="82" creationId="{C9317E89-9005-B238-D0F3-7910A7D771E6}"/>
            </ac:spMkLst>
          </pc:spChg>
          <pc:spChg chg="mod">
            <ac:chgData name="Grace, Morgan (Brisbane)" userId="221d5f7b-4a46-4bd5-bdf1-698d3a91c208" providerId="ADAL" clId="{D90324C1-6CE4-4C28-B886-AED0B666B37F}" dt="2024-06-06T05:13:56.112" v="42594" actId="947"/>
            <ac:spMkLst>
              <pc:docMk/>
              <pc:sldMasterMk cId="1584551246" sldId="2147483648"/>
              <pc:sldLayoutMk cId="158243433" sldId="2147483658"/>
              <ac:spMk id="83" creationId="{DB2A65FA-2AE1-1DD8-CB0F-FF583D2F9D66}"/>
            </ac:spMkLst>
          </pc:spChg>
          <pc:spChg chg="mod">
            <ac:chgData name="Grace, Morgan (Brisbane)" userId="221d5f7b-4a46-4bd5-bdf1-698d3a91c208" providerId="ADAL" clId="{D90324C1-6CE4-4C28-B886-AED0B666B37F}" dt="2024-06-06T05:13:56.112" v="42592" actId="947"/>
            <ac:spMkLst>
              <pc:docMk/>
              <pc:sldMasterMk cId="1584551246" sldId="2147483648"/>
              <pc:sldLayoutMk cId="158243433" sldId="2147483658"/>
              <ac:spMk id="84" creationId="{D2733B38-1411-12E7-2288-2F1245C47337}"/>
            </ac:spMkLst>
          </pc:spChg>
          <pc:spChg chg="mod">
            <ac:chgData name="Grace, Morgan (Brisbane)" userId="221d5f7b-4a46-4bd5-bdf1-698d3a91c208" providerId="ADAL" clId="{D90324C1-6CE4-4C28-B886-AED0B666B37F}" dt="2024-06-06T05:13:56.112" v="42590" actId="947"/>
            <ac:spMkLst>
              <pc:docMk/>
              <pc:sldMasterMk cId="1584551246" sldId="2147483648"/>
              <pc:sldLayoutMk cId="158243433" sldId="2147483658"/>
              <ac:spMk id="85" creationId="{C6FD6338-4D24-AC3D-EF8C-BAD80D0424BA}"/>
            </ac:spMkLst>
          </pc:spChg>
          <pc:spChg chg="mod">
            <ac:chgData name="Grace, Morgan (Brisbane)" userId="221d5f7b-4a46-4bd5-bdf1-698d3a91c208" providerId="ADAL" clId="{D90324C1-6CE4-4C28-B886-AED0B666B37F}" dt="2024-06-06T05:13:56.112" v="42588" actId="947"/>
            <ac:spMkLst>
              <pc:docMk/>
              <pc:sldMasterMk cId="1584551246" sldId="2147483648"/>
              <pc:sldLayoutMk cId="158243433" sldId="2147483658"/>
              <ac:spMk id="86" creationId="{30F16CA9-E406-F914-CA57-FF49A37E1076}"/>
            </ac:spMkLst>
          </pc:spChg>
          <pc:spChg chg="mod">
            <ac:chgData name="Grace, Morgan (Brisbane)" userId="221d5f7b-4a46-4bd5-bdf1-698d3a91c208" providerId="ADAL" clId="{D90324C1-6CE4-4C28-B886-AED0B666B37F}" dt="2024-06-06T05:13:56.112" v="42586" actId="947"/>
            <ac:spMkLst>
              <pc:docMk/>
              <pc:sldMasterMk cId="1584551246" sldId="2147483648"/>
              <pc:sldLayoutMk cId="158243433" sldId="2147483658"/>
              <ac:spMk id="87" creationId="{31A7613C-2FF2-883F-F414-CA0938943188}"/>
            </ac:spMkLst>
          </pc:spChg>
          <pc:spChg chg="mod">
            <ac:chgData name="Grace, Morgan (Brisbane)" userId="221d5f7b-4a46-4bd5-bdf1-698d3a91c208" providerId="ADAL" clId="{D90324C1-6CE4-4C28-B886-AED0B666B37F}" dt="2024-06-06T05:13:56.112" v="42584" actId="947"/>
            <ac:spMkLst>
              <pc:docMk/>
              <pc:sldMasterMk cId="1584551246" sldId="2147483648"/>
              <pc:sldLayoutMk cId="158243433" sldId="2147483658"/>
              <ac:spMk id="88" creationId="{A1BC004F-274A-A0C3-7B4F-B1B22B6E040F}"/>
            </ac:spMkLst>
          </pc:spChg>
          <pc:spChg chg="mod">
            <ac:chgData name="Grace, Morgan (Brisbane)" userId="221d5f7b-4a46-4bd5-bdf1-698d3a91c208" providerId="ADAL" clId="{D90324C1-6CE4-4C28-B886-AED0B666B37F}" dt="2024-06-06T05:13:56.112" v="42582" actId="947"/>
            <ac:spMkLst>
              <pc:docMk/>
              <pc:sldMasterMk cId="1584551246" sldId="2147483648"/>
              <pc:sldLayoutMk cId="158243433" sldId="2147483658"/>
              <ac:spMk id="89" creationId="{FB0B2983-CEF1-3C02-248C-A98D59DCADF0}"/>
            </ac:spMkLst>
          </pc:spChg>
          <pc:spChg chg="mod">
            <ac:chgData name="Grace, Morgan (Brisbane)" userId="221d5f7b-4a46-4bd5-bdf1-698d3a91c208" providerId="ADAL" clId="{D90324C1-6CE4-4C28-B886-AED0B666B37F}" dt="2024-06-06T05:13:56.165" v="42652" actId="947"/>
            <ac:spMkLst>
              <pc:docMk/>
              <pc:sldMasterMk cId="1584551246" sldId="2147483648"/>
              <pc:sldLayoutMk cId="158243433" sldId="2147483658"/>
              <ac:spMk id="90" creationId="{49E9BDC4-E096-7D06-F4A2-093B54B62840}"/>
            </ac:spMkLst>
          </pc:spChg>
          <pc:spChg chg="mod">
            <ac:chgData name="Grace, Morgan (Brisbane)" userId="221d5f7b-4a46-4bd5-bdf1-698d3a91c208" providerId="ADAL" clId="{D90324C1-6CE4-4C28-B886-AED0B666B37F}" dt="2024-06-06T05:13:56.149" v="42650" actId="947"/>
            <ac:spMkLst>
              <pc:docMk/>
              <pc:sldMasterMk cId="1584551246" sldId="2147483648"/>
              <pc:sldLayoutMk cId="158243433" sldId="2147483658"/>
              <ac:spMk id="91" creationId="{4FE2ED83-69AD-BB37-D7A9-DDC9611CA421}"/>
            </ac:spMkLst>
          </pc:spChg>
          <pc:spChg chg="mod">
            <ac:chgData name="Grace, Morgan (Brisbane)" userId="221d5f7b-4a46-4bd5-bdf1-698d3a91c208" providerId="ADAL" clId="{D90324C1-6CE4-4C28-B886-AED0B666B37F}" dt="2024-06-06T05:13:56.149" v="42648" actId="947"/>
            <ac:spMkLst>
              <pc:docMk/>
              <pc:sldMasterMk cId="1584551246" sldId="2147483648"/>
              <pc:sldLayoutMk cId="158243433" sldId="2147483658"/>
              <ac:spMk id="92" creationId="{153A998E-E6B2-6539-39FF-D2463F9BF1B2}"/>
            </ac:spMkLst>
          </pc:spChg>
          <pc:spChg chg="mod">
            <ac:chgData name="Grace, Morgan (Brisbane)" userId="221d5f7b-4a46-4bd5-bdf1-698d3a91c208" providerId="ADAL" clId="{D90324C1-6CE4-4C28-B886-AED0B666B37F}" dt="2024-06-06T05:13:56.149" v="42646" actId="947"/>
            <ac:spMkLst>
              <pc:docMk/>
              <pc:sldMasterMk cId="1584551246" sldId="2147483648"/>
              <pc:sldLayoutMk cId="158243433" sldId="2147483658"/>
              <ac:spMk id="93" creationId="{8AEF671B-4997-369B-C9FE-8FA00466EF2C}"/>
            </ac:spMkLst>
          </pc:spChg>
          <pc:spChg chg="mod">
            <ac:chgData name="Grace, Morgan (Brisbane)" userId="221d5f7b-4a46-4bd5-bdf1-698d3a91c208" providerId="ADAL" clId="{D90324C1-6CE4-4C28-B886-AED0B666B37F}" dt="2024-06-06T05:13:56.149" v="42644" actId="947"/>
            <ac:spMkLst>
              <pc:docMk/>
              <pc:sldMasterMk cId="1584551246" sldId="2147483648"/>
              <pc:sldLayoutMk cId="158243433" sldId="2147483658"/>
              <ac:spMk id="94" creationId="{A15D5E0A-2349-5040-BF1F-3CD3A3AAFC98}"/>
            </ac:spMkLst>
          </pc:spChg>
          <pc:spChg chg="mod">
            <ac:chgData name="Grace, Morgan (Brisbane)" userId="221d5f7b-4a46-4bd5-bdf1-698d3a91c208" providerId="ADAL" clId="{D90324C1-6CE4-4C28-B886-AED0B666B37F}" dt="2024-06-06T05:13:56.149" v="42642" actId="947"/>
            <ac:spMkLst>
              <pc:docMk/>
              <pc:sldMasterMk cId="1584551246" sldId="2147483648"/>
              <pc:sldLayoutMk cId="158243433" sldId="2147483658"/>
              <ac:spMk id="95" creationId="{51B1A184-0EB7-3085-E959-32E594569CD6}"/>
            </ac:spMkLst>
          </pc:spChg>
          <pc:spChg chg="mod">
            <ac:chgData name="Grace, Morgan (Brisbane)" userId="221d5f7b-4a46-4bd5-bdf1-698d3a91c208" providerId="ADAL" clId="{D90324C1-6CE4-4C28-B886-AED0B666B37F}" dt="2024-06-06T05:13:56.149" v="42640" actId="947"/>
            <ac:spMkLst>
              <pc:docMk/>
              <pc:sldMasterMk cId="1584551246" sldId="2147483648"/>
              <pc:sldLayoutMk cId="158243433" sldId="2147483658"/>
              <ac:spMk id="96" creationId="{D0A4DBDF-FF09-4D20-324A-275362B2E5F3}"/>
            </ac:spMkLst>
          </pc:spChg>
          <pc:spChg chg="mod">
            <ac:chgData name="Grace, Morgan (Brisbane)" userId="221d5f7b-4a46-4bd5-bdf1-698d3a91c208" providerId="ADAL" clId="{D90324C1-6CE4-4C28-B886-AED0B666B37F}" dt="2024-06-06T05:13:56.149" v="42638" actId="947"/>
            <ac:spMkLst>
              <pc:docMk/>
              <pc:sldMasterMk cId="1584551246" sldId="2147483648"/>
              <pc:sldLayoutMk cId="158243433" sldId="2147483658"/>
              <ac:spMk id="97" creationId="{E786DBCD-6B38-AA7B-138B-55027754DB62}"/>
            </ac:spMkLst>
          </pc:spChg>
          <pc:spChg chg="mod">
            <ac:chgData name="Grace, Morgan (Brisbane)" userId="221d5f7b-4a46-4bd5-bdf1-698d3a91c208" providerId="ADAL" clId="{D90324C1-6CE4-4C28-B886-AED0B666B37F}" dt="2024-06-06T05:13:56.149" v="42636" actId="947"/>
            <ac:spMkLst>
              <pc:docMk/>
              <pc:sldMasterMk cId="1584551246" sldId="2147483648"/>
              <pc:sldLayoutMk cId="158243433" sldId="2147483658"/>
              <ac:spMk id="98" creationId="{B7B860E9-74EE-DD02-EDAF-5E584F6144CA}"/>
            </ac:spMkLst>
          </pc:spChg>
          <pc:spChg chg="mod">
            <ac:chgData name="Grace, Morgan (Brisbane)" userId="221d5f7b-4a46-4bd5-bdf1-698d3a91c208" providerId="ADAL" clId="{D90324C1-6CE4-4C28-B886-AED0B666B37F}" dt="2024-06-06T05:13:56.165" v="42664" actId="947"/>
            <ac:spMkLst>
              <pc:docMk/>
              <pc:sldMasterMk cId="1584551246" sldId="2147483648"/>
              <pc:sldLayoutMk cId="158243433" sldId="2147483658"/>
              <ac:spMk id="99" creationId="{B910701F-36D7-E8B7-67CE-D3B0C3A56DBC}"/>
            </ac:spMkLst>
          </pc:spChg>
          <pc:spChg chg="mod">
            <ac:chgData name="Grace, Morgan (Brisbane)" userId="221d5f7b-4a46-4bd5-bdf1-698d3a91c208" providerId="ADAL" clId="{D90324C1-6CE4-4C28-B886-AED0B666B37F}" dt="2024-06-06T05:13:56.165" v="42662" actId="947"/>
            <ac:spMkLst>
              <pc:docMk/>
              <pc:sldMasterMk cId="1584551246" sldId="2147483648"/>
              <pc:sldLayoutMk cId="158243433" sldId="2147483658"/>
              <ac:spMk id="100" creationId="{28767A94-90C2-4763-67B2-4F3B6004B349}"/>
            </ac:spMkLst>
          </pc:spChg>
          <pc:spChg chg="mod">
            <ac:chgData name="Grace, Morgan (Brisbane)" userId="221d5f7b-4a46-4bd5-bdf1-698d3a91c208" providerId="ADAL" clId="{D90324C1-6CE4-4C28-B886-AED0B666B37F}" dt="2024-06-06T05:13:56.165" v="42660" actId="947"/>
            <ac:spMkLst>
              <pc:docMk/>
              <pc:sldMasterMk cId="1584551246" sldId="2147483648"/>
              <pc:sldLayoutMk cId="158243433" sldId="2147483658"/>
              <ac:spMk id="101" creationId="{13A810EE-B050-D7E3-694F-D277D3356516}"/>
            </ac:spMkLst>
          </pc:spChg>
          <pc:spChg chg="mod">
            <ac:chgData name="Grace, Morgan (Brisbane)" userId="221d5f7b-4a46-4bd5-bdf1-698d3a91c208" providerId="ADAL" clId="{D90324C1-6CE4-4C28-B886-AED0B666B37F}" dt="2024-06-06T05:13:56.165" v="42658" actId="947"/>
            <ac:spMkLst>
              <pc:docMk/>
              <pc:sldMasterMk cId="1584551246" sldId="2147483648"/>
              <pc:sldLayoutMk cId="158243433" sldId="2147483658"/>
              <ac:spMk id="102" creationId="{E3206713-1776-0EAD-7DEF-E43BD5CA4084}"/>
            </ac:spMkLst>
          </pc:spChg>
          <pc:spChg chg="mod">
            <ac:chgData name="Grace, Morgan (Brisbane)" userId="221d5f7b-4a46-4bd5-bdf1-698d3a91c208" providerId="ADAL" clId="{D90324C1-6CE4-4C28-B886-AED0B666B37F}" dt="2024-06-06T05:13:56.165" v="42656" actId="947"/>
            <ac:spMkLst>
              <pc:docMk/>
              <pc:sldMasterMk cId="1584551246" sldId="2147483648"/>
              <pc:sldLayoutMk cId="158243433" sldId="2147483658"/>
              <ac:spMk id="103" creationId="{FB83A2EA-CA8A-11C7-9E09-39654B2FCBFA}"/>
            </ac:spMkLst>
          </pc:spChg>
          <pc:spChg chg="mod">
            <ac:chgData name="Grace, Morgan (Brisbane)" userId="221d5f7b-4a46-4bd5-bdf1-698d3a91c208" providerId="ADAL" clId="{D90324C1-6CE4-4C28-B886-AED0B666B37F}" dt="2024-06-06T05:13:56.165" v="42654" actId="947"/>
            <ac:spMkLst>
              <pc:docMk/>
              <pc:sldMasterMk cId="1584551246" sldId="2147483648"/>
              <pc:sldLayoutMk cId="158243433" sldId="2147483658"/>
              <ac:spMk id="104" creationId="{99979958-89A3-DDFA-5E82-DCDCFC6243DF}"/>
            </ac:spMkLst>
          </pc:spChg>
          <pc:graphicFrameChg chg="mod ord modVis replST">
            <ac:chgData name="Grace, Morgan (Brisbane)" userId="221d5f7b-4a46-4bd5-bdf1-698d3a91c208" providerId="ADAL" clId="{D90324C1-6CE4-4C28-B886-AED0B666B37F}" dt="2024-06-06T05:14:01.320" v="46100"/>
            <ac:graphicFrameMkLst>
              <pc:docMk/>
              <pc:sldMasterMk cId="1584551246" sldId="2147483648"/>
              <pc:sldLayoutMk cId="158243433" sldId="2147483658"/>
              <ac:graphicFrameMk id="3" creationId="{4A309E00-B342-F987-DDCA-BD8E3D714A18}"/>
            </ac:graphicFrameMkLst>
          </pc:graphicFrameChg>
        </pc:sldLayoutChg>
        <pc:sldLayoutChg chg="delSp modSp mod">
          <pc:chgData name="Grace, Morgan (Brisbane)" userId="221d5f7b-4a46-4bd5-bdf1-698d3a91c208" providerId="ADAL" clId="{D90324C1-6CE4-4C28-B886-AED0B666B37F}" dt="2024-06-06T05:14:00.356" v="45733"/>
          <pc:sldLayoutMkLst>
            <pc:docMk/>
            <pc:sldMasterMk cId="1584551246" sldId="2147483648"/>
            <pc:sldLayoutMk cId="2874204694" sldId="2147483659"/>
          </pc:sldLayoutMkLst>
          <pc:spChg chg="del mod modVis">
            <ac:chgData name="Grace, Morgan (Brisbane)" userId="221d5f7b-4a46-4bd5-bdf1-698d3a91c208" providerId="ADAL" clId="{D90324C1-6CE4-4C28-B886-AED0B666B37F}" dt="2024-06-06T05:14:00.340" v="45726" actId="478"/>
            <ac:spMkLst>
              <pc:docMk/>
              <pc:sldMasterMk cId="1584551246" sldId="2147483648"/>
              <pc:sldLayoutMk cId="2874204694" sldId="2147483659"/>
              <ac:spMk id="6" creationId="{2B98C342-29D2-B78B-D8A0-9180296A0FFB}"/>
            </ac:spMkLst>
          </pc:spChg>
          <pc:spChg chg="mod">
            <ac:chgData name="Grace, Morgan (Brisbane)" userId="221d5f7b-4a46-4bd5-bdf1-698d3a91c208" providerId="ADAL" clId="{D90324C1-6CE4-4C28-B886-AED0B666B37F}" dt="2024-06-06T05:13:54.862" v="42021" actId="947"/>
            <ac:spMkLst>
              <pc:docMk/>
              <pc:sldMasterMk cId="1584551246" sldId="2147483648"/>
              <pc:sldLayoutMk cId="2874204694" sldId="2147483659"/>
              <ac:spMk id="7" creationId="{B4F9165C-49A8-F130-21BF-F7608E3306B0}"/>
            </ac:spMkLst>
          </pc:spChg>
          <pc:spChg chg="mod">
            <ac:chgData name="Grace, Morgan (Brisbane)" userId="221d5f7b-4a46-4bd5-bdf1-698d3a91c208" providerId="ADAL" clId="{D90324C1-6CE4-4C28-B886-AED0B666B37F}" dt="2024-06-06T05:13:54.831" v="41967" actId="790"/>
            <ac:spMkLst>
              <pc:docMk/>
              <pc:sldMasterMk cId="1584551246" sldId="2147483648"/>
              <pc:sldLayoutMk cId="2874204694" sldId="2147483659"/>
              <ac:spMk id="8" creationId="{F46C14F1-92BB-7130-AD36-AD173D6CC60F}"/>
            </ac:spMkLst>
          </pc:spChg>
          <pc:spChg chg="mod">
            <ac:chgData name="Grace, Morgan (Brisbane)" userId="221d5f7b-4a46-4bd5-bdf1-698d3a91c208" providerId="ADAL" clId="{D90324C1-6CE4-4C28-B886-AED0B666B37F}" dt="2024-06-06T05:13:54.862" v="42019" actId="947"/>
            <ac:spMkLst>
              <pc:docMk/>
              <pc:sldMasterMk cId="1584551246" sldId="2147483648"/>
              <pc:sldLayoutMk cId="2874204694" sldId="2147483659"/>
              <ac:spMk id="9" creationId="{A653FE9D-166C-BF4E-02F2-F9B5CB68E629}"/>
            </ac:spMkLst>
          </pc:spChg>
          <pc:spChg chg="mod">
            <ac:chgData name="Grace, Morgan (Brisbane)" userId="221d5f7b-4a46-4bd5-bdf1-698d3a91c208" providerId="ADAL" clId="{D90324C1-6CE4-4C28-B886-AED0B666B37F}" dt="2024-06-06T05:13:54.862" v="42017" actId="947"/>
            <ac:spMkLst>
              <pc:docMk/>
              <pc:sldMasterMk cId="1584551246" sldId="2147483648"/>
              <pc:sldLayoutMk cId="2874204694" sldId="2147483659"/>
              <ac:spMk id="10" creationId="{7762B273-C75B-F8FE-7A81-2CF69D4C52DF}"/>
            </ac:spMkLst>
          </pc:spChg>
          <pc:spChg chg="mod">
            <ac:chgData name="Grace, Morgan (Brisbane)" userId="221d5f7b-4a46-4bd5-bdf1-698d3a91c208" providerId="ADAL" clId="{D90324C1-6CE4-4C28-B886-AED0B666B37F}" dt="2024-06-06T05:13:54.862" v="42015" actId="947"/>
            <ac:spMkLst>
              <pc:docMk/>
              <pc:sldMasterMk cId="1584551246" sldId="2147483648"/>
              <pc:sldLayoutMk cId="2874204694" sldId="2147483659"/>
              <ac:spMk id="11" creationId="{E094EB2E-1C6A-8760-E29C-5E1AFE70C3E0}"/>
            </ac:spMkLst>
          </pc:spChg>
          <pc:spChg chg="mod">
            <ac:chgData name="Grace, Morgan (Brisbane)" userId="221d5f7b-4a46-4bd5-bdf1-698d3a91c208" providerId="ADAL" clId="{D90324C1-6CE4-4C28-B886-AED0B666B37F}" dt="2024-06-06T05:13:54.825" v="41966" actId="790"/>
            <ac:spMkLst>
              <pc:docMk/>
              <pc:sldMasterMk cId="1584551246" sldId="2147483648"/>
              <pc:sldLayoutMk cId="2874204694" sldId="2147483659"/>
              <ac:spMk id="12" creationId="{F90C5A34-8444-BF51-CC40-CEE10A575BE0}"/>
            </ac:spMkLst>
          </pc:spChg>
          <pc:spChg chg="mod">
            <ac:chgData name="Grace, Morgan (Brisbane)" userId="221d5f7b-4a46-4bd5-bdf1-698d3a91c208" providerId="ADAL" clId="{D90324C1-6CE4-4C28-B886-AED0B666B37F}" dt="2024-06-06T05:13:54.862" v="42013" actId="947"/>
            <ac:spMkLst>
              <pc:docMk/>
              <pc:sldMasterMk cId="1584551246" sldId="2147483648"/>
              <pc:sldLayoutMk cId="2874204694" sldId="2147483659"/>
              <ac:spMk id="13" creationId="{E902DC2F-B994-34BB-D873-AF2AA22527E2}"/>
            </ac:spMkLst>
          </pc:spChg>
          <pc:spChg chg="mod">
            <ac:chgData name="Grace, Morgan (Brisbane)" userId="221d5f7b-4a46-4bd5-bdf1-698d3a91c208" providerId="ADAL" clId="{D90324C1-6CE4-4C28-B886-AED0B666B37F}" dt="2024-06-06T05:13:58.483" v="44272" actId="948"/>
            <ac:spMkLst>
              <pc:docMk/>
              <pc:sldMasterMk cId="1584551246" sldId="2147483648"/>
              <pc:sldLayoutMk cId="2874204694" sldId="2147483659"/>
              <ac:spMk id="14" creationId="{04935328-5165-4BEA-58F2-DFB9A3D2CC52}"/>
            </ac:spMkLst>
          </pc:spChg>
          <pc:spChg chg="mod">
            <ac:chgData name="Grace, Morgan (Brisbane)" userId="221d5f7b-4a46-4bd5-bdf1-698d3a91c208" providerId="ADAL" clId="{D90324C1-6CE4-4C28-B886-AED0B666B37F}" dt="2024-06-06T05:13:54.862" v="42011" actId="947"/>
            <ac:spMkLst>
              <pc:docMk/>
              <pc:sldMasterMk cId="1584551246" sldId="2147483648"/>
              <pc:sldLayoutMk cId="2874204694" sldId="2147483659"/>
              <ac:spMk id="15" creationId="{E2D1AB21-4453-4E53-8C9C-86FFC918DCA4}"/>
            </ac:spMkLst>
          </pc:spChg>
          <pc:spChg chg="mod">
            <ac:chgData name="Grace, Morgan (Brisbane)" userId="221d5f7b-4a46-4bd5-bdf1-698d3a91c208" providerId="ADAL" clId="{D90324C1-6CE4-4C28-B886-AED0B666B37F}" dt="2024-06-06T05:13:54.862" v="42009" actId="947"/>
            <ac:spMkLst>
              <pc:docMk/>
              <pc:sldMasterMk cId="1584551246" sldId="2147483648"/>
              <pc:sldLayoutMk cId="2874204694" sldId="2147483659"/>
              <ac:spMk id="16" creationId="{52799849-084C-59BF-3ABB-37356E7F0E5B}"/>
            </ac:spMkLst>
          </pc:spChg>
          <pc:spChg chg="mod">
            <ac:chgData name="Grace, Morgan (Brisbane)" userId="221d5f7b-4a46-4bd5-bdf1-698d3a91c208" providerId="ADAL" clId="{D90324C1-6CE4-4C28-B886-AED0B666B37F}" dt="2024-06-06T05:13:54.809" v="41962" actId="790"/>
            <ac:spMkLst>
              <pc:docMk/>
              <pc:sldMasterMk cId="1584551246" sldId="2147483648"/>
              <pc:sldLayoutMk cId="2874204694" sldId="2147483659"/>
              <ac:spMk id="17" creationId="{58C64552-3CC2-033A-D0B2-40559B174871}"/>
            </ac:spMkLst>
          </pc:spChg>
          <pc:spChg chg="mod">
            <ac:chgData name="Grace, Morgan (Brisbane)" userId="221d5f7b-4a46-4bd5-bdf1-698d3a91c208" providerId="ADAL" clId="{D90324C1-6CE4-4C28-B886-AED0B666B37F}" dt="2024-06-06T05:13:54.825" v="41963" actId="790"/>
            <ac:spMkLst>
              <pc:docMk/>
              <pc:sldMasterMk cId="1584551246" sldId="2147483648"/>
              <pc:sldLayoutMk cId="2874204694" sldId="2147483659"/>
              <ac:spMk id="18" creationId="{49723328-F83F-E36F-A23C-C63BA0452F08}"/>
            </ac:spMkLst>
          </pc:spChg>
          <pc:spChg chg="mod">
            <ac:chgData name="Grace, Morgan (Brisbane)" userId="221d5f7b-4a46-4bd5-bdf1-698d3a91c208" providerId="ADAL" clId="{D90324C1-6CE4-4C28-B886-AED0B666B37F}" dt="2024-06-06T05:13:54.825" v="41964" actId="790"/>
            <ac:spMkLst>
              <pc:docMk/>
              <pc:sldMasterMk cId="1584551246" sldId="2147483648"/>
              <pc:sldLayoutMk cId="2874204694" sldId="2147483659"/>
              <ac:spMk id="19" creationId="{10F85AFF-0099-B004-10E7-3264A4FAD960}"/>
            </ac:spMkLst>
          </pc:spChg>
          <pc:spChg chg="mod">
            <ac:chgData name="Grace, Morgan (Brisbane)" userId="221d5f7b-4a46-4bd5-bdf1-698d3a91c208" providerId="ADAL" clId="{D90324C1-6CE4-4C28-B886-AED0B666B37F}" dt="2024-06-06T05:13:54.862" v="42007" actId="947"/>
            <ac:spMkLst>
              <pc:docMk/>
              <pc:sldMasterMk cId="1584551246" sldId="2147483648"/>
              <pc:sldLayoutMk cId="2874204694" sldId="2147483659"/>
              <ac:spMk id="20" creationId="{5D3F614A-35DA-5F57-796E-8704D33F816C}"/>
            </ac:spMkLst>
          </pc:spChg>
          <pc:spChg chg="mod">
            <ac:chgData name="Grace, Morgan (Brisbane)" userId="221d5f7b-4a46-4bd5-bdf1-698d3a91c208" providerId="ADAL" clId="{D90324C1-6CE4-4C28-B886-AED0B666B37F}" dt="2024-06-06T05:13:54.825" v="41965" actId="790"/>
            <ac:spMkLst>
              <pc:docMk/>
              <pc:sldMasterMk cId="1584551246" sldId="2147483648"/>
              <pc:sldLayoutMk cId="2874204694" sldId="2147483659"/>
              <ac:spMk id="21" creationId="{4FCEAD4B-3D9E-1FE1-F7EA-4DF4F676AA75}"/>
            </ac:spMkLst>
          </pc:spChg>
          <pc:spChg chg="mod">
            <ac:chgData name="Grace, Morgan (Brisbane)" userId="221d5f7b-4a46-4bd5-bdf1-698d3a91c208" providerId="ADAL" clId="{D90324C1-6CE4-4C28-B886-AED0B666B37F}" dt="2024-06-06T05:13:54.847" v="42005" actId="947"/>
            <ac:spMkLst>
              <pc:docMk/>
              <pc:sldMasterMk cId="1584551246" sldId="2147483648"/>
              <pc:sldLayoutMk cId="2874204694" sldId="2147483659"/>
              <ac:spMk id="22" creationId="{0DB4EAF9-7766-CF9D-1061-F00815E6660E}"/>
            </ac:spMkLst>
          </pc:spChg>
          <pc:spChg chg="mod">
            <ac:chgData name="Grace, Morgan (Brisbane)" userId="221d5f7b-4a46-4bd5-bdf1-698d3a91c208" providerId="ADAL" clId="{D90324C1-6CE4-4C28-B886-AED0B666B37F}" dt="2024-06-06T05:13:54.847" v="42003" actId="947"/>
            <ac:spMkLst>
              <pc:docMk/>
              <pc:sldMasterMk cId="1584551246" sldId="2147483648"/>
              <pc:sldLayoutMk cId="2874204694" sldId="2147483659"/>
              <ac:spMk id="23" creationId="{67480194-669E-A87C-ECD2-3F6D2EEC3DD4}"/>
            </ac:spMkLst>
          </pc:spChg>
          <pc:spChg chg="mod">
            <ac:chgData name="Grace, Morgan (Brisbane)" userId="221d5f7b-4a46-4bd5-bdf1-698d3a91c208" providerId="ADAL" clId="{D90324C1-6CE4-4C28-B886-AED0B666B37F}" dt="2024-06-06T05:13:54.847" v="42001" actId="947"/>
            <ac:spMkLst>
              <pc:docMk/>
              <pc:sldMasterMk cId="1584551246" sldId="2147483648"/>
              <pc:sldLayoutMk cId="2874204694" sldId="2147483659"/>
              <ac:spMk id="24" creationId="{9A48E700-7FA4-33EB-6C8B-56E66EB683D3}"/>
            </ac:spMkLst>
          </pc:spChg>
          <pc:spChg chg="mod">
            <ac:chgData name="Grace, Morgan (Brisbane)" userId="221d5f7b-4a46-4bd5-bdf1-698d3a91c208" providerId="ADAL" clId="{D90324C1-6CE4-4C28-B886-AED0B666B37F}" dt="2024-06-06T05:13:54.847" v="41999" actId="947"/>
            <ac:spMkLst>
              <pc:docMk/>
              <pc:sldMasterMk cId="1584551246" sldId="2147483648"/>
              <pc:sldLayoutMk cId="2874204694" sldId="2147483659"/>
              <ac:spMk id="25" creationId="{42C3B8A3-8697-F9F3-C3C8-39EF7E3AFB81}"/>
            </ac:spMkLst>
          </pc:spChg>
          <pc:spChg chg="mod">
            <ac:chgData name="Grace, Morgan (Brisbane)" userId="221d5f7b-4a46-4bd5-bdf1-698d3a91c208" providerId="ADAL" clId="{D90324C1-6CE4-4C28-B886-AED0B666B37F}" dt="2024-06-06T05:13:54.847" v="41997" actId="947"/>
            <ac:spMkLst>
              <pc:docMk/>
              <pc:sldMasterMk cId="1584551246" sldId="2147483648"/>
              <pc:sldLayoutMk cId="2874204694" sldId="2147483659"/>
              <ac:spMk id="26" creationId="{FEC2AF82-6931-D820-1FCA-44B6F07089D7}"/>
            </ac:spMkLst>
          </pc:spChg>
          <pc:spChg chg="mod">
            <ac:chgData name="Grace, Morgan (Brisbane)" userId="221d5f7b-4a46-4bd5-bdf1-698d3a91c208" providerId="ADAL" clId="{D90324C1-6CE4-4C28-B886-AED0B666B37F}" dt="2024-06-06T05:13:54.847" v="41995" actId="947"/>
            <ac:spMkLst>
              <pc:docMk/>
              <pc:sldMasterMk cId="1584551246" sldId="2147483648"/>
              <pc:sldLayoutMk cId="2874204694" sldId="2147483659"/>
              <ac:spMk id="27" creationId="{5AD213E7-A737-73EC-8DD7-6890DEC94B92}"/>
            </ac:spMkLst>
          </pc:spChg>
          <pc:spChg chg="mod">
            <ac:chgData name="Grace, Morgan (Brisbane)" userId="221d5f7b-4a46-4bd5-bdf1-698d3a91c208" providerId="ADAL" clId="{D90324C1-6CE4-4C28-B886-AED0B666B37F}" dt="2024-06-06T05:13:54.847" v="41993" actId="947"/>
            <ac:spMkLst>
              <pc:docMk/>
              <pc:sldMasterMk cId="1584551246" sldId="2147483648"/>
              <pc:sldLayoutMk cId="2874204694" sldId="2147483659"/>
              <ac:spMk id="28" creationId="{4FE38CD9-A208-C2EB-7532-E10585CC8DF7}"/>
            </ac:spMkLst>
          </pc:spChg>
          <pc:spChg chg="mod">
            <ac:chgData name="Grace, Morgan (Brisbane)" userId="221d5f7b-4a46-4bd5-bdf1-698d3a91c208" providerId="ADAL" clId="{D90324C1-6CE4-4C28-B886-AED0B666B37F}" dt="2024-06-06T05:13:54.847" v="41991" actId="947"/>
            <ac:spMkLst>
              <pc:docMk/>
              <pc:sldMasterMk cId="1584551246" sldId="2147483648"/>
              <pc:sldLayoutMk cId="2874204694" sldId="2147483659"/>
              <ac:spMk id="29" creationId="{5F17C84A-589A-1AA8-77B1-5752262FAF7B}"/>
            </ac:spMkLst>
          </pc:spChg>
          <pc:spChg chg="mod">
            <ac:chgData name="Grace, Morgan (Brisbane)" userId="221d5f7b-4a46-4bd5-bdf1-698d3a91c208" providerId="ADAL" clId="{D90324C1-6CE4-4C28-B886-AED0B666B37F}" dt="2024-06-06T05:13:54.847" v="41989" actId="947"/>
            <ac:spMkLst>
              <pc:docMk/>
              <pc:sldMasterMk cId="1584551246" sldId="2147483648"/>
              <pc:sldLayoutMk cId="2874204694" sldId="2147483659"/>
              <ac:spMk id="30" creationId="{198C0C28-F064-F8F9-E5BE-CC0D8B46968C}"/>
            </ac:spMkLst>
          </pc:spChg>
          <pc:spChg chg="mod">
            <ac:chgData name="Grace, Morgan (Brisbane)" userId="221d5f7b-4a46-4bd5-bdf1-698d3a91c208" providerId="ADAL" clId="{D90324C1-6CE4-4C28-B886-AED0B666B37F}" dt="2024-06-06T05:13:54.847" v="41987" actId="947"/>
            <ac:spMkLst>
              <pc:docMk/>
              <pc:sldMasterMk cId="1584551246" sldId="2147483648"/>
              <pc:sldLayoutMk cId="2874204694" sldId="2147483659"/>
              <ac:spMk id="31" creationId="{0A30B5D6-C8F0-F79D-49C7-2C2D5199EAC0}"/>
            </ac:spMkLst>
          </pc:spChg>
          <pc:spChg chg="mod">
            <ac:chgData name="Grace, Morgan (Brisbane)" userId="221d5f7b-4a46-4bd5-bdf1-698d3a91c208" providerId="ADAL" clId="{D90324C1-6CE4-4C28-B886-AED0B666B37F}" dt="2024-06-06T05:13:54.831" v="41985" actId="947"/>
            <ac:spMkLst>
              <pc:docMk/>
              <pc:sldMasterMk cId="1584551246" sldId="2147483648"/>
              <pc:sldLayoutMk cId="2874204694" sldId="2147483659"/>
              <ac:spMk id="32" creationId="{1C09875E-4321-6A76-76E4-F26CC2647C7C}"/>
            </ac:spMkLst>
          </pc:spChg>
          <pc:spChg chg="mod">
            <ac:chgData name="Grace, Morgan (Brisbane)" userId="221d5f7b-4a46-4bd5-bdf1-698d3a91c208" providerId="ADAL" clId="{D90324C1-6CE4-4C28-B886-AED0B666B37F}" dt="2024-06-06T05:13:54.831" v="41983" actId="947"/>
            <ac:spMkLst>
              <pc:docMk/>
              <pc:sldMasterMk cId="1584551246" sldId="2147483648"/>
              <pc:sldLayoutMk cId="2874204694" sldId="2147483659"/>
              <ac:spMk id="33" creationId="{4B5364B8-14F4-B75D-5BC4-E4D470FB8A98}"/>
            </ac:spMkLst>
          </pc:spChg>
          <pc:spChg chg="mod">
            <ac:chgData name="Grace, Morgan (Brisbane)" userId="221d5f7b-4a46-4bd5-bdf1-698d3a91c208" providerId="ADAL" clId="{D90324C1-6CE4-4C28-B886-AED0B666B37F}" dt="2024-06-06T05:13:54.831" v="41981" actId="947"/>
            <ac:spMkLst>
              <pc:docMk/>
              <pc:sldMasterMk cId="1584551246" sldId="2147483648"/>
              <pc:sldLayoutMk cId="2874204694" sldId="2147483659"/>
              <ac:spMk id="34" creationId="{73578C40-0706-632C-258D-356ACF2EB2A2}"/>
            </ac:spMkLst>
          </pc:spChg>
          <pc:spChg chg="mod">
            <ac:chgData name="Grace, Morgan (Brisbane)" userId="221d5f7b-4a46-4bd5-bdf1-698d3a91c208" providerId="ADAL" clId="{D90324C1-6CE4-4C28-B886-AED0B666B37F}" dt="2024-06-06T05:13:54.831" v="41979" actId="947"/>
            <ac:spMkLst>
              <pc:docMk/>
              <pc:sldMasterMk cId="1584551246" sldId="2147483648"/>
              <pc:sldLayoutMk cId="2874204694" sldId="2147483659"/>
              <ac:spMk id="35" creationId="{6B4A64AE-7E54-E99C-C2BB-1227DABCA069}"/>
            </ac:spMkLst>
          </pc:spChg>
          <pc:spChg chg="mod">
            <ac:chgData name="Grace, Morgan (Brisbane)" userId="221d5f7b-4a46-4bd5-bdf1-698d3a91c208" providerId="ADAL" clId="{D90324C1-6CE4-4C28-B886-AED0B666B37F}" dt="2024-06-06T05:13:54.831" v="41977" actId="947"/>
            <ac:spMkLst>
              <pc:docMk/>
              <pc:sldMasterMk cId="1584551246" sldId="2147483648"/>
              <pc:sldLayoutMk cId="2874204694" sldId="2147483659"/>
              <ac:spMk id="36" creationId="{2ED0C4E1-B91F-CA96-33C1-3CE877A39B53}"/>
            </ac:spMkLst>
          </pc:spChg>
          <pc:spChg chg="mod">
            <ac:chgData name="Grace, Morgan (Brisbane)" userId="221d5f7b-4a46-4bd5-bdf1-698d3a91c208" providerId="ADAL" clId="{D90324C1-6CE4-4C28-B886-AED0B666B37F}" dt="2024-06-06T05:13:54.831" v="41975" actId="947"/>
            <ac:spMkLst>
              <pc:docMk/>
              <pc:sldMasterMk cId="1584551246" sldId="2147483648"/>
              <pc:sldLayoutMk cId="2874204694" sldId="2147483659"/>
              <ac:spMk id="37" creationId="{98706B7C-4913-3A9F-18CC-3C902AD5EEF5}"/>
            </ac:spMkLst>
          </pc:spChg>
          <pc:spChg chg="mod">
            <ac:chgData name="Grace, Morgan (Brisbane)" userId="221d5f7b-4a46-4bd5-bdf1-698d3a91c208" providerId="ADAL" clId="{D90324C1-6CE4-4C28-B886-AED0B666B37F}" dt="2024-06-06T05:13:54.831" v="41973" actId="947"/>
            <ac:spMkLst>
              <pc:docMk/>
              <pc:sldMasterMk cId="1584551246" sldId="2147483648"/>
              <pc:sldLayoutMk cId="2874204694" sldId="2147483659"/>
              <ac:spMk id="38" creationId="{241CA539-0B35-A22C-A777-1E606199E036}"/>
            </ac:spMkLst>
          </pc:spChg>
          <pc:spChg chg="mod">
            <ac:chgData name="Grace, Morgan (Brisbane)" userId="221d5f7b-4a46-4bd5-bdf1-698d3a91c208" providerId="ADAL" clId="{D90324C1-6CE4-4C28-B886-AED0B666B37F}" dt="2024-06-06T05:13:54.831" v="41971" actId="947"/>
            <ac:spMkLst>
              <pc:docMk/>
              <pc:sldMasterMk cId="1584551246" sldId="2147483648"/>
              <pc:sldLayoutMk cId="2874204694" sldId="2147483659"/>
              <ac:spMk id="39" creationId="{3E91095E-51E6-2C98-F9AA-F62243B004C9}"/>
            </ac:spMkLst>
          </pc:spChg>
          <pc:spChg chg="mod">
            <ac:chgData name="Grace, Morgan (Brisbane)" userId="221d5f7b-4a46-4bd5-bdf1-698d3a91c208" providerId="ADAL" clId="{D90324C1-6CE4-4C28-B886-AED0B666B37F}" dt="2024-06-06T05:13:54.831" v="41969" actId="947"/>
            <ac:spMkLst>
              <pc:docMk/>
              <pc:sldMasterMk cId="1584551246" sldId="2147483648"/>
              <pc:sldLayoutMk cId="2874204694" sldId="2147483659"/>
              <ac:spMk id="40" creationId="{438E61F5-CF8C-EBED-8FFB-81EECEC222AC}"/>
            </ac:spMkLst>
          </pc:spChg>
          <pc:spChg chg="mod">
            <ac:chgData name="Grace, Morgan (Brisbane)" userId="221d5f7b-4a46-4bd5-bdf1-698d3a91c208" providerId="ADAL" clId="{D90324C1-6CE4-4C28-B886-AED0B666B37F}" dt="2024-06-06T05:13:54.878" v="42039" actId="947"/>
            <ac:spMkLst>
              <pc:docMk/>
              <pc:sldMasterMk cId="1584551246" sldId="2147483648"/>
              <pc:sldLayoutMk cId="2874204694" sldId="2147483659"/>
              <ac:spMk id="41" creationId="{42B02853-0DC2-C83C-1F46-2AA56167DBE6}"/>
            </ac:spMkLst>
          </pc:spChg>
          <pc:spChg chg="mod">
            <ac:chgData name="Grace, Morgan (Brisbane)" userId="221d5f7b-4a46-4bd5-bdf1-698d3a91c208" providerId="ADAL" clId="{D90324C1-6CE4-4C28-B886-AED0B666B37F}" dt="2024-06-06T05:13:54.878" v="42037" actId="947"/>
            <ac:spMkLst>
              <pc:docMk/>
              <pc:sldMasterMk cId="1584551246" sldId="2147483648"/>
              <pc:sldLayoutMk cId="2874204694" sldId="2147483659"/>
              <ac:spMk id="42" creationId="{C3F961D1-3B1B-29FC-3614-A635D62528D3}"/>
            </ac:spMkLst>
          </pc:spChg>
          <pc:spChg chg="mod">
            <ac:chgData name="Grace, Morgan (Brisbane)" userId="221d5f7b-4a46-4bd5-bdf1-698d3a91c208" providerId="ADAL" clId="{D90324C1-6CE4-4C28-B886-AED0B666B37F}" dt="2024-06-06T05:13:54.878" v="42035" actId="947"/>
            <ac:spMkLst>
              <pc:docMk/>
              <pc:sldMasterMk cId="1584551246" sldId="2147483648"/>
              <pc:sldLayoutMk cId="2874204694" sldId="2147483659"/>
              <ac:spMk id="43" creationId="{EB937907-08E4-B3A7-974D-07BD34773A20}"/>
            </ac:spMkLst>
          </pc:spChg>
          <pc:spChg chg="mod">
            <ac:chgData name="Grace, Morgan (Brisbane)" userId="221d5f7b-4a46-4bd5-bdf1-698d3a91c208" providerId="ADAL" clId="{D90324C1-6CE4-4C28-B886-AED0B666B37F}" dt="2024-06-06T05:13:54.878" v="42033" actId="947"/>
            <ac:spMkLst>
              <pc:docMk/>
              <pc:sldMasterMk cId="1584551246" sldId="2147483648"/>
              <pc:sldLayoutMk cId="2874204694" sldId="2147483659"/>
              <ac:spMk id="44" creationId="{49DBCBB7-474A-5CA6-2FC5-FB8AEB64141A}"/>
            </ac:spMkLst>
          </pc:spChg>
          <pc:spChg chg="mod">
            <ac:chgData name="Grace, Morgan (Brisbane)" userId="221d5f7b-4a46-4bd5-bdf1-698d3a91c208" providerId="ADAL" clId="{D90324C1-6CE4-4C28-B886-AED0B666B37F}" dt="2024-06-06T05:13:54.878" v="42031" actId="947"/>
            <ac:spMkLst>
              <pc:docMk/>
              <pc:sldMasterMk cId="1584551246" sldId="2147483648"/>
              <pc:sldLayoutMk cId="2874204694" sldId="2147483659"/>
              <ac:spMk id="45" creationId="{A3ACA423-25C5-4552-AC57-6A2498E0142F}"/>
            </ac:spMkLst>
          </pc:spChg>
          <pc:spChg chg="mod">
            <ac:chgData name="Grace, Morgan (Brisbane)" userId="221d5f7b-4a46-4bd5-bdf1-698d3a91c208" providerId="ADAL" clId="{D90324C1-6CE4-4C28-B886-AED0B666B37F}" dt="2024-06-06T05:13:54.878" v="42029" actId="947"/>
            <ac:spMkLst>
              <pc:docMk/>
              <pc:sldMasterMk cId="1584551246" sldId="2147483648"/>
              <pc:sldLayoutMk cId="2874204694" sldId="2147483659"/>
              <ac:spMk id="46" creationId="{72A06820-BF7C-B7EA-E261-63E8696BD554}"/>
            </ac:spMkLst>
          </pc:spChg>
          <pc:spChg chg="mod">
            <ac:chgData name="Grace, Morgan (Brisbane)" userId="221d5f7b-4a46-4bd5-bdf1-698d3a91c208" providerId="ADAL" clId="{D90324C1-6CE4-4C28-B886-AED0B666B37F}" dt="2024-06-06T05:13:54.878" v="42027" actId="947"/>
            <ac:spMkLst>
              <pc:docMk/>
              <pc:sldMasterMk cId="1584551246" sldId="2147483648"/>
              <pc:sldLayoutMk cId="2874204694" sldId="2147483659"/>
              <ac:spMk id="47" creationId="{8B030858-6FC0-38E5-9F2A-6F27BF0B34EC}"/>
            </ac:spMkLst>
          </pc:spChg>
          <pc:spChg chg="mod">
            <ac:chgData name="Grace, Morgan (Brisbane)" userId="221d5f7b-4a46-4bd5-bdf1-698d3a91c208" providerId="ADAL" clId="{D90324C1-6CE4-4C28-B886-AED0B666B37F}" dt="2024-06-06T05:13:54.862" v="42025" actId="947"/>
            <ac:spMkLst>
              <pc:docMk/>
              <pc:sldMasterMk cId="1584551246" sldId="2147483648"/>
              <pc:sldLayoutMk cId="2874204694" sldId="2147483659"/>
              <ac:spMk id="48" creationId="{A481A947-50BF-030C-8544-A93445220C3D}"/>
            </ac:spMkLst>
          </pc:spChg>
          <pc:spChg chg="mod">
            <ac:chgData name="Grace, Morgan (Brisbane)" userId="221d5f7b-4a46-4bd5-bdf1-698d3a91c208" providerId="ADAL" clId="{D90324C1-6CE4-4C28-B886-AED0B666B37F}" dt="2024-06-06T05:13:54.862" v="42023" actId="947"/>
            <ac:spMkLst>
              <pc:docMk/>
              <pc:sldMasterMk cId="1584551246" sldId="2147483648"/>
              <pc:sldLayoutMk cId="2874204694" sldId="2147483659"/>
              <ac:spMk id="49" creationId="{B0A3DD78-5643-E77D-2B92-00D22C5739DC}"/>
            </ac:spMkLst>
          </pc:spChg>
          <pc:spChg chg="mod">
            <ac:chgData name="Grace, Morgan (Brisbane)" userId="221d5f7b-4a46-4bd5-bdf1-698d3a91c208" providerId="ADAL" clId="{D90324C1-6CE4-4C28-B886-AED0B666B37F}" dt="2024-06-06T05:13:54.894" v="42051" actId="947"/>
            <ac:spMkLst>
              <pc:docMk/>
              <pc:sldMasterMk cId="1584551246" sldId="2147483648"/>
              <pc:sldLayoutMk cId="2874204694" sldId="2147483659"/>
              <ac:spMk id="50" creationId="{93C7EE73-6B37-7563-8C3F-DEF239B4FB34}"/>
            </ac:spMkLst>
          </pc:spChg>
          <pc:spChg chg="mod">
            <ac:chgData name="Grace, Morgan (Brisbane)" userId="221d5f7b-4a46-4bd5-bdf1-698d3a91c208" providerId="ADAL" clId="{D90324C1-6CE4-4C28-B886-AED0B666B37F}" dt="2024-06-06T05:13:54.894" v="42049" actId="947"/>
            <ac:spMkLst>
              <pc:docMk/>
              <pc:sldMasterMk cId="1584551246" sldId="2147483648"/>
              <pc:sldLayoutMk cId="2874204694" sldId="2147483659"/>
              <ac:spMk id="51" creationId="{7511BE4B-F7E1-267C-302D-A5CF11314C39}"/>
            </ac:spMkLst>
          </pc:spChg>
          <pc:spChg chg="mod">
            <ac:chgData name="Grace, Morgan (Brisbane)" userId="221d5f7b-4a46-4bd5-bdf1-698d3a91c208" providerId="ADAL" clId="{D90324C1-6CE4-4C28-B886-AED0B666B37F}" dt="2024-06-06T05:13:54.878" v="42047" actId="947"/>
            <ac:spMkLst>
              <pc:docMk/>
              <pc:sldMasterMk cId="1584551246" sldId="2147483648"/>
              <pc:sldLayoutMk cId="2874204694" sldId="2147483659"/>
              <ac:spMk id="52" creationId="{11429BE7-0ABF-7183-BA56-2AF91816DA7B}"/>
            </ac:spMkLst>
          </pc:spChg>
          <pc:spChg chg="mod">
            <ac:chgData name="Grace, Morgan (Brisbane)" userId="221d5f7b-4a46-4bd5-bdf1-698d3a91c208" providerId="ADAL" clId="{D90324C1-6CE4-4C28-B886-AED0B666B37F}" dt="2024-06-06T05:13:54.878" v="42045" actId="947"/>
            <ac:spMkLst>
              <pc:docMk/>
              <pc:sldMasterMk cId="1584551246" sldId="2147483648"/>
              <pc:sldLayoutMk cId="2874204694" sldId="2147483659"/>
              <ac:spMk id="53" creationId="{C285A592-3C3B-E054-B66E-64BBF6D37950}"/>
            </ac:spMkLst>
          </pc:spChg>
          <pc:spChg chg="mod">
            <ac:chgData name="Grace, Morgan (Brisbane)" userId="221d5f7b-4a46-4bd5-bdf1-698d3a91c208" providerId="ADAL" clId="{D90324C1-6CE4-4C28-B886-AED0B666B37F}" dt="2024-06-06T05:13:54.878" v="42043" actId="947"/>
            <ac:spMkLst>
              <pc:docMk/>
              <pc:sldMasterMk cId="1584551246" sldId="2147483648"/>
              <pc:sldLayoutMk cId="2874204694" sldId="2147483659"/>
              <ac:spMk id="54" creationId="{45CE535A-2755-AC24-E2BD-46EAAAB40895}"/>
            </ac:spMkLst>
          </pc:spChg>
          <pc:spChg chg="mod">
            <ac:chgData name="Grace, Morgan (Brisbane)" userId="221d5f7b-4a46-4bd5-bdf1-698d3a91c208" providerId="ADAL" clId="{D90324C1-6CE4-4C28-B886-AED0B666B37F}" dt="2024-06-06T05:13:54.878" v="42041" actId="947"/>
            <ac:spMkLst>
              <pc:docMk/>
              <pc:sldMasterMk cId="1584551246" sldId="2147483648"/>
              <pc:sldLayoutMk cId="2874204694" sldId="2147483659"/>
              <ac:spMk id="55" creationId="{206CB30E-9E48-A0CE-C85F-7A22E97CD827}"/>
            </ac:spMkLst>
          </pc:spChg>
          <pc:graphicFrameChg chg="mod ord modVis replST">
            <ac:chgData name="Grace, Morgan (Brisbane)" userId="221d5f7b-4a46-4bd5-bdf1-698d3a91c208" providerId="ADAL" clId="{D90324C1-6CE4-4C28-B886-AED0B666B37F}" dt="2024-06-06T05:14:00.356" v="45733"/>
            <ac:graphicFrameMkLst>
              <pc:docMk/>
              <pc:sldMasterMk cId="1584551246" sldId="2147483648"/>
              <pc:sldLayoutMk cId="2874204694" sldId="2147483659"/>
              <ac:graphicFrameMk id="56" creationId="{285A9287-4C2E-8810-5ABC-800D778DB05D}"/>
            </ac:graphicFrameMkLst>
          </pc:graphicFrameChg>
        </pc:sldLayoutChg>
        <pc:sldLayoutChg chg="delSp modSp mod">
          <pc:chgData name="Grace, Morgan (Brisbane)" userId="221d5f7b-4a46-4bd5-bdf1-698d3a91c208" providerId="ADAL" clId="{D90324C1-6CE4-4C28-B886-AED0B666B37F}" dt="2024-06-06T05:14:00.293" v="45709"/>
          <pc:sldLayoutMkLst>
            <pc:docMk/>
            <pc:sldMasterMk cId="1584551246" sldId="2147483648"/>
            <pc:sldLayoutMk cId="3393263990" sldId="2147483660"/>
          </pc:sldLayoutMkLst>
          <pc:spChg chg="del mod modVis">
            <ac:chgData name="Grace, Morgan (Brisbane)" userId="221d5f7b-4a46-4bd5-bdf1-698d3a91c208" providerId="ADAL" clId="{D90324C1-6CE4-4C28-B886-AED0B666B37F}" dt="2024-06-06T05:14:00.277" v="45702" actId="478"/>
            <ac:spMkLst>
              <pc:docMk/>
              <pc:sldMasterMk cId="1584551246" sldId="2147483648"/>
              <pc:sldLayoutMk cId="3393263990" sldId="2147483660"/>
              <ac:spMk id="2" creationId="{18A0EFC3-0140-1454-03B4-2906003AF39D}"/>
            </ac:spMkLst>
          </pc:spChg>
          <pc:spChg chg="mod">
            <ac:chgData name="Grace, Morgan (Brisbane)" userId="221d5f7b-4a46-4bd5-bdf1-698d3a91c208" providerId="ADAL" clId="{D90324C1-6CE4-4C28-B886-AED0B666B37F}" dt="2024-06-06T05:13:54.693" v="41836" actId="947"/>
            <ac:spMkLst>
              <pc:docMk/>
              <pc:sldMasterMk cId="1584551246" sldId="2147483648"/>
              <pc:sldLayoutMk cId="3393263990" sldId="2147483660"/>
              <ac:spMk id="7" creationId="{97D5B6EC-D471-5379-95AF-AAE8B767F710}"/>
            </ac:spMkLst>
          </pc:spChg>
          <pc:spChg chg="mod">
            <ac:chgData name="Grace, Morgan (Brisbane)" userId="221d5f7b-4a46-4bd5-bdf1-698d3a91c208" providerId="ADAL" clId="{D90324C1-6CE4-4C28-B886-AED0B666B37F}" dt="2024-06-06T05:13:54.693" v="41834" actId="947"/>
            <ac:spMkLst>
              <pc:docMk/>
              <pc:sldMasterMk cId="1584551246" sldId="2147483648"/>
              <pc:sldLayoutMk cId="3393263990" sldId="2147483660"/>
              <ac:spMk id="8" creationId="{DDB9D466-B687-0F33-0951-79117926A9BB}"/>
            </ac:spMkLst>
          </pc:spChg>
          <pc:spChg chg="mod">
            <ac:chgData name="Grace, Morgan (Brisbane)" userId="221d5f7b-4a46-4bd5-bdf1-698d3a91c208" providerId="ADAL" clId="{D90324C1-6CE4-4C28-B886-AED0B666B37F}" dt="2024-06-06T05:13:54.693" v="41832" actId="947"/>
            <ac:spMkLst>
              <pc:docMk/>
              <pc:sldMasterMk cId="1584551246" sldId="2147483648"/>
              <pc:sldLayoutMk cId="3393263990" sldId="2147483660"/>
              <ac:spMk id="9" creationId="{36BD6197-015B-FA03-81AC-3F2F47E51216}"/>
            </ac:spMkLst>
          </pc:spChg>
          <pc:spChg chg="mod">
            <ac:chgData name="Grace, Morgan (Brisbane)" userId="221d5f7b-4a46-4bd5-bdf1-698d3a91c208" providerId="ADAL" clId="{D90324C1-6CE4-4C28-B886-AED0B666B37F}" dt="2024-06-06T05:13:54.677" v="41830" actId="947"/>
            <ac:spMkLst>
              <pc:docMk/>
              <pc:sldMasterMk cId="1584551246" sldId="2147483648"/>
              <pc:sldLayoutMk cId="3393263990" sldId="2147483660"/>
              <ac:spMk id="10" creationId="{5EEB2EF8-DCCE-1153-88CD-D49C8E08E4CB}"/>
            </ac:spMkLst>
          </pc:spChg>
          <pc:spChg chg="mod">
            <ac:chgData name="Grace, Morgan (Brisbane)" userId="221d5f7b-4a46-4bd5-bdf1-698d3a91c208" providerId="ADAL" clId="{D90324C1-6CE4-4C28-B886-AED0B666B37F}" dt="2024-06-06T05:13:54.677" v="41828" actId="947"/>
            <ac:spMkLst>
              <pc:docMk/>
              <pc:sldMasterMk cId="1584551246" sldId="2147483648"/>
              <pc:sldLayoutMk cId="3393263990" sldId="2147483660"/>
              <ac:spMk id="11" creationId="{0526D0AE-1673-6275-F6C3-3BA2C949A45D}"/>
            </ac:spMkLst>
          </pc:spChg>
          <pc:spChg chg="mod">
            <ac:chgData name="Grace, Morgan (Brisbane)" userId="221d5f7b-4a46-4bd5-bdf1-698d3a91c208" providerId="ADAL" clId="{D90324C1-6CE4-4C28-B886-AED0B666B37F}" dt="2024-06-06T05:13:54.677" v="41826" actId="947"/>
            <ac:spMkLst>
              <pc:docMk/>
              <pc:sldMasterMk cId="1584551246" sldId="2147483648"/>
              <pc:sldLayoutMk cId="3393263990" sldId="2147483660"/>
              <ac:spMk id="12" creationId="{43368ADF-DA03-3BDE-EB40-1E4A9D508FA7}"/>
            </ac:spMkLst>
          </pc:spChg>
          <pc:spChg chg="mod">
            <ac:chgData name="Grace, Morgan (Brisbane)" userId="221d5f7b-4a46-4bd5-bdf1-698d3a91c208" providerId="ADAL" clId="{D90324C1-6CE4-4C28-B886-AED0B666B37F}" dt="2024-06-06T05:13:58.437" v="44215" actId="948"/>
            <ac:spMkLst>
              <pc:docMk/>
              <pc:sldMasterMk cId="1584551246" sldId="2147483648"/>
              <pc:sldLayoutMk cId="3393263990" sldId="2147483660"/>
              <ac:spMk id="14" creationId="{04935328-5165-4BEA-58F2-DFB9A3D2CC52}"/>
            </ac:spMkLst>
          </pc:spChg>
          <pc:spChg chg="mod">
            <ac:chgData name="Grace, Morgan (Brisbane)" userId="221d5f7b-4a46-4bd5-bdf1-698d3a91c208" providerId="ADAL" clId="{D90324C1-6CE4-4C28-B886-AED0B666B37F}" dt="2024-06-06T05:13:54.677" v="41824" actId="947"/>
            <ac:spMkLst>
              <pc:docMk/>
              <pc:sldMasterMk cId="1584551246" sldId="2147483648"/>
              <pc:sldLayoutMk cId="3393263990" sldId="2147483660"/>
              <ac:spMk id="15" creationId="{3F432167-288B-EEDC-E20B-3E424DDDB48B}"/>
            </ac:spMkLst>
          </pc:spChg>
          <pc:spChg chg="mod">
            <ac:chgData name="Grace, Morgan (Brisbane)" userId="221d5f7b-4a46-4bd5-bdf1-698d3a91c208" providerId="ADAL" clId="{D90324C1-6CE4-4C28-B886-AED0B666B37F}" dt="2024-06-06T05:13:54.677" v="41822" actId="947"/>
            <ac:spMkLst>
              <pc:docMk/>
              <pc:sldMasterMk cId="1584551246" sldId="2147483648"/>
              <pc:sldLayoutMk cId="3393263990" sldId="2147483660"/>
              <ac:spMk id="16" creationId="{5743A059-C943-1940-31A4-A8F9CD15467C}"/>
            </ac:spMkLst>
          </pc:spChg>
          <pc:spChg chg="mod">
            <ac:chgData name="Grace, Morgan (Brisbane)" userId="221d5f7b-4a46-4bd5-bdf1-698d3a91c208" providerId="ADAL" clId="{D90324C1-6CE4-4C28-B886-AED0B666B37F}" dt="2024-06-06T05:13:54.630" v="41778" actId="790"/>
            <ac:spMkLst>
              <pc:docMk/>
              <pc:sldMasterMk cId="1584551246" sldId="2147483648"/>
              <pc:sldLayoutMk cId="3393263990" sldId="2147483660"/>
              <ac:spMk id="17" creationId="{58C64552-3CC2-033A-D0B2-40559B174871}"/>
            </ac:spMkLst>
          </pc:spChg>
          <pc:spChg chg="mod">
            <ac:chgData name="Grace, Morgan (Brisbane)" userId="221d5f7b-4a46-4bd5-bdf1-698d3a91c208" providerId="ADAL" clId="{D90324C1-6CE4-4C28-B886-AED0B666B37F}" dt="2024-06-06T05:13:54.630" v="41779" actId="790"/>
            <ac:spMkLst>
              <pc:docMk/>
              <pc:sldMasterMk cId="1584551246" sldId="2147483648"/>
              <pc:sldLayoutMk cId="3393263990" sldId="2147483660"/>
              <ac:spMk id="18" creationId="{49723328-F83F-E36F-A23C-C63BA0452F08}"/>
            </ac:spMkLst>
          </pc:spChg>
          <pc:spChg chg="mod">
            <ac:chgData name="Grace, Morgan (Brisbane)" userId="221d5f7b-4a46-4bd5-bdf1-698d3a91c208" providerId="ADAL" clId="{D90324C1-6CE4-4C28-B886-AED0B666B37F}" dt="2024-06-06T05:13:54.630" v="41780" actId="790"/>
            <ac:spMkLst>
              <pc:docMk/>
              <pc:sldMasterMk cId="1584551246" sldId="2147483648"/>
              <pc:sldLayoutMk cId="3393263990" sldId="2147483660"/>
              <ac:spMk id="19" creationId="{10F85AFF-0099-B004-10E7-3264A4FAD960}"/>
            </ac:spMkLst>
          </pc:spChg>
          <pc:spChg chg="mod">
            <ac:chgData name="Grace, Morgan (Brisbane)" userId="221d5f7b-4a46-4bd5-bdf1-698d3a91c208" providerId="ADAL" clId="{D90324C1-6CE4-4C28-B886-AED0B666B37F}" dt="2024-06-06T05:13:54.646" v="41782" actId="790"/>
            <ac:spMkLst>
              <pc:docMk/>
              <pc:sldMasterMk cId="1584551246" sldId="2147483648"/>
              <pc:sldLayoutMk cId="3393263990" sldId="2147483660"/>
              <ac:spMk id="20" creationId="{86467467-6BC9-60F4-6891-3F8DB889CA4F}"/>
            </ac:spMkLst>
          </pc:spChg>
          <pc:spChg chg="mod">
            <ac:chgData name="Grace, Morgan (Brisbane)" userId="221d5f7b-4a46-4bd5-bdf1-698d3a91c208" providerId="ADAL" clId="{D90324C1-6CE4-4C28-B886-AED0B666B37F}" dt="2024-06-06T05:13:54.630" v="41781" actId="790"/>
            <ac:spMkLst>
              <pc:docMk/>
              <pc:sldMasterMk cId="1584551246" sldId="2147483648"/>
              <pc:sldLayoutMk cId="3393263990" sldId="2147483660"/>
              <ac:spMk id="21" creationId="{4FCEAD4B-3D9E-1FE1-F7EA-4DF4F676AA75}"/>
            </ac:spMkLst>
          </pc:spChg>
          <pc:spChg chg="mod">
            <ac:chgData name="Grace, Morgan (Brisbane)" userId="221d5f7b-4a46-4bd5-bdf1-698d3a91c208" providerId="ADAL" clId="{D90324C1-6CE4-4C28-B886-AED0B666B37F}" dt="2024-06-06T05:13:54.677" v="41820" actId="947"/>
            <ac:spMkLst>
              <pc:docMk/>
              <pc:sldMasterMk cId="1584551246" sldId="2147483648"/>
              <pc:sldLayoutMk cId="3393263990" sldId="2147483660"/>
              <ac:spMk id="22" creationId="{FDE21FBD-FD2F-1170-A302-F50B33E3C5AA}"/>
            </ac:spMkLst>
          </pc:spChg>
          <pc:spChg chg="mod">
            <ac:chgData name="Grace, Morgan (Brisbane)" userId="221d5f7b-4a46-4bd5-bdf1-698d3a91c208" providerId="ADAL" clId="{D90324C1-6CE4-4C28-B886-AED0B666B37F}" dt="2024-06-06T05:13:54.677" v="41818" actId="947"/>
            <ac:spMkLst>
              <pc:docMk/>
              <pc:sldMasterMk cId="1584551246" sldId="2147483648"/>
              <pc:sldLayoutMk cId="3393263990" sldId="2147483660"/>
              <ac:spMk id="23" creationId="{7A53D91C-8608-8331-0EC1-9090885F6486}"/>
            </ac:spMkLst>
          </pc:spChg>
          <pc:spChg chg="mod">
            <ac:chgData name="Grace, Morgan (Brisbane)" userId="221d5f7b-4a46-4bd5-bdf1-698d3a91c208" providerId="ADAL" clId="{D90324C1-6CE4-4C28-B886-AED0B666B37F}" dt="2024-06-06T05:13:54.677" v="41816" actId="947"/>
            <ac:spMkLst>
              <pc:docMk/>
              <pc:sldMasterMk cId="1584551246" sldId="2147483648"/>
              <pc:sldLayoutMk cId="3393263990" sldId="2147483660"/>
              <ac:spMk id="24" creationId="{6318CE33-44EA-2E40-52A1-9830E9A00A7C}"/>
            </ac:spMkLst>
          </pc:spChg>
          <pc:spChg chg="mod">
            <ac:chgData name="Grace, Morgan (Brisbane)" userId="221d5f7b-4a46-4bd5-bdf1-698d3a91c208" providerId="ADAL" clId="{D90324C1-6CE4-4C28-B886-AED0B666B37F}" dt="2024-06-06T05:13:54.677" v="41814" actId="947"/>
            <ac:spMkLst>
              <pc:docMk/>
              <pc:sldMasterMk cId="1584551246" sldId="2147483648"/>
              <pc:sldLayoutMk cId="3393263990" sldId="2147483660"/>
              <ac:spMk id="25" creationId="{C0543327-283B-4A1D-7B29-D59A8CCC6F45}"/>
            </ac:spMkLst>
          </pc:spChg>
          <pc:spChg chg="mod">
            <ac:chgData name="Grace, Morgan (Brisbane)" userId="221d5f7b-4a46-4bd5-bdf1-698d3a91c208" providerId="ADAL" clId="{D90324C1-6CE4-4C28-B886-AED0B666B37F}" dt="2024-06-06T05:13:54.677" v="41812" actId="947"/>
            <ac:spMkLst>
              <pc:docMk/>
              <pc:sldMasterMk cId="1584551246" sldId="2147483648"/>
              <pc:sldLayoutMk cId="3393263990" sldId="2147483660"/>
              <ac:spMk id="26" creationId="{0012F419-8216-C362-0CC4-A1D40AF4781E}"/>
            </ac:spMkLst>
          </pc:spChg>
          <pc:spChg chg="mod">
            <ac:chgData name="Grace, Morgan (Brisbane)" userId="221d5f7b-4a46-4bd5-bdf1-698d3a91c208" providerId="ADAL" clId="{D90324C1-6CE4-4C28-B886-AED0B666B37F}" dt="2024-06-06T05:13:54.662" v="41810" actId="947"/>
            <ac:spMkLst>
              <pc:docMk/>
              <pc:sldMasterMk cId="1584551246" sldId="2147483648"/>
              <pc:sldLayoutMk cId="3393263990" sldId="2147483660"/>
              <ac:spMk id="27" creationId="{A03377E5-49A7-6C01-1816-782C12FC79C1}"/>
            </ac:spMkLst>
          </pc:spChg>
          <pc:spChg chg="mod">
            <ac:chgData name="Grace, Morgan (Brisbane)" userId="221d5f7b-4a46-4bd5-bdf1-698d3a91c208" providerId="ADAL" clId="{D90324C1-6CE4-4C28-B886-AED0B666B37F}" dt="2024-06-06T05:13:54.662" v="41808" actId="947"/>
            <ac:spMkLst>
              <pc:docMk/>
              <pc:sldMasterMk cId="1584551246" sldId="2147483648"/>
              <pc:sldLayoutMk cId="3393263990" sldId="2147483660"/>
              <ac:spMk id="28" creationId="{BE9F055F-AB28-B84E-098A-E9F1D0655BF0}"/>
            </ac:spMkLst>
          </pc:spChg>
          <pc:spChg chg="mod">
            <ac:chgData name="Grace, Morgan (Brisbane)" userId="221d5f7b-4a46-4bd5-bdf1-698d3a91c208" providerId="ADAL" clId="{D90324C1-6CE4-4C28-B886-AED0B666B37F}" dt="2024-06-06T05:13:54.662" v="41806" actId="947"/>
            <ac:spMkLst>
              <pc:docMk/>
              <pc:sldMasterMk cId="1584551246" sldId="2147483648"/>
              <pc:sldLayoutMk cId="3393263990" sldId="2147483660"/>
              <ac:spMk id="29" creationId="{C94BBB24-E80E-6E4F-EDD8-DEE25A064E5F}"/>
            </ac:spMkLst>
          </pc:spChg>
          <pc:spChg chg="mod">
            <ac:chgData name="Grace, Morgan (Brisbane)" userId="221d5f7b-4a46-4bd5-bdf1-698d3a91c208" providerId="ADAL" clId="{D90324C1-6CE4-4C28-B886-AED0B666B37F}" dt="2024-06-06T05:13:54.662" v="41804" actId="947"/>
            <ac:spMkLst>
              <pc:docMk/>
              <pc:sldMasterMk cId="1584551246" sldId="2147483648"/>
              <pc:sldLayoutMk cId="3393263990" sldId="2147483660"/>
              <ac:spMk id="30" creationId="{33B32092-F183-19E7-D5D5-4FA19BC1E41A}"/>
            </ac:spMkLst>
          </pc:spChg>
          <pc:spChg chg="mod">
            <ac:chgData name="Grace, Morgan (Brisbane)" userId="221d5f7b-4a46-4bd5-bdf1-698d3a91c208" providerId="ADAL" clId="{D90324C1-6CE4-4C28-B886-AED0B666B37F}" dt="2024-06-06T05:13:54.662" v="41802" actId="947"/>
            <ac:spMkLst>
              <pc:docMk/>
              <pc:sldMasterMk cId="1584551246" sldId="2147483648"/>
              <pc:sldLayoutMk cId="3393263990" sldId="2147483660"/>
              <ac:spMk id="31" creationId="{0AE10CB7-F517-C862-8B80-6825DA00EECD}"/>
            </ac:spMkLst>
          </pc:spChg>
          <pc:spChg chg="mod">
            <ac:chgData name="Grace, Morgan (Brisbane)" userId="221d5f7b-4a46-4bd5-bdf1-698d3a91c208" providerId="ADAL" clId="{D90324C1-6CE4-4C28-B886-AED0B666B37F}" dt="2024-06-06T05:13:54.662" v="41800" actId="947"/>
            <ac:spMkLst>
              <pc:docMk/>
              <pc:sldMasterMk cId="1584551246" sldId="2147483648"/>
              <pc:sldLayoutMk cId="3393263990" sldId="2147483660"/>
              <ac:spMk id="32" creationId="{FED9F1A8-28EB-714E-8D78-33545F1D31F2}"/>
            </ac:spMkLst>
          </pc:spChg>
          <pc:spChg chg="mod">
            <ac:chgData name="Grace, Morgan (Brisbane)" userId="221d5f7b-4a46-4bd5-bdf1-698d3a91c208" providerId="ADAL" clId="{D90324C1-6CE4-4C28-B886-AED0B666B37F}" dt="2024-06-06T05:13:54.662" v="41798" actId="947"/>
            <ac:spMkLst>
              <pc:docMk/>
              <pc:sldMasterMk cId="1584551246" sldId="2147483648"/>
              <pc:sldLayoutMk cId="3393263990" sldId="2147483660"/>
              <ac:spMk id="33" creationId="{7FA8208B-3265-5088-6442-055913CCB1DE}"/>
            </ac:spMkLst>
          </pc:spChg>
          <pc:spChg chg="mod">
            <ac:chgData name="Grace, Morgan (Brisbane)" userId="221d5f7b-4a46-4bd5-bdf1-698d3a91c208" providerId="ADAL" clId="{D90324C1-6CE4-4C28-B886-AED0B666B37F}" dt="2024-06-06T05:13:54.662" v="41796" actId="947"/>
            <ac:spMkLst>
              <pc:docMk/>
              <pc:sldMasterMk cId="1584551246" sldId="2147483648"/>
              <pc:sldLayoutMk cId="3393263990" sldId="2147483660"/>
              <ac:spMk id="34" creationId="{AF207F04-9811-D671-40EA-84D92650ED28}"/>
            </ac:spMkLst>
          </pc:spChg>
          <pc:spChg chg="mod">
            <ac:chgData name="Grace, Morgan (Brisbane)" userId="221d5f7b-4a46-4bd5-bdf1-698d3a91c208" providerId="ADAL" clId="{D90324C1-6CE4-4C28-B886-AED0B666B37F}" dt="2024-06-06T05:13:54.662" v="41794" actId="947"/>
            <ac:spMkLst>
              <pc:docMk/>
              <pc:sldMasterMk cId="1584551246" sldId="2147483648"/>
              <pc:sldLayoutMk cId="3393263990" sldId="2147483660"/>
              <ac:spMk id="35" creationId="{87D42387-84DB-2956-9B82-9C1C7DE54D5A}"/>
            </ac:spMkLst>
          </pc:spChg>
          <pc:spChg chg="mod">
            <ac:chgData name="Grace, Morgan (Brisbane)" userId="221d5f7b-4a46-4bd5-bdf1-698d3a91c208" providerId="ADAL" clId="{D90324C1-6CE4-4C28-B886-AED0B666B37F}" dt="2024-06-06T05:13:54.662" v="41792" actId="947"/>
            <ac:spMkLst>
              <pc:docMk/>
              <pc:sldMasterMk cId="1584551246" sldId="2147483648"/>
              <pc:sldLayoutMk cId="3393263990" sldId="2147483660"/>
              <ac:spMk id="36" creationId="{11329F96-1270-D4E6-E760-CB97BEFE4065}"/>
            </ac:spMkLst>
          </pc:spChg>
          <pc:spChg chg="mod">
            <ac:chgData name="Grace, Morgan (Brisbane)" userId="221d5f7b-4a46-4bd5-bdf1-698d3a91c208" providerId="ADAL" clId="{D90324C1-6CE4-4C28-B886-AED0B666B37F}" dt="2024-06-06T05:13:54.662" v="41790" actId="947"/>
            <ac:spMkLst>
              <pc:docMk/>
              <pc:sldMasterMk cId="1584551246" sldId="2147483648"/>
              <pc:sldLayoutMk cId="3393263990" sldId="2147483660"/>
              <ac:spMk id="37" creationId="{729E27E8-0F51-2ED1-402E-6F518BFEDBE7}"/>
            </ac:spMkLst>
          </pc:spChg>
          <pc:spChg chg="mod">
            <ac:chgData name="Grace, Morgan (Brisbane)" userId="221d5f7b-4a46-4bd5-bdf1-698d3a91c208" providerId="ADAL" clId="{D90324C1-6CE4-4C28-B886-AED0B666B37F}" dt="2024-06-06T05:13:54.646" v="41788" actId="947"/>
            <ac:spMkLst>
              <pc:docMk/>
              <pc:sldMasterMk cId="1584551246" sldId="2147483648"/>
              <pc:sldLayoutMk cId="3393263990" sldId="2147483660"/>
              <ac:spMk id="38" creationId="{B1BD6A8B-A93F-0E20-94CD-D925BAD1649E}"/>
            </ac:spMkLst>
          </pc:spChg>
          <pc:spChg chg="mod">
            <ac:chgData name="Grace, Morgan (Brisbane)" userId="221d5f7b-4a46-4bd5-bdf1-698d3a91c208" providerId="ADAL" clId="{D90324C1-6CE4-4C28-B886-AED0B666B37F}" dt="2024-06-06T05:13:54.646" v="41786" actId="947"/>
            <ac:spMkLst>
              <pc:docMk/>
              <pc:sldMasterMk cId="1584551246" sldId="2147483648"/>
              <pc:sldLayoutMk cId="3393263990" sldId="2147483660"/>
              <ac:spMk id="39" creationId="{C453D192-EAA9-004E-49EF-328EA23DE6B4}"/>
            </ac:spMkLst>
          </pc:spChg>
          <pc:spChg chg="mod">
            <ac:chgData name="Grace, Morgan (Brisbane)" userId="221d5f7b-4a46-4bd5-bdf1-698d3a91c208" providerId="ADAL" clId="{D90324C1-6CE4-4C28-B886-AED0B666B37F}" dt="2024-06-06T05:13:54.646" v="41784" actId="947"/>
            <ac:spMkLst>
              <pc:docMk/>
              <pc:sldMasterMk cId="1584551246" sldId="2147483648"/>
              <pc:sldLayoutMk cId="3393263990" sldId="2147483660"/>
              <ac:spMk id="40" creationId="{5E5A0A33-E014-7BC5-1899-F044A8DFA25F}"/>
            </ac:spMkLst>
          </pc:spChg>
          <pc:spChg chg="mod">
            <ac:chgData name="Grace, Morgan (Brisbane)" userId="221d5f7b-4a46-4bd5-bdf1-698d3a91c208" providerId="ADAL" clId="{D90324C1-6CE4-4C28-B886-AED0B666B37F}" dt="2024-06-06T05:13:54.709" v="41854" actId="947"/>
            <ac:spMkLst>
              <pc:docMk/>
              <pc:sldMasterMk cId="1584551246" sldId="2147483648"/>
              <pc:sldLayoutMk cId="3393263990" sldId="2147483660"/>
              <ac:spMk id="41" creationId="{3CAA8B08-E6FD-A0AA-5695-7046D139209D}"/>
            </ac:spMkLst>
          </pc:spChg>
          <pc:spChg chg="mod">
            <ac:chgData name="Grace, Morgan (Brisbane)" userId="221d5f7b-4a46-4bd5-bdf1-698d3a91c208" providerId="ADAL" clId="{D90324C1-6CE4-4C28-B886-AED0B666B37F}" dt="2024-06-06T05:13:54.693" v="41852" actId="947"/>
            <ac:spMkLst>
              <pc:docMk/>
              <pc:sldMasterMk cId="1584551246" sldId="2147483648"/>
              <pc:sldLayoutMk cId="3393263990" sldId="2147483660"/>
              <ac:spMk id="42" creationId="{92E25552-FD15-576D-EA9B-24E8BA58CC58}"/>
            </ac:spMkLst>
          </pc:spChg>
          <pc:spChg chg="mod">
            <ac:chgData name="Grace, Morgan (Brisbane)" userId="221d5f7b-4a46-4bd5-bdf1-698d3a91c208" providerId="ADAL" clId="{D90324C1-6CE4-4C28-B886-AED0B666B37F}" dt="2024-06-06T05:13:54.693" v="41850" actId="947"/>
            <ac:spMkLst>
              <pc:docMk/>
              <pc:sldMasterMk cId="1584551246" sldId="2147483648"/>
              <pc:sldLayoutMk cId="3393263990" sldId="2147483660"/>
              <ac:spMk id="43" creationId="{F47EC620-3525-38C1-6A07-08AC8A739AC9}"/>
            </ac:spMkLst>
          </pc:spChg>
          <pc:spChg chg="mod">
            <ac:chgData name="Grace, Morgan (Brisbane)" userId="221d5f7b-4a46-4bd5-bdf1-698d3a91c208" providerId="ADAL" clId="{D90324C1-6CE4-4C28-B886-AED0B666B37F}" dt="2024-06-06T05:13:54.693" v="41848" actId="947"/>
            <ac:spMkLst>
              <pc:docMk/>
              <pc:sldMasterMk cId="1584551246" sldId="2147483648"/>
              <pc:sldLayoutMk cId="3393263990" sldId="2147483660"/>
              <ac:spMk id="44" creationId="{01819518-391F-E762-99B2-C0EFF75DAD41}"/>
            </ac:spMkLst>
          </pc:spChg>
          <pc:spChg chg="mod">
            <ac:chgData name="Grace, Morgan (Brisbane)" userId="221d5f7b-4a46-4bd5-bdf1-698d3a91c208" providerId="ADAL" clId="{D90324C1-6CE4-4C28-B886-AED0B666B37F}" dt="2024-06-06T05:13:54.693" v="41846" actId="947"/>
            <ac:spMkLst>
              <pc:docMk/>
              <pc:sldMasterMk cId="1584551246" sldId="2147483648"/>
              <pc:sldLayoutMk cId="3393263990" sldId="2147483660"/>
              <ac:spMk id="45" creationId="{6EA4ACC2-7477-D803-1AA6-35906FED63D1}"/>
            </ac:spMkLst>
          </pc:spChg>
          <pc:spChg chg="mod">
            <ac:chgData name="Grace, Morgan (Brisbane)" userId="221d5f7b-4a46-4bd5-bdf1-698d3a91c208" providerId="ADAL" clId="{D90324C1-6CE4-4C28-B886-AED0B666B37F}" dt="2024-06-06T05:13:54.693" v="41844" actId="947"/>
            <ac:spMkLst>
              <pc:docMk/>
              <pc:sldMasterMk cId="1584551246" sldId="2147483648"/>
              <pc:sldLayoutMk cId="3393263990" sldId="2147483660"/>
              <ac:spMk id="46" creationId="{8484CFFC-B393-03D9-1FE5-F6DEB4C9DD88}"/>
            </ac:spMkLst>
          </pc:spChg>
          <pc:spChg chg="mod">
            <ac:chgData name="Grace, Morgan (Brisbane)" userId="221d5f7b-4a46-4bd5-bdf1-698d3a91c208" providerId="ADAL" clId="{D90324C1-6CE4-4C28-B886-AED0B666B37F}" dt="2024-06-06T05:13:54.693" v="41842" actId="947"/>
            <ac:spMkLst>
              <pc:docMk/>
              <pc:sldMasterMk cId="1584551246" sldId="2147483648"/>
              <pc:sldLayoutMk cId="3393263990" sldId="2147483660"/>
              <ac:spMk id="47" creationId="{5C9C66C5-C3DE-DF85-FBF4-A9BF796BACE1}"/>
            </ac:spMkLst>
          </pc:spChg>
          <pc:spChg chg="mod">
            <ac:chgData name="Grace, Morgan (Brisbane)" userId="221d5f7b-4a46-4bd5-bdf1-698d3a91c208" providerId="ADAL" clId="{D90324C1-6CE4-4C28-B886-AED0B666B37F}" dt="2024-06-06T05:13:54.693" v="41840" actId="947"/>
            <ac:spMkLst>
              <pc:docMk/>
              <pc:sldMasterMk cId="1584551246" sldId="2147483648"/>
              <pc:sldLayoutMk cId="3393263990" sldId="2147483660"/>
              <ac:spMk id="48" creationId="{864DDB72-8669-6988-B0EC-9DBE80E13B0B}"/>
            </ac:spMkLst>
          </pc:spChg>
          <pc:spChg chg="mod">
            <ac:chgData name="Grace, Morgan (Brisbane)" userId="221d5f7b-4a46-4bd5-bdf1-698d3a91c208" providerId="ADAL" clId="{D90324C1-6CE4-4C28-B886-AED0B666B37F}" dt="2024-06-06T05:13:54.693" v="41838" actId="947"/>
            <ac:spMkLst>
              <pc:docMk/>
              <pc:sldMasterMk cId="1584551246" sldId="2147483648"/>
              <pc:sldLayoutMk cId="3393263990" sldId="2147483660"/>
              <ac:spMk id="49" creationId="{67D38A52-33FA-3672-37F0-BBDE3FC7657E}"/>
            </ac:spMkLst>
          </pc:spChg>
          <pc:spChg chg="mod">
            <ac:chgData name="Grace, Morgan (Brisbane)" userId="221d5f7b-4a46-4bd5-bdf1-698d3a91c208" providerId="ADAL" clId="{D90324C1-6CE4-4C28-B886-AED0B666B37F}" dt="2024-06-06T05:13:54.709" v="41866" actId="947"/>
            <ac:spMkLst>
              <pc:docMk/>
              <pc:sldMasterMk cId="1584551246" sldId="2147483648"/>
              <pc:sldLayoutMk cId="3393263990" sldId="2147483660"/>
              <ac:spMk id="50" creationId="{144454EE-82F7-0A79-0CB5-CF1C8FE937E6}"/>
            </ac:spMkLst>
          </pc:spChg>
          <pc:spChg chg="mod">
            <ac:chgData name="Grace, Morgan (Brisbane)" userId="221d5f7b-4a46-4bd5-bdf1-698d3a91c208" providerId="ADAL" clId="{D90324C1-6CE4-4C28-B886-AED0B666B37F}" dt="2024-06-06T05:13:54.709" v="41864" actId="947"/>
            <ac:spMkLst>
              <pc:docMk/>
              <pc:sldMasterMk cId="1584551246" sldId="2147483648"/>
              <pc:sldLayoutMk cId="3393263990" sldId="2147483660"/>
              <ac:spMk id="51" creationId="{8C091BD2-5FB0-D816-7964-C671D1EE660B}"/>
            </ac:spMkLst>
          </pc:spChg>
          <pc:spChg chg="mod">
            <ac:chgData name="Grace, Morgan (Brisbane)" userId="221d5f7b-4a46-4bd5-bdf1-698d3a91c208" providerId="ADAL" clId="{D90324C1-6CE4-4C28-B886-AED0B666B37F}" dt="2024-06-06T05:13:54.709" v="41862" actId="947"/>
            <ac:spMkLst>
              <pc:docMk/>
              <pc:sldMasterMk cId="1584551246" sldId="2147483648"/>
              <pc:sldLayoutMk cId="3393263990" sldId="2147483660"/>
              <ac:spMk id="52" creationId="{77338D1E-3C7C-9231-2972-F8AC07B4CE90}"/>
            </ac:spMkLst>
          </pc:spChg>
          <pc:spChg chg="mod">
            <ac:chgData name="Grace, Morgan (Brisbane)" userId="221d5f7b-4a46-4bd5-bdf1-698d3a91c208" providerId="ADAL" clId="{D90324C1-6CE4-4C28-B886-AED0B666B37F}" dt="2024-06-06T05:13:54.709" v="41860" actId="947"/>
            <ac:spMkLst>
              <pc:docMk/>
              <pc:sldMasterMk cId="1584551246" sldId="2147483648"/>
              <pc:sldLayoutMk cId="3393263990" sldId="2147483660"/>
              <ac:spMk id="53" creationId="{544F3E84-68FE-112D-A978-25DBA5252A29}"/>
            </ac:spMkLst>
          </pc:spChg>
          <pc:spChg chg="mod">
            <ac:chgData name="Grace, Morgan (Brisbane)" userId="221d5f7b-4a46-4bd5-bdf1-698d3a91c208" providerId="ADAL" clId="{D90324C1-6CE4-4C28-B886-AED0B666B37F}" dt="2024-06-06T05:13:54.709" v="41858" actId="947"/>
            <ac:spMkLst>
              <pc:docMk/>
              <pc:sldMasterMk cId="1584551246" sldId="2147483648"/>
              <pc:sldLayoutMk cId="3393263990" sldId="2147483660"/>
              <ac:spMk id="54" creationId="{18F30F52-9576-07BC-9C19-88C21DF9CFCA}"/>
            </ac:spMkLst>
          </pc:spChg>
          <pc:spChg chg="mod">
            <ac:chgData name="Grace, Morgan (Brisbane)" userId="221d5f7b-4a46-4bd5-bdf1-698d3a91c208" providerId="ADAL" clId="{D90324C1-6CE4-4C28-B886-AED0B666B37F}" dt="2024-06-06T05:13:54.709" v="41856" actId="947"/>
            <ac:spMkLst>
              <pc:docMk/>
              <pc:sldMasterMk cId="1584551246" sldId="2147483648"/>
              <pc:sldLayoutMk cId="3393263990" sldId="2147483660"/>
              <ac:spMk id="55" creationId="{780A7D81-587C-8BC2-F26B-620ED39B8A23}"/>
            </ac:spMkLst>
          </pc:spChg>
          <pc:graphicFrameChg chg="mod ord modVis replST">
            <ac:chgData name="Grace, Morgan (Brisbane)" userId="221d5f7b-4a46-4bd5-bdf1-698d3a91c208" providerId="ADAL" clId="{D90324C1-6CE4-4C28-B886-AED0B666B37F}" dt="2024-06-06T05:14:00.293" v="45709"/>
            <ac:graphicFrameMkLst>
              <pc:docMk/>
              <pc:sldMasterMk cId="1584551246" sldId="2147483648"/>
              <pc:sldLayoutMk cId="3393263990" sldId="2147483660"/>
              <ac:graphicFrameMk id="56" creationId="{81E68B11-5621-A86A-7BC4-C3B5B0FF446E}"/>
            </ac:graphicFrameMkLst>
          </pc:graphicFrameChg>
        </pc:sldLayoutChg>
        <pc:sldLayoutChg chg="delSp modSp mod">
          <pc:chgData name="Grace, Morgan (Brisbane)" userId="221d5f7b-4a46-4bd5-bdf1-698d3a91c208" providerId="ADAL" clId="{D90324C1-6CE4-4C28-B886-AED0B666B37F}" dt="2024-06-06T05:14:00.324" v="45717"/>
          <pc:sldLayoutMkLst>
            <pc:docMk/>
            <pc:sldMasterMk cId="1584551246" sldId="2147483648"/>
            <pc:sldLayoutMk cId="2497333854" sldId="2147483661"/>
          </pc:sldLayoutMkLst>
          <pc:spChg chg="del mod modVis">
            <ac:chgData name="Grace, Morgan (Brisbane)" userId="221d5f7b-4a46-4bd5-bdf1-698d3a91c208" providerId="ADAL" clId="{D90324C1-6CE4-4C28-B886-AED0B666B37F}" dt="2024-06-06T05:14:00.293" v="45710" actId="478"/>
            <ac:spMkLst>
              <pc:docMk/>
              <pc:sldMasterMk cId="1584551246" sldId="2147483648"/>
              <pc:sldLayoutMk cId="2497333854" sldId="2147483661"/>
              <ac:spMk id="2" creationId="{DE7EC875-749A-4584-41DA-FCEFF481F4B3}"/>
            </ac:spMkLst>
          </pc:spChg>
          <pc:spChg chg="mod">
            <ac:chgData name="Grace, Morgan (Brisbane)" userId="221d5f7b-4a46-4bd5-bdf1-698d3a91c208" providerId="ADAL" clId="{D90324C1-6CE4-4C28-B886-AED0B666B37F}" dt="2024-06-06T05:13:54.731" v="41872" actId="790"/>
            <ac:spMkLst>
              <pc:docMk/>
              <pc:sldMasterMk cId="1584551246" sldId="2147483648"/>
              <pc:sldLayoutMk cId="2497333854" sldId="2147483661"/>
              <ac:spMk id="8" creationId="{C6887464-A75B-79CE-3F60-C838B803A18F}"/>
            </ac:spMkLst>
          </pc:spChg>
          <pc:spChg chg="mod">
            <ac:chgData name="Grace, Morgan (Brisbane)" userId="221d5f7b-4a46-4bd5-bdf1-698d3a91c208" providerId="ADAL" clId="{D90324C1-6CE4-4C28-B886-AED0B666B37F}" dt="2024-06-06T05:13:58.452" v="44234" actId="948"/>
            <ac:spMkLst>
              <pc:docMk/>
              <pc:sldMasterMk cId="1584551246" sldId="2147483648"/>
              <pc:sldLayoutMk cId="2497333854" sldId="2147483661"/>
              <ac:spMk id="14" creationId="{04935328-5165-4BEA-58F2-DFB9A3D2CC52}"/>
            </ac:spMkLst>
          </pc:spChg>
          <pc:spChg chg="mod">
            <ac:chgData name="Grace, Morgan (Brisbane)" userId="221d5f7b-4a46-4bd5-bdf1-698d3a91c208" providerId="ADAL" clId="{D90324C1-6CE4-4C28-B886-AED0B666B37F}" dt="2024-06-06T05:13:54.724" v="41868" actId="790"/>
            <ac:spMkLst>
              <pc:docMk/>
              <pc:sldMasterMk cId="1584551246" sldId="2147483648"/>
              <pc:sldLayoutMk cId="2497333854" sldId="2147483661"/>
              <ac:spMk id="17" creationId="{58C64552-3CC2-033A-D0B2-40559B174871}"/>
            </ac:spMkLst>
          </pc:spChg>
          <pc:spChg chg="mod">
            <ac:chgData name="Grace, Morgan (Brisbane)" userId="221d5f7b-4a46-4bd5-bdf1-698d3a91c208" providerId="ADAL" clId="{D90324C1-6CE4-4C28-B886-AED0B666B37F}" dt="2024-06-06T05:13:54.731" v="41869" actId="790"/>
            <ac:spMkLst>
              <pc:docMk/>
              <pc:sldMasterMk cId="1584551246" sldId="2147483648"/>
              <pc:sldLayoutMk cId="2497333854" sldId="2147483661"/>
              <ac:spMk id="18" creationId="{49723328-F83F-E36F-A23C-C63BA0452F08}"/>
            </ac:spMkLst>
          </pc:spChg>
          <pc:spChg chg="mod">
            <ac:chgData name="Grace, Morgan (Brisbane)" userId="221d5f7b-4a46-4bd5-bdf1-698d3a91c208" providerId="ADAL" clId="{D90324C1-6CE4-4C28-B886-AED0B666B37F}" dt="2024-06-06T05:13:54.731" v="41870" actId="790"/>
            <ac:spMkLst>
              <pc:docMk/>
              <pc:sldMasterMk cId="1584551246" sldId="2147483648"/>
              <pc:sldLayoutMk cId="2497333854" sldId="2147483661"/>
              <ac:spMk id="19" creationId="{10F85AFF-0099-B004-10E7-3264A4FAD960}"/>
            </ac:spMkLst>
          </pc:spChg>
          <pc:spChg chg="mod">
            <ac:chgData name="Grace, Morgan (Brisbane)" userId="221d5f7b-4a46-4bd5-bdf1-698d3a91c208" providerId="ADAL" clId="{D90324C1-6CE4-4C28-B886-AED0B666B37F}" dt="2024-06-06T05:13:54.731" v="41871" actId="790"/>
            <ac:spMkLst>
              <pc:docMk/>
              <pc:sldMasterMk cId="1584551246" sldId="2147483648"/>
              <pc:sldLayoutMk cId="2497333854" sldId="2147483661"/>
              <ac:spMk id="21" creationId="{4FCEAD4B-3D9E-1FE1-F7EA-4DF4F676AA75}"/>
            </ac:spMkLst>
          </pc:spChg>
          <pc:spChg chg="mod">
            <ac:chgData name="Grace, Morgan (Brisbane)" userId="221d5f7b-4a46-4bd5-bdf1-698d3a91c208" providerId="ADAL" clId="{D90324C1-6CE4-4C28-B886-AED0B666B37F}" dt="2024-06-06T05:13:54.762" v="41926" actId="947"/>
            <ac:spMkLst>
              <pc:docMk/>
              <pc:sldMasterMk cId="1584551246" sldId="2147483648"/>
              <pc:sldLayoutMk cId="2497333854" sldId="2147483661"/>
              <ac:spMk id="59" creationId="{4B087066-C18A-BCCD-B685-52F7C80E0BC0}"/>
            </ac:spMkLst>
          </pc:spChg>
          <pc:spChg chg="mod">
            <ac:chgData name="Grace, Morgan (Brisbane)" userId="221d5f7b-4a46-4bd5-bdf1-698d3a91c208" providerId="ADAL" clId="{D90324C1-6CE4-4C28-B886-AED0B666B37F}" dt="2024-06-06T05:13:54.762" v="41924" actId="947"/>
            <ac:spMkLst>
              <pc:docMk/>
              <pc:sldMasterMk cId="1584551246" sldId="2147483648"/>
              <pc:sldLayoutMk cId="2497333854" sldId="2147483661"/>
              <ac:spMk id="60" creationId="{19D2EB13-A442-EEA6-A888-F64BF20F10C2}"/>
            </ac:spMkLst>
          </pc:spChg>
          <pc:spChg chg="mod">
            <ac:chgData name="Grace, Morgan (Brisbane)" userId="221d5f7b-4a46-4bd5-bdf1-698d3a91c208" providerId="ADAL" clId="{D90324C1-6CE4-4C28-B886-AED0B666B37F}" dt="2024-06-06T05:13:54.762" v="41922" actId="947"/>
            <ac:spMkLst>
              <pc:docMk/>
              <pc:sldMasterMk cId="1584551246" sldId="2147483648"/>
              <pc:sldLayoutMk cId="2497333854" sldId="2147483661"/>
              <ac:spMk id="61" creationId="{F7F155AA-9E03-D03E-E83E-0306BFCCE517}"/>
            </ac:spMkLst>
          </pc:spChg>
          <pc:spChg chg="mod">
            <ac:chgData name="Grace, Morgan (Brisbane)" userId="221d5f7b-4a46-4bd5-bdf1-698d3a91c208" providerId="ADAL" clId="{D90324C1-6CE4-4C28-B886-AED0B666B37F}" dt="2024-06-06T05:13:54.762" v="41920" actId="947"/>
            <ac:spMkLst>
              <pc:docMk/>
              <pc:sldMasterMk cId="1584551246" sldId="2147483648"/>
              <pc:sldLayoutMk cId="2497333854" sldId="2147483661"/>
              <ac:spMk id="62" creationId="{1486225F-FC8E-6D86-EBBE-8F53D4E69974}"/>
            </ac:spMkLst>
          </pc:spChg>
          <pc:spChg chg="mod">
            <ac:chgData name="Grace, Morgan (Brisbane)" userId="221d5f7b-4a46-4bd5-bdf1-698d3a91c208" providerId="ADAL" clId="{D90324C1-6CE4-4C28-B886-AED0B666B37F}" dt="2024-06-06T05:13:54.762" v="41918" actId="947"/>
            <ac:spMkLst>
              <pc:docMk/>
              <pc:sldMasterMk cId="1584551246" sldId="2147483648"/>
              <pc:sldLayoutMk cId="2497333854" sldId="2147483661"/>
              <ac:spMk id="63" creationId="{5C50826A-119E-7BD1-CF25-682E8008DB40}"/>
            </ac:spMkLst>
          </pc:spChg>
          <pc:spChg chg="mod">
            <ac:chgData name="Grace, Morgan (Brisbane)" userId="221d5f7b-4a46-4bd5-bdf1-698d3a91c208" providerId="ADAL" clId="{D90324C1-6CE4-4C28-B886-AED0B666B37F}" dt="2024-06-06T05:13:54.762" v="41916" actId="947"/>
            <ac:spMkLst>
              <pc:docMk/>
              <pc:sldMasterMk cId="1584551246" sldId="2147483648"/>
              <pc:sldLayoutMk cId="2497333854" sldId="2147483661"/>
              <ac:spMk id="64" creationId="{3DB9A462-579E-CBEC-2340-33D599BC5B81}"/>
            </ac:spMkLst>
          </pc:spChg>
          <pc:spChg chg="mod">
            <ac:chgData name="Grace, Morgan (Brisbane)" userId="221d5f7b-4a46-4bd5-bdf1-698d3a91c208" providerId="ADAL" clId="{D90324C1-6CE4-4C28-B886-AED0B666B37F}" dt="2024-06-06T05:13:54.762" v="41914" actId="947"/>
            <ac:spMkLst>
              <pc:docMk/>
              <pc:sldMasterMk cId="1584551246" sldId="2147483648"/>
              <pc:sldLayoutMk cId="2497333854" sldId="2147483661"/>
              <ac:spMk id="65" creationId="{3443761B-FE40-781D-9093-A7F966EC18C3}"/>
            </ac:spMkLst>
          </pc:spChg>
          <pc:spChg chg="mod">
            <ac:chgData name="Grace, Morgan (Brisbane)" userId="221d5f7b-4a46-4bd5-bdf1-698d3a91c208" providerId="ADAL" clId="{D90324C1-6CE4-4C28-B886-AED0B666B37F}" dt="2024-06-06T05:13:54.762" v="41912" actId="947"/>
            <ac:spMkLst>
              <pc:docMk/>
              <pc:sldMasterMk cId="1584551246" sldId="2147483648"/>
              <pc:sldLayoutMk cId="2497333854" sldId="2147483661"/>
              <ac:spMk id="66" creationId="{892DD48E-46E6-54BB-14EF-DB61B262CE29}"/>
            </ac:spMkLst>
          </pc:spChg>
          <pc:spChg chg="mod">
            <ac:chgData name="Grace, Morgan (Brisbane)" userId="221d5f7b-4a46-4bd5-bdf1-698d3a91c208" providerId="ADAL" clId="{D90324C1-6CE4-4C28-B886-AED0B666B37F}" dt="2024-06-06T05:13:54.762" v="41910" actId="947"/>
            <ac:spMkLst>
              <pc:docMk/>
              <pc:sldMasterMk cId="1584551246" sldId="2147483648"/>
              <pc:sldLayoutMk cId="2497333854" sldId="2147483661"/>
              <ac:spMk id="67" creationId="{B2173CBF-FACB-10B2-6A36-9453C87A19D2}"/>
            </ac:spMkLst>
          </pc:spChg>
          <pc:spChg chg="mod">
            <ac:chgData name="Grace, Morgan (Brisbane)" userId="221d5f7b-4a46-4bd5-bdf1-698d3a91c208" providerId="ADAL" clId="{D90324C1-6CE4-4C28-B886-AED0B666B37F}" dt="2024-06-06T05:13:54.762" v="41908" actId="947"/>
            <ac:spMkLst>
              <pc:docMk/>
              <pc:sldMasterMk cId="1584551246" sldId="2147483648"/>
              <pc:sldLayoutMk cId="2497333854" sldId="2147483661"/>
              <ac:spMk id="68" creationId="{C16A3BE3-C764-E1E6-D6D2-71BFD9D3158C}"/>
            </ac:spMkLst>
          </pc:spChg>
          <pc:spChg chg="mod">
            <ac:chgData name="Grace, Morgan (Brisbane)" userId="221d5f7b-4a46-4bd5-bdf1-698d3a91c208" providerId="ADAL" clId="{D90324C1-6CE4-4C28-B886-AED0B666B37F}" dt="2024-06-06T05:13:54.746" v="41906" actId="947"/>
            <ac:spMkLst>
              <pc:docMk/>
              <pc:sldMasterMk cId="1584551246" sldId="2147483648"/>
              <pc:sldLayoutMk cId="2497333854" sldId="2147483661"/>
              <ac:spMk id="69" creationId="{3CED3D13-C1DD-C8CD-D555-CED09C014574}"/>
            </ac:spMkLst>
          </pc:spChg>
          <pc:spChg chg="mod">
            <ac:chgData name="Grace, Morgan (Brisbane)" userId="221d5f7b-4a46-4bd5-bdf1-698d3a91c208" providerId="ADAL" clId="{D90324C1-6CE4-4C28-B886-AED0B666B37F}" dt="2024-06-06T05:13:54.746" v="41904" actId="947"/>
            <ac:spMkLst>
              <pc:docMk/>
              <pc:sldMasterMk cId="1584551246" sldId="2147483648"/>
              <pc:sldLayoutMk cId="2497333854" sldId="2147483661"/>
              <ac:spMk id="70" creationId="{836AF897-269E-1C49-7D44-48C59B49E626}"/>
            </ac:spMkLst>
          </pc:spChg>
          <pc:spChg chg="mod">
            <ac:chgData name="Grace, Morgan (Brisbane)" userId="221d5f7b-4a46-4bd5-bdf1-698d3a91c208" providerId="ADAL" clId="{D90324C1-6CE4-4C28-B886-AED0B666B37F}" dt="2024-06-06T05:13:54.746" v="41902" actId="947"/>
            <ac:spMkLst>
              <pc:docMk/>
              <pc:sldMasterMk cId="1584551246" sldId="2147483648"/>
              <pc:sldLayoutMk cId="2497333854" sldId="2147483661"/>
              <ac:spMk id="71" creationId="{59D9D1D4-A32A-C512-BA70-4FB606020ED6}"/>
            </ac:spMkLst>
          </pc:spChg>
          <pc:spChg chg="mod">
            <ac:chgData name="Grace, Morgan (Brisbane)" userId="221d5f7b-4a46-4bd5-bdf1-698d3a91c208" providerId="ADAL" clId="{D90324C1-6CE4-4C28-B886-AED0B666B37F}" dt="2024-06-06T05:13:54.746" v="41900" actId="947"/>
            <ac:spMkLst>
              <pc:docMk/>
              <pc:sldMasterMk cId="1584551246" sldId="2147483648"/>
              <pc:sldLayoutMk cId="2497333854" sldId="2147483661"/>
              <ac:spMk id="72" creationId="{61AF021F-5AE8-0377-C266-A354C0D5EAB2}"/>
            </ac:spMkLst>
          </pc:spChg>
          <pc:spChg chg="mod">
            <ac:chgData name="Grace, Morgan (Brisbane)" userId="221d5f7b-4a46-4bd5-bdf1-698d3a91c208" providerId="ADAL" clId="{D90324C1-6CE4-4C28-B886-AED0B666B37F}" dt="2024-06-06T05:13:54.746" v="41898" actId="947"/>
            <ac:spMkLst>
              <pc:docMk/>
              <pc:sldMasterMk cId="1584551246" sldId="2147483648"/>
              <pc:sldLayoutMk cId="2497333854" sldId="2147483661"/>
              <ac:spMk id="73" creationId="{2CB109A4-2979-2C0A-1ACC-1E9FA394C273}"/>
            </ac:spMkLst>
          </pc:spChg>
          <pc:spChg chg="mod">
            <ac:chgData name="Grace, Morgan (Brisbane)" userId="221d5f7b-4a46-4bd5-bdf1-698d3a91c208" providerId="ADAL" clId="{D90324C1-6CE4-4C28-B886-AED0B666B37F}" dt="2024-06-06T05:13:54.746" v="41896" actId="947"/>
            <ac:spMkLst>
              <pc:docMk/>
              <pc:sldMasterMk cId="1584551246" sldId="2147483648"/>
              <pc:sldLayoutMk cId="2497333854" sldId="2147483661"/>
              <ac:spMk id="74" creationId="{C8AFF125-1114-A9CA-DD04-5D339EBA7530}"/>
            </ac:spMkLst>
          </pc:spChg>
          <pc:spChg chg="mod">
            <ac:chgData name="Grace, Morgan (Brisbane)" userId="221d5f7b-4a46-4bd5-bdf1-698d3a91c208" providerId="ADAL" clId="{D90324C1-6CE4-4C28-B886-AED0B666B37F}" dt="2024-06-06T05:13:54.746" v="41894" actId="947"/>
            <ac:spMkLst>
              <pc:docMk/>
              <pc:sldMasterMk cId="1584551246" sldId="2147483648"/>
              <pc:sldLayoutMk cId="2497333854" sldId="2147483661"/>
              <ac:spMk id="75" creationId="{B51A6086-DA77-6F0E-CE76-494C12472726}"/>
            </ac:spMkLst>
          </pc:spChg>
          <pc:spChg chg="mod">
            <ac:chgData name="Grace, Morgan (Brisbane)" userId="221d5f7b-4a46-4bd5-bdf1-698d3a91c208" providerId="ADAL" clId="{D90324C1-6CE4-4C28-B886-AED0B666B37F}" dt="2024-06-06T05:13:54.746" v="41892" actId="947"/>
            <ac:spMkLst>
              <pc:docMk/>
              <pc:sldMasterMk cId="1584551246" sldId="2147483648"/>
              <pc:sldLayoutMk cId="2497333854" sldId="2147483661"/>
              <ac:spMk id="76" creationId="{13108E8F-12B3-C906-94E5-DF9931E142F1}"/>
            </ac:spMkLst>
          </pc:spChg>
          <pc:spChg chg="mod">
            <ac:chgData name="Grace, Morgan (Brisbane)" userId="221d5f7b-4a46-4bd5-bdf1-698d3a91c208" providerId="ADAL" clId="{D90324C1-6CE4-4C28-B886-AED0B666B37F}" dt="2024-06-06T05:13:54.746" v="41890" actId="947"/>
            <ac:spMkLst>
              <pc:docMk/>
              <pc:sldMasterMk cId="1584551246" sldId="2147483648"/>
              <pc:sldLayoutMk cId="2497333854" sldId="2147483661"/>
              <ac:spMk id="77" creationId="{730A18AD-F431-C15D-5629-A1B72ADC3CFE}"/>
            </ac:spMkLst>
          </pc:spChg>
          <pc:spChg chg="mod">
            <ac:chgData name="Grace, Morgan (Brisbane)" userId="221d5f7b-4a46-4bd5-bdf1-698d3a91c208" providerId="ADAL" clId="{D90324C1-6CE4-4C28-B886-AED0B666B37F}" dt="2024-06-06T05:13:54.746" v="41888" actId="947"/>
            <ac:spMkLst>
              <pc:docMk/>
              <pc:sldMasterMk cId="1584551246" sldId="2147483648"/>
              <pc:sldLayoutMk cId="2497333854" sldId="2147483661"/>
              <ac:spMk id="78" creationId="{9753DF2D-EB78-38F3-29C1-B00FFA2FDA58}"/>
            </ac:spMkLst>
          </pc:spChg>
          <pc:spChg chg="mod">
            <ac:chgData name="Grace, Morgan (Brisbane)" userId="221d5f7b-4a46-4bd5-bdf1-698d3a91c208" providerId="ADAL" clId="{D90324C1-6CE4-4C28-B886-AED0B666B37F}" dt="2024-06-06T05:13:54.731" v="41886" actId="947"/>
            <ac:spMkLst>
              <pc:docMk/>
              <pc:sldMasterMk cId="1584551246" sldId="2147483648"/>
              <pc:sldLayoutMk cId="2497333854" sldId="2147483661"/>
              <ac:spMk id="79" creationId="{4B6019EF-490C-803B-934F-AA011CA8E6BB}"/>
            </ac:spMkLst>
          </pc:spChg>
          <pc:spChg chg="mod">
            <ac:chgData name="Grace, Morgan (Brisbane)" userId="221d5f7b-4a46-4bd5-bdf1-698d3a91c208" providerId="ADAL" clId="{D90324C1-6CE4-4C28-B886-AED0B666B37F}" dt="2024-06-06T05:13:54.731" v="41884" actId="947"/>
            <ac:spMkLst>
              <pc:docMk/>
              <pc:sldMasterMk cId="1584551246" sldId="2147483648"/>
              <pc:sldLayoutMk cId="2497333854" sldId="2147483661"/>
              <ac:spMk id="80" creationId="{C05DD914-7CA1-C90C-226E-38DAEEBDEEE3}"/>
            </ac:spMkLst>
          </pc:spChg>
          <pc:spChg chg="mod">
            <ac:chgData name="Grace, Morgan (Brisbane)" userId="221d5f7b-4a46-4bd5-bdf1-698d3a91c208" providerId="ADAL" clId="{D90324C1-6CE4-4C28-B886-AED0B666B37F}" dt="2024-06-06T05:13:54.731" v="41882" actId="947"/>
            <ac:spMkLst>
              <pc:docMk/>
              <pc:sldMasterMk cId="1584551246" sldId="2147483648"/>
              <pc:sldLayoutMk cId="2497333854" sldId="2147483661"/>
              <ac:spMk id="81" creationId="{D044CA9B-3685-895F-F010-ACDCA40E021C}"/>
            </ac:spMkLst>
          </pc:spChg>
          <pc:spChg chg="mod">
            <ac:chgData name="Grace, Morgan (Brisbane)" userId="221d5f7b-4a46-4bd5-bdf1-698d3a91c208" providerId="ADAL" clId="{D90324C1-6CE4-4C28-B886-AED0B666B37F}" dt="2024-06-06T05:13:54.731" v="41880" actId="947"/>
            <ac:spMkLst>
              <pc:docMk/>
              <pc:sldMasterMk cId="1584551246" sldId="2147483648"/>
              <pc:sldLayoutMk cId="2497333854" sldId="2147483661"/>
              <ac:spMk id="82" creationId="{42AF9DCC-928F-A869-65EF-D7AEACD7FBC8}"/>
            </ac:spMkLst>
          </pc:spChg>
          <pc:spChg chg="mod">
            <ac:chgData name="Grace, Morgan (Brisbane)" userId="221d5f7b-4a46-4bd5-bdf1-698d3a91c208" providerId="ADAL" clId="{D90324C1-6CE4-4C28-B886-AED0B666B37F}" dt="2024-06-06T05:13:54.731" v="41878" actId="947"/>
            <ac:spMkLst>
              <pc:docMk/>
              <pc:sldMasterMk cId="1584551246" sldId="2147483648"/>
              <pc:sldLayoutMk cId="2497333854" sldId="2147483661"/>
              <ac:spMk id="83" creationId="{B4F25377-1F53-A2E8-4516-B490236B0450}"/>
            </ac:spMkLst>
          </pc:spChg>
          <pc:spChg chg="mod">
            <ac:chgData name="Grace, Morgan (Brisbane)" userId="221d5f7b-4a46-4bd5-bdf1-698d3a91c208" providerId="ADAL" clId="{D90324C1-6CE4-4C28-B886-AED0B666B37F}" dt="2024-06-06T05:13:54.731" v="41876" actId="947"/>
            <ac:spMkLst>
              <pc:docMk/>
              <pc:sldMasterMk cId="1584551246" sldId="2147483648"/>
              <pc:sldLayoutMk cId="2497333854" sldId="2147483661"/>
              <ac:spMk id="84" creationId="{187B6C46-D9DB-6972-DB8B-D86A0D3F146B}"/>
            </ac:spMkLst>
          </pc:spChg>
          <pc:spChg chg="mod">
            <ac:chgData name="Grace, Morgan (Brisbane)" userId="221d5f7b-4a46-4bd5-bdf1-698d3a91c208" providerId="ADAL" clId="{D90324C1-6CE4-4C28-B886-AED0B666B37F}" dt="2024-06-06T05:13:54.731" v="41874" actId="947"/>
            <ac:spMkLst>
              <pc:docMk/>
              <pc:sldMasterMk cId="1584551246" sldId="2147483648"/>
              <pc:sldLayoutMk cId="2497333854" sldId="2147483661"/>
              <ac:spMk id="85" creationId="{70134027-05C4-14EB-9BAE-767FBA90225E}"/>
            </ac:spMkLst>
          </pc:spChg>
          <pc:spChg chg="mod">
            <ac:chgData name="Grace, Morgan (Brisbane)" userId="221d5f7b-4a46-4bd5-bdf1-698d3a91c208" providerId="ADAL" clId="{D90324C1-6CE4-4C28-B886-AED0B666B37F}" dt="2024-06-06T05:13:54.778" v="41944" actId="947"/>
            <ac:spMkLst>
              <pc:docMk/>
              <pc:sldMasterMk cId="1584551246" sldId="2147483648"/>
              <pc:sldLayoutMk cId="2497333854" sldId="2147483661"/>
              <ac:spMk id="86" creationId="{51E7E3D5-4E2D-212B-EE17-E4697C40B280}"/>
            </ac:spMkLst>
          </pc:spChg>
          <pc:spChg chg="mod">
            <ac:chgData name="Grace, Morgan (Brisbane)" userId="221d5f7b-4a46-4bd5-bdf1-698d3a91c208" providerId="ADAL" clId="{D90324C1-6CE4-4C28-B886-AED0B666B37F}" dt="2024-06-06T05:13:54.778" v="41942" actId="947"/>
            <ac:spMkLst>
              <pc:docMk/>
              <pc:sldMasterMk cId="1584551246" sldId="2147483648"/>
              <pc:sldLayoutMk cId="2497333854" sldId="2147483661"/>
              <ac:spMk id="87" creationId="{5F3F6DCD-D092-323F-0555-9380A8DF0D06}"/>
            </ac:spMkLst>
          </pc:spChg>
          <pc:spChg chg="mod">
            <ac:chgData name="Grace, Morgan (Brisbane)" userId="221d5f7b-4a46-4bd5-bdf1-698d3a91c208" providerId="ADAL" clId="{D90324C1-6CE4-4C28-B886-AED0B666B37F}" dt="2024-06-06T05:13:54.778" v="41940" actId="947"/>
            <ac:spMkLst>
              <pc:docMk/>
              <pc:sldMasterMk cId="1584551246" sldId="2147483648"/>
              <pc:sldLayoutMk cId="2497333854" sldId="2147483661"/>
              <ac:spMk id="88" creationId="{3A4B3688-EC30-47C5-54C1-6571F7E96688}"/>
            </ac:spMkLst>
          </pc:spChg>
          <pc:spChg chg="mod">
            <ac:chgData name="Grace, Morgan (Brisbane)" userId="221d5f7b-4a46-4bd5-bdf1-698d3a91c208" providerId="ADAL" clId="{D90324C1-6CE4-4C28-B886-AED0B666B37F}" dt="2024-06-06T05:13:54.778" v="41938" actId="947"/>
            <ac:spMkLst>
              <pc:docMk/>
              <pc:sldMasterMk cId="1584551246" sldId="2147483648"/>
              <pc:sldLayoutMk cId="2497333854" sldId="2147483661"/>
              <ac:spMk id="89" creationId="{7C33F2AB-6E39-E6C5-3964-A98E3635D4ED}"/>
            </ac:spMkLst>
          </pc:spChg>
          <pc:spChg chg="mod">
            <ac:chgData name="Grace, Morgan (Brisbane)" userId="221d5f7b-4a46-4bd5-bdf1-698d3a91c208" providerId="ADAL" clId="{D90324C1-6CE4-4C28-B886-AED0B666B37F}" dt="2024-06-06T05:13:54.778" v="41936" actId="947"/>
            <ac:spMkLst>
              <pc:docMk/>
              <pc:sldMasterMk cId="1584551246" sldId="2147483648"/>
              <pc:sldLayoutMk cId="2497333854" sldId="2147483661"/>
              <ac:spMk id="90" creationId="{00B2384E-5C81-9C12-09E5-F47A154E9136}"/>
            </ac:spMkLst>
          </pc:spChg>
          <pc:spChg chg="mod">
            <ac:chgData name="Grace, Morgan (Brisbane)" userId="221d5f7b-4a46-4bd5-bdf1-698d3a91c208" providerId="ADAL" clId="{D90324C1-6CE4-4C28-B886-AED0B666B37F}" dt="2024-06-06T05:13:54.778" v="41934" actId="947"/>
            <ac:spMkLst>
              <pc:docMk/>
              <pc:sldMasterMk cId="1584551246" sldId="2147483648"/>
              <pc:sldLayoutMk cId="2497333854" sldId="2147483661"/>
              <ac:spMk id="91" creationId="{5CB10A9B-DAF7-2846-9473-0063C321E656}"/>
            </ac:spMkLst>
          </pc:spChg>
          <pc:spChg chg="mod">
            <ac:chgData name="Grace, Morgan (Brisbane)" userId="221d5f7b-4a46-4bd5-bdf1-698d3a91c208" providerId="ADAL" clId="{D90324C1-6CE4-4C28-B886-AED0B666B37F}" dt="2024-06-06T05:13:54.778" v="41932" actId="947"/>
            <ac:spMkLst>
              <pc:docMk/>
              <pc:sldMasterMk cId="1584551246" sldId="2147483648"/>
              <pc:sldLayoutMk cId="2497333854" sldId="2147483661"/>
              <ac:spMk id="92" creationId="{43EDF1C2-6BC9-7DD5-BA55-C5BB8E2AF2A1}"/>
            </ac:spMkLst>
          </pc:spChg>
          <pc:spChg chg="mod">
            <ac:chgData name="Grace, Morgan (Brisbane)" userId="221d5f7b-4a46-4bd5-bdf1-698d3a91c208" providerId="ADAL" clId="{D90324C1-6CE4-4C28-B886-AED0B666B37F}" dt="2024-06-06T05:13:54.778" v="41930" actId="947"/>
            <ac:spMkLst>
              <pc:docMk/>
              <pc:sldMasterMk cId="1584551246" sldId="2147483648"/>
              <pc:sldLayoutMk cId="2497333854" sldId="2147483661"/>
              <ac:spMk id="93" creationId="{CB23C9DD-D4B5-226A-83B7-D473410C3D17}"/>
            </ac:spMkLst>
          </pc:spChg>
          <pc:spChg chg="mod">
            <ac:chgData name="Grace, Morgan (Brisbane)" userId="221d5f7b-4a46-4bd5-bdf1-698d3a91c208" providerId="ADAL" clId="{D90324C1-6CE4-4C28-B886-AED0B666B37F}" dt="2024-06-06T05:13:54.778" v="41928" actId="947"/>
            <ac:spMkLst>
              <pc:docMk/>
              <pc:sldMasterMk cId="1584551246" sldId="2147483648"/>
              <pc:sldLayoutMk cId="2497333854" sldId="2147483661"/>
              <ac:spMk id="94" creationId="{07D7F828-29D3-2DF5-BF5B-0CBF3EAC71B9}"/>
            </ac:spMkLst>
          </pc:spChg>
          <pc:spChg chg="mod">
            <ac:chgData name="Grace, Morgan (Brisbane)" userId="221d5f7b-4a46-4bd5-bdf1-698d3a91c208" providerId="ADAL" clId="{D90324C1-6CE4-4C28-B886-AED0B666B37F}" dt="2024-06-06T05:13:54.793" v="41956" actId="947"/>
            <ac:spMkLst>
              <pc:docMk/>
              <pc:sldMasterMk cId="1584551246" sldId="2147483648"/>
              <pc:sldLayoutMk cId="2497333854" sldId="2147483661"/>
              <ac:spMk id="95" creationId="{B3AE7A5B-559C-BBCA-297A-CA8DEBFFA105}"/>
            </ac:spMkLst>
          </pc:spChg>
          <pc:spChg chg="mod">
            <ac:chgData name="Grace, Morgan (Brisbane)" userId="221d5f7b-4a46-4bd5-bdf1-698d3a91c208" providerId="ADAL" clId="{D90324C1-6CE4-4C28-B886-AED0B666B37F}" dt="2024-06-06T05:13:54.793" v="41954" actId="947"/>
            <ac:spMkLst>
              <pc:docMk/>
              <pc:sldMasterMk cId="1584551246" sldId="2147483648"/>
              <pc:sldLayoutMk cId="2497333854" sldId="2147483661"/>
              <ac:spMk id="96" creationId="{62C95EE0-CE58-3321-9366-3ACC1D9E9FB8}"/>
            </ac:spMkLst>
          </pc:spChg>
          <pc:spChg chg="mod">
            <ac:chgData name="Grace, Morgan (Brisbane)" userId="221d5f7b-4a46-4bd5-bdf1-698d3a91c208" providerId="ADAL" clId="{D90324C1-6CE4-4C28-B886-AED0B666B37F}" dt="2024-06-06T05:13:54.793" v="41952" actId="947"/>
            <ac:spMkLst>
              <pc:docMk/>
              <pc:sldMasterMk cId="1584551246" sldId="2147483648"/>
              <pc:sldLayoutMk cId="2497333854" sldId="2147483661"/>
              <ac:spMk id="98" creationId="{DA043B1B-4420-E66C-9FEF-D191CE2A91F9}"/>
            </ac:spMkLst>
          </pc:spChg>
          <pc:spChg chg="mod">
            <ac:chgData name="Grace, Morgan (Brisbane)" userId="221d5f7b-4a46-4bd5-bdf1-698d3a91c208" providerId="ADAL" clId="{D90324C1-6CE4-4C28-B886-AED0B666B37F}" dt="2024-06-06T05:13:54.793" v="41950" actId="947"/>
            <ac:spMkLst>
              <pc:docMk/>
              <pc:sldMasterMk cId="1584551246" sldId="2147483648"/>
              <pc:sldLayoutMk cId="2497333854" sldId="2147483661"/>
              <ac:spMk id="99" creationId="{F821E4E2-22E2-B9C2-54AB-C91A4CD453F9}"/>
            </ac:spMkLst>
          </pc:spChg>
          <pc:spChg chg="mod">
            <ac:chgData name="Grace, Morgan (Brisbane)" userId="221d5f7b-4a46-4bd5-bdf1-698d3a91c208" providerId="ADAL" clId="{D90324C1-6CE4-4C28-B886-AED0B666B37F}" dt="2024-06-06T05:13:54.793" v="41948" actId="947"/>
            <ac:spMkLst>
              <pc:docMk/>
              <pc:sldMasterMk cId="1584551246" sldId="2147483648"/>
              <pc:sldLayoutMk cId="2497333854" sldId="2147483661"/>
              <ac:spMk id="100" creationId="{530D4491-3CED-4BBB-341E-5D0EB21D855C}"/>
            </ac:spMkLst>
          </pc:spChg>
          <pc:spChg chg="mod">
            <ac:chgData name="Grace, Morgan (Brisbane)" userId="221d5f7b-4a46-4bd5-bdf1-698d3a91c208" providerId="ADAL" clId="{D90324C1-6CE4-4C28-B886-AED0B666B37F}" dt="2024-06-06T05:13:54.778" v="41946" actId="947"/>
            <ac:spMkLst>
              <pc:docMk/>
              <pc:sldMasterMk cId="1584551246" sldId="2147483648"/>
              <pc:sldLayoutMk cId="2497333854" sldId="2147483661"/>
              <ac:spMk id="101" creationId="{CD7CE0A3-B682-59D3-28BF-E115B66FE570}"/>
            </ac:spMkLst>
          </pc:spChg>
          <pc:graphicFrameChg chg="mod ord modVis replST">
            <ac:chgData name="Grace, Morgan (Brisbane)" userId="221d5f7b-4a46-4bd5-bdf1-698d3a91c208" providerId="ADAL" clId="{D90324C1-6CE4-4C28-B886-AED0B666B37F}" dt="2024-06-06T05:14:00.324" v="45717"/>
            <ac:graphicFrameMkLst>
              <pc:docMk/>
              <pc:sldMasterMk cId="1584551246" sldId="2147483648"/>
              <pc:sldLayoutMk cId="2497333854" sldId="2147483661"/>
              <ac:graphicFrameMk id="3" creationId="{56B14A26-2B67-36B2-68EA-B2E4544B11A2}"/>
            </ac:graphicFrameMkLst>
          </pc:graphicFrameChg>
        </pc:sldLayoutChg>
        <pc:sldLayoutChg chg="delSp modSp mod">
          <pc:chgData name="Grace, Morgan (Brisbane)" userId="221d5f7b-4a46-4bd5-bdf1-698d3a91c208" providerId="ADAL" clId="{D90324C1-6CE4-4C28-B886-AED0B666B37F}" dt="2024-06-06T05:14:00.340" v="45725"/>
          <pc:sldLayoutMkLst>
            <pc:docMk/>
            <pc:sldMasterMk cId="1584551246" sldId="2147483648"/>
            <pc:sldLayoutMk cId="4114155586" sldId="2147483747"/>
          </pc:sldLayoutMkLst>
          <pc:spChg chg="del mod modVis">
            <ac:chgData name="Grace, Morgan (Brisbane)" userId="221d5f7b-4a46-4bd5-bdf1-698d3a91c208" providerId="ADAL" clId="{D90324C1-6CE4-4C28-B886-AED0B666B37F}" dt="2024-06-06T05:14:00.324" v="45718" actId="478"/>
            <ac:spMkLst>
              <pc:docMk/>
              <pc:sldMasterMk cId="1584551246" sldId="2147483648"/>
              <pc:sldLayoutMk cId="4114155586" sldId="2147483747"/>
              <ac:spMk id="3" creationId="{70570944-187F-E202-7808-E0726EC36268}"/>
            </ac:spMkLst>
          </pc:spChg>
          <pc:spChg chg="mod">
            <ac:chgData name="Grace, Morgan (Brisbane)" userId="221d5f7b-4a46-4bd5-bdf1-698d3a91c208" providerId="ADAL" clId="{D90324C1-6CE4-4C28-B886-AED0B666B37F}" dt="2024-06-06T05:13:54.809" v="41959" actId="790"/>
            <ac:spMkLst>
              <pc:docMk/>
              <pc:sldMasterMk cId="1584551246" sldId="2147483648"/>
              <pc:sldLayoutMk cId="4114155586" sldId="2147483747"/>
              <ac:spMk id="4" creationId="{D15DF19E-7964-F571-E19F-5D0DD7B21191}"/>
            </ac:spMkLst>
          </pc:spChg>
          <pc:spChg chg="mod">
            <ac:chgData name="Grace, Morgan (Brisbane)" userId="221d5f7b-4a46-4bd5-bdf1-698d3a91c208" providerId="ADAL" clId="{D90324C1-6CE4-4C28-B886-AED0B666B37F}" dt="2024-06-06T05:13:54.793" v="41957" actId="790"/>
            <ac:spMkLst>
              <pc:docMk/>
              <pc:sldMasterMk cId="1584551246" sldId="2147483648"/>
              <pc:sldLayoutMk cId="4114155586" sldId="2147483747"/>
              <ac:spMk id="5" creationId="{E7AFD596-DF90-9225-FA27-09F80241FC4C}"/>
            </ac:spMkLst>
          </pc:spChg>
          <pc:spChg chg="mod">
            <ac:chgData name="Grace, Morgan (Brisbane)" userId="221d5f7b-4a46-4bd5-bdf1-698d3a91c208" providerId="ADAL" clId="{D90324C1-6CE4-4C28-B886-AED0B666B37F}" dt="2024-06-06T05:13:54.793" v="41958" actId="790"/>
            <ac:spMkLst>
              <pc:docMk/>
              <pc:sldMasterMk cId="1584551246" sldId="2147483648"/>
              <pc:sldLayoutMk cId="4114155586" sldId="2147483747"/>
              <ac:spMk id="7" creationId="{4CFE0B2F-D57F-8A33-F6FD-BEAF399F6CD7}"/>
            </ac:spMkLst>
          </pc:spChg>
          <pc:spChg chg="mod">
            <ac:chgData name="Grace, Morgan (Brisbane)" userId="221d5f7b-4a46-4bd5-bdf1-698d3a91c208" providerId="ADAL" clId="{D90324C1-6CE4-4C28-B886-AED0B666B37F}" dt="2024-06-06T05:13:58.468" v="44253" actId="948"/>
            <ac:spMkLst>
              <pc:docMk/>
              <pc:sldMasterMk cId="1584551246" sldId="2147483648"/>
              <pc:sldLayoutMk cId="4114155586" sldId="2147483747"/>
              <ac:spMk id="8" creationId="{8A8F7B62-310E-831B-AC67-CC175FF68D75}"/>
            </ac:spMkLst>
          </pc:spChg>
          <pc:graphicFrameChg chg="mod ord modVis replST">
            <ac:chgData name="Grace, Morgan (Brisbane)" userId="221d5f7b-4a46-4bd5-bdf1-698d3a91c208" providerId="ADAL" clId="{D90324C1-6CE4-4C28-B886-AED0B666B37F}" dt="2024-06-06T05:14:00.340" v="45725"/>
            <ac:graphicFrameMkLst>
              <pc:docMk/>
              <pc:sldMasterMk cId="1584551246" sldId="2147483648"/>
              <pc:sldLayoutMk cId="4114155586" sldId="2147483747"/>
              <ac:graphicFrameMk id="6" creationId="{1C83EC2A-D3C4-7C2E-C69E-E1C67D521C24}"/>
            </ac:graphicFrameMkLst>
          </pc:graphicFrameChg>
        </pc:sldLayoutChg>
        <pc:sldLayoutChg chg="delSp modSp mod">
          <pc:chgData name="Grace, Morgan (Brisbane)" userId="221d5f7b-4a46-4bd5-bdf1-698d3a91c208" providerId="ADAL" clId="{D90324C1-6CE4-4C28-B886-AED0B666B37F}" dt="2024-06-06T05:14:01.305" v="46092"/>
          <pc:sldLayoutMkLst>
            <pc:docMk/>
            <pc:sldMasterMk cId="1584551246" sldId="2147483648"/>
            <pc:sldLayoutMk cId="3655798820" sldId="2147483749"/>
          </pc:sldLayoutMkLst>
          <pc:spChg chg="del mod modVis">
            <ac:chgData name="Grace, Morgan (Brisbane)" userId="221d5f7b-4a46-4bd5-bdf1-698d3a91c208" providerId="ADAL" clId="{D90324C1-6CE4-4C28-B886-AED0B666B37F}" dt="2024-06-06T05:14:01.273" v="46085" actId="478"/>
            <ac:spMkLst>
              <pc:docMk/>
              <pc:sldMasterMk cId="1584551246" sldId="2147483648"/>
              <pc:sldLayoutMk cId="3655798820" sldId="2147483749"/>
              <ac:spMk id="2" creationId="{EB105CD4-1E70-A63F-32F0-C960225BE73E}"/>
            </ac:spMkLst>
          </pc:spChg>
          <pc:spChg chg="mod">
            <ac:chgData name="Grace, Morgan (Brisbane)" userId="221d5f7b-4a46-4bd5-bdf1-698d3a91c208" providerId="ADAL" clId="{D90324C1-6CE4-4C28-B886-AED0B666B37F}" dt="2024-06-06T05:13:56.080" v="42572" actId="790"/>
            <ac:spMkLst>
              <pc:docMk/>
              <pc:sldMasterMk cId="1584551246" sldId="2147483648"/>
              <pc:sldLayoutMk cId="3655798820" sldId="2147483749"/>
              <ac:spMk id="4" creationId="{AE49857A-0F60-1442-7636-17B1C03704BB}"/>
            </ac:spMkLst>
          </pc:spChg>
          <pc:spChg chg="mod">
            <ac:chgData name="Grace, Morgan (Brisbane)" userId="221d5f7b-4a46-4bd5-bdf1-698d3a91c208" providerId="ADAL" clId="{D90324C1-6CE4-4C28-B886-AED0B666B37F}" dt="2024-06-06T05:13:56.080" v="42570" actId="790"/>
            <ac:spMkLst>
              <pc:docMk/>
              <pc:sldMasterMk cId="1584551246" sldId="2147483648"/>
              <pc:sldLayoutMk cId="3655798820" sldId="2147483749"/>
              <ac:spMk id="6" creationId="{41C7A72D-01DA-E161-8234-224816F21EF3}"/>
            </ac:spMkLst>
          </pc:spChg>
          <pc:spChg chg="mod">
            <ac:chgData name="Grace, Morgan (Brisbane)" userId="221d5f7b-4a46-4bd5-bdf1-698d3a91c208" providerId="ADAL" clId="{D90324C1-6CE4-4C28-B886-AED0B666B37F}" dt="2024-06-06T05:13:59.301" v="45009" actId="948"/>
            <ac:spMkLst>
              <pc:docMk/>
              <pc:sldMasterMk cId="1584551246" sldId="2147483648"/>
              <pc:sldLayoutMk cId="3655798820" sldId="2147483749"/>
              <ac:spMk id="7" creationId="{C5A87A75-D449-83F0-655D-1DC1C3A21684}"/>
            </ac:spMkLst>
          </pc:spChg>
          <pc:spChg chg="mod">
            <ac:chgData name="Grace, Morgan (Brisbane)" userId="221d5f7b-4a46-4bd5-bdf1-698d3a91c208" providerId="ADAL" clId="{D90324C1-6CE4-4C28-B886-AED0B666B37F}" dt="2024-06-06T05:13:56.080" v="42571" actId="790"/>
            <ac:spMkLst>
              <pc:docMk/>
              <pc:sldMasterMk cId="1584551246" sldId="2147483648"/>
              <pc:sldLayoutMk cId="3655798820" sldId="2147483749"/>
              <ac:spMk id="9" creationId="{ECD15C79-3242-40D9-C17C-740C3AC08135}"/>
            </ac:spMkLst>
          </pc:spChg>
          <pc:graphicFrameChg chg="mod ord modVis replST">
            <ac:chgData name="Grace, Morgan (Brisbane)" userId="221d5f7b-4a46-4bd5-bdf1-698d3a91c208" providerId="ADAL" clId="{D90324C1-6CE4-4C28-B886-AED0B666B37F}" dt="2024-06-06T05:14:01.305" v="46092"/>
            <ac:graphicFrameMkLst>
              <pc:docMk/>
              <pc:sldMasterMk cId="1584551246" sldId="2147483648"/>
              <pc:sldLayoutMk cId="3655798820" sldId="2147483749"/>
              <ac:graphicFrameMk id="5" creationId="{2344E1F9-C829-1E32-705B-2858D8257E20}"/>
            </ac:graphicFrameMkLst>
          </pc:graphicFrameChg>
        </pc:sldLayoutChg>
        <pc:sldLayoutChg chg="delSp modSp mod">
          <pc:chgData name="Grace, Morgan (Brisbane)" userId="221d5f7b-4a46-4bd5-bdf1-698d3a91c208" providerId="ADAL" clId="{D90324C1-6CE4-4C28-B886-AED0B666B37F}" dt="2024-06-06T05:14:01.104" v="46020"/>
          <pc:sldLayoutMkLst>
            <pc:docMk/>
            <pc:sldMasterMk cId="1584551246" sldId="2147483648"/>
            <pc:sldLayoutMk cId="3787316959" sldId="2147483750"/>
          </pc:sldLayoutMkLst>
          <pc:spChg chg="del mod modVis">
            <ac:chgData name="Grace, Morgan (Brisbane)" userId="221d5f7b-4a46-4bd5-bdf1-698d3a91c208" providerId="ADAL" clId="{D90324C1-6CE4-4C28-B886-AED0B666B37F}" dt="2024-06-06T05:14:01.089" v="46013" actId="478"/>
            <ac:spMkLst>
              <pc:docMk/>
              <pc:sldMasterMk cId="1584551246" sldId="2147483648"/>
              <pc:sldLayoutMk cId="3787316959" sldId="2147483750"/>
              <ac:spMk id="2" creationId="{B2AC7707-3427-624A-A164-DEA58CFB6247}"/>
            </ac:spMkLst>
          </pc:spChg>
          <pc:spChg chg="mod">
            <ac:chgData name="Grace, Morgan (Brisbane)" userId="221d5f7b-4a46-4bd5-bdf1-698d3a91c208" providerId="ADAL" clId="{D90324C1-6CE4-4C28-B886-AED0B666B37F}" dt="2024-06-06T05:13:55.880" v="42478" actId="790"/>
            <ac:spMkLst>
              <pc:docMk/>
              <pc:sldMasterMk cId="1584551246" sldId="2147483648"/>
              <pc:sldLayoutMk cId="3787316959" sldId="2147483750"/>
              <ac:spMk id="3" creationId="{52CB6ED4-2F76-4570-5AED-B122E6E42A40}"/>
            </ac:spMkLst>
          </pc:spChg>
          <pc:spChg chg="mod">
            <ac:chgData name="Grace, Morgan (Brisbane)" userId="221d5f7b-4a46-4bd5-bdf1-698d3a91c208" providerId="ADAL" clId="{D90324C1-6CE4-4C28-B886-AED0B666B37F}" dt="2024-06-06T05:13:55.880" v="42475" actId="947"/>
            <ac:spMkLst>
              <pc:docMk/>
              <pc:sldMasterMk cId="1584551246" sldId="2147483648"/>
              <pc:sldLayoutMk cId="3787316959" sldId="2147483750"/>
              <ac:spMk id="4" creationId="{D5BE50F3-5140-5A8A-9059-E2F80A52FAC3}"/>
            </ac:spMkLst>
          </pc:spChg>
          <pc:spChg chg="mod">
            <ac:chgData name="Grace, Morgan (Brisbane)" userId="221d5f7b-4a46-4bd5-bdf1-698d3a91c208" providerId="ADAL" clId="{D90324C1-6CE4-4C28-B886-AED0B666B37F}" dt="2024-06-06T05:13:55.880" v="42476" actId="790"/>
            <ac:spMkLst>
              <pc:docMk/>
              <pc:sldMasterMk cId="1584551246" sldId="2147483648"/>
              <pc:sldLayoutMk cId="3787316959" sldId="2147483750"/>
              <ac:spMk id="5" creationId="{591DB4AA-85C3-FB6B-A8C7-8AE2858E71AE}"/>
            </ac:spMkLst>
          </pc:spChg>
          <pc:spChg chg="mod">
            <ac:chgData name="Grace, Morgan (Brisbane)" userId="221d5f7b-4a46-4bd5-bdf1-698d3a91c208" providerId="ADAL" clId="{D90324C1-6CE4-4C28-B886-AED0B666B37F}" dt="2024-06-06T05:13:59.170" v="44876" actId="948"/>
            <ac:spMkLst>
              <pc:docMk/>
              <pc:sldMasterMk cId="1584551246" sldId="2147483648"/>
              <pc:sldLayoutMk cId="3787316959" sldId="2147483750"/>
              <ac:spMk id="8" creationId="{33BD1256-CDDE-BFEF-06BA-70F1B01CF3A6}"/>
            </ac:spMkLst>
          </pc:spChg>
          <pc:spChg chg="mod">
            <ac:chgData name="Grace, Morgan (Brisbane)" userId="221d5f7b-4a46-4bd5-bdf1-698d3a91c208" providerId="ADAL" clId="{D90324C1-6CE4-4C28-B886-AED0B666B37F}" dt="2024-06-06T05:13:55.880" v="42477" actId="790"/>
            <ac:spMkLst>
              <pc:docMk/>
              <pc:sldMasterMk cId="1584551246" sldId="2147483648"/>
              <pc:sldLayoutMk cId="3787316959" sldId="2147483750"/>
              <ac:spMk id="9" creationId="{E75E3C5D-77B6-0242-2849-8FB516A81214}"/>
            </ac:spMkLst>
          </pc:spChg>
          <pc:graphicFrameChg chg="mod ord modVis replST">
            <ac:chgData name="Grace, Morgan (Brisbane)" userId="221d5f7b-4a46-4bd5-bdf1-698d3a91c208" providerId="ADAL" clId="{D90324C1-6CE4-4C28-B886-AED0B666B37F}" dt="2024-06-06T05:14:01.104" v="46020"/>
            <ac:graphicFrameMkLst>
              <pc:docMk/>
              <pc:sldMasterMk cId="1584551246" sldId="2147483648"/>
              <pc:sldLayoutMk cId="3787316959" sldId="2147483750"/>
              <ac:graphicFrameMk id="6" creationId="{94DF8D70-0EF0-96F1-EFA5-01FC7897AA2F}"/>
            </ac:graphicFrameMkLst>
          </pc:graphicFrameChg>
        </pc:sldLayoutChg>
        <pc:sldLayoutChg chg="delSp modSp mod">
          <pc:chgData name="Grace, Morgan (Brisbane)" userId="221d5f7b-4a46-4bd5-bdf1-698d3a91c208" providerId="ADAL" clId="{D90324C1-6CE4-4C28-B886-AED0B666B37F}" dt="2024-06-06T05:14:01.157" v="46036"/>
          <pc:sldLayoutMkLst>
            <pc:docMk/>
            <pc:sldMasterMk cId="1584551246" sldId="2147483648"/>
            <pc:sldLayoutMk cId="1246688662" sldId="2147483751"/>
          </pc:sldLayoutMkLst>
          <pc:spChg chg="mod">
            <ac:chgData name="Grace, Morgan (Brisbane)" userId="221d5f7b-4a46-4bd5-bdf1-698d3a91c208" providerId="ADAL" clId="{D90324C1-6CE4-4C28-B886-AED0B666B37F}" dt="2024-06-06T05:13:55.911" v="42493" actId="790"/>
            <ac:spMkLst>
              <pc:docMk/>
              <pc:sldMasterMk cId="1584551246" sldId="2147483648"/>
              <pc:sldLayoutMk cId="1246688662" sldId="2147483751"/>
              <ac:spMk id="2" creationId="{69165E1F-103E-EEAF-BB66-786826D3F9DE}"/>
            </ac:spMkLst>
          </pc:spChg>
          <pc:spChg chg="mod">
            <ac:chgData name="Grace, Morgan (Brisbane)" userId="221d5f7b-4a46-4bd5-bdf1-698d3a91c208" providerId="ADAL" clId="{D90324C1-6CE4-4C28-B886-AED0B666B37F}" dt="2024-06-06T05:13:55.896" v="42486" actId="947"/>
            <ac:spMkLst>
              <pc:docMk/>
              <pc:sldMasterMk cId="1584551246" sldId="2147483648"/>
              <pc:sldLayoutMk cId="1246688662" sldId="2147483751"/>
              <ac:spMk id="3" creationId="{CE261453-65DE-5C03-2D50-6A0E11C8A96F}"/>
            </ac:spMkLst>
          </pc:spChg>
          <pc:spChg chg="mod">
            <ac:chgData name="Grace, Morgan (Brisbane)" userId="221d5f7b-4a46-4bd5-bdf1-698d3a91c208" providerId="ADAL" clId="{D90324C1-6CE4-4C28-B886-AED0B666B37F}" dt="2024-06-06T05:13:55.911" v="42490" actId="790"/>
            <ac:spMkLst>
              <pc:docMk/>
              <pc:sldMasterMk cId="1584551246" sldId="2147483648"/>
              <pc:sldLayoutMk cId="1246688662" sldId="2147483751"/>
              <ac:spMk id="4" creationId="{4E65C3FD-D104-54D7-9F54-6CBFF6992536}"/>
            </ac:spMkLst>
          </pc:spChg>
          <pc:spChg chg="mod">
            <ac:chgData name="Grace, Morgan (Brisbane)" userId="221d5f7b-4a46-4bd5-bdf1-698d3a91c208" providerId="ADAL" clId="{D90324C1-6CE4-4C28-B886-AED0B666B37F}" dt="2024-06-06T05:13:55.896" v="42488" actId="947"/>
            <ac:spMkLst>
              <pc:docMk/>
              <pc:sldMasterMk cId="1584551246" sldId="2147483648"/>
              <pc:sldLayoutMk cId="1246688662" sldId="2147483751"/>
              <ac:spMk id="5" creationId="{790C84A9-2086-535D-D560-39A5128AC6A3}"/>
            </ac:spMkLst>
          </pc:spChg>
          <pc:spChg chg="mod">
            <ac:chgData name="Grace, Morgan (Brisbane)" userId="221d5f7b-4a46-4bd5-bdf1-698d3a91c208" providerId="ADAL" clId="{D90324C1-6CE4-4C28-B886-AED0B666B37F}" dt="2024-06-06T05:13:59.204" v="44914" actId="948"/>
            <ac:spMkLst>
              <pc:docMk/>
              <pc:sldMasterMk cId="1584551246" sldId="2147483648"/>
              <pc:sldLayoutMk cId="1246688662" sldId="2147483751"/>
              <ac:spMk id="6" creationId="{709EBA50-6B47-E419-8143-54E777F7EE9E}"/>
            </ac:spMkLst>
          </pc:spChg>
          <pc:spChg chg="mod">
            <ac:chgData name="Grace, Morgan (Brisbane)" userId="221d5f7b-4a46-4bd5-bdf1-698d3a91c208" providerId="ADAL" clId="{D90324C1-6CE4-4C28-B886-AED0B666B37F}" dt="2024-06-06T05:13:55.911" v="42491" actId="790"/>
            <ac:spMkLst>
              <pc:docMk/>
              <pc:sldMasterMk cId="1584551246" sldId="2147483648"/>
              <pc:sldLayoutMk cId="1246688662" sldId="2147483751"/>
              <ac:spMk id="7" creationId="{5DCFB33E-233F-4A57-B50F-1FA7727BB291}"/>
            </ac:spMkLst>
          </pc:spChg>
          <pc:spChg chg="mod">
            <ac:chgData name="Grace, Morgan (Brisbane)" userId="221d5f7b-4a46-4bd5-bdf1-698d3a91c208" providerId="ADAL" clId="{D90324C1-6CE4-4C28-B886-AED0B666B37F}" dt="2024-06-06T05:13:55.911" v="42492" actId="790"/>
            <ac:spMkLst>
              <pc:docMk/>
              <pc:sldMasterMk cId="1584551246" sldId="2147483648"/>
              <pc:sldLayoutMk cId="1246688662" sldId="2147483751"/>
              <ac:spMk id="8" creationId="{2DB9F89C-FB2F-6309-65B8-22F9A14D6EA4}"/>
            </ac:spMkLst>
          </pc:spChg>
          <pc:spChg chg="del mod modVis">
            <ac:chgData name="Grace, Morgan (Brisbane)" userId="221d5f7b-4a46-4bd5-bdf1-698d3a91c208" providerId="ADAL" clId="{D90324C1-6CE4-4C28-B886-AED0B666B37F}" dt="2024-06-06T05:14:01.136" v="46029" actId="478"/>
            <ac:spMkLst>
              <pc:docMk/>
              <pc:sldMasterMk cId="1584551246" sldId="2147483648"/>
              <pc:sldLayoutMk cId="1246688662" sldId="2147483751"/>
              <ac:spMk id="9" creationId="{BC8EDBCB-6156-1A94-02AE-8D48673BFEEA}"/>
            </ac:spMkLst>
          </pc:spChg>
          <pc:graphicFrameChg chg="mod ord modVis replST">
            <ac:chgData name="Grace, Morgan (Brisbane)" userId="221d5f7b-4a46-4bd5-bdf1-698d3a91c208" providerId="ADAL" clId="{D90324C1-6CE4-4C28-B886-AED0B666B37F}" dt="2024-06-06T05:14:01.157" v="46036"/>
            <ac:graphicFrameMkLst>
              <pc:docMk/>
              <pc:sldMasterMk cId="1584551246" sldId="2147483648"/>
              <pc:sldLayoutMk cId="1246688662" sldId="2147483751"/>
              <ac:graphicFrameMk id="10" creationId="{9BD0474C-611C-007E-457F-6DC07B0B66D0}"/>
            </ac:graphicFrameMkLst>
          </pc:graphicFrameChg>
        </pc:sldLayoutChg>
        <pc:sldLayoutChg chg="delSp modSp mod">
          <pc:chgData name="Grace, Morgan (Brisbane)" userId="221d5f7b-4a46-4bd5-bdf1-698d3a91c208" providerId="ADAL" clId="{D90324C1-6CE4-4C28-B886-AED0B666B37F}" dt="2024-06-06T05:14:01.136" v="46028"/>
          <pc:sldLayoutMkLst>
            <pc:docMk/>
            <pc:sldMasterMk cId="1584551246" sldId="2147483648"/>
            <pc:sldLayoutMk cId="2727277743" sldId="2147484017"/>
          </pc:sldLayoutMkLst>
          <pc:spChg chg="mod">
            <ac:chgData name="Grace, Morgan (Brisbane)" userId="221d5f7b-4a46-4bd5-bdf1-698d3a91c208" providerId="ADAL" clId="{D90324C1-6CE4-4C28-B886-AED0B666B37F}" dt="2024-06-06T05:13:55.896" v="42484" actId="790"/>
            <ac:spMkLst>
              <pc:docMk/>
              <pc:sldMasterMk cId="1584551246" sldId="2147483648"/>
              <pc:sldLayoutMk cId="2727277743" sldId="2147484017"/>
              <ac:spMk id="2" creationId="{2D6D74F0-A613-4D45-8959-CFEC690B29DD}"/>
            </ac:spMkLst>
          </pc:spChg>
          <pc:spChg chg="mod">
            <ac:chgData name="Grace, Morgan (Brisbane)" userId="221d5f7b-4a46-4bd5-bdf1-698d3a91c208" providerId="ADAL" clId="{D90324C1-6CE4-4C28-B886-AED0B666B37F}" dt="2024-06-06T05:13:59.185" v="44895" actId="948"/>
            <ac:spMkLst>
              <pc:docMk/>
              <pc:sldMasterMk cId="1584551246" sldId="2147483648"/>
              <pc:sldLayoutMk cId="2727277743" sldId="2147484017"/>
              <ac:spMk id="3" creationId="{1B6D4CBE-E23B-7C7C-7E71-CD3D16AE7C6B}"/>
            </ac:spMkLst>
          </pc:spChg>
          <pc:spChg chg="mod">
            <ac:chgData name="Grace, Morgan (Brisbane)" userId="221d5f7b-4a46-4bd5-bdf1-698d3a91c208" providerId="ADAL" clId="{D90324C1-6CE4-4C28-B886-AED0B666B37F}" dt="2024-06-06T05:13:55.896" v="42481" actId="947"/>
            <ac:spMkLst>
              <pc:docMk/>
              <pc:sldMasterMk cId="1584551246" sldId="2147483648"/>
              <pc:sldLayoutMk cId="2727277743" sldId="2147484017"/>
              <ac:spMk id="4" creationId="{99CD3F39-8A76-A459-1CF4-78B59E79FC03}"/>
            </ac:spMkLst>
          </pc:spChg>
          <pc:spChg chg="mod">
            <ac:chgData name="Grace, Morgan (Brisbane)" userId="221d5f7b-4a46-4bd5-bdf1-698d3a91c208" providerId="ADAL" clId="{D90324C1-6CE4-4C28-B886-AED0B666B37F}" dt="2024-06-06T05:13:55.896" v="42482" actId="790"/>
            <ac:spMkLst>
              <pc:docMk/>
              <pc:sldMasterMk cId="1584551246" sldId="2147483648"/>
              <pc:sldLayoutMk cId="2727277743" sldId="2147484017"/>
              <ac:spMk id="5" creationId="{7453970C-EFF6-9509-6689-282030A969FE}"/>
            </ac:spMkLst>
          </pc:spChg>
          <pc:spChg chg="del mod modVis">
            <ac:chgData name="Grace, Morgan (Brisbane)" userId="221d5f7b-4a46-4bd5-bdf1-698d3a91c208" providerId="ADAL" clId="{D90324C1-6CE4-4C28-B886-AED0B666B37F}" dt="2024-06-06T05:14:01.104" v="46021" actId="478"/>
            <ac:spMkLst>
              <pc:docMk/>
              <pc:sldMasterMk cId="1584551246" sldId="2147483648"/>
              <pc:sldLayoutMk cId="2727277743" sldId="2147484017"/>
              <ac:spMk id="6" creationId="{0B14520C-ABC2-8B15-6754-DF0641B48D4C}"/>
            </ac:spMkLst>
          </pc:spChg>
          <pc:graphicFrameChg chg="mod ord modVis replST">
            <ac:chgData name="Grace, Morgan (Brisbane)" userId="221d5f7b-4a46-4bd5-bdf1-698d3a91c208" providerId="ADAL" clId="{D90324C1-6CE4-4C28-B886-AED0B666B37F}" dt="2024-06-06T05:14:01.136" v="46028"/>
            <ac:graphicFrameMkLst>
              <pc:docMk/>
              <pc:sldMasterMk cId="1584551246" sldId="2147483648"/>
              <pc:sldLayoutMk cId="2727277743" sldId="2147484017"/>
              <ac:graphicFrameMk id="7" creationId="{578D8714-D683-0899-76B6-9F7D46EDF974}"/>
            </ac:graphicFrameMkLst>
          </pc:graphicFrameChg>
        </pc:sldLayoutChg>
      </pc:sldMasterChg>
      <pc:sldMasterChg chg="delSp modSp mod modSldLayout">
        <pc:chgData name="Grace, Morgan (Brisbane)" userId="221d5f7b-4a46-4bd5-bdf1-698d3a91c208" providerId="ADAL" clId="{D90324C1-6CE4-4C28-B886-AED0B666B37F}" dt="2024-06-06T05:14:01.273" v="46084"/>
        <pc:sldMasterMkLst>
          <pc:docMk/>
          <pc:sldMasterMk cId="3498525908" sldId="2147484073"/>
        </pc:sldMasterMkLst>
        <pc:spChg chg="mod">
          <ac:chgData name="Grace, Morgan (Brisbane)" userId="221d5f7b-4a46-4bd5-bdf1-698d3a91c208" providerId="ADAL" clId="{D90324C1-6CE4-4C28-B886-AED0B666B37F}" dt="2024-06-06T05:13:59.239" v="44952" actId="948"/>
          <ac:spMkLst>
            <pc:docMk/>
            <pc:sldMasterMk cId="3498525908" sldId="2147484073"/>
            <ac:spMk id="2" creationId="{106F217F-D8E3-0146-D631-EC38566A36EF}"/>
          </ac:spMkLst>
        </pc:spChg>
        <pc:spChg chg="del mod modVis">
          <ac:chgData name="Grace, Morgan (Brisbane)" userId="221d5f7b-4a46-4bd5-bdf1-698d3a91c208" providerId="ADAL" clId="{D90324C1-6CE4-4C28-B886-AED0B666B37F}" dt="2024-06-06T05:14:01.229" v="46067" actId="478"/>
          <ac:spMkLst>
            <pc:docMk/>
            <pc:sldMasterMk cId="3498525908" sldId="2147484073"/>
            <ac:spMk id="3" creationId="{6D35AE7F-E6D8-E0CE-BF0F-76E3E61E7BFC}"/>
          </ac:spMkLst>
        </pc:spChg>
        <pc:spChg chg="mod">
          <ac:chgData name="Grace, Morgan (Brisbane)" userId="221d5f7b-4a46-4bd5-bdf1-698d3a91c208" providerId="ADAL" clId="{D90324C1-6CE4-4C28-B886-AED0B666B37F}" dt="2024-06-06T05:13:56.049" v="42559" actId="790"/>
          <ac:spMkLst>
            <pc:docMk/>
            <pc:sldMasterMk cId="3498525908" sldId="2147484073"/>
            <ac:spMk id="4" creationId="{3C98C8E9-53A9-E726-DFE9-07714F5557F9}"/>
          </ac:spMkLst>
        </pc:spChg>
        <pc:spChg chg="mod">
          <ac:chgData name="Grace, Morgan (Brisbane)" userId="221d5f7b-4a46-4bd5-bdf1-698d3a91c208" providerId="ADAL" clId="{D90324C1-6CE4-4C28-B886-AED0B666B37F}" dt="2024-06-06T05:13:56.049" v="42560" actId="790"/>
          <ac:spMkLst>
            <pc:docMk/>
            <pc:sldMasterMk cId="3498525908" sldId="2147484073"/>
            <ac:spMk id="6" creationId="{87DF0065-1E85-3CAE-AFF2-1B24507DE8EE}"/>
          </ac:spMkLst>
        </pc:spChg>
        <pc:spChg chg="mod">
          <ac:chgData name="Grace, Morgan (Brisbane)" userId="221d5f7b-4a46-4bd5-bdf1-698d3a91c208" providerId="ADAL" clId="{D90324C1-6CE4-4C28-B886-AED0B666B37F}" dt="2024-06-06T05:13:56.049" v="42558" actId="790"/>
          <ac:spMkLst>
            <pc:docMk/>
            <pc:sldMasterMk cId="3498525908" sldId="2147484073"/>
            <ac:spMk id="8" creationId="{05AC2582-4AF7-82C5-5AFC-CAEBC21F3E32}"/>
          </ac:spMkLst>
        </pc:spChg>
        <pc:graphicFrameChg chg="mod">
          <ac:chgData name="Grace, Morgan (Brisbane)" userId="221d5f7b-4a46-4bd5-bdf1-698d3a91c208" providerId="ADAL" clId="{D90324C1-6CE4-4C28-B886-AED0B666B37F}" dt="2024-06-06T05:14:01.241" v="46068" actId="1076"/>
          <ac:graphicFrameMkLst>
            <pc:docMk/>
            <pc:sldMasterMk cId="3498525908" sldId="2147484073"/>
            <ac:graphicFrameMk id="5" creationId="{8DC5CFFD-A55C-7766-79BE-EAB42594E0DC}"/>
          </ac:graphicFrameMkLst>
        </pc:graphicFrameChg>
        <pc:sldLayoutChg chg="delSp modSp mod">
          <pc:chgData name="Grace, Morgan (Brisbane)" userId="221d5f7b-4a46-4bd5-bdf1-698d3a91c208" providerId="ADAL" clId="{D90324C1-6CE4-4C28-B886-AED0B666B37F}" dt="2024-06-06T05:14:01.273" v="46084"/>
          <pc:sldLayoutMkLst>
            <pc:docMk/>
            <pc:sldMasterMk cId="3498525908" sldId="2147484073"/>
            <pc:sldLayoutMk cId="840133710" sldId="2147484090"/>
          </pc:sldLayoutMkLst>
          <pc:spChg chg="mod">
            <ac:chgData name="Grace, Morgan (Brisbane)" userId="221d5f7b-4a46-4bd5-bdf1-698d3a91c208" providerId="ADAL" clId="{D90324C1-6CE4-4C28-B886-AED0B666B37F}" dt="2024-06-06T05:13:56.065" v="42568" actId="790"/>
            <ac:spMkLst>
              <pc:docMk/>
              <pc:sldMasterMk cId="3498525908" sldId="2147484073"/>
              <pc:sldLayoutMk cId="840133710" sldId="2147484090"/>
              <ac:spMk id="2" creationId="{2D6D74F0-A613-4D45-8959-CFEC690B29DD}"/>
            </ac:spMkLst>
          </pc:spChg>
          <pc:spChg chg="mod">
            <ac:chgData name="Grace, Morgan (Brisbane)" userId="221d5f7b-4a46-4bd5-bdf1-698d3a91c208" providerId="ADAL" clId="{D90324C1-6CE4-4C28-B886-AED0B666B37F}" dt="2024-06-06T05:13:59.285" v="44990" actId="948"/>
            <ac:spMkLst>
              <pc:docMk/>
              <pc:sldMasterMk cId="3498525908" sldId="2147484073"/>
              <pc:sldLayoutMk cId="840133710" sldId="2147484090"/>
              <ac:spMk id="3" creationId="{1B6D4CBE-E23B-7C7C-7E71-CD3D16AE7C6B}"/>
            </ac:spMkLst>
          </pc:spChg>
          <pc:spChg chg="del mod modVis">
            <ac:chgData name="Grace, Morgan (Brisbane)" userId="221d5f7b-4a46-4bd5-bdf1-698d3a91c208" providerId="ADAL" clId="{D90324C1-6CE4-4C28-B886-AED0B666B37F}" dt="2024-06-06T05:14:01.257" v="46077" actId="478"/>
            <ac:spMkLst>
              <pc:docMk/>
              <pc:sldMasterMk cId="3498525908" sldId="2147484073"/>
              <pc:sldLayoutMk cId="840133710" sldId="2147484090"/>
              <ac:spMk id="4" creationId="{FB3B4C92-3410-DD55-E648-C74285FE93AB}"/>
            </ac:spMkLst>
          </pc:spChg>
          <pc:spChg chg="mod">
            <ac:chgData name="Grace, Morgan (Brisbane)" userId="221d5f7b-4a46-4bd5-bdf1-698d3a91c208" providerId="ADAL" clId="{D90324C1-6CE4-4C28-B886-AED0B666B37F}" dt="2024-06-06T05:13:56.065" v="42566" actId="790"/>
            <ac:spMkLst>
              <pc:docMk/>
              <pc:sldMasterMk cId="3498525908" sldId="2147484073"/>
              <pc:sldLayoutMk cId="840133710" sldId="2147484090"/>
              <ac:spMk id="5" creationId="{7453970C-EFF6-9509-6689-282030A969FE}"/>
            </ac:spMkLst>
          </pc:spChg>
          <pc:spChg chg="mod">
            <ac:chgData name="Grace, Morgan (Brisbane)" userId="221d5f7b-4a46-4bd5-bdf1-698d3a91c208" providerId="ADAL" clId="{D90324C1-6CE4-4C28-B886-AED0B666B37F}" dt="2024-06-06T05:13:56.080" v="42569" actId="790"/>
            <ac:spMkLst>
              <pc:docMk/>
              <pc:sldMasterMk cId="3498525908" sldId="2147484073"/>
              <pc:sldLayoutMk cId="840133710" sldId="2147484090"/>
              <ac:spMk id="15" creationId="{8331A665-3316-6D04-5BA9-8FDB390AEB23}"/>
            </ac:spMkLst>
          </pc:spChg>
          <pc:graphicFrameChg chg="mod ord modVis replST">
            <ac:chgData name="Grace, Morgan (Brisbane)" userId="221d5f7b-4a46-4bd5-bdf1-698d3a91c208" providerId="ADAL" clId="{D90324C1-6CE4-4C28-B886-AED0B666B37F}" dt="2024-06-06T05:14:01.273" v="46084"/>
            <ac:graphicFrameMkLst>
              <pc:docMk/>
              <pc:sldMasterMk cId="3498525908" sldId="2147484073"/>
              <pc:sldLayoutMk cId="840133710" sldId="2147484090"/>
              <ac:graphicFrameMk id="6" creationId="{C4932C24-6759-11BE-7D22-D5FAAF2A34C5}"/>
            </ac:graphicFrameMkLst>
          </pc:graphicFrameChg>
        </pc:sldLayoutChg>
        <pc:sldLayoutChg chg="delSp modSp mod">
          <pc:chgData name="Grace, Morgan (Brisbane)" userId="221d5f7b-4a46-4bd5-bdf1-698d3a91c208" providerId="ADAL" clId="{D90324C1-6CE4-4C28-B886-AED0B666B37F}" dt="2024-06-06T05:14:01.257" v="46076"/>
          <pc:sldLayoutMkLst>
            <pc:docMk/>
            <pc:sldMasterMk cId="3498525908" sldId="2147484073"/>
            <pc:sldLayoutMk cId="3355618628" sldId="2147484091"/>
          </pc:sldLayoutMkLst>
          <pc:spChg chg="mod">
            <ac:chgData name="Grace, Morgan (Brisbane)" userId="221d5f7b-4a46-4bd5-bdf1-698d3a91c208" providerId="ADAL" clId="{D90324C1-6CE4-4C28-B886-AED0B666B37F}" dt="2024-06-06T05:13:56.065" v="42563" actId="790"/>
            <ac:spMkLst>
              <pc:docMk/>
              <pc:sldMasterMk cId="3498525908" sldId="2147484073"/>
              <pc:sldLayoutMk cId="3355618628" sldId="2147484091"/>
              <ac:spMk id="2" creationId="{2D6D74F0-A613-4D45-8959-CFEC690B29DD}"/>
            </ac:spMkLst>
          </pc:spChg>
          <pc:spChg chg="mod">
            <ac:chgData name="Grace, Morgan (Brisbane)" userId="221d5f7b-4a46-4bd5-bdf1-698d3a91c208" providerId="ADAL" clId="{D90324C1-6CE4-4C28-B886-AED0B666B37F}" dt="2024-06-06T05:13:59.270" v="44971" actId="948"/>
            <ac:spMkLst>
              <pc:docMk/>
              <pc:sldMasterMk cId="3498525908" sldId="2147484073"/>
              <pc:sldLayoutMk cId="3355618628" sldId="2147484091"/>
              <ac:spMk id="3" creationId="{1B6D4CBE-E23B-7C7C-7E71-CD3D16AE7C6B}"/>
            </ac:spMkLst>
          </pc:spChg>
          <pc:spChg chg="mod">
            <ac:chgData name="Grace, Morgan (Brisbane)" userId="221d5f7b-4a46-4bd5-bdf1-698d3a91c208" providerId="ADAL" clId="{D90324C1-6CE4-4C28-B886-AED0B666B37F}" dt="2024-06-06T05:13:56.065" v="42564" actId="790"/>
            <ac:spMkLst>
              <pc:docMk/>
              <pc:sldMasterMk cId="3498525908" sldId="2147484073"/>
              <pc:sldLayoutMk cId="3355618628" sldId="2147484091"/>
              <ac:spMk id="4" creationId="{0FAC08BB-7009-8F37-BFA6-1C576ADC4230}"/>
            </ac:spMkLst>
          </pc:spChg>
          <pc:spChg chg="mod">
            <ac:chgData name="Grace, Morgan (Brisbane)" userId="221d5f7b-4a46-4bd5-bdf1-698d3a91c208" providerId="ADAL" clId="{D90324C1-6CE4-4C28-B886-AED0B666B37F}" dt="2024-06-06T05:13:56.065" v="42561" actId="790"/>
            <ac:spMkLst>
              <pc:docMk/>
              <pc:sldMasterMk cId="3498525908" sldId="2147484073"/>
              <pc:sldLayoutMk cId="3355618628" sldId="2147484091"/>
              <ac:spMk id="5" creationId="{7453970C-EFF6-9509-6689-282030A969FE}"/>
            </ac:spMkLst>
          </pc:spChg>
          <pc:spChg chg="del mod modVis">
            <ac:chgData name="Grace, Morgan (Brisbane)" userId="221d5f7b-4a46-4bd5-bdf1-698d3a91c208" providerId="ADAL" clId="{D90324C1-6CE4-4C28-B886-AED0B666B37F}" dt="2024-06-06T05:14:01.241" v="46069" actId="478"/>
            <ac:spMkLst>
              <pc:docMk/>
              <pc:sldMasterMk cId="3498525908" sldId="2147484073"/>
              <pc:sldLayoutMk cId="3355618628" sldId="2147484091"/>
              <ac:spMk id="6" creationId="{81E7D301-6BF2-5B10-FFE2-45C54BD95317}"/>
            </ac:spMkLst>
          </pc:spChg>
          <pc:spChg chg="mod">
            <ac:chgData name="Grace, Morgan (Brisbane)" userId="221d5f7b-4a46-4bd5-bdf1-698d3a91c208" providerId="ADAL" clId="{D90324C1-6CE4-4C28-B886-AED0B666B37F}" dt="2024-06-06T05:13:56.065" v="42565" actId="790"/>
            <ac:spMkLst>
              <pc:docMk/>
              <pc:sldMasterMk cId="3498525908" sldId="2147484073"/>
              <pc:sldLayoutMk cId="3355618628" sldId="2147484091"/>
              <ac:spMk id="9" creationId="{38605A8E-9223-B367-2B0D-E97EDBF800A9}"/>
            </ac:spMkLst>
          </pc:spChg>
          <pc:graphicFrameChg chg="mod ord modVis replST">
            <ac:chgData name="Grace, Morgan (Brisbane)" userId="221d5f7b-4a46-4bd5-bdf1-698d3a91c208" providerId="ADAL" clId="{D90324C1-6CE4-4C28-B886-AED0B666B37F}" dt="2024-06-06T05:14:01.257" v="46076"/>
            <ac:graphicFrameMkLst>
              <pc:docMk/>
              <pc:sldMasterMk cId="3498525908" sldId="2147484073"/>
              <pc:sldLayoutMk cId="3355618628" sldId="2147484091"/>
              <ac:graphicFrameMk id="7" creationId="{50669CCD-3653-74B4-AA19-F33FD753E14F}"/>
            </ac:graphicFrameMkLst>
          </pc:graphicFrameChg>
        </pc:sldLayoutChg>
        <pc:sldLayoutChg chg="delSp modSp mod">
          <pc:chgData name="Grace, Morgan (Brisbane)" userId="221d5f7b-4a46-4bd5-bdf1-698d3a91c208" providerId="ADAL" clId="{D90324C1-6CE4-4C28-B886-AED0B666B37F}" dt="2024-06-06T05:14:00.527" v="45793"/>
          <pc:sldLayoutMkLst>
            <pc:docMk/>
            <pc:sldMasterMk cId="3498525908" sldId="2147484073"/>
            <pc:sldLayoutMk cId="2803249908" sldId="2147484092"/>
          </pc:sldLayoutMkLst>
          <pc:spChg chg="mod">
            <ac:chgData name="Grace, Morgan (Brisbane)" userId="221d5f7b-4a46-4bd5-bdf1-698d3a91c208" providerId="ADAL" clId="{D90324C1-6CE4-4C28-B886-AED0B666B37F}" dt="2024-06-06T05:13:55.047" v="42122" actId="790"/>
            <ac:spMkLst>
              <pc:docMk/>
              <pc:sldMasterMk cId="3498525908" sldId="2147484073"/>
              <pc:sldLayoutMk cId="2803249908" sldId="2147484092"/>
              <ac:spMk id="2" creationId="{2D6D74F0-A613-4D45-8959-CFEC690B29DD}"/>
            </ac:spMkLst>
          </pc:spChg>
          <pc:spChg chg="mod">
            <ac:chgData name="Grace, Morgan (Brisbane)" userId="221d5f7b-4a46-4bd5-bdf1-698d3a91c208" providerId="ADAL" clId="{D90324C1-6CE4-4C28-B886-AED0B666B37F}" dt="2024-06-06T05:13:58.553" v="44329" actId="948"/>
            <ac:spMkLst>
              <pc:docMk/>
              <pc:sldMasterMk cId="3498525908" sldId="2147484073"/>
              <pc:sldLayoutMk cId="2803249908" sldId="2147484092"/>
              <ac:spMk id="3" creationId="{1B6D4CBE-E23B-7C7C-7E71-CD3D16AE7C6B}"/>
            </ac:spMkLst>
          </pc:spChg>
          <pc:spChg chg="del mod modVis">
            <ac:chgData name="Grace, Morgan (Brisbane)" userId="221d5f7b-4a46-4bd5-bdf1-698d3a91c208" providerId="ADAL" clId="{D90324C1-6CE4-4C28-B886-AED0B666B37F}" dt="2024-06-06T05:14:00.506" v="45786" actId="478"/>
            <ac:spMkLst>
              <pc:docMk/>
              <pc:sldMasterMk cId="3498525908" sldId="2147484073"/>
              <pc:sldLayoutMk cId="2803249908" sldId="2147484092"/>
              <ac:spMk id="4" creationId="{22E9869A-43E0-EDBD-3BD1-CE8E74C81E9A}"/>
            </ac:spMkLst>
          </pc:spChg>
          <pc:spChg chg="mod">
            <ac:chgData name="Grace, Morgan (Brisbane)" userId="221d5f7b-4a46-4bd5-bdf1-698d3a91c208" providerId="ADAL" clId="{D90324C1-6CE4-4C28-B886-AED0B666B37F}" dt="2024-06-06T05:13:55.047" v="42120" actId="790"/>
            <ac:spMkLst>
              <pc:docMk/>
              <pc:sldMasterMk cId="3498525908" sldId="2147484073"/>
              <pc:sldLayoutMk cId="2803249908" sldId="2147484092"/>
              <ac:spMk id="5" creationId="{7453970C-EFF6-9509-6689-282030A969FE}"/>
            </ac:spMkLst>
          </pc:spChg>
          <pc:spChg chg="mod">
            <ac:chgData name="Grace, Morgan (Brisbane)" userId="221d5f7b-4a46-4bd5-bdf1-698d3a91c208" providerId="ADAL" clId="{D90324C1-6CE4-4C28-B886-AED0B666B37F}" dt="2024-06-06T05:13:55.063" v="42123" actId="790"/>
            <ac:spMkLst>
              <pc:docMk/>
              <pc:sldMasterMk cId="3498525908" sldId="2147484073"/>
              <pc:sldLayoutMk cId="2803249908" sldId="2147484092"/>
              <ac:spMk id="12" creationId="{9C6FAFE3-F394-5EBF-8694-BD4A79D190DD}"/>
            </ac:spMkLst>
          </pc:spChg>
          <pc:spChg chg="mod">
            <ac:chgData name="Grace, Morgan (Brisbane)" userId="221d5f7b-4a46-4bd5-bdf1-698d3a91c208" providerId="ADAL" clId="{D90324C1-6CE4-4C28-B886-AED0B666B37F}" dt="2024-06-06T05:13:55.063" v="42124" actId="790"/>
            <ac:spMkLst>
              <pc:docMk/>
              <pc:sldMasterMk cId="3498525908" sldId="2147484073"/>
              <pc:sldLayoutMk cId="2803249908" sldId="2147484092"/>
              <ac:spMk id="14" creationId="{CA7776F3-CA2E-409A-586C-CDD5863CFEAB}"/>
            </ac:spMkLst>
          </pc:spChg>
          <pc:graphicFrameChg chg="mod ord modVis replST">
            <ac:chgData name="Grace, Morgan (Brisbane)" userId="221d5f7b-4a46-4bd5-bdf1-698d3a91c208" providerId="ADAL" clId="{D90324C1-6CE4-4C28-B886-AED0B666B37F}" dt="2024-06-06T05:14:00.527" v="45793"/>
            <ac:graphicFrameMkLst>
              <pc:docMk/>
              <pc:sldMasterMk cId="3498525908" sldId="2147484073"/>
              <pc:sldLayoutMk cId="2803249908" sldId="2147484092"/>
              <ac:graphicFrameMk id="6" creationId="{1D666A20-5652-18AD-C1D1-7BEAD2A8248C}"/>
            </ac:graphicFrameMkLst>
          </pc:graphicFrameChg>
        </pc:sldLayoutChg>
        <pc:sldLayoutChg chg="delSp modSp mod">
          <pc:chgData name="Grace, Morgan (Brisbane)" userId="221d5f7b-4a46-4bd5-bdf1-698d3a91c208" providerId="ADAL" clId="{D90324C1-6CE4-4C28-B886-AED0B666B37F}" dt="2024-06-06T05:14:00.505" v="45785"/>
          <pc:sldLayoutMkLst>
            <pc:docMk/>
            <pc:sldMasterMk cId="3498525908" sldId="2147484073"/>
            <pc:sldLayoutMk cId="63974248" sldId="2147484093"/>
          </pc:sldLayoutMkLst>
          <pc:spChg chg="mod">
            <ac:chgData name="Grace, Morgan (Brisbane)" userId="221d5f7b-4a46-4bd5-bdf1-698d3a91c208" providerId="ADAL" clId="{D90324C1-6CE4-4C28-B886-AED0B666B37F}" dt="2024-06-06T05:13:55.047" v="42116" actId="790"/>
            <ac:spMkLst>
              <pc:docMk/>
              <pc:sldMasterMk cId="3498525908" sldId="2147484073"/>
              <pc:sldLayoutMk cId="63974248" sldId="2147484093"/>
              <ac:spMk id="2" creationId="{2D6D74F0-A613-4D45-8959-CFEC690B29DD}"/>
            </ac:spMkLst>
          </pc:spChg>
          <pc:spChg chg="mod">
            <ac:chgData name="Grace, Morgan (Brisbane)" userId="221d5f7b-4a46-4bd5-bdf1-698d3a91c208" providerId="ADAL" clId="{D90324C1-6CE4-4C28-B886-AED0B666B37F}" dt="2024-06-06T05:13:58.537" v="44310" actId="948"/>
            <ac:spMkLst>
              <pc:docMk/>
              <pc:sldMasterMk cId="3498525908" sldId="2147484073"/>
              <pc:sldLayoutMk cId="63974248" sldId="2147484093"/>
              <ac:spMk id="3" creationId="{1B6D4CBE-E23B-7C7C-7E71-CD3D16AE7C6B}"/>
            </ac:spMkLst>
          </pc:spChg>
          <pc:spChg chg="del mod modVis">
            <ac:chgData name="Grace, Morgan (Brisbane)" userId="221d5f7b-4a46-4bd5-bdf1-698d3a91c208" providerId="ADAL" clId="{D90324C1-6CE4-4C28-B886-AED0B666B37F}" dt="2024-06-06T05:14:00.471" v="45778" actId="478"/>
            <ac:spMkLst>
              <pc:docMk/>
              <pc:sldMasterMk cId="3498525908" sldId="2147484073"/>
              <pc:sldLayoutMk cId="63974248" sldId="2147484093"/>
              <ac:spMk id="4" creationId="{DAC93FB9-889D-86DD-9B72-463EA38E5513}"/>
            </ac:spMkLst>
          </pc:spChg>
          <pc:spChg chg="mod">
            <ac:chgData name="Grace, Morgan (Brisbane)" userId="221d5f7b-4a46-4bd5-bdf1-698d3a91c208" providerId="ADAL" clId="{D90324C1-6CE4-4C28-B886-AED0B666B37F}" dt="2024-06-06T05:13:55.031" v="42114" actId="790"/>
            <ac:spMkLst>
              <pc:docMk/>
              <pc:sldMasterMk cId="3498525908" sldId="2147484073"/>
              <pc:sldLayoutMk cId="63974248" sldId="2147484093"/>
              <ac:spMk id="5" creationId="{7453970C-EFF6-9509-6689-282030A969FE}"/>
            </ac:spMkLst>
          </pc:spChg>
          <pc:spChg chg="mod">
            <ac:chgData name="Grace, Morgan (Brisbane)" userId="221d5f7b-4a46-4bd5-bdf1-698d3a91c208" providerId="ADAL" clId="{D90324C1-6CE4-4C28-B886-AED0B666B37F}" dt="2024-06-06T05:13:55.047" v="42118" actId="947"/>
            <ac:spMkLst>
              <pc:docMk/>
              <pc:sldMasterMk cId="3498525908" sldId="2147484073"/>
              <pc:sldLayoutMk cId="63974248" sldId="2147484093"/>
              <ac:spMk id="7" creationId="{B5286DD9-2D68-1ED5-D7F9-1DCEDE90A46A}"/>
            </ac:spMkLst>
          </pc:spChg>
          <pc:spChg chg="mod">
            <ac:chgData name="Grace, Morgan (Brisbane)" userId="221d5f7b-4a46-4bd5-bdf1-698d3a91c208" providerId="ADAL" clId="{D90324C1-6CE4-4C28-B886-AED0B666B37F}" dt="2024-06-06T05:13:55.047" v="42119" actId="790"/>
            <ac:spMkLst>
              <pc:docMk/>
              <pc:sldMasterMk cId="3498525908" sldId="2147484073"/>
              <pc:sldLayoutMk cId="63974248" sldId="2147484093"/>
              <ac:spMk id="15" creationId="{58ADCC07-F2D3-36A8-E9C0-81ABAC1F6720}"/>
            </ac:spMkLst>
          </pc:spChg>
          <pc:graphicFrameChg chg="mod ord modVis replST">
            <ac:chgData name="Grace, Morgan (Brisbane)" userId="221d5f7b-4a46-4bd5-bdf1-698d3a91c208" providerId="ADAL" clId="{D90324C1-6CE4-4C28-B886-AED0B666B37F}" dt="2024-06-06T05:14:00.505" v="45785"/>
            <ac:graphicFrameMkLst>
              <pc:docMk/>
              <pc:sldMasterMk cId="3498525908" sldId="2147484073"/>
              <pc:sldLayoutMk cId="63974248" sldId="2147484093"/>
              <ac:graphicFrameMk id="8" creationId="{4A5229A1-96F7-D526-631D-CC98E1F4FB61}"/>
            </ac:graphicFrameMkLst>
          </pc:graphicFrameChg>
        </pc:sldLayoutChg>
        <pc:sldLayoutChg chg="delSp modSp mod">
          <pc:chgData name="Grace, Morgan (Brisbane)" userId="221d5f7b-4a46-4bd5-bdf1-698d3a91c208" providerId="ADAL" clId="{D90324C1-6CE4-4C28-B886-AED0B666B37F}" dt="2024-06-06T05:14:00.556" v="45809"/>
          <pc:sldLayoutMkLst>
            <pc:docMk/>
            <pc:sldMasterMk cId="3498525908" sldId="2147484073"/>
            <pc:sldLayoutMk cId="1000610822" sldId="2147484094"/>
          </pc:sldLayoutMkLst>
          <pc:spChg chg="mod">
            <ac:chgData name="Grace, Morgan (Brisbane)" userId="221d5f7b-4a46-4bd5-bdf1-698d3a91c208" providerId="ADAL" clId="{D90324C1-6CE4-4C28-B886-AED0B666B37F}" dt="2024-06-06T05:13:55.078" v="42137" actId="790"/>
            <ac:spMkLst>
              <pc:docMk/>
              <pc:sldMasterMk cId="3498525908" sldId="2147484073"/>
              <pc:sldLayoutMk cId="1000610822" sldId="2147484094"/>
              <ac:spMk id="2" creationId="{2D6D74F0-A613-4D45-8959-CFEC690B29DD}"/>
            </ac:spMkLst>
          </pc:spChg>
          <pc:spChg chg="mod">
            <ac:chgData name="Grace, Morgan (Brisbane)" userId="221d5f7b-4a46-4bd5-bdf1-698d3a91c208" providerId="ADAL" clId="{D90324C1-6CE4-4C28-B886-AED0B666B37F}" dt="2024-06-06T05:13:58.599" v="44367" actId="948"/>
            <ac:spMkLst>
              <pc:docMk/>
              <pc:sldMasterMk cId="3498525908" sldId="2147484073"/>
              <pc:sldLayoutMk cId="1000610822" sldId="2147484094"/>
              <ac:spMk id="3" creationId="{1B6D4CBE-E23B-7C7C-7E71-CD3D16AE7C6B}"/>
            </ac:spMkLst>
          </pc:spChg>
          <pc:spChg chg="del mod modVis">
            <ac:chgData name="Grace, Morgan (Brisbane)" userId="221d5f7b-4a46-4bd5-bdf1-698d3a91c208" providerId="ADAL" clId="{D90324C1-6CE4-4C28-B886-AED0B666B37F}" dt="2024-06-06T05:14:00.540" v="45802" actId="478"/>
            <ac:spMkLst>
              <pc:docMk/>
              <pc:sldMasterMk cId="3498525908" sldId="2147484073"/>
              <pc:sldLayoutMk cId="1000610822" sldId="2147484094"/>
              <ac:spMk id="4" creationId="{5D599B5D-D885-9E05-DBA1-2F19074BD310}"/>
            </ac:spMkLst>
          </pc:spChg>
          <pc:spChg chg="mod">
            <ac:chgData name="Grace, Morgan (Brisbane)" userId="221d5f7b-4a46-4bd5-bdf1-698d3a91c208" providerId="ADAL" clId="{D90324C1-6CE4-4C28-B886-AED0B666B37F}" dt="2024-06-06T05:13:55.094" v="42140" actId="790"/>
            <ac:spMkLst>
              <pc:docMk/>
              <pc:sldMasterMk cId="3498525908" sldId="2147484073"/>
              <pc:sldLayoutMk cId="1000610822" sldId="2147484094"/>
              <ac:spMk id="5" creationId="{7453970C-EFF6-9509-6689-282030A969FE}"/>
            </ac:spMkLst>
          </pc:spChg>
          <pc:spChg chg="mod">
            <ac:chgData name="Grace, Morgan (Brisbane)" userId="221d5f7b-4a46-4bd5-bdf1-698d3a91c208" providerId="ADAL" clId="{D90324C1-6CE4-4C28-B886-AED0B666B37F}" dt="2024-06-06T05:13:55.094" v="42139" actId="947"/>
            <ac:spMkLst>
              <pc:docMk/>
              <pc:sldMasterMk cId="3498525908" sldId="2147484073"/>
              <pc:sldLayoutMk cId="1000610822" sldId="2147484094"/>
              <ac:spMk id="7" creationId="{B5286DD9-2D68-1ED5-D7F9-1DCEDE90A46A}"/>
            </ac:spMkLst>
          </pc:spChg>
          <pc:spChg chg="mod">
            <ac:chgData name="Grace, Morgan (Brisbane)" userId="221d5f7b-4a46-4bd5-bdf1-698d3a91c208" providerId="ADAL" clId="{D90324C1-6CE4-4C28-B886-AED0B666B37F}" dt="2024-06-06T05:13:55.078" v="42135" actId="947"/>
            <ac:spMkLst>
              <pc:docMk/>
              <pc:sldMasterMk cId="3498525908" sldId="2147484073"/>
              <pc:sldLayoutMk cId="1000610822" sldId="2147484094"/>
              <ac:spMk id="11" creationId="{238B560A-55E5-695B-2E1E-C4EA82BEF013}"/>
            </ac:spMkLst>
          </pc:spChg>
          <pc:spChg chg="mod">
            <ac:chgData name="Grace, Morgan (Brisbane)" userId="221d5f7b-4a46-4bd5-bdf1-698d3a91c208" providerId="ADAL" clId="{D90324C1-6CE4-4C28-B886-AED0B666B37F}" dt="2024-06-06T05:13:55.078" v="42133" actId="947"/>
            <ac:spMkLst>
              <pc:docMk/>
              <pc:sldMasterMk cId="3498525908" sldId="2147484073"/>
              <pc:sldLayoutMk cId="1000610822" sldId="2147484094"/>
              <ac:spMk id="13" creationId="{83897AA5-D254-2FE5-9705-A214CEE6F637}"/>
            </ac:spMkLst>
          </pc:spChg>
          <pc:spChg chg="mod">
            <ac:chgData name="Grace, Morgan (Brisbane)" userId="221d5f7b-4a46-4bd5-bdf1-698d3a91c208" providerId="ADAL" clId="{D90324C1-6CE4-4C28-B886-AED0B666B37F}" dt="2024-06-06T05:13:55.094" v="42141" actId="790"/>
            <ac:spMkLst>
              <pc:docMk/>
              <pc:sldMasterMk cId="3498525908" sldId="2147484073"/>
              <pc:sldLayoutMk cId="1000610822" sldId="2147484094"/>
              <ac:spMk id="15" creationId="{1A9CB661-3D83-8B08-AB7A-9D99F2F22E86}"/>
            </ac:spMkLst>
          </pc:spChg>
          <pc:graphicFrameChg chg="mod ord modVis replST">
            <ac:chgData name="Grace, Morgan (Brisbane)" userId="221d5f7b-4a46-4bd5-bdf1-698d3a91c208" providerId="ADAL" clId="{D90324C1-6CE4-4C28-B886-AED0B666B37F}" dt="2024-06-06T05:14:00.556" v="45809"/>
            <ac:graphicFrameMkLst>
              <pc:docMk/>
              <pc:sldMasterMk cId="3498525908" sldId="2147484073"/>
              <pc:sldLayoutMk cId="1000610822" sldId="2147484094"/>
              <ac:graphicFrameMk id="6" creationId="{51B6D9AC-6BED-566F-E9A3-A96F54B2D809}"/>
            </ac:graphicFrameMkLst>
          </pc:graphicFrameChg>
        </pc:sldLayoutChg>
        <pc:sldLayoutChg chg="delSp modSp mod">
          <pc:chgData name="Grace, Morgan (Brisbane)" userId="221d5f7b-4a46-4bd5-bdf1-698d3a91c208" providerId="ADAL" clId="{D90324C1-6CE4-4C28-B886-AED0B666B37F}" dt="2024-06-06T05:14:01.089" v="46012"/>
          <pc:sldLayoutMkLst>
            <pc:docMk/>
            <pc:sldMasterMk cId="3498525908" sldId="2147484073"/>
            <pc:sldLayoutMk cId="3221253195" sldId="2147484095"/>
          </pc:sldLayoutMkLst>
          <pc:spChg chg="mod">
            <ac:chgData name="Grace, Morgan (Brisbane)" userId="221d5f7b-4a46-4bd5-bdf1-698d3a91c208" providerId="ADAL" clId="{D90324C1-6CE4-4C28-B886-AED0B666B37F}" dt="2024-06-06T05:13:55.864" v="42469" actId="790"/>
            <ac:spMkLst>
              <pc:docMk/>
              <pc:sldMasterMk cId="3498525908" sldId="2147484073"/>
              <pc:sldLayoutMk cId="3221253195" sldId="2147484095"/>
              <ac:spMk id="2" creationId="{2D6D74F0-A613-4D45-8959-CFEC690B29DD}"/>
            </ac:spMkLst>
          </pc:spChg>
          <pc:spChg chg="mod">
            <ac:chgData name="Grace, Morgan (Brisbane)" userId="221d5f7b-4a46-4bd5-bdf1-698d3a91c208" providerId="ADAL" clId="{D90324C1-6CE4-4C28-B886-AED0B666B37F}" dt="2024-06-06T05:13:59.154" v="44857" actId="948"/>
            <ac:spMkLst>
              <pc:docMk/>
              <pc:sldMasterMk cId="3498525908" sldId="2147484073"/>
              <pc:sldLayoutMk cId="3221253195" sldId="2147484095"/>
              <ac:spMk id="3" creationId="{1B6D4CBE-E23B-7C7C-7E71-CD3D16AE7C6B}"/>
            </ac:spMkLst>
          </pc:spChg>
          <pc:spChg chg="mod">
            <ac:chgData name="Grace, Morgan (Brisbane)" userId="221d5f7b-4a46-4bd5-bdf1-698d3a91c208" providerId="ADAL" clId="{D90324C1-6CE4-4C28-B886-AED0B666B37F}" dt="2024-06-06T05:13:55.864" v="42470" actId="790"/>
            <ac:spMkLst>
              <pc:docMk/>
              <pc:sldMasterMk cId="3498525908" sldId="2147484073"/>
              <pc:sldLayoutMk cId="3221253195" sldId="2147484095"/>
              <ac:spMk id="4" creationId="{0FAC08BB-7009-8F37-BFA6-1C576ADC4230}"/>
            </ac:spMkLst>
          </pc:spChg>
          <pc:spChg chg="mod">
            <ac:chgData name="Grace, Morgan (Brisbane)" userId="221d5f7b-4a46-4bd5-bdf1-698d3a91c208" providerId="ADAL" clId="{D90324C1-6CE4-4C28-B886-AED0B666B37F}" dt="2024-06-06T05:13:55.864" v="42467" actId="790"/>
            <ac:spMkLst>
              <pc:docMk/>
              <pc:sldMasterMk cId="3498525908" sldId="2147484073"/>
              <pc:sldLayoutMk cId="3221253195" sldId="2147484095"/>
              <ac:spMk id="5" creationId="{7453970C-EFF6-9509-6689-282030A969FE}"/>
            </ac:spMkLst>
          </pc:spChg>
          <pc:spChg chg="del mod modVis">
            <ac:chgData name="Grace, Morgan (Brisbane)" userId="221d5f7b-4a46-4bd5-bdf1-698d3a91c208" providerId="ADAL" clId="{D90324C1-6CE4-4C28-B886-AED0B666B37F}" dt="2024-06-06T05:14:01.072" v="46005" actId="478"/>
            <ac:spMkLst>
              <pc:docMk/>
              <pc:sldMasterMk cId="3498525908" sldId="2147484073"/>
              <pc:sldLayoutMk cId="3221253195" sldId="2147484095"/>
              <ac:spMk id="6" creationId="{24B3F00F-A0FD-220F-0910-8BE829D119E8}"/>
            </ac:spMkLst>
          </pc:spChg>
          <pc:spChg chg="mod">
            <ac:chgData name="Grace, Morgan (Brisbane)" userId="221d5f7b-4a46-4bd5-bdf1-698d3a91c208" providerId="ADAL" clId="{D90324C1-6CE4-4C28-B886-AED0B666B37F}" dt="2024-06-06T05:13:55.864" v="42471" actId="790"/>
            <ac:spMkLst>
              <pc:docMk/>
              <pc:sldMasterMk cId="3498525908" sldId="2147484073"/>
              <pc:sldLayoutMk cId="3221253195" sldId="2147484095"/>
              <ac:spMk id="7" creationId="{73A8FCE8-BC78-AC29-24A4-FFB3FB215F30}"/>
            </ac:spMkLst>
          </pc:spChg>
          <pc:spChg chg="mod">
            <ac:chgData name="Grace, Morgan (Brisbane)" userId="221d5f7b-4a46-4bd5-bdf1-698d3a91c208" providerId="ADAL" clId="{D90324C1-6CE4-4C28-B886-AED0B666B37F}" dt="2024-06-06T05:13:55.864" v="42472" actId="790"/>
            <ac:spMkLst>
              <pc:docMk/>
              <pc:sldMasterMk cId="3498525908" sldId="2147484073"/>
              <pc:sldLayoutMk cId="3221253195" sldId="2147484095"/>
              <ac:spMk id="14" creationId="{3E815F46-5BE2-D9B9-039F-0CE2D9BA62D7}"/>
            </ac:spMkLst>
          </pc:spChg>
          <pc:spChg chg="mod">
            <ac:chgData name="Grace, Morgan (Brisbane)" userId="221d5f7b-4a46-4bd5-bdf1-698d3a91c208" providerId="ADAL" clId="{D90324C1-6CE4-4C28-B886-AED0B666B37F}" dt="2024-06-06T05:13:55.864" v="42473" actId="790"/>
            <ac:spMkLst>
              <pc:docMk/>
              <pc:sldMasterMk cId="3498525908" sldId="2147484073"/>
              <pc:sldLayoutMk cId="3221253195" sldId="2147484095"/>
              <ac:spMk id="16" creationId="{EF9B38CB-8747-A215-16EF-4570368A05B5}"/>
            </ac:spMkLst>
          </pc:spChg>
          <pc:graphicFrameChg chg="mod ord modVis replST">
            <ac:chgData name="Grace, Morgan (Brisbane)" userId="221d5f7b-4a46-4bd5-bdf1-698d3a91c208" providerId="ADAL" clId="{D90324C1-6CE4-4C28-B886-AED0B666B37F}" dt="2024-06-06T05:14:01.089" v="46012"/>
            <ac:graphicFrameMkLst>
              <pc:docMk/>
              <pc:sldMasterMk cId="3498525908" sldId="2147484073"/>
              <pc:sldLayoutMk cId="3221253195" sldId="2147484095"/>
              <ac:graphicFrameMk id="8" creationId="{13370BCB-0B1E-1D3B-B9D4-7AFBA7A0F28E}"/>
            </ac:graphicFrameMkLst>
          </pc:graphicFrameChg>
        </pc:sldLayoutChg>
        <pc:sldLayoutChg chg="delSp modSp mod">
          <pc:chgData name="Grace, Morgan (Brisbane)" userId="221d5f7b-4a46-4bd5-bdf1-698d3a91c208" providerId="ADAL" clId="{D90324C1-6CE4-4C28-B886-AED0B666B37F}" dt="2024-06-06T05:14:00.572" v="45817"/>
          <pc:sldLayoutMkLst>
            <pc:docMk/>
            <pc:sldMasterMk cId="3498525908" sldId="2147484073"/>
            <pc:sldLayoutMk cId="630131017" sldId="2147484096"/>
          </pc:sldLayoutMkLst>
          <pc:spChg chg="mod">
            <ac:chgData name="Grace, Morgan (Brisbane)" userId="221d5f7b-4a46-4bd5-bdf1-698d3a91c208" providerId="ADAL" clId="{D90324C1-6CE4-4C28-B886-AED0B666B37F}" dt="2024-06-06T05:13:55.131" v="42155" actId="790"/>
            <ac:spMkLst>
              <pc:docMk/>
              <pc:sldMasterMk cId="3498525908" sldId="2147484073"/>
              <pc:sldLayoutMk cId="630131017" sldId="2147484096"/>
              <ac:spMk id="2" creationId="{0C8A9BFC-43BE-AD7F-1202-055A4F88D8C8}"/>
            </ac:spMkLst>
          </pc:spChg>
          <pc:spChg chg="mod">
            <ac:chgData name="Grace, Morgan (Brisbane)" userId="221d5f7b-4a46-4bd5-bdf1-698d3a91c208" providerId="ADAL" clId="{D90324C1-6CE4-4C28-B886-AED0B666B37F}" dt="2024-06-06T05:13:58.615" v="44386" actId="948"/>
            <ac:spMkLst>
              <pc:docMk/>
              <pc:sldMasterMk cId="3498525908" sldId="2147484073"/>
              <pc:sldLayoutMk cId="630131017" sldId="2147484096"/>
              <ac:spMk id="3" creationId="{155B6AA9-D91B-C36B-9D8B-15DE31AA8845}"/>
            </ac:spMkLst>
          </pc:spChg>
          <pc:spChg chg="mod">
            <ac:chgData name="Grace, Morgan (Brisbane)" userId="221d5f7b-4a46-4bd5-bdf1-698d3a91c208" providerId="ADAL" clId="{D90324C1-6CE4-4C28-B886-AED0B666B37F}" dt="2024-06-06T05:13:55.131" v="42154" actId="790"/>
            <ac:spMkLst>
              <pc:docMk/>
              <pc:sldMasterMk cId="3498525908" sldId="2147484073"/>
              <pc:sldLayoutMk cId="630131017" sldId="2147484096"/>
              <ac:spMk id="4" creationId="{0BB12F91-44CD-7D17-74D9-0B28E945DDFA}"/>
            </ac:spMkLst>
          </pc:spChg>
          <pc:spChg chg="mod">
            <ac:chgData name="Grace, Morgan (Brisbane)" userId="221d5f7b-4a46-4bd5-bdf1-698d3a91c208" providerId="ADAL" clId="{D90324C1-6CE4-4C28-B886-AED0B666B37F}" dt="2024-06-06T05:13:55.094" v="42142" actId="790"/>
            <ac:spMkLst>
              <pc:docMk/>
              <pc:sldMasterMk cId="3498525908" sldId="2147484073"/>
              <pc:sldLayoutMk cId="630131017" sldId="2147484096"/>
              <ac:spMk id="5" creationId="{7453970C-EFF6-9509-6689-282030A969FE}"/>
            </ac:spMkLst>
          </pc:spChg>
          <pc:spChg chg="del mod modVis">
            <ac:chgData name="Grace, Morgan (Brisbane)" userId="221d5f7b-4a46-4bd5-bdf1-698d3a91c208" providerId="ADAL" clId="{D90324C1-6CE4-4C28-B886-AED0B666B37F}" dt="2024-06-06T05:14:00.556" v="45810" actId="478"/>
            <ac:spMkLst>
              <pc:docMk/>
              <pc:sldMasterMk cId="3498525908" sldId="2147484073"/>
              <pc:sldLayoutMk cId="630131017" sldId="2147484096"/>
              <ac:spMk id="6" creationId="{77AC02BE-D898-742E-8F50-9833C2817209}"/>
            </ac:spMkLst>
          </pc:spChg>
          <pc:spChg chg="mod">
            <ac:chgData name="Grace, Morgan (Brisbane)" userId="221d5f7b-4a46-4bd5-bdf1-698d3a91c208" providerId="ADAL" clId="{D90324C1-6CE4-4C28-B886-AED0B666B37F}" dt="2024-06-06T05:13:55.110" v="42143" actId="790"/>
            <ac:spMkLst>
              <pc:docMk/>
              <pc:sldMasterMk cId="3498525908" sldId="2147484073"/>
              <pc:sldLayoutMk cId="630131017" sldId="2147484096"/>
              <ac:spMk id="13" creationId="{93DBC39D-CB98-CE92-4061-92648D6E1B35}"/>
            </ac:spMkLst>
          </pc:spChg>
          <pc:spChg chg="mod">
            <ac:chgData name="Grace, Morgan (Brisbane)" userId="221d5f7b-4a46-4bd5-bdf1-698d3a91c208" providerId="ADAL" clId="{D90324C1-6CE4-4C28-B886-AED0B666B37F}" dt="2024-06-06T05:13:55.110" v="42144" actId="790"/>
            <ac:spMkLst>
              <pc:docMk/>
              <pc:sldMasterMk cId="3498525908" sldId="2147484073"/>
              <pc:sldLayoutMk cId="630131017" sldId="2147484096"/>
              <ac:spMk id="14" creationId="{3875F878-C334-F6D9-77CD-45575E032523}"/>
            </ac:spMkLst>
          </pc:spChg>
          <pc:spChg chg="mod">
            <ac:chgData name="Grace, Morgan (Brisbane)" userId="221d5f7b-4a46-4bd5-bdf1-698d3a91c208" providerId="ADAL" clId="{D90324C1-6CE4-4C28-B886-AED0B666B37F}" dt="2024-06-06T05:13:55.110" v="42145" actId="790"/>
            <ac:spMkLst>
              <pc:docMk/>
              <pc:sldMasterMk cId="3498525908" sldId="2147484073"/>
              <pc:sldLayoutMk cId="630131017" sldId="2147484096"/>
              <ac:spMk id="19" creationId="{4B19BD34-6DCB-57AA-F4F9-69E213F89F3C}"/>
            </ac:spMkLst>
          </pc:spChg>
          <pc:spChg chg="mod">
            <ac:chgData name="Grace, Morgan (Brisbane)" userId="221d5f7b-4a46-4bd5-bdf1-698d3a91c208" providerId="ADAL" clId="{D90324C1-6CE4-4C28-B886-AED0B666B37F}" dt="2024-06-06T05:13:55.110" v="42146" actId="790"/>
            <ac:spMkLst>
              <pc:docMk/>
              <pc:sldMasterMk cId="3498525908" sldId="2147484073"/>
              <pc:sldLayoutMk cId="630131017" sldId="2147484096"/>
              <ac:spMk id="20" creationId="{08736A62-1CFC-5F30-80F4-841DCED41E3A}"/>
            </ac:spMkLst>
          </pc:spChg>
          <pc:spChg chg="mod">
            <ac:chgData name="Grace, Morgan (Brisbane)" userId="221d5f7b-4a46-4bd5-bdf1-698d3a91c208" providerId="ADAL" clId="{D90324C1-6CE4-4C28-B886-AED0B666B37F}" dt="2024-06-06T05:13:55.110" v="42147" actId="790"/>
            <ac:spMkLst>
              <pc:docMk/>
              <pc:sldMasterMk cId="3498525908" sldId="2147484073"/>
              <pc:sldLayoutMk cId="630131017" sldId="2147484096"/>
              <ac:spMk id="21" creationId="{B63EC3A9-BA5A-F579-136E-97899C879516}"/>
            </ac:spMkLst>
          </pc:spChg>
          <pc:spChg chg="mod">
            <ac:chgData name="Grace, Morgan (Brisbane)" userId="221d5f7b-4a46-4bd5-bdf1-698d3a91c208" providerId="ADAL" clId="{D90324C1-6CE4-4C28-B886-AED0B666B37F}" dt="2024-06-06T05:13:55.110" v="42148" actId="790"/>
            <ac:spMkLst>
              <pc:docMk/>
              <pc:sldMasterMk cId="3498525908" sldId="2147484073"/>
              <pc:sldLayoutMk cId="630131017" sldId="2147484096"/>
              <ac:spMk id="22" creationId="{9B42860E-EC64-BF8F-0D53-FF07BBBF4C20}"/>
            </ac:spMkLst>
          </pc:spChg>
          <pc:spChg chg="mod">
            <ac:chgData name="Grace, Morgan (Brisbane)" userId="221d5f7b-4a46-4bd5-bdf1-698d3a91c208" providerId="ADAL" clId="{D90324C1-6CE4-4C28-B886-AED0B666B37F}" dt="2024-06-06T05:13:55.126" v="42149" actId="790"/>
            <ac:spMkLst>
              <pc:docMk/>
              <pc:sldMasterMk cId="3498525908" sldId="2147484073"/>
              <pc:sldLayoutMk cId="630131017" sldId="2147484096"/>
              <ac:spMk id="23" creationId="{90463C65-3302-F86A-7520-4A67D9F43C7F}"/>
            </ac:spMkLst>
          </pc:spChg>
          <pc:spChg chg="mod">
            <ac:chgData name="Grace, Morgan (Brisbane)" userId="221d5f7b-4a46-4bd5-bdf1-698d3a91c208" providerId="ADAL" clId="{D90324C1-6CE4-4C28-B886-AED0B666B37F}" dt="2024-06-06T05:13:55.126" v="42150" actId="790"/>
            <ac:spMkLst>
              <pc:docMk/>
              <pc:sldMasterMk cId="3498525908" sldId="2147484073"/>
              <pc:sldLayoutMk cId="630131017" sldId="2147484096"/>
              <ac:spMk id="24" creationId="{CE5FE3A1-C8C6-0253-44D1-A865CE6F9074}"/>
            </ac:spMkLst>
          </pc:spChg>
          <pc:spChg chg="mod">
            <ac:chgData name="Grace, Morgan (Brisbane)" userId="221d5f7b-4a46-4bd5-bdf1-698d3a91c208" providerId="ADAL" clId="{D90324C1-6CE4-4C28-B886-AED0B666B37F}" dt="2024-06-06T05:13:55.131" v="42151" actId="790"/>
            <ac:spMkLst>
              <pc:docMk/>
              <pc:sldMasterMk cId="3498525908" sldId="2147484073"/>
              <pc:sldLayoutMk cId="630131017" sldId="2147484096"/>
              <ac:spMk id="25" creationId="{0A5D4EE1-8EA7-7495-5AAE-6D976297E002}"/>
            </ac:spMkLst>
          </pc:spChg>
          <pc:spChg chg="mod">
            <ac:chgData name="Grace, Morgan (Brisbane)" userId="221d5f7b-4a46-4bd5-bdf1-698d3a91c208" providerId="ADAL" clId="{D90324C1-6CE4-4C28-B886-AED0B666B37F}" dt="2024-06-06T05:13:55.131" v="42152" actId="790"/>
            <ac:spMkLst>
              <pc:docMk/>
              <pc:sldMasterMk cId="3498525908" sldId="2147484073"/>
              <pc:sldLayoutMk cId="630131017" sldId="2147484096"/>
              <ac:spMk id="26" creationId="{0E928F85-2F74-5CE8-EBE5-1C819E690BDC}"/>
            </ac:spMkLst>
          </pc:spChg>
          <pc:graphicFrameChg chg="mod ord modVis replST">
            <ac:chgData name="Grace, Morgan (Brisbane)" userId="221d5f7b-4a46-4bd5-bdf1-698d3a91c208" providerId="ADAL" clId="{D90324C1-6CE4-4C28-B886-AED0B666B37F}" dt="2024-06-06T05:14:00.572" v="45817"/>
            <ac:graphicFrameMkLst>
              <pc:docMk/>
              <pc:sldMasterMk cId="3498525908" sldId="2147484073"/>
              <pc:sldLayoutMk cId="630131017" sldId="2147484096"/>
              <ac:graphicFrameMk id="7" creationId="{4B195DC9-1002-27DA-16ED-7D86C4306BFC}"/>
            </ac:graphicFrameMkLst>
          </pc:graphicFrameChg>
        </pc:sldLayoutChg>
        <pc:sldLayoutChg chg="delSp modSp mod">
          <pc:chgData name="Grace, Morgan (Brisbane)" userId="221d5f7b-4a46-4bd5-bdf1-698d3a91c208" providerId="ADAL" clId="{D90324C1-6CE4-4C28-B886-AED0B666B37F}" dt="2024-06-06T05:14:00.619" v="45833"/>
          <pc:sldLayoutMkLst>
            <pc:docMk/>
            <pc:sldMasterMk cId="3498525908" sldId="2147484073"/>
            <pc:sldLayoutMk cId="3722815086" sldId="2147484097"/>
          </pc:sldLayoutMkLst>
          <pc:spChg chg="mod">
            <ac:chgData name="Grace, Morgan (Brisbane)" userId="221d5f7b-4a46-4bd5-bdf1-698d3a91c208" providerId="ADAL" clId="{D90324C1-6CE4-4C28-B886-AED0B666B37F}" dt="2024-06-06T05:13:55.194" v="42179" actId="790"/>
            <ac:spMkLst>
              <pc:docMk/>
              <pc:sldMasterMk cId="3498525908" sldId="2147484073"/>
              <pc:sldLayoutMk cId="3722815086" sldId="2147484097"/>
              <ac:spMk id="2" creationId="{4299CFBA-F486-F5FE-D5D7-B94D44187435}"/>
            </ac:spMkLst>
          </pc:spChg>
          <pc:spChg chg="mod">
            <ac:chgData name="Grace, Morgan (Brisbane)" userId="221d5f7b-4a46-4bd5-bdf1-698d3a91c208" providerId="ADAL" clId="{D90324C1-6CE4-4C28-B886-AED0B666B37F}" dt="2024-06-06T05:13:58.653" v="44424" actId="948"/>
            <ac:spMkLst>
              <pc:docMk/>
              <pc:sldMasterMk cId="3498525908" sldId="2147484073"/>
              <pc:sldLayoutMk cId="3722815086" sldId="2147484097"/>
              <ac:spMk id="3" creationId="{1D169CFB-75EA-6D8A-A4A3-B60F7AE9DDD8}"/>
            </ac:spMkLst>
          </pc:spChg>
          <pc:spChg chg="mod">
            <ac:chgData name="Grace, Morgan (Brisbane)" userId="221d5f7b-4a46-4bd5-bdf1-698d3a91c208" providerId="ADAL" clId="{D90324C1-6CE4-4C28-B886-AED0B666B37F}" dt="2024-06-06T05:13:55.194" v="42178" actId="790"/>
            <ac:spMkLst>
              <pc:docMk/>
              <pc:sldMasterMk cId="3498525908" sldId="2147484073"/>
              <pc:sldLayoutMk cId="3722815086" sldId="2147484097"/>
              <ac:spMk id="4" creationId="{44EE3F8B-B29E-8EBF-6005-9ED45A5062A3}"/>
            </ac:spMkLst>
          </pc:spChg>
          <pc:spChg chg="mod">
            <ac:chgData name="Grace, Morgan (Brisbane)" userId="221d5f7b-4a46-4bd5-bdf1-698d3a91c208" providerId="ADAL" clId="{D90324C1-6CE4-4C28-B886-AED0B666B37F}" dt="2024-06-06T05:13:55.178" v="42168" actId="790"/>
            <ac:spMkLst>
              <pc:docMk/>
              <pc:sldMasterMk cId="3498525908" sldId="2147484073"/>
              <pc:sldLayoutMk cId="3722815086" sldId="2147484097"/>
              <ac:spMk id="5" creationId="{7453970C-EFF6-9509-6689-282030A969FE}"/>
            </ac:spMkLst>
          </pc:spChg>
          <pc:spChg chg="del mod modVis">
            <ac:chgData name="Grace, Morgan (Brisbane)" userId="221d5f7b-4a46-4bd5-bdf1-698d3a91c208" providerId="ADAL" clId="{D90324C1-6CE4-4C28-B886-AED0B666B37F}" dt="2024-06-06T05:14:00.603" v="45826" actId="478"/>
            <ac:spMkLst>
              <pc:docMk/>
              <pc:sldMasterMk cId="3498525908" sldId="2147484073"/>
              <pc:sldLayoutMk cId="3722815086" sldId="2147484097"/>
              <ac:spMk id="6" creationId="{5CE08830-BFB5-6777-FD16-8E0396F1B258}"/>
            </ac:spMkLst>
          </pc:spChg>
          <pc:spChg chg="mod">
            <ac:chgData name="Grace, Morgan (Brisbane)" userId="221d5f7b-4a46-4bd5-bdf1-698d3a91c208" providerId="ADAL" clId="{D90324C1-6CE4-4C28-B886-AED0B666B37F}" dt="2024-06-06T05:13:55.194" v="42175" actId="790"/>
            <ac:spMkLst>
              <pc:docMk/>
              <pc:sldMasterMk cId="3498525908" sldId="2147484073"/>
              <pc:sldLayoutMk cId="3722815086" sldId="2147484097"/>
              <ac:spMk id="8" creationId="{1E3AC50B-3159-7C0F-5D43-DD7A56344ECE}"/>
            </ac:spMkLst>
          </pc:spChg>
          <pc:spChg chg="mod">
            <ac:chgData name="Grace, Morgan (Brisbane)" userId="221d5f7b-4a46-4bd5-bdf1-698d3a91c208" providerId="ADAL" clId="{D90324C1-6CE4-4C28-B886-AED0B666B37F}" dt="2024-06-06T05:13:55.194" v="42176" actId="790"/>
            <ac:spMkLst>
              <pc:docMk/>
              <pc:sldMasterMk cId="3498525908" sldId="2147484073"/>
              <pc:sldLayoutMk cId="3722815086" sldId="2147484097"/>
              <ac:spMk id="9" creationId="{DD0128D5-BD5B-66A1-9658-8BDE7324A0B9}"/>
            </ac:spMkLst>
          </pc:spChg>
          <pc:spChg chg="mod">
            <ac:chgData name="Grace, Morgan (Brisbane)" userId="221d5f7b-4a46-4bd5-bdf1-698d3a91c208" providerId="ADAL" clId="{D90324C1-6CE4-4C28-B886-AED0B666B37F}" dt="2024-06-06T05:13:55.178" v="42169" actId="790"/>
            <ac:spMkLst>
              <pc:docMk/>
              <pc:sldMasterMk cId="3498525908" sldId="2147484073"/>
              <pc:sldLayoutMk cId="3722815086" sldId="2147484097"/>
              <ac:spMk id="13" creationId="{93DBC39D-CB98-CE92-4061-92648D6E1B35}"/>
            </ac:spMkLst>
          </pc:spChg>
          <pc:spChg chg="mod">
            <ac:chgData name="Grace, Morgan (Brisbane)" userId="221d5f7b-4a46-4bd5-bdf1-698d3a91c208" providerId="ADAL" clId="{D90324C1-6CE4-4C28-B886-AED0B666B37F}" dt="2024-06-06T05:13:55.178" v="42170" actId="790"/>
            <ac:spMkLst>
              <pc:docMk/>
              <pc:sldMasterMk cId="3498525908" sldId="2147484073"/>
              <pc:sldLayoutMk cId="3722815086" sldId="2147484097"/>
              <ac:spMk id="14" creationId="{3875F878-C334-F6D9-77CD-45575E032523}"/>
            </ac:spMkLst>
          </pc:spChg>
          <pc:spChg chg="mod">
            <ac:chgData name="Grace, Morgan (Brisbane)" userId="221d5f7b-4a46-4bd5-bdf1-698d3a91c208" providerId="ADAL" clId="{D90324C1-6CE4-4C28-B886-AED0B666B37F}" dt="2024-06-06T05:13:55.178" v="42171" actId="790"/>
            <ac:spMkLst>
              <pc:docMk/>
              <pc:sldMasterMk cId="3498525908" sldId="2147484073"/>
              <pc:sldLayoutMk cId="3722815086" sldId="2147484097"/>
              <ac:spMk id="15" creationId="{9FE2CC7D-F79A-ADEB-F6ED-29DD8998BCBF}"/>
            </ac:spMkLst>
          </pc:spChg>
          <pc:spChg chg="mod">
            <ac:chgData name="Grace, Morgan (Brisbane)" userId="221d5f7b-4a46-4bd5-bdf1-698d3a91c208" providerId="ADAL" clId="{D90324C1-6CE4-4C28-B886-AED0B666B37F}" dt="2024-06-06T05:13:55.178" v="42172" actId="790"/>
            <ac:spMkLst>
              <pc:docMk/>
              <pc:sldMasterMk cId="3498525908" sldId="2147484073"/>
              <pc:sldLayoutMk cId="3722815086" sldId="2147484097"/>
              <ac:spMk id="16" creationId="{D1FD6AF1-A532-2CFC-3C2B-49243F6F5BE7}"/>
            </ac:spMkLst>
          </pc:spChg>
          <pc:spChg chg="mod">
            <ac:chgData name="Grace, Morgan (Brisbane)" userId="221d5f7b-4a46-4bd5-bdf1-698d3a91c208" providerId="ADAL" clId="{D90324C1-6CE4-4C28-B886-AED0B666B37F}" dt="2024-06-06T05:13:55.194" v="42173" actId="790"/>
            <ac:spMkLst>
              <pc:docMk/>
              <pc:sldMasterMk cId="3498525908" sldId="2147484073"/>
              <pc:sldLayoutMk cId="3722815086" sldId="2147484097"/>
              <ac:spMk id="17" creationId="{B118435F-C098-F99E-246F-4D3EAB5ABB63}"/>
            </ac:spMkLst>
          </pc:spChg>
          <pc:spChg chg="mod">
            <ac:chgData name="Grace, Morgan (Brisbane)" userId="221d5f7b-4a46-4bd5-bdf1-698d3a91c208" providerId="ADAL" clId="{D90324C1-6CE4-4C28-B886-AED0B666B37F}" dt="2024-06-06T05:13:55.194" v="42174" actId="790"/>
            <ac:spMkLst>
              <pc:docMk/>
              <pc:sldMasterMk cId="3498525908" sldId="2147484073"/>
              <pc:sldLayoutMk cId="3722815086" sldId="2147484097"/>
              <ac:spMk id="18" creationId="{356E6E5A-046B-5F1E-8F38-7D07FDE78E8F}"/>
            </ac:spMkLst>
          </pc:spChg>
          <pc:graphicFrameChg chg="mod ord modVis replST">
            <ac:chgData name="Grace, Morgan (Brisbane)" userId="221d5f7b-4a46-4bd5-bdf1-698d3a91c208" providerId="ADAL" clId="{D90324C1-6CE4-4C28-B886-AED0B666B37F}" dt="2024-06-06T05:14:00.619" v="45833"/>
            <ac:graphicFrameMkLst>
              <pc:docMk/>
              <pc:sldMasterMk cId="3498525908" sldId="2147484073"/>
              <pc:sldLayoutMk cId="3722815086" sldId="2147484097"/>
              <ac:graphicFrameMk id="7" creationId="{DA697AD9-D5FF-1E0F-2A43-0A3547971D95}"/>
            </ac:graphicFrameMkLst>
          </pc:graphicFrameChg>
        </pc:sldLayoutChg>
        <pc:sldLayoutChg chg="delSp modSp mod">
          <pc:chgData name="Grace, Morgan (Brisbane)" userId="221d5f7b-4a46-4bd5-bdf1-698d3a91c208" providerId="ADAL" clId="{D90324C1-6CE4-4C28-B886-AED0B666B37F}" dt="2024-06-06T05:14:00.603" v="45825"/>
          <pc:sldLayoutMkLst>
            <pc:docMk/>
            <pc:sldMasterMk cId="3498525908" sldId="2147484073"/>
            <pc:sldLayoutMk cId="1268916573" sldId="2147484098"/>
          </pc:sldLayoutMkLst>
          <pc:spChg chg="mod">
            <ac:chgData name="Grace, Morgan (Brisbane)" userId="221d5f7b-4a46-4bd5-bdf1-698d3a91c208" providerId="ADAL" clId="{D90324C1-6CE4-4C28-B886-AED0B666B37F}" dt="2024-06-06T05:13:55.163" v="42167" actId="790"/>
            <ac:spMkLst>
              <pc:docMk/>
              <pc:sldMasterMk cId="3498525908" sldId="2147484073"/>
              <pc:sldLayoutMk cId="1268916573" sldId="2147484098"/>
              <ac:spMk id="2" creationId="{1F5859E0-A2A1-3248-4E72-F6F80E3EF642}"/>
            </ac:spMkLst>
          </pc:spChg>
          <pc:spChg chg="del mod modVis">
            <ac:chgData name="Grace, Morgan (Brisbane)" userId="221d5f7b-4a46-4bd5-bdf1-698d3a91c208" providerId="ADAL" clId="{D90324C1-6CE4-4C28-B886-AED0B666B37F}" dt="2024-06-06T05:14:00.587" v="45818" actId="478"/>
            <ac:spMkLst>
              <pc:docMk/>
              <pc:sldMasterMk cId="3498525908" sldId="2147484073"/>
              <pc:sldLayoutMk cId="1268916573" sldId="2147484098"/>
              <ac:spMk id="3" creationId="{F0FBD5CE-1A22-00EA-3E65-41C79DEFC450}"/>
            </ac:spMkLst>
          </pc:spChg>
          <pc:spChg chg="mod">
            <ac:chgData name="Grace, Morgan (Brisbane)" userId="221d5f7b-4a46-4bd5-bdf1-698d3a91c208" providerId="ADAL" clId="{D90324C1-6CE4-4C28-B886-AED0B666B37F}" dt="2024-06-06T05:13:55.147" v="42156" actId="790"/>
            <ac:spMkLst>
              <pc:docMk/>
              <pc:sldMasterMk cId="3498525908" sldId="2147484073"/>
              <pc:sldLayoutMk cId="1268916573" sldId="2147484098"/>
              <ac:spMk id="5" creationId="{7453970C-EFF6-9509-6689-282030A969FE}"/>
            </ac:spMkLst>
          </pc:spChg>
          <pc:spChg chg="mod">
            <ac:chgData name="Grace, Morgan (Brisbane)" userId="221d5f7b-4a46-4bd5-bdf1-698d3a91c208" providerId="ADAL" clId="{D90324C1-6CE4-4C28-B886-AED0B666B37F}" dt="2024-06-06T05:13:58.637" v="44405" actId="948"/>
            <ac:spMkLst>
              <pc:docMk/>
              <pc:sldMasterMk cId="3498525908" sldId="2147484073"/>
              <pc:sldLayoutMk cId="1268916573" sldId="2147484098"/>
              <ac:spMk id="11" creationId="{004CB7B3-C967-24DA-C3F7-619E00CF77CE}"/>
            </ac:spMkLst>
          </pc:spChg>
          <pc:spChg chg="mod">
            <ac:chgData name="Grace, Morgan (Brisbane)" userId="221d5f7b-4a46-4bd5-bdf1-698d3a91c208" providerId="ADAL" clId="{D90324C1-6CE4-4C28-B886-AED0B666B37F}" dt="2024-06-06T05:13:55.147" v="42158" actId="790"/>
            <ac:spMkLst>
              <pc:docMk/>
              <pc:sldMasterMk cId="3498525908" sldId="2147484073"/>
              <pc:sldLayoutMk cId="1268916573" sldId="2147484098"/>
              <ac:spMk id="12" creationId="{25F3A253-AD8F-65B6-A651-D445104C31B6}"/>
            </ac:spMkLst>
          </pc:spChg>
          <pc:spChg chg="mod">
            <ac:chgData name="Grace, Morgan (Brisbane)" userId="221d5f7b-4a46-4bd5-bdf1-698d3a91c208" providerId="ADAL" clId="{D90324C1-6CE4-4C28-B886-AED0B666B37F}" dt="2024-06-06T05:13:55.147" v="42159" actId="790"/>
            <ac:spMkLst>
              <pc:docMk/>
              <pc:sldMasterMk cId="3498525908" sldId="2147484073"/>
              <pc:sldLayoutMk cId="1268916573" sldId="2147484098"/>
              <ac:spMk id="15" creationId="{9FE2CC7D-F79A-ADEB-F6ED-29DD8998BCBF}"/>
            </ac:spMkLst>
          </pc:spChg>
          <pc:spChg chg="mod">
            <ac:chgData name="Grace, Morgan (Brisbane)" userId="221d5f7b-4a46-4bd5-bdf1-698d3a91c208" providerId="ADAL" clId="{D90324C1-6CE4-4C28-B886-AED0B666B37F}" dt="2024-06-06T05:13:55.147" v="42160" actId="790"/>
            <ac:spMkLst>
              <pc:docMk/>
              <pc:sldMasterMk cId="3498525908" sldId="2147484073"/>
              <pc:sldLayoutMk cId="1268916573" sldId="2147484098"/>
              <ac:spMk id="20" creationId="{73029969-1226-4592-8CA6-40A556F35767}"/>
            </ac:spMkLst>
          </pc:spChg>
          <pc:spChg chg="mod">
            <ac:chgData name="Grace, Morgan (Brisbane)" userId="221d5f7b-4a46-4bd5-bdf1-698d3a91c208" providerId="ADAL" clId="{D90324C1-6CE4-4C28-B886-AED0B666B37F}" dt="2024-06-06T05:13:55.147" v="42161" actId="790"/>
            <ac:spMkLst>
              <pc:docMk/>
              <pc:sldMasterMk cId="3498525908" sldId="2147484073"/>
              <pc:sldLayoutMk cId="1268916573" sldId="2147484098"/>
              <ac:spMk id="22" creationId="{10B360DE-07A8-F078-BDDE-B75254701D6B}"/>
            </ac:spMkLst>
          </pc:spChg>
          <pc:spChg chg="mod">
            <ac:chgData name="Grace, Morgan (Brisbane)" userId="221d5f7b-4a46-4bd5-bdf1-698d3a91c208" providerId="ADAL" clId="{D90324C1-6CE4-4C28-B886-AED0B666B37F}" dt="2024-06-06T05:13:55.163" v="42162" actId="790"/>
            <ac:spMkLst>
              <pc:docMk/>
              <pc:sldMasterMk cId="3498525908" sldId="2147484073"/>
              <pc:sldLayoutMk cId="1268916573" sldId="2147484098"/>
              <ac:spMk id="24" creationId="{7CD1E0F0-6563-BDC2-ECD6-8E32881EC2ED}"/>
            </ac:spMkLst>
          </pc:spChg>
          <pc:spChg chg="mod">
            <ac:chgData name="Grace, Morgan (Brisbane)" userId="221d5f7b-4a46-4bd5-bdf1-698d3a91c208" providerId="ADAL" clId="{D90324C1-6CE4-4C28-B886-AED0B666B37F}" dt="2024-06-06T05:13:55.163" v="42163" actId="790"/>
            <ac:spMkLst>
              <pc:docMk/>
              <pc:sldMasterMk cId="3498525908" sldId="2147484073"/>
              <pc:sldLayoutMk cId="1268916573" sldId="2147484098"/>
              <ac:spMk id="26" creationId="{B537D4EB-A64F-247D-8524-7BE19661CFA5}"/>
            </ac:spMkLst>
          </pc:spChg>
          <pc:spChg chg="mod">
            <ac:chgData name="Grace, Morgan (Brisbane)" userId="221d5f7b-4a46-4bd5-bdf1-698d3a91c208" providerId="ADAL" clId="{D90324C1-6CE4-4C28-B886-AED0B666B37F}" dt="2024-06-06T05:13:55.163" v="42164" actId="790"/>
            <ac:spMkLst>
              <pc:docMk/>
              <pc:sldMasterMk cId="3498525908" sldId="2147484073"/>
              <pc:sldLayoutMk cId="1268916573" sldId="2147484098"/>
              <ac:spMk id="28" creationId="{A6ED23AD-FD51-D61D-8111-A3AABE5E9AF8}"/>
            </ac:spMkLst>
          </pc:spChg>
          <pc:spChg chg="mod">
            <ac:chgData name="Grace, Morgan (Brisbane)" userId="221d5f7b-4a46-4bd5-bdf1-698d3a91c208" providerId="ADAL" clId="{D90324C1-6CE4-4C28-B886-AED0B666B37F}" dt="2024-06-06T05:13:55.163" v="42165" actId="790"/>
            <ac:spMkLst>
              <pc:docMk/>
              <pc:sldMasterMk cId="3498525908" sldId="2147484073"/>
              <pc:sldLayoutMk cId="1268916573" sldId="2147484098"/>
              <ac:spMk id="33" creationId="{62B66449-6217-AF1B-41BF-B61DD9061018}"/>
            </ac:spMkLst>
          </pc:spChg>
          <pc:spChg chg="mod">
            <ac:chgData name="Grace, Morgan (Brisbane)" userId="221d5f7b-4a46-4bd5-bdf1-698d3a91c208" providerId="ADAL" clId="{D90324C1-6CE4-4C28-B886-AED0B666B37F}" dt="2024-06-06T05:13:55.163" v="42166" actId="790"/>
            <ac:spMkLst>
              <pc:docMk/>
              <pc:sldMasterMk cId="3498525908" sldId="2147484073"/>
              <pc:sldLayoutMk cId="1268916573" sldId="2147484098"/>
              <ac:spMk id="34" creationId="{DE384E91-CDDC-3CFA-B6FD-C30803DE62A2}"/>
            </ac:spMkLst>
          </pc:spChg>
          <pc:graphicFrameChg chg="mod ord modVis replST">
            <ac:chgData name="Grace, Morgan (Brisbane)" userId="221d5f7b-4a46-4bd5-bdf1-698d3a91c208" providerId="ADAL" clId="{D90324C1-6CE4-4C28-B886-AED0B666B37F}" dt="2024-06-06T05:14:00.603" v="45825"/>
            <ac:graphicFrameMkLst>
              <pc:docMk/>
              <pc:sldMasterMk cId="3498525908" sldId="2147484073"/>
              <pc:sldLayoutMk cId="1268916573" sldId="2147484098"/>
              <ac:graphicFrameMk id="4" creationId="{A3EE7CED-C946-66A2-6B13-19F55BCD1C0B}"/>
            </ac:graphicFrameMkLst>
          </pc:graphicFrameChg>
        </pc:sldLayoutChg>
        <pc:sldLayoutChg chg="delSp modSp mod">
          <pc:chgData name="Grace, Morgan (Brisbane)" userId="221d5f7b-4a46-4bd5-bdf1-698d3a91c208" providerId="ADAL" clId="{D90324C1-6CE4-4C28-B886-AED0B666B37F}" dt="2024-06-06T05:14:00.640" v="45841"/>
          <pc:sldLayoutMkLst>
            <pc:docMk/>
            <pc:sldMasterMk cId="3498525908" sldId="2147484073"/>
            <pc:sldLayoutMk cId="538598326" sldId="2147484099"/>
          </pc:sldLayoutMkLst>
          <pc:spChg chg="mod">
            <ac:chgData name="Grace, Morgan (Brisbane)" userId="221d5f7b-4a46-4bd5-bdf1-698d3a91c208" providerId="ADAL" clId="{D90324C1-6CE4-4C28-B886-AED0B666B37F}" dt="2024-06-06T05:13:55.232" v="42188" actId="790"/>
            <ac:spMkLst>
              <pc:docMk/>
              <pc:sldMasterMk cId="3498525908" sldId="2147484073"/>
              <pc:sldLayoutMk cId="538598326" sldId="2147484099"/>
              <ac:spMk id="2" creationId="{81CED4B3-525F-6607-094E-334AE40CF4A3}"/>
            </ac:spMkLst>
          </pc:spChg>
          <pc:spChg chg="mod">
            <ac:chgData name="Grace, Morgan (Brisbane)" userId="221d5f7b-4a46-4bd5-bdf1-698d3a91c208" providerId="ADAL" clId="{D90324C1-6CE4-4C28-B886-AED0B666B37F}" dt="2024-06-06T05:13:55.225" v="42184" actId="790"/>
            <ac:spMkLst>
              <pc:docMk/>
              <pc:sldMasterMk cId="3498525908" sldId="2147484073"/>
              <pc:sldLayoutMk cId="538598326" sldId="2147484099"/>
              <ac:spMk id="3" creationId="{3A71E23D-19B2-3B29-6D74-445E66213259}"/>
            </ac:spMkLst>
          </pc:spChg>
          <pc:spChg chg="mod">
            <ac:chgData name="Grace, Morgan (Brisbane)" userId="221d5f7b-4a46-4bd5-bdf1-698d3a91c208" providerId="ADAL" clId="{D90324C1-6CE4-4C28-B886-AED0B666B37F}" dt="2024-06-06T05:13:55.225" v="42185" actId="790"/>
            <ac:spMkLst>
              <pc:docMk/>
              <pc:sldMasterMk cId="3498525908" sldId="2147484073"/>
              <pc:sldLayoutMk cId="538598326" sldId="2147484099"/>
              <ac:spMk id="4" creationId="{A2635598-86A9-128B-B867-B4E30CC39CAF}"/>
            </ac:spMkLst>
          </pc:spChg>
          <pc:spChg chg="mod">
            <ac:chgData name="Grace, Morgan (Brisbane)" userId="221d5f7b-4a46-4bd5-bdf1-698d3a91c208" providerId="ADAL" clId="{D90324C1-6CE4-4C28-B886-AED0B666B37F}" dt="2024-06-06T05:13:55.209" v="42181" actId="790"/>
            <ac:spMkLst>
              <pc:docMk/>
              <pc:sldMasterMk cId="3498525908" sldId="2147484073"/>
              <pc:sldLayoutMk cId="538598326" sldId="2147484099"/>
              <ac:spMk id="5" creationId="{7453970C-EFF6-9509-6689-282030A969FE}"/>
            </ac:spMkLst>
          </pc:spChg>
          <pc:spChg chg="mod">
            <ac:chgData name="Grace, Morgan (Brisbane)" userId="221d5f7b-4a46-4bd5-bdf1-698d3a91c208" providerId="ADAL" clId="{D90324C1-6CE4-4C28-B886-AED0B666B37F}" dt="2024-06-06T05:13:58.684" v="44443" actId="948"/>
            <ac:spMkLst>
              <pc:docMk/>
              <pc:sldMasterMk cId="3498525908" sldId="2147484073"/>
              <pc:sldLayoutMk cId="538598326" sldId="2147484099"/>
              <ac:spMk id="6" creationId="{1916CA46-8761-0C39-4015-CAC1D81C566D}"/>
            </ac:spMkLst>
          </pc:spChg>
          <pc:spChg chg="mod">
            <ac:chgData name="Grace, Morgan (Brisbane)" userId="221d5f7b-4a46-4bd5-bdf1-698d3a91c208" providerId="ADAL" clId="{D90324C1-6CE4-4C28-B886-AED0B666B37F}" dt="2024-06-06T05:13:55.232" v="42187" actId="790"/>
            <ac:spMkLst>
              <pc:docMk/>
              <pc:sldMasterMk cId="3498525908" sldId="2147484073"/>
              <pc:sldLayoutMk cId="538598326" sldId="2147484099"/>
              <ac:spMk id="7" creationId="{23BFBE8E-5F75-9D8E-6B3C-28F7A34173B9}"/>
            </ac:spMkLst>
          </pc:spChg>
          <pc:spChg chg="del mod modVis">
            <ac:chgData name="Grace, Morgan (Brisbane)" userId="221d5f7b-4a46-4bd5-bdf1-698d3a91c208" providerId="ADAL" clId="{D90324C1-6CE4-4C28-B886-AED0B666B37F}" dt="2024-06-06T05:14:00.619" v="45834" actId="478"/>
            <ac:spMkLst>
              <pc:docMk/>
              <pc:sldMasterMk cId="3498525908" sldId="2147484073"/>
              <pc:sldLayoutMk cId="538598326" sldId="2147484099"/>
              <ac:spMk id="8" creationId="{1A6B89AE-27BE-DCFC-24B4-EEDCFC5B60FB}"/>
            </ac:spMkLst>
          </pc:spChg>
          <pc:spChg chg="mod">
            <ac:chgData name="Grace, Morgan (Brisbane)" userId="221d5f7b-4a46-4bd5-bdf1-698d3a91c208" providerId="ADAL" clId="{D90324C1-6CE4-4C28-B886-AED0B666B37F}" dt="2024-06-06T05:13:55.209" v="42182" actId="790"/>
            <ac:spMkLst>
              <pc:docMk/>
              <pc:sldMasterMk cId="3498525908" sldId="2147484073"/>
              <pc:sldLayoutMk cId="538598326" sldId="2147484099"/>
              <ac:spMk id="15" creationId="{9FE2CC7D-F79A-ADEB-F6ED-29DD8998BCBF}"/>
            </ac:spMkLst>
          </pc:spChg>
          <pc:spChg chg="mod">
            <ac:chgData name="Grace, Morgan (Brisbane)" userId="221d5f7b-4a46-4bd5-bdf1-698d3a91c208" providerId="ADAL" clId="{D90324C1-6CE4-4C28-B886-AED0B666B37F}" dt="2024-06-06T05:13:55.209" v="42180" actId="790"/>
            <ac:spMkLst>
              <pc:docMk/>
              <pc:sldMasterMk cId="3498525908" sldId="2147484073"/>
              <pc:sldLayoutMk cId="538598326" sldId="2147484099"/>
              <ac:spMk id="22" creationId="{10B360DE-07A8-F078-BDDE-B75254701D6B}"/>
            </ac:spMkLst>
          </pc:spChg>
          <pc:spChg chg="mod">
            <ac:chgData name="Grace, Morgan (Brisbane)" userId="221d5f7b-4a46-4bd5-bdf1-698d3a91c208" providerId="ADAL" clId="{D90324C1-6CE4-4C28-B886-AED0B666B37F}" dt="2024-06-06T05:13:55.209" v="42183" actId="790"/>
            <ac:spMkLst>
              <pc:docMk/>
              <pc:sldMasterMk cId="3498525908" sldId="2147484073"/>
              <pc:sldLayoutMk cId="538598326" sldId="2147484099"/>
              <ac:spMk id="26" creationId="{B537D4EB-A64F-247D-8524-7BE19661CFA5}"/>
            </ac:spMkLst>
          </pc:spChg>
          <pc:graphicFrameChg chg="mod ord modVis replST">
            <ac:chgData name="Grace, Morgan (Brisbane)" userId="221d5f7b-4a46-4bd5-bdf1-698d3a91c208" providerId="ADAL" clId="{D90324C1-6CE4-4C28-B886-AED0B666B37F}" dt="2024-06-06T05:14:00.640" v="45841"/>
            <ac:graphicFrameMkLst>
              <pc:docMk/>
              <pc:sldMasterMk cId="3498525908" sldId="2147484073"/>
              <pc:sldLayoutMk cId="538598326" sldId="2147484099"/>
              <ac:graphicFrameMk id="9" creationId="{072DCE74-A389-9BD7-AE7F-9BDB55D02FB5}"/>
            </ac:graphicFrameMkLst>
          </pc:graphicFrameChg>
        </pc:sldLayoutChg>
        <pc:sldLayoutChg chg="delSp modSp mod">
          <pc:chgData name="Grace, Morgan (Brisbane)" userId="221d5f7b-4a46-4bd5-bdf1-698d3a91c208" providerId="ADAL" clId="{D90324C1-6CE4-4C28-B886-AED0B666B37F}" dt="2024-06-06T05:14:00.708" v="45865"/>
          <pc:sldLayoutMkLst>
            <pc:docMk/>
            <pc:sldMasterMk cId="3498525908" sldId="2147484073"/>
            <pc:sldLayoutMk cId="3396530042" sldId="2147484100"/>
          </pc:sldLayoutMkLst>
          <pc:spChg chg="mod">
            <ac:chgData name="Grace, Morgan (Brisbane)" userId="221d5f7b-4a46-4bd5-bdf1-698d3a91c208" providerId="ADAL" clId="{D90324C1-6CE4-4C28-B886-AED0B666B37F}" dt="2024-06-06T05:13:55.310" v="42225" actId="790"/>
            <ac:spMkLst>
              <pc:docMk/>
              <pc:sldMasterMk cId="3498525908" sldId="2147484073"/>
              <pc:sldLayoutMk cId="3396530042" sldId="2147484100"/>
              <ac:spMk id="2" creationId="{4AD40CC1-4255-1B94-C837-E8507DA18BF7}"/>
            </ac:spMkLst>
          </pc:spChg>
          <pc:spChg chg="mod">
            <ac:chgData name="Grace, Morgan (Brisbane)" userId="221d5f7b-4a46-4bd5-bdf1-698d3a91c208" providerId="ADAL" clId="{D90324C1-6CE4-4C28-B886-AED0B666B37F}" dt="2024-06-06T05:13:55.310" v="42222" actId="790"/>
            <ac:spMkLst>
              <pc:docMk/>
              <pc:sldMasterMk cId="3498525908" sldId="2147484073"/>
              <pc:sldLayoutMk cId="3396530042" sldId="2147484100"/>
              <ac:spMk id="3" creationId="{8F8CE26E-149C-2C45-579B-D4E89039335A}"/>
            </ac:spMkLst>
          </pc:spChg>
          <pc:spChg chg="del mod modVis">
            <ac:chgData name="Grace, Morgan (Brisbane)" userId="221d5f7b-4a46-4bd5-bdf1-698d3a91c208" providerId="ADAL" clId="{D90324C1-6CE4-4C28-B886-AED0B666B37F}" dt="2024-06-06T05:14:00.692" v="45858" actId="478"/>
            <ac:spMkLst>
              <pc:docMk/>
              <pc:sldMasterMk cId="3498525908" sldId="2147484073"/>
              <pc:sldLayoutMk cId="3396530042" sldId="2147484100"/>
              <ac:spMk id="4" creationId="{D92EBF96-97D2-058E-8D21-DEA832A91346}"/>
            </ac:spMkLst>
          </pc:spChg>
          <pc:spChg chg="mod">
            <ac:chgData name="Grace, Morgan (Brisbane)" userId="221d5f7b-4a46-4bd5-bdf1-698d3a91c208" providerId="ADAL" clId="{D90324C1-6CE4-4C28-B886-AED0B666B37F}" dt="2024-06-06T05:13:55.310" v="42223" actId="790"/>
            <ac:spMkLst>
              <pc:docMk/>
              <pc:sldMasterMk cId="3498525908" sldId="2147484073"/>
              <pc:sldLayoutMk cId="3396530042" sldId="2147484100"/>
              <ac:spMk id="5" creationId="{3D2962AA-6F4F-5F53-5ACC-0C2BE30B9017}"/>
            </ac:spMkLst>
          </pc:spChg>
          <pc:spChg chg="mod">
            <ac:chgData name="Grace, Morgan (Brisbane)" userId="221d5f7b-4a46-4bd5-bdf1-698d3a91c208" providerId="ADAL" clId="{D90324C1-6CE4-4C28-B886-AED0B666B37F}" dt="2024-06-06T05:13:55.310" v="42224" actId="790"/>
            <ac:spMkLst>
              <pc:docMk/>
              <pc:sldMasterMk cId="3498525908" sldId="2147484073"/>
              <pc:sldLayoutMk cId="3396530042" sldId="2147484100"/>
              <ac:spMk id="6" creationId="{3F14B075-27CD-9790-C2F3-9FB1B9164F67}"/>
            </ac:spMkLst>
          </pc:spChg>
          <pc:spChg chg="mod">
            <ac:chgData name="Grace, Morgan (Brisbane)" userId="221d5f7b-4a46-4bd5-bdf1-698d3a91c208" providerId="ADAL" clId="{D90324C1-6CE4-4C28-B886-AED0B666B37F}" dt="2024-06-06T05:13:55.294" v="42216" actId="790"/>
            <ac:spMkLst>
              <pc:docMk/>
              <pc:sldMasterMk cId="3498525908" sldId="2147484073"/>
              <pc:sldLayoutMk cId="3396530042" sldId="2147484100"/>
              <ac:spMk id="25" creationId="{2AC43EFB-68AB-3FD0-15CB-8663E1E28224}"/>
            </ac:spMkLst>
          </pc:spChg>
          <pc:spChg chg="mod">
            <ac:chgData name="Grace, Morgan (Brisbane)" userId="221d5f7b-4a46-4bd5-bdf1-698d3a91c208" providerId="ADAL" clId="{D90324C1-6CE4-4C28-B886-AED0B666B37F}" dt="2024-06-06T05:13:58.737" v="44500" actId="948"/>
            <ac:spMkLst>
              <pc:docMk/>
              <pc:sldMasterMk cId="3498525908" sldId="2147484073"/>
              <pc:sldLayoutMk cId="3396530042" sldId="2147484100"/>
              <ac:spMk id="26" creationId="{221996B8-70C0-440B-8C11-B936F934C881}"/>
            </ac:spMkLst>
          </pc:spChg>
          <pc:spChg chg="mod">
            <ac:chgData name="Grace, Morgan (Brisbane)" userId="221d5f7b-4a46-4bd5-bdf1-698d3a91c208" providerId="ADAL" clId="{D90324C1-6CE4-4C28-B886-AED0B666B37F}" dt="2024-06-06T05:13:55.310" v="42218" actId="790"/>
            <ac:spMkLst>
              <pc:docMk/>
              <pc:sldMasterMk cId="3498525908" sldId="2147484073"/>
              <pc:sldLayoutMk cId="3396530042" sldId="2147484100"/>
              <ac:spMk id="27" creationId="{34558434-FBE2-6720-E03F-990853E195D6}"/>
            </ac:spMkLst>
          </pc:spChg>
          <pc:spChg chg="mod">
            <ac:chgData name="Grace, Morgan (Brisbane)" userId="221d5f7b-4a46-4bd5-bdf1-698d3a91c208" providerId="ADAL" clId="{D90324C1-6CE4-4C28-B886-AED0B666B37F}" dt="2024-06-06T05:13:55.310" v="42219" actId="790"/>
            <ac:spMkLst>
              <pc:docMk/>
              <pc:sldMasterMk cId="3498525908" sldId="2147484073"/>
              <pc:sldLayoutMk cId="3396530042" sldId="2147484100"/>
              <ac:spMk id="28" creationId="{6A8539C9-4A96-A4D0-6C3A-846B12ACE25A}"/>
            </ac:spMkLst>
          </pc:spChg>
          <pc:spChg chg="mod">
            <ac:chgData name="Grace, Morgan (Brisbane)" userId="221d5f7b-4a46-4bd5-bdf1-698d3a91c208" providerId="ADAL" clId="{D90324C1-6CE4-4C28-B886-AED0B666B37F}" dt="2024-06-06T05:13:55.310" v="42220" actId="790"/>
            <ac:spMkLst>
              <pc:docMk/>
              <pc:sldMasterMk cId="3498525908" sldId="2147484073"/>
              <pc:sldLayoutMk cId="3396530042" sldId="2147484100"/>
              <ac:spMk id="32" creationId="{3881F7AB-D350-7394-E0F2-89A93A9CE98F}"/>
            </ac:spMkLst>
          </pc:spChg>
          <pc:spChg chg="mod">
            <ac:chgData name="Grace, Morgan (Brisbane)" userId="221d5f7b-4a46-4bd5-bdf1-698d3a91c208" providerId="ADAL" clId="{D90324C1-6CE4-4C28-B886-AED0B666B37F}" dt="2024-06-06T05:13:55.310" v="42221" actId="790"/>
            <ac:spMkLst>
              <pc:docMk/>
              <pc:sldMasterMk cId="3498525908" sldId="2147484073"/>
              <pc:sldLayoutMk cId="3396530042" sldId="2147484100"/>
              <ac:spMk id="33" creationId="{550E72E0-F64E-8759-CE53-1F560E636163}"/>
            </ac:spMkLst>
          </pc:spChg>
          <pc:graphicFrameChg chg="mod ord modVis replST">
            <ac:chgData name="Grace, Morgan (Brisbane)" userId="221d5f7b-4a46-4bd5-bdf1-698d3a91c208" providerId="ADAL" clId="{D90324C1-6CE4-4C28-B886-AED0B666B37F}" dt="2024-06-06T05:14:00.708" v="45865"/>
            <ac:graphicFrameMkLst>
              <pc:docMk/>
              <pc:sldMasterMk cId="3498525908" sldId="2147484073"/>
              <pc:sldLayoutMk cId="3396530042" sldId="2147484100"/>
              <ac:graphicFrameMk id="7" creationId="{C944A608-F409-E54B-4E45-60A230590CA3}"/>
            </ac:graphicFrameMkLst>
          </pc:graphicFrameChg>
        </pc:sldLayoutChg>
        <pc:sldLayoutChg chg="delSp modSp mod">
          <pc:chgData name="Grace, Morgan (Brisbane)" userId="221d5f7b-4a46-4bd5-bdf1-698d3a91c208" providerId="ADAL" clId="{D90324C1-6CE4-4C28-B886-AED0B666B37F}" dt="2024-06-06T05:14:00.692" v="45857"/>
          <pc:sldLayoutMkLst>
            <pc:docMk/>
            <pc:sldMasterMk cId="3498525908" sldId="2147484073"/>
            <pc:sldLayoutMk cId="899639106" sldId="2147484101"/>
          </pc:sldLayoutMkLst>
          <pc:spChg chg="mod">
            <ac:chgData name="Grace, Morgan (Brisbane)" userId="221d5f7b-4a46-4bd5-bdf1-698d3a91c208" providerId="ADAL" clId="{D90324C1-6CE4-4C28-B886-AED0B666B37F}" dt="2024-06-06T05:13:55.294" v="42215" actId="790"/>
            <ac:spMkLst>
              <pc:docMk/>
              <pc:sldMasterMk cId="3498525908" sldId="2147484073"/>
              <pc:sldLayoutMk cId="899639106" sldId="2147484101"/>
              <ac:spMk id="2" creationId="{BF278C26-D145-15B6-BE10-F039819EC077}"/>
            </ac:spMkLst>
          </pc:spChg>
          <pc:spChg chg="mod">
            <ac:chgData name="Grace, Morgan (Brisbane)" userId="221d5f7b-4a46-4bd5-bdf1-698d3a91c208" providerId="ADAL" clId="{D90324C1-6CE4-4C28-B886-AED0B666B37F}" dt="2024-06-06T05:13:55.294" v="42214" actId="790"/>
            <ac:spMkLst>
              <pc:docMk/>
              <pc:sldMasterMk cId="3498525908" sldId="2147484073"/>
              <pc:sldLayoutMk cId="899639106" sldId="2147484101"/>
              <ac:spMk id="3" creationId="{328EB943-B5DA-3D2F-D5FD-A5FEE41CB94C}"/>
            </ac:spMkLst>
          </pc:spChg>
          <pc:spChg chg="del mod modVis">
            <ac:chgData name="Grace, Morgan (Brisbane)" userId="221d5f7b-4a46-4bd5-bdf1-698d3a91c208" providerId="ADAL" clId="{D90324C1-6CE4-4C28-B886-AED0B666B37F}" dt="2024-06-06T05:14:00.661" v="45850" actId="478"/>
            <ac:spMkLst>
              <pc:docMk/>
              <pc:sldMasterMk cId="3498525908" sldId="2147484073"/>
              <pc:sldLayoutMk cId="899639106" sldId="2147484101"/>
              <ac:spMk id="4" creationId="{47C5D9B4-90F4-1A44-76A2-892F053DB3CA}"/>
            </ac:spMkLst>
          </pc:spChg>
          <pc:spChg chg="mod">
            <ac:chgData name="Grace, Morgan (Brisbane)" userId="221d5f7b-4a46-4bd5-bdf1-698d3a91c208" providerId="ADAL" clId="{D90324C1-6CE4-4C28-B886-AED0B666B37F}" dt="2024-06-06T05:13:55.279" v="42210" actId="790"/>
            <ac:spMkLst>
              <pc:docMk/>
              <pc:sldMasterMk cId="3498525908" sldId="2147484073"/>
              <pc:sldLayoutMk cId="899639106" sldId="2147484101"/>
              <ac:spMk id="12" creationId="{BBF72C3E-AD6D-843C-B944-787CA2D97135}"/>
            </ac:spMkLst>
          </pc:spChg>
          <pc:spChg chg="mod">
            <ac:chgData name="Grace, Morgan (Brisbane)" userId="221d5f7b-4a46-4bd5-bdf1-698d3a91c208" providerId="ADAL" clId="{D90324C1-6CE4-4C28-B886-AED0B666B37F}" dt="2024-06-06T05:13:55.279" v="42211" actId="790"/>
            <ac:spMkLst>
              <pc:docMk/>
              <pc:sldMasterMk cId="3498525908" sldId="2147484073"/>
              <pc:sldLayoutMk cId="899639106" sldId="2147484101"/>
              <ac:spMk id="13" creationId="{AD7BFDE2-9CD8-56F9-8FFF-F7AB9F888987}"/>
            </ac:spMkLst>
          </pc:spChg>
          <pc:spChg chg="mod">
            <ac:chgData name="Grace, Morgan (Brisbane)" userId="221d5f7b-4a46-4bd5-bdf1-698d3a91c208" providerId="ADAL" clId="{D90324C1-6CE4-4C28-B886-AED0B666B37F}" dt="2024-06-06T05:13:55.279" v="42212" actId="790"/>
            <ac:spMkLst>
              <pc:docMk/>
              <pc:sldMasterMk cId="3498525908" sldId="2147484073"/>
              <pc:sldLayoutMk cId="899639106" sldId="2147484101"/>
              <ac:spMk id="15" creationId="{A506180F-3956-D755-9624-E4D16240927D}"/>
            </ac:spMkLst>
          </pc:spChg>
          <pc:spChg chg="mod">
            <ac:chgData name="Grace, Morgan (Brisbane)" userId="221d5f7b-4a46-4bd5-bdf1-698d3a91c208" providerId="ADAL" clId="{D90324C1-6CE4-4C28-B886-AED0B666B37F}" dt="2024-06-06T05:13:55.279" v="42213" actId="790"/>
            <ac:spMkLst>
              <pc:docMk/>
              <pc:sldMasterMk cId="3498525908" sldId="2147484073"/>
              <pc:sldLayoutMk cId="899639106" sldId="2147484101"/>
              <ac:spMk id="16" creationId="{F91F9FEF-181B-4408-A7F7-8A7209C60A25}"/>
            </ac:spMkLst>
          </pc:spChg>
          <pc:spChg chg="mod">
            <ac:chgData name="Grace, Morgan (Brisbane)" userId="221d5f7b-4a46-4bd5-bdf1-698d3a91c208" providerId="ADAL" clId="{D90324C1-6CE4-4C28-B886-AED0B666B37F}" dt="2024-06-06T05:13:55.279" v="42206" actId="790"/>
            <ac:spMkLst>
              <pc:docMk/>
              <pc:sldMasterMk cId="3498525908" sldId="2147484073"/>
              <pc:sldLayoutMk cId="899639106" sldId="2147484101"/>
              <ac:spMk id="19" creationId="{A9CFC6C9-C62A-CC26-70BD-537BBF72D808}"/>
            </ac:spMkLst>
          </pc:spChg>
          <pc:spChg chg="mod">
            <ac:chgData name="Grace, Morgan (Brisbane)" userId="221d5f7b-4a46-4bd5-bdf1-698d3a91c208" providerId="ADAL" clId="{D90324C1-6CE4-4C28-B886-AED0B666B37F}" dt="2024-06-06T05:13:58.715" v="44481" actId="948"/>
            <ac:spMkLst>
              <pc:docMk/>
              <pc:sldMasterMk cId="3498525908" sldId="2147484073"/>
              <pc:sldLayoutMk cId="899639106" sldId="2147484101"/>
              <ac:spMk id="20" creationId="{F88A6875-0FBC-CC77-347C-147D5F108984}"/>
            </ac:spMkLst>
          </pc:spChg>
          <pc:spChg chg="mod">
            <ac:chgData name="Grace, Morgan (Brisbane)" userId="221d5f7b-4a46-4bd5-bdf1-698d3a91c208" providerId="ADAL" clId="{D90324C1-6CE4-4C28-B886-AED0B666B37F}" dt="2024-06-06T05:13:55.279" v="42208" actId="790"/>
            <ac:spMkLst>
              <pc:docMk/>
              <pc:sldMasterMk cId="3498525908" sldId="2147484073"/>
              <pc:sldLayoutMk cId="899639106" sldId="2147484101"/>
              <ac:spMk id="22" creationId="{F00A4892-4AA7-6667-62F5-2CD51FF8E2C4}"/>
            </ac:spMkLst>
          </pc:spChg>
          <pc:spChg chg="mod">
            <ac:chgData name="Grace, Morgan (Brisbane)" userId="221d5f7b-4a46-4bd5-bdf1-698d3a91c208" providerId="ADAL" clId="{D90324C1-6CE4-4C28-B886-AED0B666B37F}" dt="2024-06-06T05:13:55.279" v="42209" actId="790"/>
            <ac:spMkLst>
              <pc:docMk/>
              <pc:sldMasterMk cId="3498525908" sldId="2147484073"/>
              <pc:sldLayoutMk cId="899639106" sldId="2147484101"/>
              <ac:spMk id="24" creationId="{2ECB6C72-6BBC-8CCA-F8E5-DCB63EFE24FB}"/>
            </ac:spMkLst>
          </pc:spChg>
          <pc:graphicFrameChg chg="mod ord modVis replST">
            <ac:chgData name="Grace, Morgan (Brisbane)" userId="221d5f7b-4a46-4bd5-bdf1-698d3a91c208" providerId="ADAL" clId="{D90324C1-6CE4-4C28-B886-AED0B666B37F}" dt="2024-06-06T05:14:00.692" v="45857"/>
            <ac:graphicFrameMkLst>
              <pc:docMk/>
              <pc:sldMasterMk cId="3498525908" sldId="2147484073"/>
              <pc:sldLayoutMk cId="899639106" sldId="2147484101"/>
              <ac:graphicFrameMk id="5" creationId="{66CF17F3-51C3-B2CB-164F-86040108C5B7}"/>
            </ac:graphicFrameMkLst>
          </pc:graphicFrameChg>
        </pc:sldLayoutChg>
        <pc:sldLayoutChg chg="delSp modSp mod">
          <pc:chgData name="Grace, Morgan (Brisbane)" userId="221d5f7b-4a46-4bd5-bdf1-698d3a91c208" providerId="ADAL" clId="{D90324C1-6CE4-4C28-B886-AED0B666B37F}" dt="2024-06-06T05:14:00.661" v="45849"/>
          <pc:sldLayoutMkLst>
            <pc:docMk/>
            <pc:sldMasterMk cId="3498525908" sldId="2147484073"/>
            <pc:sldLayoutMk cId="1983792988" sldId="2147484102"/>
          </pc:sldLayoutMkLst>
          <pc:spChg chg="mod">
            <ac:chgData name="Grace, Morgan (Brisbane)" userId="221d5f7b-4a46-4bd5-bdf1-698d3a91c208" providerId="ADAL" clId="{D90324C1-6CE4-4C28-B886-AED0B666B37F}" dt="2024-06-06T05:13:55.263" v="42205" actId="790"/>
            <ac:spMkLst>
              <pc:docMk/>
              <pc:sldMasterMk cId="3498525908" sldId="2147484073"/>
              <pc:sldLayoutMk cId="1983792988" sldId="2147484102"/>
              <ac:spMk id="2" creationId="{A1EDBF56-A163-73CC-B6BB-2296D817F9AA}"/>
            </ac:spMkLst>
          </pc:spChg>
          <pc:spChg chg="mod">
            <ac:chgData name="Grace, Morgan (Brisbane)" userId="221d5f7b-4a46-4bd5-bdf1-698d3a91c208" providerId="ADAL" clId="{D90324C1-6CE4-4C28-B886-AED0B666B37F}" dt="2024-06-06T05:13:55.232" v="42189" actId="790"/>
            <ac:spMkLst>
              <pc:docMk/>
              <pc:sldMasterMk cId="3498525908" sldId="2147484073"/>
              <pc:sldLayoutMk cId="1983792988" sldId="2147484102"/>
              <ac:spMk id="3" creationId="{24696196-7A66-286F-98AF-F5F773FC8A61}"/>
            </ac:spMkLst>
          </pc:spChg>
          <pc:spChg chg="mod">
            <ac:chgData name="Grace, Morgan (Brisbane)" userId="221d5f7b-4a46-4bd5-bdf1-698d3a91c208" providerId="ADAL" clId="{D90324C1-6CE4-4C28-B886-AED0B666B37F}" dt="2024-06-06T05:13:55.263" v="42204" actId="790"/>
            <ac:spMkLst>
              <pc:docMk/>
              <pc:sldMasterMk cId="3498525908" sldId="2147484073"/>
              <pc:sldLayoutMk cId="1983792988" sldId="2147484102"/>
              <ac:spMk id="4" creationId="{8D7FFEDB-0B80-CACC-8516-87EA57C4E798}"/>
            </ac:spMkLst>
          </pc:spChg>
          <pc:spChg chg="del mod modVis">
            <ac:chgData name="Grace, Morgan (Brisbane)" userId="221d5f7b-4a46-4bd5-bdf1-698d3a91c208" providerId="ADAL" clId="{D90324C1-6CE4-4C28-B886-AED0B666B37F}" dt="2024-06-06T05:14:00.640" v="45842" actId="478"/>
            <ac:spMkLst>
              <pc:docMk/>
              <pc:sldMasterMk cId="3498525908" sldId="2147484073"/>
              <pc:sldLayoutMk cId="1983792988" sldId="2147484102"/>
              <ac:spMk id="5" creationId="{CCD525A9-7642-A46A-4FEA-AB625028C7EE}"/>
            </ac:spMkLst>
          </pc:spChg>
          <pc:spChg chg="mod">
            <ac:chgData name="Grace, Morgan (Brisbane)" userId="221d5f7b-4a46-4bd5-bdf1-698d3a91c208" providerId="ADAL" clId="{D90324C1-6CE4-4C28-B886-AED0B666B37F}" dt="2024-06-06T05:13:55.247" v="42191" actId="790"/>
            <ac:spMkLst>
              <pc:docMk/>
              <pc:sldMasterMk cId="3498525908" sldId="2147484073"/>
              <pc:sldLayoutMk cId="1983792988" sldId="2147484102"/>
              <ac:spMk id="21" creationId="{0DBAE4A4-DFC6-5707-0A97-E5A5D80FC214}"/>
            </ac:spMkLst>
          </pc:spChg>
          <pc:spChg chg="mod">
            <ac:chgData name="Grace, Morgan (Brisbane)" userId="221d5f7b-4a46-4bd5-bdf1-698d3a91c208" providerId="ADAL" clId="{D90324C1-6CE4-4C28-B886-AED0B666B37F}" dt="2024-06-06T05:13:55.247" v="42192" actId="790"/>
            <ac:spMkLst>
              <pc:docMk/>
              <pc:sldMasterMk cId="3498525908" sldId="2147484073"/>
              <pc:sldLayoutMk cId="1983792988" sldId="2147484102"/>
              <ac:spMk id="23" creationId="{52EB77CF-7361-C7E7-908E-35277ACED66B}"/>
            </ac:spMkLst>
          </pc:spChg>
          <pc:spChg chg="mod">
            <ac:chgData name="Grace, Morgan (Brisbane)" userId="221d5f7b-4a46-4bd5-bdf1-698d3a91c208" providerId="ADAL" clId="{D90324C1-6CE4-4C28-B886-AED0B666B37F}" dt="2024-06-06T05:13:55.247" v="42193" actId="790"/>
            <ac:spMkLst>
              <pc:docMk/>
              <pc:sldMasterMk cId="3498525908" sldId="2147484073"/>
              <pc:sldLayoutMk cId="1983792988" sldId="2147484102"/>
              <ac:spMk id="25" creationId="{407B97C5-BDEC-DFF3-D286-14C9AA99AF26}"/>
            </ac:spMkLst>
          </pc:spChg>
          <pc:spChg chg="mod">
            <ac:chgData name="Grace, Morgan (Brisbane)" userId="221d5f7b-4a46-4bd5-bdf1-698d3a91c208" providerId="ADAL" clId="{D90324C1-6CE4-4C28-B886-AED0B666B37F}" dt="2024-06-06T05:13:55.247" v="42194" actId="790"/>
            <ac:spMkLst>
              <pc:docMk/>
              <pc:sldMasterMk cId="3498525908" sldId="2147484073"/>
              <pc:sldLayoutMk cId="1983792988" sldId="2147484102"/>
              <ac:spMk id="26" creationId="{2B0BD136-06E6-9AE9-E104-4D30932E01B3}"/>
            </ac:spMkLst>
          </pc:spChg>
          <pc:spChg chg="mod">
            <ac:chgData name="Grace, Morgan (Brisbane)" userId="221d5f7b-4a46-4bd5-bdf1-698d3a91c208" providerId="ADAL" clId="{D90324C1-6CE4-4C28-B886-AED0B666B37F}" dt="2024-06-06T05:13:55.247" v="42195" actId="790"/>
            <ac:spMkLst>
              <pc:docMk/>
              <pc:sldMasterMk cId="3498525908" sldId="2147484073"/>
              <pc:sldLayoutMk cId="1983792988" sldId="2147484102"/>
              <ac:spMk id="27" creationId="{F85AA96D-D7DA-6CF1-31D8-800C7CCA744A}"/>
            </ac:spMkLst>
          </pc:spChg>
          <pc:spChg chg="mod">
            <ac:chgData name="Grace, Morgan (Brisbane)" userId="221d5f7b-4a46-4bd5-bdf1-698d3a91c208" providerId="ADAL" clId="{D90324C1-6CE4-4C28-B886-AED0B666B37F}" dt="2024-06-06T05:13:55.247" v="42196" actId="790"/>
            <ac:spMkLst>
              <pc:docMk/>
              <pc:sldMasterMk cId="3498525908" sldId="2147484073"/>
              <pc:sldLayoutMk cId="1983792988" sldId="2147484102"/>
              <ac:spMk id="28" creationId="{4EBD6911-8C41-3E77-C5DA-24F0A286D4BE}"/>
            </ac:spMkLst>
          </pc:spChg>
          <pc:spChg chg="mod">
            <ac:chgData name="Grace, Morgan (Brisbane)" userId="221d5f7b-4a46-4bd5-bdf1-698d3a91c208" providerId="ADAL" clId="{D90324C1-6CE4-4C28-B886-AED0B666B37F}" dt="2024-06-06T05:13:55.247" v="42197" actId="790"/>
            <ac:spMkLst>
              <pc:docMk/>
              <pc:sldMasterMk cId="3498525908" sldId="2147484073"/>
              <pc:sldLayoutMk cId="1983792988" sldId="2147484102"/>
              <ac:spMk id="29" creationId="{3B2B4276-98B6-8C51-8DBB-B75AE5C31924}"/>
            </ac:spMkLst>
          </pc:spChg>
          <pc:spChg chg="mod">
            <ac:chgData name="Grace, Morgan (Brisbane)" userId="221d5f7b-4a46-4bd5-bdf1-698d3a91c208" providerId="ADAL" clId="{D90324C1-6CE4-4C28-B886-AED0B666B37F}" dt="2024-06-06T05:13:55.247" v="42198" actId="790"/>
            <ac:spMkLst>
              <pc:docMk/>
              <pc:sldMasterMk cId="3498525908" sldId="2147484073"/>
              <pc:sldLayoutMk cId="1983792988" sldId="2147484102"/>
              <ac:spMk id="30" creationId="{368511B7-2186-7F56-ECC5-F2DD812639B7}"/>
            </ac:spMkLst>
          </pc:spChg>
          <pc:spChg chg="mod">
            <ac:chgData name="Grace, Morgan (Brisbane)" userId="221d5f7b-4a46-4bd5-bdf1-698d3a91c208" providerId="ADAL" clId="{D90324C1-6CE4-4C28-B886-AED0B666B37F}" dt="2024-06-06T05:13:55.263" v="42199" actId="790"/>
            <ac:spMkLst>
              <pc:docMk/>
              <pc:sldMasterMk cId="3498525908" sldId="2147484073"/>
              <pc:sldLayoutMk cId="1983792988" sldId="2147484102"/>
              <ac:spMk id="35" creationId="{71DDB088-339B-392D-F8BF-5887983435C0}"/>
            </ac:spMkLst>
          </pc:spChg>
          <pc:spChg chg="mod">
            <ac:chgData name="Grace, Morgan (Brisbane)" userId="221d5f7b-4a46-4bd5-bdf1-698d3a91c208" providerId="ADAL" clId="{D90324C1-6CE4-4C28-B886-AED0B666B37F}" dt="2024-06-06T05:13:58.700" v="44462" actId="948"/>
            <ac:spMkLst>
              <pc:docMk/>
              <pc:sldMasterMk cId="3498525908" sldId="2147484073"/>
              <pc:sldLayoutMk cId="1983792988" sldId="2147484102"/>
              <ac:spMk id="36" creationId="{095AEABC-7843-C614-890F-378115B3157D}"/>
            </ac:spMkLst>
          </pc:spChg>
          <pc:spChg chg="mod">
            <ac:chgData name="Grace, Morgan (Brisbane)" userId="221d5f7b-4a46-4bd5-bdf1-698d3a91c208" providerId="ADAL" clId="{D90324C1-6CE4-4C28-B886-AED0B666B37F}" dt="2024-06-06T05:13:55.247" v="42190" actId="790"/>
            <ac:spMkLst>
              <pc:docMk/>
              <pc:sldMasterMk cId="3498525908" sldId="2147484073"/>
              <pc:sldLayoutMk cId="1983792988" sldId="2147484102"/>
              <ac:spMk id="47" creationId="{C6FEA296-49BA-FEB8-25EA-391A01CD97D9}"/>
            </ac:spMkLst>
          </pc:spChg>
          <pc:spChg chg="mod">
            <ac:chgData name="Grace, Morgan (Brisbane)" userId="221d5f7b-4a46-4bd5-bdf1-698d3a91c208" providerId="ADAL" clId="{D90324C1-6CE4-4C28-B886-AED0B666B37F}" dt="2024-06-06T05:13:55.263" v="42201" actId="790"/>
            <ac:spMkLst>
              <pc:docMk/>
              <pc:sldMasterMk cId="3498525908" sldId="2147484073"/>
              <pc:sldLayoutMk cId="1983792988" sldId="2147484102"/>
              <ac:spMk id="48" creationId="{ABFC5487-CCE7-F800-E124-90A7CB6A6948}"/>
            </ac:spMkLst>
          </pc:spChg>
          <pc:spChg chg="mod">
            <ac:chgData name="Grace, Morgan (Brisbane)" userId="221d5f7b-4a46-4bd5-bdf1-698d3a91c208" providerId="ADAL" clId="{D90324C1-6CE4-4C28-B886-AED0B666B37F}" dt="2024-06-06T05:13:55.263" v="42202" actId="790"/>
            <ac:spMkLst>
              <pc:docMk/>
              <pc:sldMasterMk cId="3498525908" sldId="2147484073"/>
              <pc:sldLayoutMk cId="1983792988" sldId="2147484102"/>
              <ac:spMk id="49" creationId="{80A97EAA-1C7A-E51B-20A4-0A6924633214}"/>
            </ac:spMkLst>
          </pc:spChg>
          <pc:spChg chg="mod">
            <ac:chgData name="Grace, Morgan (Brisbane)" userId="221d5f7b-4a46-4bd5-bdf1-698d3a91c208" providerId="ADAL" clId="{D90324C1-6CE4-4C28-B886-AED0B666B37F}" dt="2024-06-06T05:13:55.263" v="42203" actId="790"/>
            <ac:spMkLst>
              <pc:docMk/>
              <pc:sldMasterMk cId="3498525908" sldId="2147484073"/>
              <pc:sldLayoutMk cId="1983792988" sldId="2147484102"/>
              <ac:spMk id="50" creationId="{113B58E2-F6B9-BB1D-29F3-98ED5278A4E8}"/>
            </ac:spMkLst>
          </pc:spChg>
          <pc:graphicFrameChg chg="mod ord modVis replST">
            <ac:chgData name="Grace, Morgan (Brisbane)" userId="221d5f7b-4a46-4bd5-bdf1-698d3a91c208" providerId="ADAL" clId="{D90324C1-6CE4-4C28-B886-AED0B666B37F}" dt="2024-06-06T05:14:00.661" v="45849"/>
            <ac:graphicFrameMkLst>
              <pc:docMk/>
              <pc:sldMasterMk cId="3498525908" sldId="2147484073"/>
              <pc:sldLayoutMk cId="1983792988" sldId="2147484102"/>
              <ac:graphicFrameMk id="6" creationId="{6316C358-332A-1B89-476F-650D3FFB4124}"/>
            </ac:graphicFrameMkLst>
          </pc:graphicFrameChg>
        </pc:sldLayoutChg>
        <pc:sldLayoutChg chg="delSp modSp mod">
          <pc:chgData name="Grace, Morgan (Brisbane)" userId="221d5f7b-4a46-4bd5-bdf1-698d3a91c208" providerId="ADAL" clId="{D90324C1-6CE4-4C28-B886-AED0B666B37F}" dt="2024-06-06T05:14:00.756" v="45881"/>
          <pc:sldLayoutMkLst>
            <pc:docMk/>
            <pc:sldMasterMk cId="3498525908" sldId="2147484073"/>
            <pc:sldLayoutMk cId="3247572062" sldId="2147484103"/>
          </pc:sldLayoutMkLst>
          <pc:spChg chg="mod">
            <ac:chgData name="Grace, Morgan (Brisbane)" userId="221d5f7b-4a46-4bd5-bdf1-698d3a91c208" providerId="ADAL" clId="{D90324C1-6CE4-4C28-B886-AED0B666B37F}" dt="2024-06-06T05:13:55.379" v="42256" actId="790"/>
            <ac:spMkLst>
              <pc:docMk/>
              <pc:sldMasterMk cId="3498525908" sldId="2147484073"/>
              <pc:sldLayoutMk cId="3247572062" sldId="2147484103"/>
              <ac:spMk id="2" creationId="{A1B1CC85-B0BA-F559-127E-9916B5B793F0}"/>
            </ac:spMkLst>
          </pc:spChg>
          <pc:spChg chg="mod">
            <ac:chgData name="Grace, Morgan (Brisbane)" userId="221d5f7b-4a46-4bd5-bdf1-698d3a91c208" providerId="ADAL" clId="{D90324C1-6CE4-4C28-B886-AED0B666B37F}" dt="2024-06-06T05:13:55.363" v="42242" actId="790"/>
            <ac:spMkLst>
              <pc:docMk/>
              <pc:sldMasterMk cId="3498525908" sldId="2147484073"/>
              <pc:sldLayoutMk cId="3247572062" sldId="2147484103"/>
              <ac:spMk id="3" creationId="{24696196-7A66-286F-98AF-F5F773FC8A61}"/>
            </ac:spMkLst>
          </pc:spChg>
          <pc:spChg chg="mod">
            <ac:chgData name="Grace, Morgan (Brisbane)" userId="221d5f7b-4a46-4bd5-bdf1-698d3a91c208" providerId="ADAL" clId="{D90324C1-6CE4-4C28-B886-AED0B666B37F}" dt="2024-06-06T05:13:55.379" v="42257" actId="790"/>
            <ac:spMkLst>
              <pc:docMk/>
              <pc:sldMasterMk cId="3498525908" sldId="2147484073"/>
              <pc:sldLayoutMk cId="3247572062" sldId="2147484103"/>
              <ac:spMk id="4" creationId="{7FFA3611-8E8A-404A-3699-5877E68D5B4A}"/>
            </ac:spMkLst>
          </pc:spChg>
          <pc:spChg chg="mod">
            <ac:chgData name="Grace, Morgan (Brisbane)" userId="221d5f7b-4a46-4bd5-bdf1-698d3a91c208" providerId="ADAL" clId="{D90324C1-6CE4-4C28-B886-AED0B666B37F}" dt="2024-06-06T05:13:55.394" v="42258" actId="790"/>
            <ac:spMkLst>
              <pc:docMk/>
              <pc:sldMasterMk cId="3498525908" sldId="2147484073"/>
              <pc:sldLayoutMk cId="3247572062" sldId="2147484103"/>
              <ac:spMk id="5" creationId="{A12B0810-F52B-08EA-3569-CBB8B60A017B}"/>
            </ac:spMkLst>
          </pc:spChg>
          <pc:spChg chg="mod">
            <ac:chgData name="Grace, Morgan (Brisbane)" userId="221d5f7b-4a46-4bd5-bdf1-698d3a91c208" providerId="ADAL" clId="{D90324C1-6CE4-4C28-B886-AED0B666B37F}" dt="2024-06-06T05:13:55.394" v="42260" actId="790"/>
            <ac:spMkLst>
              <pc:docMk/>
              <pc:sldMasterMk cId="3498525908" sldId="2147484073"/>
              <pc:sldLayoutMk cId="3247572062" sldId="2147484103"/>
              <ac:spMk id="6" creationId="{F89720BD-C644-5A65-6C69-363277918D65}"/>
            </ac:spMkLst>
          </pc:spChg>
          <pc:spChg chg="mod">
            <ac:chgData name="Grace, Morgan (Brisbane)" userId="221d5f7b-4a46-4bd5-bdf1-698d3a91c208" providerId="ADAL" clId="{D90324C1-6CE4-4C28-B886-AED0B666B37F}" dt="2024-06-06T05:13:55.394" v="42259" actId="790"/>
            <ac:spMkLst>
              <pc:docMk/>
              <pc:sldMasterMk cId="3498525908" sldId="2147484073"/>
              <pc:sldLayoutMk cId="3247572062" sldId="2147484103"/>
              <ac:spMk id="7" creationId="{AE3C36D2-B460-6FDB-8ABA-50D5B3AA31ED}"/>
            </ac:spMkLst>
          </pc:spChg>
          <pc:spChg chg="mod">
            <ac:chgData name="Grace, Morgan (Brisbane)" userId="221d5f7b-4a46-4bd5-bdf1-698d3a91c208" providerId="ADAL" clId="{D90324C1-6CE4-4C28-B886-AED0B666B37F}" dt="2024-06-06T05:13:55.394" v="42261" actId="790"/>
            <ac:spMkLst>
              <pc:docMk/>
              <pc:sldMasterMk cId="3498525908" sldId="2147484073"/>
              <pc:sldLayoutMk cId="3247572062" sldId="2147484103"/>
              <ac:spMk id="8" creationId="{9F07877D-EBAA-4224-E983-0A050F2744AF}"/>
            </ac:spMkLst>
          </pc:spChg>
          <pc:spChg chg="del mod modVis">
            <ac:chgData name="Grace, Morgan (Brisbane)" userId="221d5f7b-4a46-4bd5-bdf1-698d3a91c208" providerId="ADAL" clId="{D90324C1-6CE4-4C28-B886-AED0B666B37F}" dt="2024-06-06T05:14:00.723" v="45874" actId="478"/>
            <ac:spMkLst>
              <pc:docMk/>
              <pc:sldMasterMk cId="3498525908" sldId="2147484073"/>
              <pc:sldLayoutMk cId="3247572062" sldId="2147484103"/>
              <ac:spMk id="9" creationId="{694576A4-1BB6-81A3-05A4-6D4374DA58B1}"/>
            </ac:spMkLst>
          </pc:spChg>
          <pc:spChg chg="mod">
            <ac:chgData name="Grace, Morgan (Brisbane)" userId="221d5f7b-4a46-4bd5-bdf1-698d3a91c208" providerId="ADAL" clId="{D90324C1-6CE4-4C28-B886-AED0B666B37F}" dt="2024-06-06T05:13:55.363" v="42244" actId="790"/>
            <ac:spMkLst>
              <pc:docMk/>
              <pc:sldMasterMk cId="3498525908" sldId="2147484073"/>
              <pc:sldLayoutMk cId="3247572062" sldId="2147484103"/>
              <ac:spMk id="21" creationId="{0DBAE4A4-DFC6-5707-0A97-E5A5D80FC214}"/>
            </ac:spMkLst>
          </pc:spChg>
          <pc:spChg chg="mod">
            <ac:chgData name="Grace, Morgan (Brisbane)" userId="221d5f7b-4a46-4bd5-bdf1-698d3a91c208" providerId="ADAL" clId="{D90324C1-6CE4-4C28-B886-AED0B666B37F}" dt="2024-06-06T05:13:55.363" v="42245" actId="790"/>
            <ac:spMkLst>
              <pc:docMk/>
              <pc:sldMasterMk cId="3498525908" sldId="2147484073"/>
              <pc:sldLayoutMk cId="3247572062" sldId="2147484103"/>
              <ac:spMk id="23" creationId="{52EB77CF-7361-C7E7-908E-35277ACED66B}"/>
            </ac:spMkLst>
          </pc:spChg>
          <pc:spChg chg="mod">
            <ac:chgData name="Grace, Morgan (Brisbane)" userId="221d5f7b-4a46-4bd5-bdf1-698d3a91c208" providerId="ADAL" clId="{D90324C1-6CE4-4C28-B886-AED0B666B37F}" dt="2024-06-06T05:13:55.363" v="42246" actId="790"/>
            <ac:spMkLst>
              <pc:docMk/>
              <pc:sldMasterMk cId="3498525908" sldId="2147484073"/>
              <pc:sldLayoutMk cId="3247572062" sldId="2147484103"/>
              <ac:spMk id="25" creationId="{407B97C5-BDEC-DFF3-D286-14C9AA99AF26}"/>
            </ac:spMkLst>
          </pc:spChg>
          <pc:spChg chg="mod">
            <ac:chgData name="Grace, Morgan (Brisbane)" userId="221d5f7b-4a46-4bd5-bdf1-698d3a91c208" providerId="ADAL" clId="{D90324C1-6CE4-4C28-B886-AED0B666B37F}" dt="2024-06-06T05:13:55.363" v="42247" actId="790"/>
            <ac:spMkLst>
              <pc:docMk/>
              <pc:sldMasterMk cId="3498525908" sldId="2147484073"/>
              <pc:sldLayoutMk cId="3247572062" sldId="2147484103"/>
              <ac:spMk id="26" creationId="{2B0BD136-06E6-9AE9-E104-4D30932E01B3}"/>
            </ac:spMkLst>
          </pc:spChg>
          <pc:spChg chg="mod">
            <ac:chgData name="Grace, Morgan (Brisbane)" userId="221d5f7b-4a46-4bd5-bdf1-698d3a91c208" providerId="ADAL" clId="{D90324C1-6CE4-4C28-B886-AED0B666B37F}" dt="2024-06-06T05:13:55.379" v="42248" actId="790"/>
            <ac:spMkLst>
              <pc:docMk/>
              <pc:sldMasterMk cId="3498525908" sldId="2147484073"/>
              <pc:sldLayoutMk cId="3247572062" sldId="2147484103"/>
              <ac:spMk id="27" creationId="{F85AA96D-D7DA-6CF1-31D8-800C7CCA744A}"/>
            </ac:spMkLst>
          </pc:spChg>
          <pc:spChg chg="mod">
            <ac:chgData name="Grace, Morgan (Brisbane)" userId="221d5f7b-4a46-4bd5-bdf1-698d3a91c208" providerId="ADAL" clId="{D90324C1-6CE4-4C28-B886-AED0B666B37F}" dt="2024-06-06T05:13:55.379" v="42249" actId="790"/>
            <ac:spMkLst>
              <pc:docMk/>
              <pc:sldMasterMk cId="3498525908" sldId="2147484073"/>
              <pc:sldLayoutMk cId="3247572062" sldId="2147484103"/>
              <ac:spMk id="28" creationId="{4EBD6911-8C41-3E77-C5DA-24F0A286D4BE}"/>
            </ac:spMkLst>
          </pc:spChg>
          <pc:spChg chg="mod">
            <ac:chgData name="Grace, Morgan (Brisbane)" userId="221d5f7b-4a46-4bd5-bdf1-698d3a91c208" providerId="ADAL" clId="{D90324C1-6CE4-4C28-B886-AED0B666B37F}" dt="2024-06-06T05:13:55.379" v="42250" actId="790"/>
            <ac:spMkLst>
              <pc:docMk/>
              <pc:sldMasterMk cId="3498525908" sldId="2147484073"/>
              <pc:sldLayoutMk cId="3247572062" sldId="2147484103"/>
              <ac:spMk id="29" creationId="{3B2B4276-98B6-8C51-8DBB-B75AE5C31924}"/>
            </ac:spMkLst>
          </pc:spChg>
          <pc:spChg chg="mod">
            <ac:chgData name="Grace, Morgan (Brisbane)" userId="221d5f7b-4a46-4bd5-bdf1-698d3a91c208" providerId="ADAL" clId="{D90324C1-6CE4-4C28-B886-AED0B666B37F}" dt="2024-06-06T05:13:55.379" v="42251" actId="790"/>
            <ac:spMkLst>
              <pc:docMk/>
              <pc:sldMasterMk cId="3498525908" sldId="2147484073"/>
              <pc:sldLayoutMk cId="3247572062" sldId="2147484103"/>
              <ac:spMk id="30" creationId="{368511B7-2186-7F56-ECC5-F2DD812639B7}"/>
            </ac:spMkLst>
          </pc:spChg>
          <pc:spChg chg="mod">
            <ac:chgData name="Grace, Morgan (Brisbane)" userId="221d5f7b-4a46-4bd5-bdf1-698d3a91c208" providerId="ADAL" clId="{D90324C1-6CE4-4C28-B886-AED0B666B37F}" dt="2024-06-06T05:13:58.784" v="44538" actId="948"/>
            <ac:spMkLst>
              <pc:docMk/>
              <pc:sldMasterMk cId="3498525908" sldId="2147484073"/>
              <pc:sldLayoutMk cId="3247572062" sldId="2147484103"/>
              <ac:spMk id="36" creationId="{095AEABC-7843-C614-890F-378115B3157D}"/>
            </ac:spMkLst>
          </pc:spChg>
          <pc:spChg chg="mod">
            <ac:chgData name="Grace, Morgan (Brisbane)" userId="221d5f7b-4a46-4bd5-bdf1-698d3a91c208" providerId="ADAL" clId="{D90324C1-6CE4-4C28-B886-AED0B666B37F}" dt="2024-06-06T05:13:55.363" v="42243" actId="790"/>
            <ac:spMkLst>
              <pc:docMk/>
              <pc:sldMasterMk cId="3498525908" sldId="2147484073"/>
              <pc:sldLayoutMk cId="3247572062" sldId="2147484103"/>
              <ac:spMk id="47" creationId="{C6FEA296-49BA-FEB8-25EA-391A01CD97D9}"/>
            </ac:spMkLst>
          </pc:spChg>
          <pc:spChg chg="mod">
            <ac:chgData name="Grace, Morgan (Brisbane)" userId="221d5f7b-4a46-4bd5-bdf1-698d3a91c208" providerId="ADAL" clId="{D90324C1-6CE4-4C28-B886-AED0B666B37F}" dt="2024-06-06T05:13:55.379" v="42253" actId="790"/>
            <ac:spMkLst>
              <pc:docMk/>
              <pc:sldMasterMk cId="3498525908" sldId="2147484073"/>
              <pc:sldLayoutMk cId="3247572062" sldId="2147484103"/>
              <ac:spMk id="48" creationId="{ABFC5487-CCE7-F800-E124-90A7CB6A6948}"/>
            </ac:spMkLst>
          </pc:spChg>
          <pc:spChg chg="mod">
            <ac:chgData name="Grace, Morgan (Brisbane)" userId="221d5f7b-4a46-4bd5-bdf1-698d3a91c208" providerId="ADAL" clId="{D90324C1-6CE4-4C28-B886-AED0B666B37F}" dt="2024-06-06T05:13:55.379" v="42254" actId="790"/>
            <ac:spMkLst>
              <pc:docMk/>
              <pc:sldMasterMk cId="3498525908" sldId="2147484073"/>
              <pc:sldLayoutMk cId="3247572062" sldId="2147484103"/>
              <ac:spMk id="49" creationId="{80A97EAA-1C7A-E51B-20A4-0A6924633214}"/>
            </ac:spMkLst>
          </pc:spChg>
          <pc:spChg chg="mod">
            <ac:chgData name="Grace, Morgan (Brisbane)" userId="221d5f7b-4a46-4bd5-bdf1-698d3a91c208" providerId="ADAL" clId="{D90324C1-6CE4-4C28-B886-AED0B666B37F}" dt="2024-06-06T05:13:55.379" v="42255" actId="790"/>
            <ac:spMkLst>
              <pc:docMk/>
              <pc:sldMasterMk cId="3498525908" sldId="2147484073"/>
              <pc:sldLayoutMk cId="3247572062" sldId="2147484103"/>
              <ac:spMk id="50" creationId="{113B58E2-F6B9-BB1D-29F3-98ED5278A4E8}"/>
            </ac:spMkLst>
          </pc:spChg>
          <pc:graphicFrameChg chg="mod ord modVis replST">
            <ac:chgData name="Grace, Morgan (Brisbane)" userId="221d5f7b-4a46-4bd5-bdf1-698d3a91c208" providerId="ADAL" clId="{D90324C1-6CE4-4C28-B886-AED0B666B37F}" dt="2024-06-06T05:14:00.756" v="45881"/>
            <ac:graphicFrameMkLst>
              <pc:docMk/>
              <pc:sldMasterMk cId="3498525908" sldId="2147484073"/>
              <pc:sldLayoutMk cId="3247572062" sldId="2147484103"/>
              <ac:graphicFrameMk id="10" creationId="{34940780-3D62-A3C7-DC79-A19C70C1B7F9}"/>
            </ac:graphicFrameMkLst>
          </pc:graphicFrameChg>
        </pc:sldLayoutChg>
        <pc:sldLayoutChg chg="delSp modSp mod">
          <pc:chgData name="Grace, Morgan (Brisbane)" userId="221d5f7b-4a46-4bd5-bdf1-698d3a91c208" providerId="ADAL" clId="{D90324C1-6CE4-4C28-B886-AED0B666B37F}" dt="2024-06-06T05:14:00.723" v="45873"/>
          <pc:sldLayoutMkLst>
            <pc:docMk/>
            <pc:sldMasterMk cId="3498525908" sldId="2147484073"/>
            <pc:sldLayoutMk cId="2516456448" sldId="2147484104"/>
          </pc:sldLayoutMkLst>
          <pc:spChg chg="mod">
            <ac:chgData name="Grace, Morgan (Brisbane)" userId="221d5f7b-4a46-4bd5-bdf1-698d3a91c208" providerId="ADAL" clId="{D90324C1-6CE4-4C28-B886-AED0B666B37F}" dt="2024-06-06T05:13:55.347" v="42241" actId="790"/>
            <ac:spMkLst>
              <pc:docMk/>
              <pc:sldMasterMk cId="3498525908" sldId="2147484073"/>
              <pc:sldLayoutMk cId="2516456448" sldId="2147484104"/>
              <ac:spMk id="2" creationId="{66B17907-4778-91C4-2A1F-03C8B4313EEF}"/>
            </ac:spMkLst>
          </pc:spChg>
          <pc:spChg chg="del mod modVis">
            <ac:chgData name="Grace, Morgan (Brisbane)" userId="221d5f7b-4a46-4bd5-bdf1-698d3a91c208" providerId="ADAL" clId="{D90324C1-6CE4-4C28-B886-AED0B666B37F}" dt="2024-06-06T05:14:00.708" v="45866" actId="478"/>
            <ac:spMkLst>
              <pc:docMk/>
              <pc:sldMasterMk cId="3498525908" sldId="2147484073"/>
              <pc:sldLayoutMk cId="2516456448" sldId="2147484104"/>
              <ac:spMk id="3" creationId="{B1900114-B7EA-FC40-16AA-0D471CBB5B4D}"/>
            </ac:spMkLst>
          </pc:spChg>
          <pc:spChg chg="mod">
            <ac:chgData name="Grace, Morgan (Brisbane)" userId="221d5f7b-4a46-4bd5-bdf1-698d3a91c208" providerId="ADAL" clId="{D90324C1-6CE4-4C28-B886-AED0B666B37F}" dt="2024-06-06T05:13:55.332" v="42226" actId="790"/>
            <ac:spMkLst>
              <pc:docMk/>
              <pc:sldMasterMk cId="3498525908" sldId="2147484073"/>
              <pc:sldLayoutMk cId="2516456448" sldId="2147484104"/>
              <ac:spMk id="22" creationId="{F736BBA1-3295-499B-5321-833BEADBF38D}"/>
            </ac:spMkLst>
          </pc:spChg>
          <pc:spChg chg="mod">
            <ac:chgData name="Grace, Morgan (Brisbane)" userId="221d5f7b-4a46-4bd5-bdf1-698d3a91c208" providerId="ADAL" clId="{D90324C1-6CE4-4C28-B886-AED0B666B37F}" dt="2024-06-06T05:13:55.332" v="42227" actId="790"/>
            <ac:spMkLst>
              <pc:docMk/>
              <pc:sldMasterMk cId="3498525908" sldId="2147484073"/>
              <pc:sldLayoutMk cId="2516456448" sldId="2147484104"/>
              <ac:spMk id="23" creationId="{446B2DAE-A4C5-8F56-9B66-F46E0209C47E}"/>
            </ac:spMkLst>
          </pc:spChg>
          <pc:spChg chg="mod">
            <ac:chgData name="Grace, Morgan (Brisbane)" userId="221d5f7b-4a46-4bd5-bdf1-698d3a91c208" providerId="ADAL" clId="{D90324C1-6CE4-4C28-B886-AED0B666B37F}" dt="2024-06-06T05:13:55.332" v="42228" actId="790"/>
            <ac:spMkLst>
              <pc:docMk/>
              <pc:sldMasterMk cId="3498525908" sldId="2147484073"/>
              <pc:sldLayoutMk cId="2516456448" sldId="2147484104"/>
              <ac:spMk id="24" creationId="{0B4547DF-01A8-49DB-D5D5-C6A2F7AD6AE3}"/>
            </ac:spMkLst>
          </pc:spChg>
          <pc:spChg chg="mod">
            <ac:chgData name="Grace, Morgan (Brisbane)" userId="221d5f7b-4a46-4bd5-bdf1-698d3a91c208" providerId="ADAL" clId="{D90324C1-6CE4-4C28-B886-AED0B666B37F}" dt="2024-06-06T05:13:58.769" v="44519" actId="948"/>
            <ac:spMkLst>
              <pc:docMk/>
              <pc:sldMasterMk cId="3498525908" sldId="2147484073"/>
              <pc:sldLayoutMk cId="2516456448" sldId="2147484104"/>
              <ac:spMk id="25" creationId="{8B698040-36E7-D812-A70A-DB7BFB6F9864}"/>
            </ac:spMkLst>
          </pc:spChg>
          <pc:spChg chg="mod">
            <ac:chgData name="Grace, Morgan (Brisbane)" userId="221d5f7b-4a46-4bd5-bdf1-698d3a91c208" providerId="ADAL" clId="{D90324C1-6CE4-4C28-B886-AED0B666B37F}" dt="2024-06-06T05:13:55.332" v="42230" actId="790"/>
            <ac:spMkLst>
              <pc:docMk/>
              <pc:sldMasterMk cId="3498525908" sldId="2147484073"/>
              <pc:sldLayoutMk cId="2516456448" sldId="2147484104"/>
              <ac:spMk id="26" creationId="{AF171BAD-8A9B-C0DE-051A-E8170B338C50}"/>
            </ac:spMkLst>
          </pc:spChg>
          <pc:spChg chg="mod">
            <ac:chgData name="Grace, Morgan (Brisbane)" userId="221d5f7b-4a46-4bd5-bdf1-698d3a91c208" providerId="ADAL" clId="{D90324C1-6CE4-4C28-B886-AED0B666B37F}" dt="2024-06-06T05:13:55.332" v="42231" actId="790"/>
            <ac:spMkLst>
              <pc:docMk/>
              <pc:sldMasterMk cId="3498525908" sldId="2147484073"/>
              <pc:sldLayoutMk cId="2516456448" sldId="2147484104"/>
              <ac:spMk id="27" creationId="{BFF87DF7-5526-C04E-1DBC-D275C6C2605F}"/>
            </ac:spMkLst>
          </pc:spChg>
          <pc:spChg chg="mod">
            <ac:chgData name="Grace, Morgan (Brisbane)" userId="221d5f7b-4a46-4bd5-bdf1-698d3a91c208" providerId="ADAL" clId="{D90324C1-6CE4-4C28-B886-AED0B666B37F}" dt="2024-06-06T05:13:55.332" v="42232" actId="790"/>
            <ac:spMkLst>
              <pc:docMk/>
              <pc:sldMasterMk cId="3498525908" sldId="2147484073"/>
              <pc:sldLayoutMk cId="2516456448" sldId="2147484104"/>
              <ac:spMk id="28" creationId="{AE765971-989D-95A8-8E58-5D2170320991}"/>
            </ac:spMkLst>
          </pc:spChg>
          <pc:spChg chg="mod">
            <ac:chgData name="Grace, Morgan (Brisbane)" userId="221d5f7b-4a46-4bd5-bdf1-698d3a91c208" providerId="ADAL" clId="{D90324C1-6CE4-4C28-B886-AED0B666B37F}" dt="2024-06-06T05:13:55.332" v="42233" actId="790"/>
            <ac:spMkLst>
              <pc:docMk/>
              <pc:sldMasterMk cId="3498525908" sldId="2147484073"/>
              <pc:sldLayoutMk cId="2516456448" sldId="2147484104"/>
              <ac:spMk id="29" creationId="{3534AC86-26AC-574B-048C-A1D80BC77E00}"/>
            </ac:spMkLst>
          </pc:spChg>
          <pc:spChg chg="mod">
            <ac:chgData name="Grace, Morgan (Brisbane)" userId="221d5f7b-4a46-4bd5-bdf1-698d3a91c208" providerId="ADAL" clId="{D90324C1-6CE4-4C28-B886-AED0B666B37F}" dt="2024-06-06T05:13:55.332" v="42234" actId="790"/>
            <ac:spMkLst>
              <pc:docMk/>
              <pc:sldMasterMk cId="3498525908" sldId="2147484073"/>
              <pc:sldLayoutMk cId="2516456448" sldId="2147484104"/>
              <ac:spMk id="30" creationId="{391564F8-6020-1423-1A01-7D66751A027C}"/>
            </ac:spMkLst>
          </pc:spChg>
          <pc:spChg chg="mod">
            <ac:chgData name="Grace, Morgan (Brisbane)" userId="221d5f7b-4a46-4bd5-bdf1-698d3a91c208" providerId="ADAL" clId="{D90324C1-6CE4-4C28-B886-AED0B666B37F}" dt="2024-06-06T05:13:55.332" v="42235" actId="790"/>
            <ac:spMkLst>
              <pc:docMk/>
              <pc:sldMasterMk cId="3498525908" sldId="2147484073"/>
              <pc:sldLayoutMk cId="2516456448" sldId="2147484104"/>
              <ac:spMk id="31" creationId="{92B50AA4-E16E-8D75-BC0A-1843AE5C0CD7}"/>
            </ac:spMkLst>
          </pc:spChg>
          <pc:spChg chg="mod">
            <ac:chgData name="Grace, Morgan (Brisbane)" userId="221d5f7b-4a46-4bd5-bdf1-698d3a91c208" providerId="ADAL" clId="{D90324C1-6CE4-4C28-B886-AED0B666B37F}" dt="2024-06-06T05:13:55.347" v="42236" actId="790"/>
            <ac:spMkLst>
              <pc:docMk/>
              <pc:sldMasterMk cId="3498525908" sldId="2147484073"/>
              <pc:sldLayoutMk cId="2516456448" sldId="2147484104"/>
              <ac:spMk id="32" creationId="{DEC833EC-0BAF-ABCD-9DD9-FE70B827DF2A}"/>
            </ac:spMkLst>
          </pc:spChg>
          <pc:spChg chg="mod">
            <ac:chgData name="Grace, Morgan (Brisbane)" userId="221d5f7b-4a46-4bd5-bdf1-698d3a91c208" providerId="ADAL" clId="{D90324C1-6CE4-4C28-B886-AED0B666B37F}" dt="2024-06-06T05:13:55.347" v="42237" actId="790"/>
            <ac:spMkLst>
              <pc:docMk/>
              <pc:sldMasterMk cId="3498525908" sldId="2147484073"/>
              <pc:sldLayoutMk cId="2516456448" sldId="2147484104"/>
              <ac:spMk id="43" creationId="{292E7A39-2A56-7628-8F13-4A022CB3767A}"/>
            </ac:spMkLst>
          </pc:spChg>
          <pc:spChg chg="mod">
            <ac:chgData name="Grace, Morgan (Brisbane)" userId="221d5f7b-4a46-4bd5-bdf1-698d3a91c208" providerId="ADAL" clId="{D90324C1-6CE4-4C28-B886-AED0B666B37F}" dt="2024-06-06T05:13:55.347" v="42238" actId="790"/>
            <ac:spMkLst>
              <pc:docMk/>
              <pc:sldMasterMk cId="3498525908" sldId="2147484073"/>
              <pc:sldLayoutMk cId="2516456448" sldId="2147484104"/>
              <ac:spMk id="44" creationId="{2945DEF7-3096-3A4B-63B6-49718DDF0704}"/>
            </ac:spMkLst>
          </pc:spChg>
          <pc:spChg chg="mod">
            <ac:chgData name="Grace, Morgan (Brisbane)" userId="221d5f7b-4a46-4bd5-bdf1-698d3a91c208" providerId="ADAL" clId="{D90324C1-6CE4-4C28-B886-AED0B666B37F}" dt="2024-06-06T05:13:55.347" v="42239" actId="790"/>
            <ac:spMkLst>
              <pc:docMk/>
              <pc:sldMasterMk cId="3498525908" sldId="2147484073"/>
              <pc:sldLayoutMk cId="2516456448" sldId="2147484104"/>
              <ac:spMk id="45" creationId="{248D52F2-F68B-9978-7723-88CEC35F4322}"/>
            </ac:spMkLst>
          </pc:spChg>
          <pc:spChg chg="mod">
            <ac:chgData name="Grace, Morgan (Brisbane)" userId="221d5f7b-4a46-4bd5-bdf1-698d3a91c208" providerId="ADAL" clId="{D90324C1-6CE4-4C28-B886-AED0B666B37F}" dt="2024-06-06T05:13:55.347" v="42240" actId="790"/>
            <ac:spMkLst>
              <pc:docMk/>
              <pc:sldMasterMk cId="3498525908" sldId="2147484073"/>
              <pc:sldLayoutMk cId="2516456448" sldId="2147484104"/>
              <ac:spMk id="47" creationId="{7C89A5FC-C998-3925-E069-01D9B56FFED3}"/>
            </ac:spMkLst>
          </pc:spChg>
          <pc:graphicFrameChg chg="mod ord modVis replST">
            <ac:chgData name="Grace, Morgan (Brisbane)" userId="221d5f7b-4a46-4bd5-bdf1-698d3a91c208" providerId="ADAL" clId="{D90324C1-6CE4-4C28-B886-AED0B666B37F}" dt="2024-06-06T05:14:00.723" v="45873"/>
            <ac:graphicFrameMkLst>
              <pc:docMk/>
              <pc:sldMasterMk cId="3498525908" sldId="2147484073"/>
              <pc:sldLayoutMk cId="2516456448" sldId="2147484104"/>
              <ac:graphicFrameMk id="4" creationId="{C4065D95-3609-E9B5-C097-16F93758791F}"/>
            </ac:graphicFrameMkLst>
          </pc:graphicFrameChg>
        </pc:sldLayoutChg>
        <pc:sldLayoutChg chg="delSp modSp mod">
          <pc:chgData name="Grace, Morgan (Brisbane)" userId="221d5f7b-4a46-4bd5-bdf1-698d3a91c208" providerId="ADAL" clId="{D90324C1-6CE4-4C28-B886-AED0B666B37F}" dt="2024-06-06T05:14:00.775" v="45889"/>
          <pc:sldLayoutMkLst>
            <pc:docMk/>
            <pc:sldMasterMk cId="3498525908" sldId="2147484073"/>
            <pc:sldLayoutMk cId="2640518687" sldId="2147484105"/>
          </pc:sldLayoutMkLst>
          <pc:spChg chg="mod">
            <ac:chgData name="Grace, Morgan (Brisbane)" userId="221d5f7b-4a46-4bd5-bdf1-698d3a91c208" providerId="ADAL" clId="{D90324C1-6CE4-4C28-B886-AED0B666B37F}" dt="2024-06-06T05:13:55.410" v="42269" actId="790"/>
            <ac:spMkLst>
              <pc:docMk/>
              <pc:sldMasterMk cId="3498525908" sldId="2147484073"/>
              <pc:sldLayoutMk cId="2640518687" sldId="2147484105"/>
              <ac:spMk id="2" creationId="{C8700EED-390E-3587-1DCD-E79D166EBDA9}"/>
            </ac:spMkLst>
          </pc:spChg>
          <pc:spChg chg="mod">
            <ac:chgData name="Grace, Morgan (Brisbane)" userId="221d5f7b-4a46-4bd5-bdf1-698d3a91c208" providerId="ADAL" clId="{D90324C1-6CE4-4C28-B886-AED0B666B37F}" dt="2024-06-06T05:13:55.410" v="42270" actId="790"/>
            <ac:spMkLst>
              <pc:docMk/>
              <pc:sldMasterMk cId="3498525908" sldId="2147484073"/>
              <pc:sldLayoutMk cId="2640518687" sldId="2147484105"/>
              <ac:spMk id="3" creationId="{980F77FC-3859-5388-EE8A-82214FBEE805}"/>
            </ac:spMkLst>
          </pc:spChg>
          <pc:spChg chg="mod">
            <ac:chgData name="Grace, Morgan (Brisbane)" userId="221d5f7b-4a46-4bd5-bdf1-698d3a91c208" providerId="ADAL" clId="{D90324C1-6CE4-4C28-B886-AED0B666B37F}" dt="2024-06-06T05:13:55.410" v="42271" actId="790"/>
            <ac:spMkLst>
              <pc:docMk/>
              <pc:sldMasterMk cId="3498525908" sldId="2147484073"/>
              <pc:sldLayoutMk cId="2640518687" sldId="2147484105"/>
              <ac:spMk id="4" creationId="{DDD8AB03-8A2D-9902-9691-E5F3623856E5}"/>
            </ac:spMkLst>
          </pc:spChg>
          <pc:spChg chg="mod">
            <ac:chgData name="Grace, Morgan (Brisbane)" userId="221d5f7b-4a46-4bd5-bdf1-698d3a91c208" providerId="ADAL" clId="{D90324C1-6CE4-4C28-B886-AED0B666B37F}" dt="2024-06-06T05:13:55.410" v="42263" actId="790"/>
            <ac:spMkLst>
              <pc:docMk/>
              <pc:sldMasterMk cId="3498525908" sldId="2147484073"/>
              <pc:sldLayoutMk cId="2640518687" sldId="2147484105"/>
              <ac:spMk id="5" creationId="{7453970C-EFF6-9509-6689-282030A969FE}"/>
            </ac:spMkLst>
          </pc:spChg>
          <pc:spChg chg="mod">
            <ac:chgData name="Grace, Morgan (Brisbane)" userId="221d5f7b-4a46-4bd5-bdf1-698d3a91c208" providerId="ADAL" clId="{D90324C1-6CE4-4C28-B886-AED0B666B37F}" dt="2024-06-06T05:13:55.426" v="42272" actId="790"/>
            <ac:spMkLst>
              <pc:docMk/>
              <pc:sldMasterMk cId="3498525908" sldId="2147484073"/>
              <pc:sldLayoutMk cId="2640518687" sldId="2147484105"/>
              <ac:spMk id="6" creationId="{84D2A8CF-47BD-D0DA-888A-7E27AC6BE02C}"/>
            </ac:spMkLst>
          </pc:spChg>
          <pc:spChg chg="del mod modVis">
            <ac:chgData name="Grace, Morgan (Brisbane)" userId="221d5f7b-4a46-4bd5-bdf1-698d3a91c208" providerId="ADAL" clId="{D90324C1-6CE4-4C28-B886-AED0B666B37F}" dt="2024-06-06T05:14:00.756" v="45882" actId="478"/>
            <ac:spMkLst>
              <pc:docMk/>
              <pc:sldMasterMk cId="3498525908" sldId="2147484073"/>
              <pc:sldLayoutMk cId="2640518687" sldId="2147484105"/>
              <ac:spMk id="7" creationId="{8D24C90D-7827-B588-9CFC-1060E4D529B1}"/>
            </ac:spMkLst>
          </pc:spChg>
          <pc:spChg chg="mod">
            <ac:chgData name="Grace, Morgan (Brisbane)" userId="221d5f7b-4a46-4bd5-bdf1-698d3a91c208" providerId="ADAL" clId="{D90324C1-6CE4-4C28-B886-AED0B666B37F}" dt="2024-06-06T05:13:55.426" v="42273" actId="790"/>
            <ac:spMkLst>
              <pc:docMk/>
              <pc:sldMasterMk cId="3498525908" sldId="2147484073"/>
              <pc:sldLayoutMk cId="2640518687" sldId="2147484105"/>
              <ac:spMk id="8" creationId="{A8EC073E-A6CC-55BC-2682-DD7E2EA6ECEB}"/>
            </ac:spMkLst>
          </pc:spChg>
          <pc:spChg chg="mod">
            <ac:chgData name="Grace, Morgan (Brisbane)" userId="221d5f7b-4a46-4bd5-bdf1-698d3a91c208" providerId="ADAL" clId="{D90324C1-6CE4-4C28-B886-AED0B666B37F}" dt="2024-06-06T05:13:55.426" v="42274" actId="790"/>
            <ac:spMkLst>
              <pc:docMk/>
              <pc:sldMasterMk cId="3498525908" sldId="2147484073"/>
              <pc:sldLayoutMk cId="2640518687" sldId="2147484105"/>
              <ac:spMk id="9" creationId="{3645FF2C-8DB3-C732-92BD-E5B0AF29A00A}"/>
            </ac:spMkLst>
          </pc:spChg>
          <pc:spChg chg="mod">
            <ac:chgData name="Grace, Morgan (Brisbane)" userId="221d5f7b-4a46-4bd5-bdf1-698d3a91c208" providerId="ADAL" clId="{D90324C1-6CE4-4C28-B886-AED0B666B37F}" dt="2024-06-06T05:13:55.426" v="42275" actId="790"/>
            <ac:spMkLst>
              <pc:docMk/>
              <pc:sldMasterMk cId="3498525908" sldId="2147484073"/>
              <pc:sldLayoutMk cId="2640518687" sldId="2147484105"/>
              <ac:spMk id="10" creationId="{9BEDA674-7A27-99DE-B6A2-3C3EA1FA6272}"/>
            </ac:spMkLst>
          </pc:spChg>
          <pc:spChg chg="mod">
            <ac:chgData name="Grace, Morgan (Brisbane)" userId="221d5f7b-4a46-4bd5-bdf1-698d3a91c208" providerId="ADAL" clId="{D90324C1-6CE4-4C28-B886-AED0B666B37F}" dt="2024-06-06T05:13:55.394" v="42262" actId="790"/>
            <ac:spMkLst>
              <pc:docMk/>
              <pc:sldMasterMk cId="3498525908" sldId="2147484073"/>
              <pc:sldLayoutMk cId="2640518687" sldId="2147484105"/>
              <ac:spMk id="16" creationId="{24EB68CF-FF81-A5E9-5F62-03A462D7705C}"/>
            </ac:spMkLst>
          </pc:spChg>
          <pc:spChg chg="mod">
            <ac:chgData name="Grace, Morgan (Brisbane)" userId="221d5f7b-4a46-4bd5-bdf1-698d3a91c208" providerId="ADAL" clId="{D90324C1-6CE4-4C28-B886-AED0B666B37F}" dt="2024-06-06T05:13:58.800" v="44557" actId="948"/>
            <ac:spMkLst>
              <pc:docMk/>
              <pc:sldMasterMk cId="3498525908" sldId="2147484073"/>
              <pc:sldLayoutMk cId="2640518687" sldId="2147484105"/>
              <ac:spMk id="17" creationId="{0561E3F6-9345-2C8A-137D-1A828AC863A8}"/>
            </ac:spMkLst>
          </pc:spChg>
          <pc:spChg chg="mod">
            <ac:chgData name="Grace, Morgan (Brisbane)" userId="221d5f7b-4a46-4bd5-bdf1-698d3a91c208" providerId="ADAL" clId="{D90324C1-6CE4-4C28-B886-AED0B666B37F}" dt="2024-06-06T05:13:55.410" v="42265" actId="790"/>
            <ac:spMkLst>
              <pc:docMk/>
              <pc:sldMasterMk cId="3498525908" sldId="2147484073"/>
              <pc:sldLayoutMk cId="2640518687" sldId="2147484105"/>
              <ac:spMk id="18" creationId="{13F7E2E9-9969-83C5-FA8A-E9E522D640EB}"/>
            </ac:spMkLst>
          </pc:spChg>
          <pc:spChg chg="mod">
            <ac:chgData name="Grace, Morgan (Brisbane)" userId="221d5f7b-4a46-4bd5-bdf1-698d3a91c208" providerId="ADAL" clId="{D90324C1-6CE4-4C28-B886-AED0B666B37F}" dt="2024-06-06T05:13:55.410" v="42266" actId="790"/>
            <ac:spMkLst>
              <pc:docMk/>
              <pc:sldMasterMk cId="3498525908" sldId="2147484073"/>
              <pc:sldLayoutMk cId="2640518687" sldId="2147484105"/>
              <ac:spMk id="19" creationId="{861283B9-757A-21AA-1501-B9163844BF9E}"/>
            </ac:spMkLst>
          </pc:spChg>
          <pc:spChg chg="mod">
            <ac:chgData name="Grace, Morgan (Brisbane)" userId="221d5f7b-4a46-4bd5-bdf1-698d3a91c208" providerId="ADAL" clId="{D90324C1-6CE4-4C28-B886-AED0B666B37F}" dt="2024-06-06T05:13:55.410" v="42267" actId="790"/>
            <ac:spMkLst>
              <pc:docMk/>
              <pc:sldMasterMk cId="3498525908" sldId="2147484073"/>
              <pc:sldLayoutMk cId="2640518687" sldId="2147484105"/>
              <ac:spMk id="20" creationId="{15B047DF-E513-1C77-AE58-55CF70836F08}"/>
            </ac:spMkLst>
          </pc:spChg>
          <pc:spChg chg="mod">
            <ac:chgData name="Grace, Morgan (Brisbane)" userId="221d5f7b-4a46-4bd5-bdf1-698d3a91c208" providerId="ADAL" clId="{D90324C1-6CE4-4C28-B886-AED0B666B37F}" dt="2024-06-06T05:13:55.410" v="42268" actId="790"/>
            <ac:spMkLst>
              <pc:docMk/>
              <pc:sldMasterMk cId="3498525908" sldId="2147484073"/>
              <pc:sldLayoutMk cId="2640518687" sldId="2147484105"/>
              <ac:spMk id="27" creationId="{E496E75B-3909-08C3-E4F2-0C1046192758}"/>
            </ac:spMkLst>
          </pc:spChg>
          <pc:graphicFrameChg chg="mod ord modVis replST">
            <ac:chgData name="Grace, Morgan (Brisbane)" userId="221d5f7b-4a46-4bd5-bdf1-698d3a91c208" providerId="ADAL" clId="{D90324C1-6CE4-4C28-B886-AED0B666B37F}" dt="2024-06-06T05:14:00.775" v="45889"/>
            <ac:graphicFrameMkLst>
              <pc:docMk/>
              <pc:sldMasterMk cId="3498525908" sldId="2147484073"/>
              <pc:sldLayoutMk cId="2640518687" sldId="2147484105"/>
              <ac:graphicFrameMk id="11" creationId="{78E328A4-07B5-765E-F0B9-7A337BDBB7BB}"/>
            </ac:graphicFrameMkLst>
          </pc:graphicFrameChg>
        </pc:sldLayoutChg>
        <pc:sldLayoutChg chg="delSp modSp mod">
          <pc:chgData name="Grace, Morgan (Brisbane)" userId="221d5f7b-4a46-4bd5-bdf1-698d3a91c208" providerId="ADAL" clId="{D90324C1-6CE4-4C28-B886-AED0B666B37F}" dt="2024-06-06T05:14:00.790" v="45897"/>
          <pc:sldLayoutMkLst>
            <pc:docMk/>
            <pc:sldMasterMk cId="3498525908" sldId="2147484073"/>
            <pc:sldLayoutMk cId="3073670124" sldId="2147484106"/>
          </pc:sldLayoutMkLst>
          <pc:spChg chg="mod">
            <ac:chgData name="Grace, Morgan (Brisbane)" userId="221d5f7b-4a46-4bd5-bdf1-698d3a91c208" providerId="ADAL" clId="{D90324C1-6CE4-4C28-B886-AED0B666B37F}" dt="2024-06-06T05:13:55.432" v="42282" actId="790"/>
            <ac:spMkLst>
              <pc:docMk/>
              <pc:sldMasterMk cId="3498525908" sldId="2147484073"/>
              <pc:sldLayoutMk cId="3073670124" sldId="2147484106"/>
              <ac:spMk id="2" creationId="{B4A34CF7-D987-0703-F4E1-42024A705E86}"/>
            </ac:spMkLst>
          </pc:spChg>
          <pc:spChg chg="mod">
            <ac:chgData name="Grace, Morgan (Brisbane)" userId="221d5f7b-4a46-4bd5-bdf1-698d3a91c208" providerId="ADAL" clId="{D90324C1-6CE4-4C28-B886-AED0B666B37F}" dt="2024-06-06T05:13:55.432" v="42281" actId="790"/>
            <ac:spMkLst>
              <pc:docMk/>
              <pc:sldMasterMk cId="3498525908" sldId="2147484073"/>
              <pc:sldLayoutMk cId="3073670124" sldId="2147484106"/>
              <ac:spMk id="3" creationId="{799F4C8D-5C9B-92DC-69A5-DAAAA37BEC0D}"/>
            </ac:spMkLst>
          </pc:spChg>
          <pc:spChg chg="del mod modVis">
            <ac:chgData name="Grace, Morgan (Brisbane)" userId="221d5f7b-4a46-4bd5-bdf1-698d3a91c208" providerId="ADAL" clId="{D90324C1-6CE4-4C28-B886-AED0B666B37F}" dt="2024-06-06T05:14:00.775" v="45890" actId="478"/>
            <ac:spMkLst>
              <pc:docMk/>
              <pc:sldMasterMk cId="3498525908" sldId="2147484073"/>
              <pc:sldLayoutMk cId="3073670124" sldId="2147484106"/>
              <ac:spMk id="4" creationId="{B9F684AA-1FD2-6486-AFC9-3A05FC2D4C18}"/>
            </ac:spMkLst>
          </pc:spChg>
          <pc:spChg chg="mod">
            <ac:chgData name="Grace, Morgan (Brisbane)" userId="221d5f7b-4a46-4bd5-bdf1-698d3a91c208" providerId="ADAL" clId="{D90324C1-6CE4-4C28-B886-AED0B666B37F}" dt="2024-06-06T05:13:55.432" v="42276" actId="790"/>
            <ac:spMkLst>
              <pc:docMk/>
              <pc:sldMasterMk cId="3498525908" sldId="2147484073"/>
              <pc:sldLayoutMk cId="3073670124" sldId="2147484106"/>
              <ac:spMk id="14" creationId="{8F970301-FA5C-0A4B-0B73-451BFDEEC013}"/>
            </ac:spMkLst>
          </pc:spChg>
          <pc:spChg chg="mod">
            <ac:chgData name="Grace, Morgan (Brisbane)" userId="221d5f7b-4a46-4bd5-bdf1-698d3a91c208" providerId="ADAL" clId="{D90324C1-6CE4-4C28-B886-AED0B666B37F}" dt="2024-06-06T05:13:55.432" v="42277" actId="790"/>
            <ac:spMkLst>
              <pc:docMk/>
              <pc:sldMasterMk cId="3498525908" sldId="2147484073"/>
              <pc:sldLayoutMk cId="3073670124" sldId="2147484106"/>
              <ac:spMk id="19" creationId="{A9CFC6C9-C62A-CC26-70BD-537BBF72D808}"/>
            </ac:spMkLst>
          </pc:spChg>
          <pc:spChg chg="mod">
            <ac:chgData name="Grace, Morgan (Brisbane)" userId="221d5f7b-4a46-4bd5-bdf1-698d3a91c208" providerId="ADAL" clId="{D90324C1-6CE4-4C28-B886-AED0B666B37F}" dt="2024-06-06T05:13:58.831" v="44576" actId="948"/>
            <ac:spMkLst>
              <pc:docMk/>
              <pc:sldMasterMk cId="3498525908" sldId="2147484073"/>
              <pc:sldLayoutMk cId="3073670124" sldId="2147484106"/>
              <ac:spMk id="20" creationId="{F88A6875-0FBC-CC77-347C-147D5F108984}"/>
            </ac:spMkLst>
          </pc:spChg>
          <pc:spChg chg="mod">
            <ac:chgData name="Grace, Morgan (Brisbane)" userId="221d5f7b-4a46-4bd5-bdf1-698d3a91c208" providerId="ADAL" clId="{D90324C1-6CE4-4C28-B886-AED0B666B37F}" dt="2024-06-06T05:13:55.432" v="42279" actId="790"/>
            <ac:spMkLst>
              <pc:docMk/>
              <pc:sldMasterMk cId="3498525908" sldId="2147484073"/>
              <pc:sldLayoutMk cId="3073670124" sldId="2147484106"/>
              <ac:spMk id="22" creationId="{F00A4892-4AA7-6667-62F5-2CD51FF8E2C4}"/>
            </ac:spMkLst>
          </pc:spChg>
          <pc:spChg chg="mod">
            <ac:chgData name="Grace, Morgan (Brisbane)" userId="221d5f7b-4a46-4bd5-bdf1-698d3a91c208" providerId="ADAL" clId="{D90324C1-6CE4-4C28-B886-AED0B666B37F}" dt="2024-06-06T05:13:55.432" v="42280" actId="790"/>
            <ac:spMkLst>
              <pc:docMk/>
              <pc:sldMasterMk cId="3498525908" sldId="2147484073"/>
              <pc:sldLayoutMk cId="3073670124" sldId="2147484106"/>
              <ac:spMk id="24" creationId="{2ECB6C72-6BBC-8CCA-F8E5-DCB63EFE24FB}"/>
            </ac:spMkLst>
          </pc:spChg>
          <pc:graphicFrameChg chg="mod ord modVis replST">
            <ac:chgData name="Grace, Morgan (Brisbane)" userId="221d5f7b-4a46-4bd5-bdf1-698d3a91c208" providerId="ADAL" clId="{D90324C1-6CE4-4C28-B886-AED0B666B37F}" dt="2024-06-06T05:14:00.790" v="45897"/>
            <ac:graphicFrameMkLst>
              <pc:docMk/>
              <pc:sldMasterMk cId="3498525908" sldId="2147484073"/>
              <pc:sldLayoutMk cId="3073670124" sldId="2147484106"/>
              <ac:graphicFrameMk id="5" creationId="{8E7F6247-2684-E256-E58D-10863E1A4DF2}"/>
            </ac:graphicFrameMkLst>
          </pc:graphicFrameChg>
        </pc:sldLayoutChg>
        <pc:sldLayoutChg chg="delSp modSp mod">
          <pc:chgData name="Grace, Morgan (Brisbane)" userId="221d5f7b-4a46-4bd5-bdf1-698d3a91c208" providerId="ADAL" clId="{D90324C1-6CE4-4C28-B886-AED0B666B37F}" dt="2024-06-06T05:14:00.822" v="45905"/>
          <pc:sldLayoutMkLst>
            <pc:docMk/>
            <pc:sldMasterMk cId="3498525908" sldId="2147484073"/>
            <pc:sldLayoutMk cId="1402207548" sldId="2147484107"/>
          </pc:sldLayoutMkLst>
          <pc:spChg chg="mod">
            <ac:chgData name="Grace, Morgan (Brisbane)" userId="221d5f7b-4a46-4bd5-bdf1-698d3a91c208" providerId="ADAL" clId="{D90324C1-6CE4-4C28-B886-AED0B666B37F}" dt="2024-06-06T05:13:55.463" v="42292" actId="790"/>
            <ac:spMkLst>
              <pc:docMk/>
              <pc:sldMasterMk cId="3498525908" sldId="2147484073"/>
              <pc:sldLayoutMk cId="1402207548" sldId="2147484107"/>
              <ac:spMk id="2" creationId="{AEDB745A-7335-C12A-5FEA-1EFFDBE16E70}"/>
            </ac:spMkLst>
          </pc:spChg>
          <pc:spChg chg="mod">
            <ac:chgData name="Grace, Morgan (Brisbane)" userId="221d5f7b-4a46-4bd5-bdf1-698d3a91c208" providerId="ADAL" clId="{D90324C1-6CE4-4C28-B886-AED0B666B37F}" dt="2024-06-06T05:13:55.463" v="42289" actId="790"/>
            <ac:spMkLst>
              <pc:docMk/>
              <pc:sldMasterMk cId="3498525908" sldId="2147484073"/>
              <pc:sldLayoutMk cId="1402207548" sldId="2147484107"/>
              <ac:spMk id="3" creationId="{B9449E92-D319-CEFD-E2FA-4C7DD890909A}"/>
            </ac:spMkLst>
          </pc:spChg>
          <pc:spChg chg="del mod modVis">
            <ac:chgData name="Grace, Morgan (Brisbane)" userId="221d5f7b-4a46-4bd5-bdf1-698d3a91c208" providerId="ADAL" clId="{D90324C1-6CE4-4C28-B886-AED0B666B37F}" dt="2024-06-06T05:14:00.790" v="45898" actId="478"/>
            <ac:spMkLst>
              <pc:docMk/>
              <pc:sldMasterMk cId="3498525908" sldId="2147484073"/>
              <pc:sldLayoutMk cId="1402207548" sldId="2147484107"/>
              <ac:spMk id="4" creationId="{D00FE03E-352F-06FD-C973-F73DE96B523A}"/>
            </ac:spMkLst>
          </pc:spChg>
          <pc:spChg chg="mod">
            <ac:chgData name="Grace, Morgan (Brisbane)" userId="221d5f7b-4a46-4bd5-bdf1-698d3a91c208" providerId="ADAL" clId="{D90324C1-6CE4-4C28-B886-AED0B666B37F}" dt="2024-06-06T05:13:55.463" v="42290" actId="790"/>
            <ac:spMkLst>
              <pc:docMk/>
              <pc:sldMasterMk cId="3498525908" sldId="2147484073"/>
              <pc:sldLayoutMk cId="1402207548" sldId="2147484107"/>
              <ac:spMk id="5" creationId="{20747242-630C-8CE7-B5EE-9930D7AB1AF7}"/>
            </ac:spMkLst>
          </pc:spChg>
          <pc:spChg chg="mod">
            <ac:chgData name="Grace, Morgan (Brisbane)" userId="221d5f7b-4a46-4bd5-bdf1-698d3a91c208" providerId="ADAL" clId="{D90324C1-6CE4-4C28-B886-AED0B666B37F}" dt="2024-06-06T05:13:55.463" v="42291" actId="790"/>
            <ac:spMkLst>
              <pc:docMk/>
              <pc:sldMasterMk cId="3498525908" sldId="2147484073"/>
              <pc:sldLayoutMk cId="1402207548" sldId="2147484107"/>
              <ac:spMk id="6" creationId="{D0301885-EDF4-6A20-0123-0AF859687F96}"/>
            </ac:spMkLst>
          </pc:spChg>
          <pc:spChg chg="mod">
            <ac:chgData name="Grace, Morgan (Brisbane)" userId="221d5f7b-4a46-4bd5-bdf1-698d3a91c208" providerId="ADAL" clId="{D90324C1-6CE4-4C28-B886-AED0B666B37F}" dt="2024-06-06T05:13:55.448" v="42285" actId="790"/>
            <ac:spMkLst>
              <pc:docMk/>
              <pc:sldMasterMk cId="3498525908" sldId="2147484073"/>
              <pc:sldLayoutMk cId="1402207548" sldId="2147484107"/>
              <ac:spMk id="10" creationId="{8D8C1C73-2121-FF84-2A41-0CB9DFB87903}"/>
            </ac:spMkLst>
          </pc:spChg>
          <pc:spChg chg="mod">
            <ac:chgData name="Grace, Morgan (Brisbane)" userId="221d5f7b-4a46-4bd5-bdf1-698d3a91c208" providerId="ADAL" clId="{D90324C1-6CE4-4C28-B886-AED0B666B37F}" dt="2024-06-06T05:13:58.853" v="44595" actId="948"/>
            <ac:spMkLst>
              <pc:docMk/>
              <pc:sldMasterMk cId="3498525908" sldId="2147484073"/>
              <pc:sldLayoutMk cId="1402207548" sldId="2147484107"/>
              <ac:spMk id="11" creationId="{5CAE3EB7-3C07-2787-982D-CA64F152EDE1}"/>
            </ac:spMkLst>
          </pc:spChg>
          <pc:spChg chg="mod">
            <ac:chgData name="Grace, Morgan (Brisbane)" userId="221d5f7b-4a46-4bd5-bdf1-698d3a91c208" providerId="ADAL" clId="{D90324C1-6CE4-4C28-B886-AED0B666B37F}" dt="2024-06-06T05:13:55.448" v="42287" actId="790"/>
            <ac:spMkLst>
              <pc:docMk/>
              <pc:sldMasterMk cId="3498525908" sldId="2147484073"/>
              <pc:sldLayoutMk cId="1402207548" sldId="2147484107"/>
              <ac:spMk id="13" creationId="{EFA40398-951E-96D6-620E-7251AD08FA36}"/>
            </ac:spMkLst>
          </pc:spChg>
          <pc:spChg chg="mod">
            <ac:chgData name="Grace, Morgan (Brisbane)" userId="221d5f7b-4a46-4bd5-bdf1-698d3a91c208" providerId="ADAL" clId="{D90324C1-6CE4-4C28-B886-AED0B666B37F}" dt="2024-06-06T05:13:55.448" v="42283" actId="790"/>
            <ac:spMkLst>
              <pc:docMk/>
              <pc:sldMasterMk cId="3498525908" sldId="2147484073"/>
              <pc:sldLayoutMk cId="1402207548" sldId="2147484107"/>
              <ac:spMk id="14" creationId="{8F970301-FA5C-0A4B-0B73-451BFDEEC013}"/>
            </ac:spMkLst>
          </pc:spChg>
          <pc:spChg chg="mod">
            <ac:chgData name="Grace, Morgan (Brisbane)" userId="221d5f7b-4a46-4bd5-bdf1-698d3a91c208" providerId="ADAL" clId="{D90324C1-6CE4-4C28-B886-AED0B666B37F}" dt="2024-06-06T05:13:55.448" v="42284" actId="790"/>
            <ac:spMkLst>
              <pc:docMk/>
              <pc:sldMasterMk cId="3498525908" sldId="2147484073"/>
              <pc:sldLayoutMk cId="1402207548" sldId="2147484107"/>
              <ac:spMk id="15" creationId="{1F8DCCCB-878C-18F9-22B8-1D026E345AD4}"/>
            </ac:spMkLst>
          </pc:spChg>
          <pc:spChg chg="mod">
            <ac:chgData name="Grace, Morgan (Brisbane)" userId="221d5f7b-4a46-4bd5-bdf1-698d3a91c208" providerId="ADAL" clId="{D90324C1-6CE4-4C28-B886-AED0B666B37F}" dt="2024-06-06T05:13:55.448" v="42288" actId="790"/>
            <ac:spMkLst>
              <pc:docMk/>
              <pc:sldMasterMk cId="3498525908" sldId="2147484073"/>
              <pc:sldLayoutMk cId="1402207548" sldId="2147484107"/>
              <ac:spMk id="18" creationId="{F9723B3C-A63C-56B5-0AF6-3DE94CE204CD}"/>
            </ac:spMkLst>
          </pc:spChg>
          <pc:graphicFrameChg chg="mod ord modVis replST">
            <ac:chgData name="Grace, Morgan (Brisbane)" userId="221d5f7b-4a46-4bd5-bdf1-698d3a91c208" providerId="ADAL" clId="{D90324C1-6CE4-4C28-B886-AED0B666B37F}" dt="2024-06-06T05:14:00.822" v="45905"/>
            <ac:graphicFrameMkLst>
              <pc:docMk/>
              <pc:sldMasterMk cId="3498525908" sldId="2147484073"/>
              <pc:sldLayoutMk cId="1402207548" sldId="2147484107"/>
              <ac:graphicFrameMk id="7" creationId="{FBF03018-3A4A-45A9-FC51-7DCECCB929E8}"/>
            </ac:graphicFrameMkLst>
          </pc:graphicFrameChg>
        </pc:sldLayoutChg>
        <pc:sldLayoutChg chg="delSp modSp mod">
          <pc:chgData name="Grace, Morgan (Brisbane)" userId="221d5f7b-4a46-4bd5-bdf1-698d3a91c208" providerId="ADAL" clId="{D90324C1-6CE4-4C28-B886-AED0B666B37F}" dt="2024-06-06T05:14:00.841" v="45913"/>
          <pc:sldLayoutMkLst>
            <pc:docMk/>
            <pc:sldMasterMk cId="3498525908" sldId="2147484073"/>
            <pc:sldLayoutMk cId="1840693168" sldId="2147484108"/>
          </pc:sldLayoutMkLst>
          <pc:spChg chg="mod">
            <ac:chgData name="Grace, Morgan (Brisbane)" userId="221d5f7b-4a46-4bd5-bdf1-698d3a91c208" providerId="ADAL" clId="{D90324C1-6CE4-4C28-B886-AED0B666B37F}" dt="2024-06-06T05:13:55.499" v="42305" actId="790"/>
            <ac:spMkLst>
              <pc:docMk/>
              <pc:sldMasterMk cId="3498525908" sldId="2147484073"/>
              <pc:sldLayoutMk cId="1840693168" sldId="2147484108"/>
              <ac:spMk id="2" creationId="{436B6C50-DEB3-31C1-3254-5AEAE35D81E2}"/>
            </ac:spMkLst>
          </pc:spChg>
          <pc:spChg chg="mod">
            <ac:chgData name="Grace, Morgan (Brisbane)" userId="221d5f7b-4a46-4bd5-bdf1-698d3a91c208" providerId="ADAL" clId="{D90324C1-6CE4-4C28-B886-AED0B666B37F}" dt="2024-06-06T05:13:58.869" v="44614" actId="948"/>
            <ac:spMkLst>
              <pc:docMk/>
              <pc:sldMasterMk cId="3498525908" sldId="2147484073"/>
              <pc:sldLayoutMk cId="1840693168" sldId="2147484108"/>
              <ac:spMk id="3" creationId="{08C583AF-FCB1-EF5C-A072-1F2C738F06EC}"/>
            </ac:spMkLst>
          </pc:spChg>
          <pc:spChg chg="mod">
            <ac:chgData name="Grace, Morgan (Brisbane)" userId="221d5f7b-4a46-4bd5-bdf1-698d3a91c208" providerId="ADAL" clId="{D90324C1-6CE4-4C28-B886-AED0B666B37F}" dt="2024-06-06T05:13:55.479" v="42298" actId="790"/>
            <ac:spMkLst>
              <pc:docMk/>
              <pc:sldMasterMk cId="3498525908" sldId="2147484073"/>
              <pc:sldLayoutMk cId="1840693168" sldId="2147484108"/>
              <ac:spMk id="4" creationId="{C874A606-D1C1-4C84-C1B3-3F2406208BDD}"/>
            </ac:spMkLst>
          </pc:spChg>
          <pc:spChg chg="mod">
            <ac:chgData name="Grace, Morgan (Brisbane)" userId="221d5f7b-4a46-4bd5-bdf1-698d3a91c208" providerId="ADAL" clId="{D90324C1-6CE4-4C28-B886-AED0B666B37F}" dt="2024-06-06T05:13:55.479" v="42296" actId="790"/>
            <ac:spMkLst>
              <pc:docMk/>
              <pc:sldMasterMk cId="3498525908" sldId="2147484073"/>
              <pc:sldLayoutMk cId="1840693168" sldId="2147484108"/>
              <ac:spMk id="5" creationId="{7453970C-EFF6-9509-6689-282030A969FE}"/>
            </ac:spMkLst>
          </pc:spChg>
          <pc:spChg chg="del mod modVis">
            <ac:chgData name="Grace, Morgan (Brisbane)" userId="221d5f7b-4a46-4bd5-bdf1-698d3a91c208" providerId="ADAL" clId="{D90324C1-6CE4-4C28-B886-AED0B666B37F}" dt="2024-06-06T05:14:00.822" v="45906" actId="478"/>
            <ac:spMkLst>
              <pc:docMk/>
              <pc:sldMasterMk cId="3498525908" sldId="2147484073"/>
              <pc:sldLayoutMk cId="1840693168" sldId="2147484108"/>
              <ac:spMk id="6" creationId="{FEAC2F7E-608A-50B3-C65F-A3B2CE82AEFC}"/>
            </ac:spMkLst>
          </pc:spChg>
          <pc:spChg chg="mod">
            <ac:chgData name="Grace, Morgan (Brisbane)" userId="221d5f7b-4a46-4bd5-bdf1-698d3a91c208" providerId="ADAL" clId="{D90324C1-6CE4-4C28-B886-AED0B666B37F}" dt="2024-06-06T05:13:55.479" v="42299" actId="790"/>
            <ac:spMkLst>
              <pc:docMk/>
              <pc:sldMasterMk cId="3498525908" sldId="2147484073"/>
              <pc:sldLayoutMk cId="1840693168" sldId="2147484108"/>
              <ac:spMk id="15" creationId="{64EBF1A0-DF51-3F65-987A-8E5F3A00E19E}"/>
            </ac:spMkLst>
          </pc:spChg>
          <pc:spChg chg="mod">
            <ac:chgData name="Grace, Morgan (Brisbane)" userId="221d5f7b-4a46-4bd5-bdf1-698d3a91c208" providerId="ADAL" clId="{D90324C1-6CE4-4C28-B886-AED0B666B37F}" dt="2024-06-06T05:13:55.463" v="42293" actId="790"/>
            <ac:spMkLst>
              <pc:docMk/>
              <pc:sldMasterMk cId="3498525908" sldId="2147484073"/>
              <pc:sldLayoutMk cId="1840693168" sldId="2147484108"/>
              <ac:spMk id="20" creationId="{28FD0D24-7A3F-A975-796C-7DC4E4A67ECC}"/>
            </ac:spMkLst>
          </pc:spChg>
          <pc:spChg chg="mod">
            <ac:chgData name="Grace, Morgan (Brisbane)" userId="221d5f7b-4a46-4bd5-bdf1-698d3a91c208" providerId="ADAL" clId="{D90324C1-6CE4-4C28-B886-AED0B666B37F}" dt="2024-06-06T05:13:55.479" v="42300" actId="790"/>
            <ac:spMkLst>
              <pc:docMk/>
              <pc:sldMasterMk cId="3498525908" sldId="2147484073"/>
              <pc:sldLayoutMk cId="1840693168" sldId="2147484108"/>
              <ac:spMk id="23" creationId="{A1B65F7D-96D0-0090-557F-256FEBD7AEA7}"/>
            </ac:spMkLst>
          </pc:spChg>
          <pc:spChg chg="mod">
            <ac:chgData name="Grace, Morgan (Brisbane)" userId="221d5f7b-4a46-4bd5-bdf1-698d3a91c208" providerId="ADAL" clId="{D90324C1-6CE4-4C28-B886-AED0B666B37F}" dt="2024-06-06T05:13:55.479" v="42301" actId="790"/>
            <ac:spMkLst>
              <pc:docMk/>
              <pc:sldMasterMk cId="3498525908" sldId="2147484073"/>
              <pc:sldLayoutMk cId="1840693168" sldId="2147484108"/>
              <ac:spMk id="26" creationId="{F40A974B-46B8-D25E-4009-3560074DC4E1}"/>
            </ac:spMkLst>
          </pc:spChg>
          <pc:spChg chg="mod">
            <ac:chgData name="Grace, Morgan (Brisbane)" userId="221d5f7b-4a46-4bd5-bdf1-698d3a91c208" providerId="ADAL" clId="{D90324C1-6CE4-4C28-B886-AED0B666B37F}" dt="2024-06-06T05:13:55.479" v="42294" actId="790"/>
            <ac:spMkLst>
              <pc:docMk/>
              <pc:sldMasterMk cId="3498525908" sldId="2147484073"/>
              <pc:sldLayoutMk cId="1840693168" sldId="2147484108"/>
              <ac:spMk id="28" creationId="{6C69DDB1-DC40-5B35-9AFC-7CB46D6D1F2F}"/>
            </ac:spMkLst>
          </pc:spChg>
          <pc:spChg chg="mod">
            <ac:chgData name="Grace, Morgan (Brisbane)" userId="221d5f7b-4a46-4bd5-bdf1-698d3a91c208" providerId="ADAL" clId="{D90324C1-6CE4-4C28-B886-AED0B666B37F}" dt="2024-06-06T05:13:55.479" v="42295" actId="790"/>
            <ac:spMkLst>
              <pc:docMk/>
              <pc:sldMasterMk cId="3498525908" sldId="2147484073"/>
              <pc:sldLayoutMk cId="1840693168" sldId="2147484108"/>
              <ac:spMk id="29" creationId="{CD2C53CE-1CFC-4199-0622-E9D2E14AA814}"/>
            </ac:spMkLst>
          </pc:spChg>
          <pc:spChg chg="mod">
            <ac:chgData name="Grace, Morgan (Brisbane)" userId="221d5f7b-4a46-4bd5-bdf1-698d3a91c208" providerId="ADAL" clId="{D90324C1-6CE4-4C28-B886-AED0B666B37F}" dt="2024-06-06T05:13:55.479" v="42302" actId="790"/>
            <ac:spMkLst>
              <pc:docMk/>
              <pc:sldMasterMk cId="3498525908" sldId="2147484073"/>
              <pc:sldLayoutMk cId="1840693168" sldId="2147484108"/>
              <ac:spMk id="30" creationId="{783E21B4-314C-1D28-DCC4-BA2C395635BB}"/>
            </ac:spMkLst>
          </pc:spChg>
          <pc:spChg chg="mod">
            <ac:chgData name="Grace, Morgan (Brisbane)" userId="221d5f7b-4a46-4bd5-bdf1-698d3a91c208" providerId="ADAL" clId="{D90324C1-6CE4-4C28-B886-AED0B666B37F}" dt="2024-06-06T05:13:55.496" v="42303" actId="790"/>
            <ac:spMkLst>
              <pc:docMk/>
              <pc:sldMasterMk cId="3498525908" sldId="2147484073"/>
              <pc:sldLayoutMk cId="1840693168" sldId="2147484108"/>
              <ac:spMk id="32" creationId="{24612F21-BDCC-4F3E-9686-4405C846C4AE}"/>
            </ac:spMkLst>
          </pc:spChg>
          <pc:spChg chg="mod">
            <ac:chgData name="Grace, Morgan (Brisbane)" userId="221d5f7b-4a46-4bd5-bdf1-698d3a91c208" providerId="ADAL" clId="{D90324C1-6CE4-4C28-B886-AED0B666B37F}" dt="2024-06-06T05:13:55.497" v="42304" actId="790"/>
            <ac:spMkLst>
              <pc:docMk/>
              <pc:sldMasterMk cId="3498525908" sldId="2147484073"/>
              <pc:sldLayoutMk cId="1840693168" sldId="2147484108"/>
              <ac:spMk id="33" creationId="{BFAEFF88-90E2-65EF-1ED7-F91016064A77}"/>
            </ac:spMkLst>
          </pc:spChg>
          <pc:graphicFrameChg chg="mod ord modVis replST">
            <ac:chgData name="Grace, Morgan (Brisbane)" userId="221d5f7b-4a46-4bd5-bdf1-698d3a91c208" providerId="ADAL" clId="{D90324C1-6CE4-4C28-B886-AED0B666B37F}" dt="2024-06-06T05:14:00.841" v="45913"/>
            <ac:graphicFrameMkLst>
              <pc:docMk/>
              <pc:sldMasterMk cId="3498525908" sldId="2147484073"/>
              <pc:sldLayoutMk cId="1840693168" sldId="2147484108"/>
              <ac:graphicFrameMk id="7" creationId="{9B76F9CE-B545-D6D7-151B-69881BF08770}"/>
            </ac:graphicFrameMkLst>
          </pc:graphicFrameChg>
        </pc:sldLayoutChg>
        <pc:sldLayoutChg chg="delSp modSp mod">
          <pc:chgData name="Grace, Morgan (Brisbane)" userId="221d5f7b-4a46-4bd5-bdf1-698d3a91c208" providerId="ADAL" clId="{D90324C1-6CE4-4C28-B886-AED0B666B37F}" dt="2024-06-06T05:14:00.856" v="45921"/>
          <pc:sldLayoutMkLst>
            <pc:docMk/>
            <pc:sldMasterMk cId="3498525908" sldId="2147484073"/>
            <pc:sldLayoutMk cId="2084360697" sldId="2147484109"/>
          </pc:sldLayoutMkLst>
          <pc:spChg chg="mod">
            <ac:chgData name="Grace, Morgan (Brisbane)" userId="221d5f7b-4a46-4bd5-bdf1-698d3a91c208" providerId="ADAL" clId="{D90324C1-6CE4-4C28-B886-AED0B666B37F}" dt="2024-06-06T05:13:55.519" v="42314" actId="790"/>
            <ac:spMkLst>
              <pc:docMk/>
              <pc:sldMasterMk cId="3498525908" sldId="2147484073"/>
              <pc:sldLayoutMk cId="2084360697" sldId="2147484109"/>
              <ac:spMk id="2" creationId="{63416F86-CAA7-96B0-F3E4-7C2C6126548D}"/>
            </ac:spMkLst>
          </pc:spChg>
          <pc:spChg chg="mod">
            <ac:chgData name="Grace, Morgan (Brisbane)" userId="221d5f7b-4a46-4bd5-bdf1-698d3a91c208" providerId="ADAL" clId="{D90324C1-6CE4-4C28-B886-AED0B666B37F}" dt="2024-06-06T05:13:55.509" v="42308" actId="947"/>
            <ac:spMkLst>
              <pc:docMk/>
              <pc:sldMasterMk cId="3498525908" sldId="2147484073"/>
              <pc:sldLayoutMk cId="2084360697" sldId="2147484109"/>
              <ac:spMk id="3" creationId="{79C32985-355F-A341-C1AC-08B56A46CDEB}"/>
            </ac:spMkLst>
          </pc:spChg>
          <pc:spChg chg="del mod modVis">
            <ac:chgData name="Grace, Morgan (Brisbane)" userId="221d5f7b-4a46-4bd5-bdf1-698d3a91c208" providerId="ADAL" clId="{D90324C1-6CE4-4C28-B886-AED0B666B37F}" dt="2024-06-06T05:14:00.841" v="45914" actId="478"/>
            <ac:spMkLst>
              <pc:docMk/>
              <pc:sldMasterMk cId="3498525908" sldId="2147484073"/>
              <pc:sldLayoutMk cId="2084360697" sldId="2147484109"/>
              <ac:spMk id="4" creationId="{9516E775-BF83-4D80-5940-A503DF3F39B0}"/>
            </ac:spMkLst>
          </pc:spChg>
          <pc:spChg chg="mod">
            <ac:chgData name="Grace, Morgan (Brisbane)" userId="221d5f7b-4a46-4bd5-bdf1-698d3a91c208" providerId="ADAL" clId="{D90324C1-6CE4-4C28-B886-AED0B666B37F}" dt="2024-06-06T05:13:55.506" v="42306" actId="790"/>
            <ac:spMkLst>
              <pc:docMk/>
              <pc:sldMasterMk cId="3498525908" sldId="2147484073"/>
              <pc:sldLayoutMk cId="2084360697" sldId="2147484109"/>
              <ac:spMk id="5" creationId="{7453970C-EFF6-9509-6689-282030A969FE}"/>
            </ac:spMkLst>
          </pc:spChg>
          <pc:spChg chg="mod">
            <ac:chgData name="Grace, Morgan (Brisbane)" userId="221d5f7b-4a46-4bd5-bdf1-698d3a91c208" providerId="ADAL" clId="{D90324C1-6CE4-4C28-B886-AED0B666B37F}" dt="2024-06-06T05:13:58.885" v="44633" actId="948"/>
            <ac:spMkLst>
              <pc:docMk/>
              <pc:sldMasterMk cId="3498525908" sldId="2147484073"/>
              <pc:sldLayoutMk cId="2084360697" sldId="2147484109"/>
              <ac:spMk id="14" creationId="{AFFDC99D-30F2-DE4D-A574-743914DD67BE}"/>
            </ac:spMkLst>
          </pc:spChg>
          <pc:spChg chg="mod">
            <ac:chgData name="Grace, Morgan (Brisbane)" userId="221d5f7b-4a46-4bd5-bdf1-698d3a91c208" providerId="ADAL" clId="{D90324C1-6CE4-4C28-B886-AED0B666B37F}" dt="2024-06-06T05:13:55.511" v="42310" actId="790"/>
            <ac:spMkLst>
              <pc:docMk/>
              <pc:sldMasterMk cId="3498525908" sldId="2147484073"/>
              <pc:sldLayoutMk cId="2084360697" sldId="2147484109"/>
              <ac:spMk id="15" creationId="{1022018D-6B1E-3363-7DEA-1CFC20336D80}"/>
            </ac:spMkLst>
          </pc:spChg>
          <pc:spChg chg="mod">
            <ac:chgData name="Grace, Morgan (Brisbane)" userId="221d5f7b-4a46-4bd5-bdf1-698d3a91c208" providerId="ADAL" clId="{D90324C1-6CE4-4C28-B886-AED0B666B37F}" dt="2024-06-06T05:13:55.514" v="42311" actId="790"/>
            <ac:spMkLst>
              <pc:docMk/>
              <pc:sldMasterMk cId="3498525908" sldId="2147484073"/>
              <pc:sldLayoutMk cId="2084360697" sldId="2147484109"/>
              <ac:spMk id="16" creationId="{BDBA2746-830B-1CE2-946A-C7F60A7B35AB}"/>
            </ac:spMkLst>
          </pc:spChg>
          <pc:spChg chg="mod">
            <ac:chgData name="Grace, Morgan (Brisbane)" userId="221d5f7b-4a46-4bd5-bdf1-698d3a91c208" providerId="ADAL" clId="{D90324C1-6CE4-4C28-B886-AED0B666B37F}" dt="2024-06-06T05:13:55.516" v="42312" actId="790"/>
            <ac:spMkLst>
              <pc:docMk/>
              <pc:sldMasterMk cId="3498525908" sldId="2147484073"/>
              <pc:sldLayoutMk cId="2084360697" sldId="2147484109"/>
              <ac:spMk id="17" creationId="{8A3E342B-F1C4-F672-9A7B-781C68B92427}"/>
            </ac:spMkLst>
          </pc:spChg>
          <pc:spChg chg="mod">
            <ac:chgData name="Grace, Morgan (Brisbane)" userId="221d5f7b-4a46-4bd5-bdf1-698d3a91c208" providerId="ADAL" clId="{D90324C1-6CE4-4C28-B886-AED0B666B37F}" dt="2024-06-06T05:13:55.518" v="42313" actId="790"/>
            <ac:spMkLst>
              <pc:docMk/>
              <pc:sldMasterMk cId="3498525908" sldId="2147484073"/>
              <pc:sldLayoutMk cId="2084360697" sldId="2147484109"/>
              <ac:spMk id="27" creationId="{CD88CCA9-CA67-CEE0-50C8-4FBF988010B2}"/>
            </ac:spMkLst>
          </pc:spChg>
          <pc:graphicFrameChg chg="mod ord modVis replST">
            <ac:chgData name="Grace, Morgan (Brisbane)" userId="221d5f7b-4a46-4bd5-bdf1-698d3a91c208" providerId="ADAL" clId="{D90324C1-6CE4-4C28-B886-AED0B666B37F}" dt="2024-06-06T05:14:00.856" v="45921"/>
            <ac:graphicFrameMkLst>
              <pc:docMk/>
              <pc:sldMasterMk cId="3498525908" sldId="2147484073"/>
              <pc:sldLayoutMk cId="2084360697" sldId="2147484109"/>
              <ac:graphicFrameMk id="6" creationId="{5E7DE881-A793-A0FE-A66B-C42FEE2BEA78}"/>
            </ac:graphicFrameMkLst>
          </pc:graphicFrameChg>
        </pc:sldLayoutChg>
        <pc:sldLayoutChg chg="delSp modSp mod">
          <pc:chgData name="Grace, Morgan (Brisbane)" userId="221d5f7b-4a46-4bd5-bdf1-698d3a91c208" providerId="ADAL" clId="{D90324C1-6CE4-4C28-B886-AED0B666B37F}" dt="2024-06-06T05:14:00.872" v="45929"/>
          <pc:sldLayoutMkLst>
            <pc:docMk/>
            <pc:sldMasterMk cId="3498525908" sldId="2147484073"/>
            <pc:sldLayoutMk cId="3345829749" sldId="2147484110"/>
          </pc:sldLayoutMkLst>
          <pc:spChg chg="mod">
            <ac:chgData name="Grace, Morgan (Brisbane)" userId="221d5f7b-4a46-4bd5-bdf1-698d3a91c208" providerId="ADAL" clId="{D90324C1-6CE4-4C28-B886-AED0B666B37F}" dt="2024-06-06T05:13:55.548" v="42331" actId="790"/>
            <ac:spMkLst>
              <pc:docMk/>
              <pc:sldMasterMk cId="3498525908" sldId="2147484073"/>
              <pc:sldLayoutMk cId="3345829749" sldId="2147484110"/>
              <ac:spMk id="2" creationId="{AE5E90DB-57FF-6B80-B24C-1661F741C7F1}"/>
            </ac:spMkLst>
          </pc:spChg>
          <pc:spChg chg="mod">
            <ac:chgData name="Grace, Morgan (Brisbane)" userId="221d5f7b-4a46-4bd5-bdf1-698d3a91c208" providerId="ADAL" clId="{D90324C1-6CE4-4C28-B886-AED0B666B37F}" dt="2024-06-06T05:13:55.532" v="42317" actId="947"/>
            <ac:spMkLst>
              <pc:docMk/>
              <pc:sldMasterMk cId="3498525908" sldId="2147484073"/>
              <pc:sldLayoutMk cId="3345829749" sldId="2147484110"/>
              <ac:spMk id="3" creationId="{79C32985-355F-A341-C1AC-08B56A46CDEB}"/>
            </ac:spMkLst>
          </pc:spChg>
          <pc:spChg chg="del mod modVis">
            <ac:chgData name="Grace, Morgan (Brisbane)" userId="221d5f7b-4a46-4bd5-bdf1-698d3a91c208" providerId="ADAL" clId="{D90324C1-6CE4-4C28-B886-AED0B666B37F}" dt="2024-06-06T05:14:00.856" v="45922" actId="478"/>
            <ac:spMkLst>
              <pc:docMk/>
              <pc:sldMasterMk cId="3498525908" sldId="2147484073"/>
              <pc:sldLayoutMk cId="3345829749" sldId="2147484110"/>
              <ac:spMk id="4" creationId="{5E0E44A7-AA41-469F-A9C9-4FD38603B6C4}"/>
            </ac:spMkLst>
          </pc:spChg>
          <pc:spChg chg="mod">
            <ac:chgData name="Grace, Morgan (Brisbane)" userId="221d5f7b-4a46-4bd5-bdf1-698d3a91c208" providerId="ADAL" clId="{D90324C1-6CE4-4C28-B886-AED0B666B37F}" dt="2024-06-06T05:13:55.530" v="42315" actId="790"/>
            <ac:spMkLst>
              <pc:docMk/>
              <pc:sldMasterMk cId="3498525908" sldId="2147484073"/>
              <pc:sldLayoutMk cId="3345829749" sldId="2147484110"/>
              <ac:spMk id="5" creationId="{7453970C-EFF6-9509-6689-282030A969FE}"/>
            </ac:spMkLst>
          </pc:spChg>
          <pc:spChg chg="mod">
            <ac:chgData name="Grace, Morgan (Brisbane)" userId="221d5f7b-4a46-4bd5-bdf1-698d3a91c208" providerId="ADAL" clId="{D90324C1-6CE4-4C28-B886-AED0B666B37F}" dt="2024-06-06T05:13:58.916" v="44652" actId="948"/>
            <ac:spMkLst>
              <pc:docMk/>
              <pc:sldMasterMk cId="3498525908" sldId="2147484073"/>
              <pc:sldLayoutMk cId="3345829749" sldId="2147484110"/>
              <ac:spMk id="14" creationId="{AFFDC99D-30F2-DE4D-A574-743914DD67BE}"/>
            </ac:spMkLst>
          </pc:spChg>
          <pc:spChg chg="mod">
            <ac:chgData name="Grace, Morgan (Brisbane)" userId="221d5f7b-4a46-4bd5-bdf1-698d3a91c208" providerId="ADAL" clId="{D90324C1-6CE4-4C28-B886-AED0B666B37F}" dt="2024-06-06T05:13:55.532" v="42319" actId="790"/>
            <ac:spMkLst>
              <pc:docMk/>
              <pc:sldMasterMk cId="3498525908" sldId="2147484073"/>
              <pc:sldLayoutMk cId="3345829749" sldId="2147484110"/>
              <ac:spMk id="15" creationId="{1022018D-6B1E-3363-7DEA-1CFC20336D80}"/>
            </ac:spMkLst>
          </pc:spChg>
          <pc:spChg chg="mod">
            <ac:chgData name="Grace, Morgan (Brisbane)" userId="221d5f7b-4a46-4bd5-bdf1-698d3a91c208" providerId="ADAL" clId="{D90324C1-6CE4-4C28-B886-AED0B666B37F}" dt="2024-06-06T05:13:55.532" v="42320" actId="790"/>
            <ac:spMkLst>
              <pc:docMk/>
              <pc:sldMasterMk cId="3498525908" sldId="2147484073"/>
              <pc:sldLayoutMk cId="3345829749" sldId="2147484110"/>
              <ac:spMk id="16" creationId="{BDBA2746-830B-1CE2-946A-C7F60A7B35AB}"/>
            </ac:spMkLst>
          </pc:spChg>
          <pc:spChg chg="mod">
            <ac:chgData name="Grace, Morgan (Brisbane)" userId="221d5f7b-4a46-4bd5-bdf1-698d3a91c208" providerId="ADAL" clId="{D90324C1-6CE4-4C28-B886-AED0B666B37F}" dt="2024-06-06T05:13:55.532" v="42321" actId="790"/>
            <ac:spMkLst>
              <pc:docMk/>
              <pc:sldMasterMk cId="3498525908" sldId="2147484073"/>
              <pc:sldLayoutMk cId="3345829749" sldId="2147484110"/>
              <ac:spMk id="17" creationId="{8A3E342B-F1C4-F672-9A7B-781C68B92427}"/>
            </ac:spMkLst>
          </pc:spChg>
          <pc:spChg chg="mod">
            <ac:chgData name="Grace, Morgan (Brisbane)" userId="221d5f7b-4a46-4bd5-bdf1-698d3a91c208" providerId="ADAL" clId="{D90324C1-6CE4-4C28-B886-AED0B666B37F}" dt="2024-06-06T05:13:55.532" v="42322" actId="790"/>
            <ac:spMkLst>
              <pc:docMk/>
              <pc:sldMasterMk cId="3498525908" sldId="2147484073"/>
              <pc:sldLayoutMk cId="3345829749" sldId="2147484110"/>
              <ac:spMk id="18" creationId="{F7D62BD4-C68D-49B9-8F81-53185313FB5E}"/>
            </ac:spMkLst>
          </pc:spChg>
          <pc:spChg chg="mod">
            <ac:chgData name="Grace, Morgan (Brisbane)" userId="221d5f7b-4a46-4bd5-bdf1-698d3a91c208" providerId="ADAL" clId="{D90324C1-6CE4-4C28-B886-AED0B666B37F}" dt="2024-06-06T05:13:55.532" v="42323" actId="790"/>
            <ac:spMkLst>
              <pc:docMk/>
              <pc:sldMasterMk cId="3498525908" sldId="2147484073"/>
              <pc:sldLayoutMk cId="3345829749" sldId="2147484110"/>
              <ac:spMk id="26" creationId="{19BFE70B-6589-5C11-18EE-C2688C16C7DD}"/>
            </ac:spMkLst>
          </pc:spChg>
          <pc:spChg chg="mod">
            <ac:chgData name="Grace, Morgan (Brisbane)" userId="221d5f7b-4a46-4bd5-bdf1-698d3a91c208" providerId="ADAL" clId="{D90324C1-6CE4-4C28-B886-AED0B666B37F}" dt="2024-06-06T05:13:55.532" v="42324" actId="790"/>
            <ac:spMkLst>
              <pc:docMk/>
              <pc:sldMasterMk cId="3498525908" sldId="2147484073"/>
              <pc:sldLayoutMk cId="3345829749" sldId="2147484110"/>
              <ac:spMk id="28" creationId="{C3E76C27-62AB-1A6C-5EE8-E79AA336AB84}"/>
            </ac:spMkLst>
          </pc:spChg>
          <pc:spChg chg="mod">
            <ac:chgData name="Grace, Morgan (Brisbane)" userId="221d5f7b-4a46-4bd5-bdf1-698d3a91c208" providerId="ADAL" clId="{D90324C1-6CE4-4C28-B886-AED0B666B37F}" dt="2024-06-06T05:13:55.532" v="42325" actId="790"/>
            <ac:spMkLst>
              <pc:docMk/>
              <pc:sldMasterMk cId="3498525908" sldId="2147484073"/>
              <pc:sldLayoutMk cId="3345829749" sldId="2147484110"/>
              <ac:spMk id="29" creationId="{BA73FC4E-C9B8-AB2F-0A0A-B8AC99941150}"/>
            </ac:spMkLst>
          </pc:spChg>
          <pc:spChg chg="mod">
            <ac:chgData name="Grace, Morgan (Brisbane)" userId="221d5f7b-4a46-4bd5-bdf1-698d3a91c208" providerId="ADAL" clId="{D90324C1-6CE4-4C28-B886-AED0B666B37F}" dt="2024-06-06T05:13:55.548" v="42326" actId="790"/>
            <ac:spMkLst>
              <pc:docMk/>
              <pc:sldMasterMk cId="3498525908" sldId="2147484073"/>
              <pc:sldLayoutMk cId="3345829749" sldId="2147484110"/>
              <ac:spMk id="30" creationId="{E1B778C6-34DE-B397-FCFE-AB90E363185D}"/>
            </ac:spMkLst>
          </pc:spChg>
          <pc:spChg chg="mod">
            <ac:chgData name="Grace, Morgan (Brisbane)" userId="221d5f7b-4a46-4bd5-bdf1-698d3a91c208" providerId="ADAL" clId="{D90324C1-6CE4-4C28-B886-AED0B666B37F}" dt="2024-06-06T05:13:55.548" v="42327" actId="790"/>
            <ac:spMkLst>
              <pc:docMk/>
              <pc:sldMasterMk cId="3498525908" sldId="2147484073"/>
              <pc:sldLayoutMk cId="3345829749" sldId="2147484110"/>
              <ac:spMk id="31" creationId="{F11044DA-63C7-A77A-B5E2-53F5DB4E814B}"/>
            </ac:spMkLst>
          </pc:spChg>
          <pc:spChg chg="mod">
            <ac:chgData name="Grace, Morgan (Brisbane)" userId="221d5f7b-4a46-4bd5-bdf1-698d3a91c208" providerId="ADAL" clId="{D90324C1-6CE4-4C28-B886-AED0B666B37F}" dt="2024-06-06T05:13:55.548" v="42328" actId="790"/>
            <ac:spMkLst>
              <pc:docMk/>
              <pc:sldMasterMk cId="3498525908" sldId="2147484073"/>
              <pc:sldLayoutMk cId="3345829749" sldId="2147484110"/>
              <ac:spMk id="32" creationId="{CEB53F72-3835-2184-3F70-00C83079709D}"/>
            </ac:spMkLst>
          </pc:spChg>
          <pc:spChg chg="mod">
            <ac:chgData name="Grace, Morgan (Brisbane)" userId="221d5f7b-4a46-4bd5-bdf1-698d3a91c208" providerId="ADAL" clId="{D90324C1-6CE4-4C28-B886-AED0B666B37F}" dt="2024-06-06T05:13:55.548" v="42329" actId="790"/>
            <ac:spMkLst>
              <pc:docMk/>
              <pc:sldMasterMk cId="3498525908" sldId="2147484073"/>
              <pc:sldLayoutMk cId="3345829749" sldId="2147484110"/>
              <ac:spMk id="33" creationId="{6DA37AE1-0C6D-4A33-130E-1E3EF624A675}"/>
            </ac:spMkLst>
          </pc:spChg>
          <pc:spChg chg="mod">
            <ac:chgData name="Grace, Morgan (Brisbane)" userId="221d5f7b-4a46-4bd5-bdf1-698d3a91c208" providerId="ADAL" clId="{D90324C1-6CE4-4C28-B886-AED0B666B37F}" dt="2024-06-06T05:13:55.548" v="42330" actId="790"/>
            <ac:spMkLst>
              <pc:docMk/>
              <pc:sldMasterMk cId="3498525908" sldId="2147484073"/>
              <pc:sldLayoutMk cId="3345829749" sldId="2147484110"/>
              <ac:spMk id="34" creationId="{0CDF9426-2DBB-7CD4-481A-062E878E26FC}"/>
            </ac:spMkLst>
          </pc:spChg>
          <pc:graphicFrameChg chg="mod ord modVis replST">
            <ac:chgData name="Grace, Morgan (Brisbane)" userId="221d5f7b-4a46-4bd5-bdf1-698d3a91c208" providerId="ADAL" clId="{D90324C1-6CE4-4C28-B886-AED0B666B37F}" dt="2024-06-06T05:14:00.872" v="45929"/>
            <ac:graphicFrameMkLst>
              <pc:docMk/>
              <pc:sldMasterMk cId="3498525908" sldId="2147484073"/>
              <pc:sldLayoutMk cId="3345829749" sldId="2147484110"/>
              <ac:graphicFrameMk id="6" creationId="{2E65F313-D07E-B08D-7165-8786F19FED35}"/>
            </ac:graphicFrameMkLst>
          </pc:graphicFrameChg>
        </pc:sldLayoutChg>
        <pc:sldLayoutChg chg="modSp mod">
          <pc:chgData name="Grace, Morgan (Brisbane)" userId="221d5f7b-4a46-4bd5-bdf1-698d3a91c208" providerId="ADAL" clId="{D90324C1-6CE4-4C28-B886-AED0B666B37F}" dt="2024-06-06T05:14:00.903" v="45936"/>
          <pc:sldLayoutMkLst>
            <pc:docMk/>
            <pc:sldMasterMk cId="3498525908" sldId="2147484073"/>
            <pc:sldLayoutMk cId="805449562" sldId="2147484111"/>
          </pc:sldLayoutMkLst>
          <pc:spChg chg="mod">
            <ac:chgData name="Grace, Morgan (Brisbane)" userId="221d5f7b-4a46-4bd5-bdf1-698d3a91c208" providerId="ADAL" clId="{D90324C1-6CE4-4C28-B886-AED0B666B37F}" dt="2024-06-06T05:13:55.548" v="42333" actId="790"/>
            <ac:spMkLst>
              <pc:docMk/>
              <pc:sldMasterMk cId="3498525908" sldId="2147484073"/>
              <pc:sldLayoutMk cId="805449562" sldId="2147484111"/>
              <ac:spMk id="2" creationId="{72E4B163-6B15-BA2D-7365-BE0196AB8775}"/>
            </ac:spMkLst>
          </pc:spChg>
          <pc:spChg chg="mod">
            <ac:chgData name="Grace, Morgan (Brisbane)" userId="221d5f7b-4a46-4bd5-bdf1-698d3a91c208" providerId="ADAL" clId="{D90324C1-6CE4-4C28-B886-AED0B666B37F}" dt="2024-06-06T05:13:55.548" v="42332" actId="790"/>
            <ac:spMkLst>
              <pc:docMk/>
              <pc:sldMasterMk cId="3498525908" sldId="2147484073"/>
              <pc:sldLayoutMk cId="805449562" sldId="2147484111"/>
              <ac:spMk id="5" creationId="{7453970C-EFF6-9509-6689-282030A969FE}"/>
            </ac:spMkLst>
          </pc:spChg>
          <pc:graphicFrameChg chg="mod ord modVis replST">
            <ac:chgData name="Grace, Morgan (Brisbane)" userId="221d5f7b-4a46-4bd5-bdf1-698d3a91c208" providerId="ADAL" clId="{D90324C1-6CE4-4C28-B886-AED0B666B37F}" dt="2024-06-06T05:14:00.903" v="45936"/>
            <ac:graphicFrameMkLst>
              <pc:docMk/>
              <pc:sldMasterMk cId="3498525908" sldId="2147484073"/>
              <pc:sldLayoutMk cId="805449562" sldId="2147484111"/>
              <ac:graphicFrameMk id="3" creationId="{B3704B4C-C182-90EF-3418-4BE9699EBFDC}"/>
            </ac:graphicFrameMkLst>
          </pc:graphicFrameChg>
        </pc:sldLayoutChg>
        <pc:sldLayoutChg chg="delSp modSp mod">
          <pc:chgData name="Grace, Morgan (Brisbane)" userId="221d5f7b-4a46-4bd5-bdf1-698d3a91c208" providerId="ADAL" clId="{D90324C1-6CE4-4C28-B886-AED0B666B37F}" dt="2024-06-06T05:14:00.540" v="45801"/>
          <pc:sldLayoutMkLst>
            <pc:docMk/>
            <pc:sldMasterMk cId="3498525908" sldId="2147484073"/>
            <pc:sldLayoutMk cId="706937590" sldId="2147484112"/>
          </pc:sldLayoutMkLst>
          <pc:spChg chg="mod">
            <ac:chgData name="Grace, Morgan (Brisbane)" userId="221d5f7b-4a46-4bd5-bdf1-698d3a91c208" providerId="ADAL" clId="{D90324C1-6CE4-4C28-B886-AED0B666B37F}" dt="2024-06-06T05:13:55.063" v="42127" actId="790"/>
            <ac:spMkLst>
              <pc:docMk/>
              <pc:sldMasterMk cId="3498525908" sldId="2147484073"/>
              <pc:sldLayoutMk cId="706937590" sldId="2147484112"/>
              <ac:spMk id="2" creationId="{2D6D74F0-A613-4D45-8959-CFEC690B29DD}"/>
            </ac:spMkLst>
          </pc:spChg>
          <pc:spChg chg="mod">
            <ac:chgData name="Grace, Morgan (Brisbane)" userId="221d5f7b-4a46-4bd5-bdf1-698d3a91c208" providerId="ADAL" clId="{D90324C1-6CE4-4C28-B886-AED0B666B37F}" dt="2024-06-06T05:13:58.568" v="44348" actId="948"/>
            <ac:spMkLst>
              <pc:docMk/>
              <pc:sldMasterMk cId="3498525908" sldId="2147484073"/>
              <pc:sldLayoutMk cId="706937590" sldId="2147484112"/>
              <ac:spMk id="3" creationId="{1B6D4CBE-E23B-7C7C-7E71-CD3D16AE7C6B}"/>
            </ac:spMkLst>
          </pc:spChg>
          <pc:spChg chg="del mod modVis">
            <ac:chgData name="Grace, Morgan (Brisbane)" userId="221d5f7b-4a46-4bd5-bdf1-698d3a91c208" providerId="ADAL" clId="{D90324C1-6CE4-4C28-B886-AED0B666B37F}" dt="2024-06-06T05:14:00.528" v="45794" actId="478"/>
            <ac:spMkLst>
              <pc:docMk/>
              <pc:sldMasterMk cId="3498525908" sldId="2147484073"/>
              <pc:sldLayoutMk cId="706937590" sldId="2147484112"/>
              <ac:spMk id="4" creationId="{628B9441-6070-D705-1CE0-29A7A69F9CEF}"/>
            </ac:spMkLst>
          </pc:spChg>
          <pc:spChg chg="mod">
            <ac:chgData name="Grace, Morgan (Brisbane)" userId="221d5f7b-4a46-4bd5-bdf1-698d3a91c208" providerId="ADAL" clId="{D90324C1-6CE4-4C28-B886-AED0B666B37F}" dt="2024-06-06T05:13:55.063" v="42125" actId="790"/>
            <ac:spMkLst>
              <pc:docMk/>
              <pc:sldMasterMk cId="3498525908" sldId="2147484073"/>
              <pc:sldLayoutMk cId="706937590" sldId="2147484112"/>
              <ac:spMk id="5" creationId="{7453970C-EFF6-9509-6689-282030A969FE}"/>
            </ac:spMkLst>
          </pc:spChg>
          <pc:spChg chg="mod">
            <ac:chgData name="Grace, Morgan (Brisbane)" userId="221d5f7b-4a46-4bd5-bdf1-698d3a91c208" providerId="ADAL" clId="{D90324C1-6CE4-4C28-B886-AED0B666B37F}" dt="2024-06-06T05:13:55.063" v="42129" actId="947"/>
            <ac:spMkLst>
              <pc:docMk/>
              <pc:sldMasterMk cId="3498525908" sldId="2147484073"/>
              <pc:sldLayoutMk cId="706937590" sldId="2147484112"/>
              <ac:spMk id="7" creationId="{B5286DD9-2D68-1ED5-D7F9-1DCEDE90A46A}"/>
            </ac:spMkLst>
          </pc:spChg>
          <pc:spChg chg="mod">
            <ac:chgData name="Grace, Morgan (Brisbane)" userId="221d5f7b-4a46-4bd5-bdf1-698d3a91c208" providerId="ADAL" clId="{D90324C1-6CE4-4C28-B886-AED0B666B37F}" dt="2024-06-06T05:13:55.078" v="42130" actId="790"/>
            <ac:spMkLst>
              <pc:docMk/>
              <pc:sldMasterMk cId="3498525908" sldId="2147484073"/>
              <pc:sldLayoutMk cId="706937590" sldId="2147484112"/>
              <ac:spMk id="15" creationId="{58ADCC07-F2D3-36A8-E9C0-81ABAC1F6720}"/>
            </ac:spMkLst>
          </pc:spChg>
          <pc:spChg chg="mod">
            <ac:chgData name="Grace, Morgan (Brisbane)" userId="221d5f7b-4a46-4bd5-bdf1-698d3a91c208" providerId="ADAL" clId="{D90324C1-6CE4-4C28-B886-AED0B666B37F}" dt="2024-06-06T05:13:55.078" v="42131" actId="790"/>
            <ac:spMkLst>
              <pc:docMk/>
              <pc:sldMasterMk cId="3498525908" sldId="2147484073"/>
              <pc:sldLayoutMk cId="706937590" sldId="2147484112"/>
              <ac:spMk id="17" creationId="{7A69A31F-60A7-7769-31B2-782875E76AF5}"/>
            </ac:spMkLst>
          </pc:spChg>
          <pc:graphicFrameChg chg="mod ord modVis replST">
            <ac:chgData name="Grace, Morgan (Brisbane)" userId="221d5f7b-4a46-4bd5-bdf1-698d3a91c208" providerId="ADAL" clId="{D90324C1-6CE4-4C28-B886-AED0B666B37F}" dt="2024-06-06T05:14:00.540" v="45801"/>
            <ac:graphicFrameMkLst>
              <pc:docMk/>
              <pc:sldMasterMk cId="3498525908" sldId="2147484073"/>
              <pc:sldLayoutMk cId="706937590" sldId="2147484112"/>
              <ac:graphicFrameMk id="8" creationId="{441D3A2D-F20B-8E73-7224-354A7C8831AA}"/>
            </ac:graphicFrameMkLst>
          </pc:graphicFrameChg>
        </pc:sldLayoutChg>
      </pc:sldMasterChg>
      <pc:sldMasterChg chg="delSp modSp mod modSldLayout">
        <pc:chgData name="Grace, Morgan (Brisbane)" userId="221d5f7b-4a46-4bd5-bdf1-698d3a91c208" providerId="ADAL" clId="{D90324C1-6CE4-4C28-B886-AED0B666B37F}" dt="2024-06-06T05:14:00.990" v="45970"/>
        <pc:sldMasterMkLst>
          <pc:docMk/>
          <pc:sldMasterMk cId="3038285351" sldId="2147484138"/>
        </pc:sldMasterMkLst>
        <pc:spChg chg="mod">
          <ac:chgData name="Grace, Morgan (Brisbane)" userId="221d5f7b-4a46-4bd5-bdf1-698d3a91c208" providerId="ADAL" clId="{D90324C1-6CE4-4C28-B886-AED0B666B37F}" dt="2024-06-06T05:13:58.938" v="44671" actId="948"/>
          <ac:spMkLst>
            <pc:docMk/>
            <pc:sldMasterMk cId="3038285351" sldId="2147484138"/>
            <ac:spMk id="2" creationId="{106F217F-D8E3-0146-D631-EC38566A36EF}"/>
          </ac:spMkLst>
        </pc:spChg>
        <pc:spChg chg="del mod modVis">
          <ac:chgData name="Grace, Morgan (Brisbane)" userId="221d5f7b-4a46-4bd5-bdf1-698d3a91c208" providerId="ADAL" clId="{D90324C1-6CE4-4C28-B886-AED0B666B37F}" dt="2024-06-06T05:14:00.903" v="45937" actId="478"/>
          <ac:spMkLst>
            <pc:docMk/>
            <pc:sldMasterMk cId="3038285351" sldId="2147484138"/>
            <ac:spMk id="3" creationId="{F3B82AE4-C6EC-524B-8741-ED412874CB78}"/>
          </ac:spMkLst>
        </pc:spChg>
        <pc:spChg chg="mod">
          <ac:chgData name="Grace, Morgan (Brisbane)" userId="221d5f7b-4a46-4bd5-bdf1-698d3a91c208" providerId="ADAL" clId="{D90324C1-6CE4-4C28-B886-AED0B666B37F}" dt="2024-06-06T05:13:55.564" v="42336" actId="790"/>
          <ac:spMkLst>
            <pc:docMk/>
            <pc:sldMasterMk cId="3038285351" sldId="2147484138"/>
            <ac:spMk id="4" creationId="{3C98C8E9-53A9-E726-DFE9-07714F5557F9}"/>
          </ac:spMkLst>
        </pc:spChg>
        <pc:spChg chg="mod">
          <ac:chgData name="Grace, Morgan (Brisbane)" userId="221d5f7b-4a46-4bd5-bdf1-698d3a91c208" providerId="ADAL" clId="{D90324C1-6CE4-4C28-B886-AED0B666B37F}" dt="2024-06-06T05:13:55.564" v="42337" actId="790"/>
          <ac:spMkLst>
            <pc:docMk/>
            <pc:sldMasterMk cId="3038285351" sldId="2147484138"/>
            <ac:spMk id="6" creationId="{87DF0065-1E85-3CAE-AFF2-1B24507DE8EE}"/>
          </ac:spMkLst>
        </pc:spChg>
        <pc:spChg chg="mod">
          <ac:chgData name="Grace, Morgan (Brisbane)" userId="221d5f7b-4a46-4bd5-bdf1-698d3a91c208" providerId="ADAL" clId="{D90324C1-6CE4-4C28-B886-AED0B666B37F}" dt="2024-06-06T05:13:55.564" v="42335" actId="790"/>
          <ac:spMkLst>
            <pc:docMk/>
            <pc:sldMasterMk cId="3038285351" sldId="2147484138"/>
            <ac:spMk id="8" creationId="{05AC2582-4AF7-82C5-5AFC-CAEBC21F3E32}"/>
          </ac:spMkLst>
        </pc:spChg>
        <pc:graphicFrameChg chg="mod">
          <ac:chgData name="Grace, Morgan (Brisbane)" userId="221d5f7b-4a46-4bd5-bdf1-698d3a91c208" providerId="ADAL" clId="{D90324C1-6CE4-4C28-B886-AED0B666B37F}" dt="2024-06-06T05:14:00.903" v="45938" actId="1076"/>
          <ac:graphicFrameMkLst>
            <pc:docMk/>
            <pc:sldMasterMk cId="3038285351" sldId="2147484138"/>
            <ac:graphicFrameMk id="5" creationId="{4F464245-F5FD-4674-FEF8-BF6881978AA6}"/>
          </ac:graphicFrameMkLst>
        </pc:graphicFrameChg>
        <pc:sldLayoutChg chg="delSp modSp mod">
          <pc:chgData name="Grace, Morgan (Brisbane)" userId="221d5f7b-4a46-4bd5-bdf1-698d3a91c208" providerId="ADAL" clId="{D90324C1-6CE4-4C28-B886-AED0B666B37F}" dt="2024-06-06T05:14:00.929" v="45946"/>
          <pc:sldLayoutMkLst>
            <pc:docMk/>
            <pc:sldMasterMk cId="3038285351" sldId="2147484138"/>
            <pc:sldLayoutMk cId="2887284007" sldId="2147484161"/>
          </pc:sldLayoutMkLst>
          <pc:spChg chg="del mod modVis">
            <ac:chgData name="Grace, Morgan (Brisbane)" userId="221d5f7b-4a46-4bd5-bdf1-698d3a91c208" providerId="ADAL" clId="{D90324C1-6CE4-4C28-B886-AED0B666B37F}" dt="2024-06-06T05:14:00.903" v="45939" actId="478"/>
            <ac:spMkLst>
              <pc:docMk/>
              <pc:sldMasterMk cId="3038285351" sldId="2147484138"/>
              <pc:sldLayoutMk cId="2887284007" sldId="2147484161"/>
              <ac:spMk id="2" creationId="{5986288C-5DA6-A4F3-9D8C-48ACDB66F756}"/>
            </ac:spMkLst>
          </pc:spChg>
          <pc:spChg chg="mod">
            <ac:chgData name="Grace, Morgan (Brisbane)" userId="221d5f7b-4a46-4bd5-bdf1-698d3a91c208" providerId="ADAL" clId="{D90324C1-6CE4-4C28-B886-AED0B666B37F}" dt="2024-06-06T05:13:55.595" v="42349" actId="790"/>
            <ac:spMkLst>
              <pc:docMk/>
              <pc:sldMasterMk cId="3038285351" sldId="2147484138"/>
              <pc:sldLayoutMk cId="2887284007" sldId="2147484161"/>
              <ac:spMk id="3" creationId="{35874E60-42F0-EB95-542F-FFFDE97469B4}"/>
            </ac:spMkLst>
          </pc:spChg>
          <pc:spChg chg="mod">
            <ac:chgData name="Grace, Morgan (Brisbane)" userId="221d5f7b-4a46-4bd5-bdf1-698d3a91c208" providerId="ADAL" clId="{D90324C1-6CE4-4C28-B886-AED0B666B37F}" dt="2024-06-06T05:13:55.595" v="42350" actId="790"/>
            <ac:spMkLst>
              <pc:docMk/>
              <pc:sldMasterMk cId="3038285351" sldId="2147484138"/>
              <pc:sldLayoutMk cId="2887284007" sldId="2147484161"/>
              <ac:spMk id="4" creationId="{E905E934-8C3F-D7FA-0854-F25A327FC0AA}"/>
            </ac:spMkLst>
          </pc:spChg>
          <pc:spChg chg="mod">
            <ac:chgData name="Grace, Morgan (Brisbane)" userId="221d5f7b-4a46-4bd5-bdf1-698d3a91c208" providerId="ADAL" clId="{D90324C1-6CE4-4C28-B886-AED0B666B37F}" dt="2024-06-06T05:13:55.579" v="42341" actId="790"/>
            <ac:spMkLst>
              <pc:docMk/>
              <pc:sldMasterMk cId="3038285351" sldId="2147484138"/>
              <pc:sldLayoutMk cId="2887284007" sldId="2147484161"/>
              <ac:spMk id="5" creationId="{7453970C-EFF6-9509-6689-282030A969FE}"/>
            </ac:spMkLst>
          </pc:spChg>
          <pc:spChg chg="mod">
            <ac:chgData name="Grace, Morgan (Brisbane)" userId="221d5f7b-4a46-4bd5-bdf1-698d3a91c208" providerId="ADAL" clId="{D90324C1-6CE4-4C28-B886-AED0B666B37F}" dt="2024-06-06T05:13:55.579" v="42339" actId="947"/>
            <ac:spMkLst>
              <pc:docMk/>
              <pc:sldMasterMk cId="3038285351" sldId="2147484138"/>
              <pc:sldLayoutMk cId="2887284007" sldId="2147484161"/>
              <ac:spMk id="6" creationId="{0AECAC14-C3A3-41FE-6C16-03F83252D6E8}"/>
            </ac:spMkLst>
          </pc:spChg>
          <pc:spChg chg="mod">
            <ac:chgData name="Grace, Morgan (Brisbane)" userId="221d5f7b-4a46-4bd5-bdf1-698d3a91c208" providerId="ADAL" clId="{D90324C1-6CE4-4C28-B886-AED0B666B37F}" dt="2024-06-06T05:13:55.595" v="42351" actId="790"/>
            <ac:spMkLst>
              <pc:docMk/>
              <pc:sldMasterMk cId="3038285351" sldId="2147484138"/>
              <pc:sldLayoutMk cId="2887284007" sldId="2147484161"/>
              <ac:spMk id="7" creationId="{C0337791-94CB-D839-1E4B-1CCB1CEFE0A5}"/>
            </ac:spMkLst>
          </pc:spChg>
          <pc:spChg chg="mod">
            <ac:chgData name="Grace, Morgan (Brisbane)" userId="221d5f7b-4a46-4bd5-bdf1-698d3a91c208" providerId="ADAL" clId="{D90324C1-6CE4-4C28-B886-AED0B666B37F}" dt="2024-06-06T05:13:55.610" v="42352" actId="790"/>
            <ac:spMkLst>
              <pc:docMk/>
              <pc:sldMasterMk cId="3038285351" sldId="2147484138"/>
              <pc:sldLayoutMk cId="2887284007" sldId="2147484161"/>
              <ac:spMk id="8" creationId="{37D2081A-4918-7A95-C764-E85734925175}"/>
            </ac:spMkLst>
          </pc:spChg>
          <pc:spChg chg="mod">
            <ac:chgData name="Grace, Morgan (Brisbane)" userId="221d5f7b-4a46-4bd5-bdf1-698d3a91c208" providerId="ADAL" clId="{D90324C1-6CE4-4C28-B886-AED0B666B37F}" dt="2024-06-06T05:13:55.579" v="42340" actId="790"/>
            <ac:spMkLst>
              <pc:docMk/>
              <pc:sldMasterMk cId="3038285351" sldId="2147484138"/>
              <pc:sldLayoutMk cId="2887284007" sldId="2147484161"/>
              <ac:spMk id="9" creationId="{1B0EB2B4-275C-7356-F6C7-DCDFF0F449D0}"/>
            </ac:spMkLst>
          </pc:spChg>
          <pc:spChg chg="mod">
            <ac:chgData name="Grace, Morgan (Brisbane)" userId="221d5f7b-4a46-4bd5-bdf1-698d3a91c208" providerId="ADAL" clId="{D90324C1-6CE4-4C28-B886-AED0B666B37F}" dt="2024-06-06T05:13:55.579" v="42342" actId="790"/>
            <ac:spMkLst>
              <pc:docMk/>
              <pc:sldMasterMk cId="3038285351" sldId="2147484138"/>
              <pc:sldLayoutMk cId="2887284007" sldId="2147484161"/>
              <ac:spMk id="11" creationId="{4ED9087B-C26F-8ECB-6E02-F0912487C3DA}"/>
            </ac:spMkLst>
          </pc:spChg>
          <pc:spChg chg="mod">
            <ac:chgData name="Grace, Morgan (Brisbane)" userId="221d5f7b-4a46-4bd5-bdf1-698d3a91c208" providerId="ADAL" clId="{D90324C1-6CE4-4C28-B886-AED0B666B37F}" dt="2024-06-06T05:13:58.954" v="44690" actId="948"/>
            <ac:spMkLst>
              <pc:docMk/>
              <pc:sldMasterMk cId="3038285351" sldId="2147484138"/>
              <pc:sldLayoutMk cId="2887284007" sldId="2147484161"/>
              <ac:spMk id="16" creationId="{8E705781-1FF3-8CE4-8B50-C76225B8B6B3}"/>
            </ac:spMkLst>
          </pc:spChg>
          <pc:spChg chg="mod">
            <ac:chgData name="Grace, Morgan (Brisbane)" userId="221d5f7b-4a46-4bd5-bdf1-698d3a91c208" providerId="ADAL" clId="{D90324C1-6CE4-4C28-B886-AED0B666B37F}" dt="2024-06-06T05:13:55.595" v="42344" actId="790"/>
            <ac:spMkLst>
              <pc:docMk/>
              <pc:sldMasterMk cId="3038285351" sldId="2147484138"/>
              <pc:sldLayoutMk cId="2887284007" sldId="2147484161"/>
              <ac:spMk id="17" creationId="{8D049E34-FB25-6818-DAB9-5DCD8AD971F0}"/>
            </ac:spMkLst>
          </pc:spChg>
          <pc:spChg chg="mod">
            <ac:chgData name="Grace, Morgan (Brisbane)" userId="221d5f7b-4a46-4bd5-bdf1-698d3a91c208" providerId="ADAL" clId="{D90324C1-6CE4-4C28-B886-AED0B666B37F}" dt="2024-06-06T05:13:55.595" v="42345" actId="790"/>
            <ac:spMkLst>
              <pc:docMk/>
              <pc:sldMasterMk cId="3038285351" sldId="2147484138"/>
              <pc:sldLayoutMk cId="2887284007" sldId="2147484161"/>
              <ac:spMk id="18" creationId="{033C01CF-AAE8-B586-8002-927F9A3B6116}"/>
            </ac:spMkLst>
          </pc:spChg>
          <pc:spChg chg="mod">
            <ac:chgData name="Grace, Morgan (Brisbane)" userId="221d5f7b-4a46-4bd5-bdf1-698d3a91c208" providerId="ADAL" clId="{D90324C1-6CE4-4C28-B886-AED0B666B37F}" dt="2024-06-06T05:13:55.595" v="42346" actId="790"/>
            <ac:spMkLst>
              <pc:docMk/>
              <pc:sldMasterMk cId="3038285351" sldId="2147484138"/>
              <pc:sldLayoutMk cId="2887284007" sldId="2147484161"/>
              <ac:spMk id="19" creationId="{46D17167-9C49-D4F2-468A-93DB07AFA227}"/>
            </ac:spMkLst>
          </pc:spChg>
          <pc:spChg chg="mod">
            <ac:chgData name="Grace, Morgan (Brisbane)" userId="221d5f7b-4a46-4bd5-bdf1-698d3a91c208" providerId="ADAL" clId="{D90324C1-6CE4-4C28-B886-AED0B666B37F}" dt="2024-06-06T05:13:55.595" v="42347" actId="790"/>
            <ac:spMkLst>
              <pc:docMk/>
              <pc:sldMasterMk cId="3038285351" sldId="2147484138"/>
              <pc:sldLayoutMk cId="2887284007" sldId="2147484161"/>
              <ac:spMk id="20" creationId="{446BCBF6-F49C-4696-E78B-4721FD4CFC6B}"/>
            </ac:spMkLst>
          </pc:spChg>
          <pc:spChg chg="mod">
            <ac:chgData name="Grace, Morgan (Brisbane)" userId="221d5f7b-4a46-4bd5-bdf1-698d3a91c208" providerId="ADAL" clId="{D90324C1-6CE4-4C28-B886-AED0B666B37F}" dt="2024-06-06T05:13:55.595" v="42348" actId="790"/>
            <ac:spMkLst>
              <pc:docMk/>
              <pc:sldMasterMk cId="3038285351" sldId="2147484138"/>
              <pc:sldLayoutMk cId="2887284007" sldId="2147484161"/>
              <ac:spMk id="21" creationId="{DA9864BB-93BF-8272-E105-7818BB743757}"/>
            </ac:spMkLst>
          </pc:spChg>
          <pc:graphicFrameChg chg="mod ord modVis replST">
            <ac:chgData name="Grace, Morgan (Brisbane)" userId="221d5f7b-4a46-4bd5-bdf1-698d3a91c208" providerId="ADAL" clId="{D90324C1-6CE4-4C28-B886-AED0B666B37F}" dt="2024-06-06T05:14:00.929" v="45946"/>
            <ac:graphicFrameMkLst>
              <pc:docMk/>
              <pc:sldMasterMk cId="3038285351" sldId="2147484138"/>
              <pc:sldLayoutMk cId="2887284007" sldId="2147484161"/>
              <ac:graphicFrameMk id="10" creationId="{9B373DDF-5E1E-6540-D334-B80A65F4AA68}"/>
            </ac:graphicFrameMkLst>
          </pc:graphicFrameChg>
        </pc:sldLayoutChg>
        <pc:sldLayoutChg chg="delSp modSp mod">
          <pc:chgData name="Grace, Morgan (Brisbane)" userId="221d5f7b-4a46-4bd5-bdf1-698d3a91c208" providerId="ADAL" clId="{D90324C1-6CE4-4C28-B886-AED0B666B37F}" dt="2024-06-06T05:14:00.941" v="45954"/>
          <pc:sldLayoutMkLst>
            <pc:docMk/>
            <pc:sldMasterMk cId="3038285351" sldId="2147484138"/>
            <pc:sldLayoutMk cId="545725812" sldId="2147484162"/>
          </pc:sldLayoutMkLst>
          <pc:spChg chg="mod">
            <ac:chgData name="Grace, Morgan (Brisbane)" userId="221d5f7b-4a46-4bd5-bdf1-698d3a91c208" providerId="ADAL" clId="{D90324C1-6CE4-4C28-B886-AED0B666B37F}" dt="2024-06-06T05:13:55.648" v="42369" actId="790"/>
            <ac:spMkLst>
              <pc:docMk/>
              <pc:sldMasterMk cId="3038285351" sldId="2147484138"/>
              <pc:sldLayoutMk cId="545725812" sldId="2147484162"/>
              <ac:spMk id="2" creationId="{D05FEE2D-B4FB-28D2-14C6-52FACF763A76}"/>
            </ac:spMkLst>
          </pc:spChg>
          <pc:spChg chg="del mod modVis">
            <ac:chgData name="Grace, Morgan (Brisbane)" userId="221d5f7b-4a46-4bd5-bdf1-698d3a91c208" providerId="ADAL" clId="{D90324C1-6CE4-4C28-B886-AED0B666B37F}" dt="2024-06-06T05:14:00.929" v="45947" actId="478"/>
            <ac:spMkLst>
              <pc:docMk/>
              <pc:sldMasterMk cId="3038285351" sldId="2147484138"/>
              <pc:sldLayoutMk cId="545725812" sldId="2147484162"/>
              <ac:spMk id="3" creationId="{D585AFE2-F3E0-142F-6FC1-6F2A893A5314}"/>
            </ac:spMkLst>
          </pc:spChg>
          <pc:spChg chg="mod">
            <ac:chgData name="Grace, Morgan (Brisbane)" userId="221d5f7b-4a46-4bd5-bdf1-698d3a91c208" providerId="ADAL" clId="{D90324C1-6CE4-4C28-B886-AED0B666B37F}" dt="2024-06-06T05:13:55.626" v="42358" actId="790"/>
            <ac:spMkLst>
              <pc:docMk/>
              <pc:sldMasterMk cId="3038285351" sldId="2147484138"/>
              <pc:sldLayoutMk cId="545725812" sldId="2147484162"/>
              <ac:spMk id="5" creationId="{7453970C-EFF6-9509-6689-282030A969FE}"/>
            </ac:spMkLst>
          </pc:spChg>
          <pc:spChg chg="mod">
            <ac:chgData name="Grace, Morgan (Brisbane)" userId="221d5f7b-4a46-4bd5-bdf1-698d3a91c208" providerId="ADAL" clId="{D90324C1-6CE4-4C28-B886-AED0B666B37F}" dt="2024-06-06T05:13:55.626" v="42357" actId="947"/>
            <ac:spMkLst>
              <pc:docMk/>
              <pc:sldMasterMk cId="3038285351" sldId="2147484138"/>
              <pc:sldLayoutMk cId="545725812" sldId="2147484162"/>
              <ac:spMk id="6" creationId="{0AECAC14-C3A3-41FE-6C16-03F83252D6E8}"/>
            </ac:spMkLst>
          </pc:spChg>
          <pc:spChg chg="mod">
            <ac:chgData name="Grace, Morgan (Brisbane)" userId="221d5f7b-4a46-4bd5-bdf1-698d3a91c208" providerId="ADAL" clId="{D90324C1-6CE4-4C28-B886-AED0B666B37F}" dt="2024-06-06T05:13:55.626" v="42359" actId="790"/>
            <ac:spMkLst>
              <pc:docMk/>
              <pc:sldMasterMk cId="3038285351" sldId="2147484138"/>
              <pc:sldLayoutMk cId="545725812" sldId="2147484162"/>
              <ac:spMk id="11" creationId="{4ED9087B-C26F-8ECB-6E02-F0912487C3DA}"/>
            </ac:spMkLst>
          </pc:spChg>
          <pc:spChg chg="mod">
            <ac:chgData name="Grace, Morgan (Brisbane)" userId="221d5f7b-4a46-4bd5-bdf1-698d3a91c208" providerId="ADAL" clId="{D90324C1-6CE4-4C28-B886-AED0B666B37F}" dt="2024-06-06T05:13:55.633" v="42360" actId="790"/>
            <ac:spMkLst>
              <pc:docMk/>
              <pc:sldMasterMk cId="3038285351" sldId="2147484138"/>
              <pc:sldLayoutMk cId="545725812" sldId="2147484162"/>
              <ac:spMk id="12" creationId="{FFC4551D-701B-E7DD-F9BD-AD91D777DD42}"/>
            </ac:spMkLst>
          </pc:spChg>
          <pc:spChg chg="mod">
            <ac:chgData name="Grace, Morgan (Brisbane)" userId="221d5f7b-4a46-4bd5-bdf1-698d3a91c208" providerId="ADAL" clId="{D90324C1-6CE4-4C28-B886-AED0B666B37F}" dt="2024-06-06T05:13:55.633" v="42361" actId="790"/>
            <ac:spMkLst>
              <pc:docMk/>
              <pc:sldMasterMk cId="3038285351" sldId="2147484138"/>
              <pc:sldLayoutMk cId="545725812" sldId="2147484162"/>
              <ac:spMk id="13" creationId="{C26B13C5-DE30-BFE3-80F1-C9748DAF355A}"/>
            </ac:spMkLst>
          </pc:spChg>
          <pc:spChg chg="mod">
            <ac:chgData name="Grace, Morgan (Brisbane)" userId="221d5f7b-4a46-4bd5-bdf1-698d3a91c208" providerId="ADAL" clId="{D90324C1-6CE4-4C28-B886-AED0B666B37F}" dt="2024-06-06T05:13:55.633" v="42362" actId="790"/>
            <ac:spMkLst>
              <pc:docMk/>
              <pc:sldMasterMk cId="3038285351" sldId="2147484138"/>
              <pc:sldLayoutMk cId="545725812" sldId="2147484162"/>
              <ac:spMk id="15" creationId="{CD812EC7-E6B7-0D6F-6F8A-BCFF0E5092DC}"/>
            </ac:spMkLst>
          </pc:spChg>
          <pc:spChg chg="mod">
            <ac:chgData name="Grace, Morgan (Brisbane)" userId="221d5f7b-4a46-4bd5-bdf1-698d3a91c208" providerId="ADAL" clId="{D90324C1-6CE4-4C28-B886-AED0B666B37F}" dt="2024-06-06T05:13:58.969" v="44709" actId="948"/>
            <ac:spMkLst>
              <pc:docMk/>
              <pc:sldMasterMk cId="3038285351" sldId="2147484138"/>
              <pc:sldLayoutMk cId="545725812" sldId="2147484162"/>
              <ac:spMk id="16" creationId="{8E705781-1FF3-8CE4-8B50-C76225B8B6B3}"/>
            </ac:spMkLst>
          </pc:spChg>
          <pc:spChg chg="mod">
            <ac:chgData name="Grace, Morgan (Brisbane)" userId="221d5f7b-4a46-4bd5-bdf1-698d3a91c208" providerId="ADAL" clId="{D90324C1-6CE4-4C28-B886-AED0B666B37F}" dt="2024-06-06T05:13:55.633" v="42364" actId="790"/>
            <ac:spMkLst>
              <pc:docMk/>
              <pc:sldMasterMk cId="3038285351" sldId="2147484138"/>
              <pc:sldLayoutMk cId="545725812" sldId="2147484162"/>
              <ac:spMk id="17" creationId="{8D049E34-FB25-6818-DAB9-5DCD8AD971F0}"/>
            </ac:spMkLst>
          </pc:spChg>
          <pc:spChg chg="mod">
            <ac:chgData name="Grace, Morgan (Brisbane)" userId="221d5f7b-4a46-4bd5-bdf1-698d3a91c208" providerId="ADAL" clId="{D90324C1-6CE4-4C28-B886-AED0B666B37F}" dt="2024-06-06T05:13:55.633" v="42365" actId="790"/>
            <ac:spMkLst>
              <pc:docMk/>
              <pc:sldMasterMk cId="3038285351" sldId="2147484138"/>
              <pc:sldLayoutMk cId="545725812" sldId="2147484162"/>
              <ac:spMk id="18" creationId="{033C01CF-AAE8-B586-8002-927F9A3B6116}"/>
            </ac:spMkLst>
          </pc:spChg>
          <pc:spChg chg="mod">
            <ac:chgData name="Grace, Morgan (Brisbane)" userId="221d5f7b-4a46-4bd5-bdf1-698d3a91c208" providerId="ADAL" clId="{D90324C1-6CE4-4C28-B886-AED0B666B37F}" dt="2024-06-06T05:13:55.633" v="42366" actId="790"/>
            <ac:spMkLst>
              <pc:docMk/>
              <pc:sldMasterMk cId="3038285351" sldId="2147484138"/>
              <pc:sldLayoutMk cId="545725812" sldId="2147484162"/>
              <ac:spMk id="19" creationId="{46D17167-9C49-D4F2-468A-93DB07AFA227}"/>
            </ac:spMkLst>
          </pc:spChg>
          <pc:spChg chg="mod">
            <ac:chgData name="Grace, Morgan (Brisbane)" userId="221d5f7b-4a46-4bd5-bdf1-698d3a91c208" providerId="ADAL" clId="{D90324C1-6CE4-4C28-B886-AED0B666B37F}" dt="2024-06-06T05:13:55.633" v="42367" actId="790"/>
            <ac:spMkLst>
              <pc:docMk/>
              <pc:sldMasterMk cId="3038285351" sldId="2147484138"/>
              <pc:sldLayoutMk cId="545725812" sldId="2147484162"/>
              <ac:spMk id="20" creationId="{446BCBF6-F49C-4696-E78B-4721FD4CFC6B}"/>
            </ac:spMkLst>
          </pc:spChg>
          <pc:spChg chg="mod">
            <ac:chgData name="Grace, Morgan (Brisbane)" userId="221d5f7b-4a46-4bd5-bdf1-698d3a91c208" providerId="ADAL" clId="{D90324C1-6CE4-4C28-B886-AED0B666B37F}" dt="2024-06-06T05:13:55.633" v="42368" actId="790"/>
            <ac:spMkLst>
              <pc:docMk/>
              <pc:sldMasterMk cId="3038285351" sldId="2147484138"/>
              <pc:sldLayoutMk cId="545725812" sldId="2147484162"/>
              <ac:spMk id="21" creationId="{DA9864BB-93BF-8272-E105-7818BB743757}"/>
            </ac:spMkLst>
          </pc:spChg>
          <pc:spChg chg="mod">
            <ac:chgData name="Grace, Morgan (Brisbane)" userId="221d5f7b-4a46-4bd5-bdf1-698d3a91c208" providerId="ADAL" clId="{D90324C1-6CE4-4C28-B886-AED0B666B37F}" dt="2024-06-06T05:13:55.610" v="42353" actId="790"/>
            <ac:spMkLst>
              <pc:docMk/>
              <pc:sldMasterMk cId="3038285351" sldId="2147484138"/>
              <pc:sldLayoutMk cId="545725812" sldId="2147484162"/>
              <ac:spMk id="24" creationId="{FA505BB8-857A-CDFD-4B18-C5DFE4AE44D2}"/>
            </ac:spMkLst>
          </pc:spChg>
          <pc:spChg chg="mod">
            <ac:chgData name="Grace, Morgan (Brisbane)" userId="221d5f7b-4a46-4bd5-bdf1-698d3a91c208" providerId="ADAL" clId="{D90324C1-6CE4-4C28-B886-AED0B666B37F}" dt="2024-06-06T05:13:55.610" v="42354" actId="790"/>
            <ac:spMkLst>
              <pc:docMk/>
              <pc:sldMasterMk cId="3038285351" sldId="2147484138"/>
              <pc:sldLayoutMk cId="545725812" sldId="2147484162"/>
              <ac:spMk id="25" creationId="{AB472C27-BF59-FCB4-91CD-4C2145544944}"/>
            </ac:spMkLst>
          </pc:spChg>
          <pc:spChg chg="mod">
            <ac:chgData name="Grace, Morgan (Brisbane)" userId="221d5f7b-4a46-4bd5-bdf1-698d3a91c208" providerId="ADAL" clId="{D90324C1-6CE4-4C28-B886-AED0B666B37F}" dt="2024-06-06T05:13:55.610" v="42355" actId="790"/>
            <ac:spMkLst>
              <pc:docMk/>
              <pc:sldMasterMk cId="3038285351" sldId="2147484138"/>
              <pc:sldLayoutMk cId="545725812" sldId="2147484162"/>
              <ac:spMk id="26" creationId="{5EFCB6ED-5CD2-6215-943E-24AF21465ECB}"/>
            </ac:spMkLst>
          </pc:spChg>
          <pc:graphicFrameChg chg="mod ord modVis replST">
            <ac:chgData name="Grace, Morgan (Brisbane)" userId="221d5f7b-4a46-4bd5-bdf1-698d3a91c208" providerId="ADAL" clId="{D90324C1-6CE4-4C28-B886-AED0B666B37F}" dt="2024-06-06T05:14:00.941" v="45954"/>
            <ac:graphicFrameMkLst>
              <pc:docMk/>
              <pc:sldMasterMk cId="3038285351" sldId="2147484138"/>
              <pc:sldLayoutMk cId="545725812" sldId="2147484162"/>
              <ac:graphicFrameMk id="4" creationId="{2ED462B6-149D-13C1-DBEC-E80A3AB7C7B7}"/>
            </ac:graphicFrameMkLst>
          </pc:graphicFrameChg>
        </pc:sldLayoutChg>
        <pc:sldLayoutChg chg="delSp modSp mod">
          <pc:chgData name="Grace, Morgan (Brisbane)" userId="221d5f7b-4a46-4bd5-bdf1-698d3a91c208" providerId="ADAL" clId="{D90324C1-6CE4-4C28-B886-AED0B666B37F}" dt="2024-06-06T05:14:00.959" v="45962"/>
          <pc:sldLayoutMkLst>
            <pc:docMk/>
            <pc:sldMasterMk cId="3038285351" sldId="2147484138"/>
            <pc:sldLayoutMk cId="1275455500" sldId="2147484163"/>
          </pc:sldLayoutMkLst>
          <pc:spChg chg="mod">
            <ac:chgData name="Grace, Morgan (Brisbane)" userId="221d5f7b-4a46-4bd5-bdf1-698d3a91c208" providerId="ADAL" clId="{D90324C1-6CE4-4C28-B886-AED0B666B37F}" dt="2024-06-06T05:13:55.695" v="42397" actId="790"/>
            <ac:spMkLst>
              <pc:docMk/>
              <pc:sldMasterMk cId="3038285351" sldId="2147484138"/>
              <pc:sldLayoutMk cId="1275455500" sldId="2147484163"/>
              <ac:spMk id="2" creationId="{C313A775-24B7-7515-3559-841467C2C1D9}"/>
            </ac:spMkLst>
          </pc:spChg>
          <pc:spChg chg="del mod modVis">
            <ac:chgData name="Grace, Morgan (Brisbane)" userId="221d5f7b-4a46-4bd5-bdf1-698d3a91c208" providerId="ADAL" clId="{D90324C1-6CE4-4C28-B886-AED0B666B37F}" dt="2024-06-06T05:14:00.941" v="45955" actId="478"/>
            <ac:spMkLst>
              <pc:docMk/>
              <pc:sldMasterMk cId="3038285351" sldId="2147484138"/>
              <pc:sldLayoutMk cId="1275455500" sldId="2147484163"/>
              <ac:spMk id="3" creationId="{EC9D8FA9-28B3-78C0-D317-EB8237B77D7D}"/>
            </ac:spMkLst>
          </pc:spChg>
          <pc:spChg chg="mod">
            <ac:chgData name="Grace, Morgan (Brisbane)" userId="221d5f7b-4a46-4bd5-bdf1-698d3a91c208" providerId="ADAL" clId="{D90324C1-6CE4-4C28-B886-AED0B666B37F}" dt="2024-06-06T05:13:58.985" v="44728" actId="948"/>
            <ac:spMkLst>
              <pc:docMk/>
              <pc:sldMasterMk cId="3038285351" sldId="2147484138"/>
              <pc:sldLayoutMk cId="1275455500" sldId="2147484163"/>
              <ac:spMk id="25" creationId="{8B698040-36E7-D812-A70A-DB7BFB6F9864}"/>
            </ac:spMkLst>
          </pc:spChg>
          <pc:spChg chg="mod">
            <ac:chgData name="Grace, Morgan (Brisbane)" userId="221d5f7b-4a46-4bd5-bdf1-698d3a91c208" providerId="ADAL" clId="{D90324C1-6CE4-4C28-B886-AED0B666B37F}" dt="2024-06-06T05:13:55.664" v="42371" actId="790"/>
            <ac:spMkLst>
              <pc:docMk/>
              <pc:sldMasterMk cId="3038285351" sldId="2147484138"/>
              <pc:sldLayoutMk cId="1275455500" sldId="2147484163"/>
              <ac:spMk id="26" creationId="{AF171BAD-8A9B-C0DE-051A-E8170B338C50}"/>
            </ac:spMkLst>
          </pc:spChg>
          <pc:spChg chg="mod">
            <ac:chgData name="Grace, Morgan (Brisbane)" userId="221d5f7b-4a46-4bd5-bdf1-698d3a91c208" providerId="ADAL" clId="{D90324C1-6CE4-4C28-B886-AED0B666B37F}" dt="2024-06-06T05:13:55.664" v="42372" actId="790"/>
            <ac:spMkLst>
              <pc:docMk/>
              <pc:sldMasterMk cId="3038285351" sldId="2147484138"/>
              <pc:sldLayoutMk cId="1275455500" sldId="2147484163"/>
              <ac:spMk id="49" creationId="{D99AA914-4041-8437-8E30-797CA494A642}"/>
            </ac:spMkLst>
          </pc:spChg>
          <pc:spChg chg="mod">
            <ac:chgData name="Grace, Morgan (Brisbane)" userId="221d5f7b-4a46-4bd5-bdf1-698d3a91c208" providerId="ADAL" clId="{D90324C1-6CE4-4C28-B886-AED0B666B37F}" dt="2024-06-06T05:13:55.664" v="42373" actId="790"/>
            <ac:spMkLst>
              <pc:docMk/>
              <pc:sldMasterMk cId="3038285351" sldId="2147484138"/>
              <pc:sldLayoutMk cId="1275455500" sldId="2147484163"/>
              <ac:spMk id="50" creationId="{55C156AF-0ADC-3253-219B-AAEEF68689AC}"/>
            </ac:spMkLst>
          </pc:spChg>
          <pc:spChg chg="mod">
            <ac:chgData name="Grace, Morgan (Brisbane)" userId="221d5f7b-4a46-4bd5-bdf1-698d3a91c208" providerId="ADAL" clId="{D90324C1-6CE4-4C28-B886-AED0B666B37F}" dt="2024-06-06T05:13:55.664" v="42374" actId="790"/>
            <ac:spMkLst>
              <pc:docMk/>
              <pc:sldMasterMk cId="3038285351" sldId="2147484138"/>
              <pc:sldLayoutMk cId="1275455500" sldId="2147484163"/>
              <ac:spMk id="51" creationId="{10495980-2FB2-C2F6-BFF9-DC69E306715B}"/>
            </ac:spMkLst>
          </pc:spChg>
          <pc:spChg chg="mod">
            <ac:chgData name="Grace, Morgan (Brisbane)" userId="221d5f7b-4a46-4bd5-bdf1-698d3a91c208" providerId="ADAL" clId="{D90324C1-6CE4-4C28-B886-AED0B666B37F}" dt="2024-06-06T05:13:55.664" v="42375" actId="790"/>
            <ac:spMkLst>
              <pc:docMk/>
              <pc:sldMasterMk cId="3038285351" sldId="2147484138"/>
              <pc:sldLayoutMk cId="1275455500" sldId="2147484163"/>
              <ac:spMk id="52" creationId="{940A4722-FF91-8173-E029-770F5EB5488B}"/>
            </ac:spMkLst>
          </pc:spChg>
          <pc:spChg chg="mod">
            <ac:chgData name="Grace, Morgan (Brisbane)" userId="221d5f7b-4a46-4bd5-bdf1-698d3a91c208" providerId="ADAL" clId="{D90324C1-6CE4-4C28-B886-AED0B666B37F}" dt="2024-06-06T05:13:55.664" v="42376" actId="790"/>
            <ac:spMkLst>
              <pc:docMk/>
              <pc:sldMasterMk cId="3038285351" sldId="2147484138"/>
              <pc:sldLayoutMk cId="1275455500" sldId="2147484163"/>
              <ac:spMk id="53" creationId="{FA2B5B95-7153-7A09-DE17-0382E7B8386C}"/>
            </ac:spMkLst>
          </pc:spChg>
          <pc:spChg chg="mod">
            <ac:chgData name="Grace, Morgan (Brisbane)" userId="221d5f7b-4a46-4bd5-bdf1-698d3a91c208" providerId="ADAL" clId="{D90324C1-6CE4-4C28-B886-AED0B666B37F}" dt="2024-06-06T05:13:55.664" v="42377" actId="790"/>
            <ac:spMkLst>
              <pc:docMk/>
              <pc:sldMasterMk cId="3038285351" sldId="2147484138"/>
              <pc:sldLayoutMk cId="1275455500" sldId="2147484163"/>
              <ac:spMk id="54" creationId="{AA66F570-F712-D0A3-5ADD-903CBE9F1326}"/>
            </ac:spMkLst>
          </pc:spChg>
          <pc:spChg chg="mod">
            <ac:chgData name="Grace, Morgan (Brisbane)" userId="221d5f7b-4a46-4bd5-bdf1-698d3a91c208" providerId="ADAL" clId="{D90324C1-6CE4-4C28-B886-AED0B666B37F}" dt="2024-06-06T05:13:55.664" v="42378" actId="790"/>
            <ac:spMkLst>
              <pc:docMk/>
              <pc:sldMasterMk cId="3038285351" sldId="2147484138"/>
              <pc:sldLayoutMk cId="1275455500" sldId="2147484163"/>
              <ac:spMk id="58" creationId="{3A7C09D0-461F-8412-719A-57C3F0D90ABB}"/>
            </ac:spMkLst>
          </pc:spChg>
          <pc:spChg chg="mod">
            <ac:chgData name="Grace, Morgan (Brisbane)" userId="221d5f7b-4a46-4bd5-bdf1-698d3a91c208" providerId="ADAL" clId="{D90324C1-6CE4-4C28-B886-AED0B666B37F}" dt="2024-06-06T05:13:55.664" v="42379" actId="790"/>
            <ac:spMkLst>
              <pc:docMk/>
              <pc:sldMasterMk cId="3038285351" sldId="2147484138"/>
              <pc:sldLayoutMk cId="1275455500" sldId="2147484163"/>
              <ac:spMk id="59" creationId="{7AE0120E-E127-31E7-A4A8-2823B642B56B}"/>
            </ac:spMkLst>
          </pc:spChg>
          <pc:spChg chg="mod">
            <ac:chgData name="Grace, Morgan (Brisbane)" userId="221d5f7b-4a46-4bd5-bdf1-698d3a91c208" providerId="ADAL" clId="{D90324C1-6CE4-4C28-B886-AED0B666B37F}" dt="2024-06-06T05:13:55.679" v="42380" actId="790"/>
            <ac:spMkLst>
              <pc:docMk/>
              <pc:sldMasterMk cId="3038285351" sldId="2147484138"/>
              <pc:sldLayoutMk cId="1275455500" sldId="2147484163"/>
              <ac:spMk id="60" creationId="{E0D45D32-EFC7-E134-AB01-F9E8A218C717}"/>
            </ac:spMkLst>
          </pc:spChg>
          <pc:spChg chg="mod">
            <ac:chgData name="Grace, Morgan (Brisbane)" userId="221d5f7b-4a46-4bd5-bdf1-698d3a91c208" providerId="ADAL" clId="{D90324C1-6CE4-4C28-B886-AED0B666B37F}" dt="2024-06-06T05:13:55.679" v="42381" actId="790"/>
            <ac:spMkLst>
              <pc:docMk/>
              <pc:sldMasterMk cId="3038285351" sldId="2147484138"/>
              <pc:sldLayoutMk cId="1275455500" sldId="2147484163"/>
              <ac:spMk id="61" creationId="{8A550F60-62BF-AE46-FA42-9C8C6E508D62}"/>
            </ac:spMkLst>
          </pc:spChg>
          <pc:spChg chg="mod">
            <ac:chgData name="Grace, Morgan (Brisbane)" userId="221d5f7b-4a46-4bd5-bdf1-698d3a91c208" providerId="ADAL" clId="{D90324C1-6CE4-4C28-B886-AED0B666B37F}" dt="2024-06-06T05:13:55.679" v="42382" actId="790"/>
            <ac:spMkLst>
              <pc:docMk/>
              <pc:sldMasterMk cId="3038285351" sldId="2147484138"/>
              <pc:sldLayoutMk cId="1275455500" sldId="2147484163"/>
              <ac:spMk id="62" creationId="{A5692E7A-D8CC-3B3E-80D3-1D31DC34691F}"/>
            </ac:spMkLst>
          </pc:spChg>
          <pc:spChg chg="mod">
            <ac:chgData name="Grace, Morgan (Brisbane)" userId="221d5f7b-4a46-4bd5-bdf1-698d3a91c208" providerId="ADAL" clId="{D90324C1-6CE4-4C28-B886-AED0B666B37F}" dt="2024-06-06T05:13:55.679" v="42383" actId="790"/>
            <ac:spMkLst>
              <pc:docMk/>
              <pc:sldMasterMk cId="3038285351" sldId="2147484138"/>
              <pc:sldLayoutMk cId="1275455500" sldId="2147484163"/>
              <ac:spMk id="63" creationId="{984A9BD3-C35C-3AC0-CA9E-A23F182C91CA}"/>
            </ac:spMkLst>
          </pc:spChg>
          <pc:spChg chg="mod">
            <ac:chgData name="Grace, Morgan (Brisbane)" userId="221d5f7b-4a46-4bd5-bdf1-698d3a91c208" providerId="ADAL" clId="{D90324C1-6CE4-4C28-B886-AED0B666B37F}" dt="2024-06-06T05:13:55.679" v="42384" actId="790"/>
            <ac:spMkLst>
              <pc:docMk/>
              <pc:sldMasterMk cId="3038285351" sldId="2147484138"/>
              <pc:sldLayoutMk cId="1275455500" sldId="2147484163"/>
              <ac:spMk id="64" creationId="{22FAC3EC-9F4C-05D9-C92D-28BD997050EB}"/>
            </ac:spMkLst>
          </pc:spChg>
          <pc:spChg chg="mod">
            <ac:chgData name="Grace, Morgan (Brisbane)" userId="221d5f7b-4a46-4bd5-bdf1-698d3a91c208" providerId="ADAL" clId="{D90324C1-6CE4-4C28-B886-AED0B666B37F}" dt="2024-06-06T05:13:55.679" v="42385" actId="790"/>
            <ac:spMkLst>
              <pc:docMk/>
              <pc:sldMasterMk cId="3038285351" sldId="2147484138"/>
              <pc:sldLayoutMk cId="1275455500" sldId="2147484163"/>
              <ac:spMk id="65" creationId="{126BC016-F244-AEE3-8353-01AB3DB6B506}"/>
            </ac:spMkLst>
          </pc:spChg>
          <pc:spChg chg="mod">
            <ac:chgData name="Grace, Morgan (Brisbane)" userId="221d5f7b-4a46-4bd5-bdf1-698d3a91c208" providerId="ADAL" clId="{D90324C1-6CE4-4C28-B886-AED0B666B37F}" dt="2024-06-06T05:13:55.679" v="42386" actId="790"/>
            <ac:spMkLst>
              <pc:docMk/>
              <pc:sldMasterMk cId="3038285351" sldId="2147484138"/>
              <pc:sldLayoutMk cId="1275455500" sldId="2147484163"/>
              <ac:spMk id="66" creationId="{23F95B98-40A5-4AC3-89F5-6B4134804996}"/>
            </ac:spMkLst>
          </pc:spChg>
          <pc:spChg chg="mod">
            <ac:chgData name="Grace, Morgan (Brisbane)" userId="221d5f7b-4a46-4bd5-bdf1-698d3a91c208" providerId="ADAL" clId="{D90324C1-6CE4-4C28-B886-AED0B666B37F}" dt="2024-06-06T05:13:55.679" v="42387" actId="790"/>
            <ac:spMkLst>
              <pc:docMk/>
              <pc:sldMasterMk cId="3038285351" sldId="2147484138"/>
              <pc:sldLayoutMk cId="1275455500" sldId="2147484163"/>
              <ac:spMk id="67" creationId="{7F0011A5-ABBB-F7D3-C27C-325CC4EF97DE}"/>
            </ac:spMkLst>
          </pc:spChg>
          <pc:spChg chg="mod">
            <ac:chgData name="Grace, Morgan (Brisbane)" userId="221d5f7b-4a46-4bd5-bdf1-698d3a91c208" providerId="ADAL" clId="{D90324C1-6CE4-4C28-B886-AED0B666B37F}" dt="2024-06-06T05:13:55.679" v="42388" actId="790"/>
            <ac:spMkLst>
              <pc:docMk/>
              <pc:sldMasterMk cId="3038285351" sldId="2147484138"/>
              <pc:sldLayoutMk cId="1275455500" sldId="2147484163"/>
              <ac:spMk id="68" creationId="{173D15AE-121E-48B6-7E81-06E23A7641A9}"/>
            </ac:spMkLst>
          </pc:spChg>
          <pc:spChg chg="mod">
            <ac:chgData name="Grace, Morgan (Brisbane)" userId="221d5f7b-4a46-4bd5-bdf1-698d3a91c208" providerId="ADAL" clId="{D90324C1-6CE4-4C28-B886-AED0B666B37F}" dt="2024-06-06T05:13:55.695" v="42389" actId="790"/>
            <ac:spMkLst>
              <pc:docMk/>
              <pc:sldMasterMk cId="3038285351" sldId="2147484138"/>
              <pc:sldLayoutMk cId="1275455500" sldId="2147484163"/>
              <ac:spMk id="69" creationId="{F7F7E4EC-1326-3F2E-EEBC-01E0274B7E67}"/>
            </ac:spMkLst>
          </pc:spChg>
          <pc:spChg chg="mod">
            <ac:chgData name="Grace, Morgan (Brisbane)" userId="221d5f7b-4a46-4bd5-bdf1-698d3a91c208" providerId="ADAL" clId="{D90324C1-6CE4-4C28-B886-AED0B666B37F}" dt="2024-06-06T05:13:55.695" v="42390" actId="790"/>
            <ac:spMkLst>
              <pc:docMk/>
              <pc:sldMasterMk cId="3038285351" sldId="2147484138"/>
              <pc:sldLayoutMk cId="1275455500" sldId="2147484163"/>
              <ac:spMk id="70" creationId="{0CB18522-70A2-8D97-B579-6FE5831A5D50}"/>
            </ac:spMkLst>
          </pc:spChg>
          <pc:spChg chg="mod">
            <ac:chgData name="Grace, Morgan (Brisbane)" userId="221d5f7b-4a46-4bd5-bdf1-698d3a91c208" providerId="ADAL" clId="{D90324C1-6CE4-4C28-B886-AED0B666B37F}" dt="2024-06-06T05:13:55.695" v="42391" actId="790"/>
            <ac:spMkLst>
              <pc:docMk/>
              <pc:sldMasterMk cId="3038285351" sldId="2147484138"/>
              <pc:sldLayoutMk cId="1275455500" sldId="2147484163"/>
              <ac:spMk id="71" creationId="{C5D0BDE0-A95D-EE44-A4B0-CC1AAC92C941}"/>
            </ac:spMkLst>
          </pc:spChg>
          <pc:spChg chg="mod">
            <ac:chgData name="Grace, Morgan (Brisbane)" userId="221d5f7b-4a46-4bd5-bdf1-698d3a91c208" providerId="ADAL" clId="{D90324C1-6CE4-4C28-B886-AED0B666B37F}" dt="2024-06-06T05:13:55.695" v="42392" actId="790"/>
            <ac:spMkLst>
              <pc:docMk/>
              <pc:sldMasterMk cId="3038285351" sldId="2147484138"/>
              <pc:sldLayoutMk cId="1275455500" sldId="2147484163"/>
              <ac:spMk id="72" creationId="{2C77933A-7A08-C089-6DFB-44E38C6DE661}"/>
            </ac:spMkLst>
          </pc:spChg>
          <pc:spChg chg="mod">
            <ac:chgData name="Grace, Morgan (Brisbane)" userId="221d5f7b-4a46-4bd5-bdf1-698d3a91c208" providerId="ADAL" clId="{D90324C1-6CE4-4C28-B886-AED0B666B37F}" dt="2024-06-06T05:13:55.695" v="42393" actId="790"/>
            <ac:spMkLst>
              <pc:docMk/>
              <pc:sldMasterMk cId="3038285351" sldId="2147484138"/>
              <pc:sldLayoutMk cId="1275455500" sldId="2147484163"/>
              <ac:spMk id="73" creationId="{742EC8EC-7BBA-6C07-97D7-FF2A70DFD422}"/>
            </ac:spMkLst>
          </pc:spChg>
          <pc:spChg chg="mod">
            <ac:chgData name="Grace, Morgan (Brisbane)" userId="221d5f7b-4a46-4bd5-bdf1-698d3a91c208" providerId="ADAL" clId="{D90324C1-6CE4-4C28-B886-AED0B666B37F}" dt="2024-06-06T05:13:55.695" v="42394" actId="790"/>
            <ac:spMkLst>
              <pc:docMk/>
              <pc:sldMasterMk cId="3038285351" sldId="2147484138"/>
              <pc:sldLayoutMk cId="1275455500" sldId="2147484163"/>
              <ac:spMk id="74" creationId="{8AF8BECC-ABF7-3CD4-5F19-685BFEE25A7C}"/>
            </ac:spMkLst>
          </pc:spChg>
          <pc:spChg chg="mod">
            <ac:chgData name="Grace, Morgan (Brisbane)" userId="221d5f7b-4a46-4bd5-bdf1-698d3a91c208" providerId="ADAL" clId="{D90324C1-6CE4-4C28-B886-AED0B666B37F}" dt="2024-06-06T05:13:55.695" v="42395" actId="790"/>
            <ac:spMkLst>
              <pc:docMk/>
              <pc:sldMasterMk cId="3038285351" sldId="2147484138"/>
              <pc:sldLayoutMk cId="1275455500" sldId="2147484163"/>
              <ac:spMk id="75" creationId="{A958844A-F1E4-D132-7C3C-3420CD2F9E67}"/>
            </ac:spMkLst>
          </pc:spChg>
          <pc:spChg chg="mod">
            <ac:chgData name="Grace, Morgan (Brisbane)" userId="221d5f7b-4a46-4bd5-bdf1-698d3a91c208" providerId="ADAL" clId="{D90324C1-6CE4-4C28-B886-AED0B666B37F}" dt="2024-06-06T05:13:55.695" v="42396" actId="790"/>
            <ac:spMkLst>
              <pc:docMk/>
              <pc:sldMasterMk cId="3038285351" sldId="2147484138"/>
              <pc:sldLayoutMk cId="1275455500" sldId="2147484163"/>
              <ac:spMk id="77" creationId="{2EAC66E1-2DA2-6771-B62C-B1A824A8BF18}"/>
            </ac:spMkLst>
          </pc:spChg>
          <pc:graphicFrameChg chg="mod ord modVis replST">
            <ac:chgData name="Grace, Morgan (Brisbane)" userId="221d5f7b-4a46-4bd5-bdf1-698d3a91c208" providerId="ADAL" clId="{D90324C1-6CE4-4C28-B886-AED0B666B37F}" dt="2024-06-06T05:14:00.959" v="45962"/>
            <ac:graphicFrameMkLst>
              <pc:docMk/>
              <pc:sldMasterMk cId="3038285351" sldId="2147484138"/>
              <pc:sldLayoutMk cId="1275455500" sldId="2147484163"/>
              <ac:graphicFrameMk id="4" creationId="{0B08B509-F6B6-CC15-DD47-1E66F7E2C5AA}"/>
            </ac:graphicFrameMkLst>
          </pc:graphicFrameChg>
        </pc:sldLayoutChg>
        <pc:sldLayoutChg chg="delSp modSp mod">
          <pc:chgData name="Grace, Morgan (Brisbane)" userId="221d5f7b-4a46-4bd5-bdf1-698d3a91c208" providerId="ADAL" clId="{D90324C1-6CE4-4C28-B886-AED0B666B37F}" dt="2024-06-06T05:14:00.990" v="45970"/>
          <pc:sldLayoutMkLst>
            <pc:docMk/>
            <pc:sldMasterMk cId="3038285351" sldId="2147484138"/>
            <pc:sldLayoutMk cId="805317852" sldId="2147484164"/>
          </pc:sldLayoutMkLst>
          <pc:spChg chg="mod">
            <ac:chgData name="Grace, Morgan (Brisbane)" userId="221d5f7b-4a46-4bd5-bdf1-698d3a91c208" providerId="ADAL" clId="{D90324C1-6CE4-4C28-B886-AED0B666B37F}" dt="2024-06-06T05:13:55.780" v="42438" actId="790"/>
            <ac:spMkLst>
              <pc:docMk/>
              <pc:sldMasterMk cId="3038285351" sldId="2147484138"/>
              <pc:sldLayoutMk cId="805317852" sldId="2147484164"/>
              <ac:spMk id="2" creationId="{35AF1F35-2BC9-E6D3-D3C7-92029F1C2E45}"/>
            </ac:spMkLst>
          </pc:spChg>
          <pc:spChg chg="mod">
            <ac:chgData name="Grace, Morgan (Brisbane)" userId="221d5f7b-4a46-4bd5-bdf1-698d3a91c208" providerId="ADAL" clId="{D90324C1-6CE4-4C28-B886-AED0B666B37F}" dt="2024-06-06T05:13:55.748" v="42416" actId="790"/>
            <ac:spMkLst>
              <pc:docMk/>
              <pc:sldMasterMk cId="3038285351" sldId="2147484138"/>
              <pc:sldLayoutMk cId="805317852" sldId="2147484164"/>
              <ac:spMk id="3" creationId="{7649A1A6-8BB2-3DB0-6528-1A97023D826E}"/>
            </ac:spMkLst>
          </pc:spChg>
          <pc:spChg chg="mod">
            <ac:chgData name="Grace, Morgan (Brisbane)" userId="221d5f7b-4a46-4bd5-bdf1-698d3a91c208" providerId="ADAL" clId="{D90324C1-6CE4-4C28-B886-AED0B666B37F}" dt="2024-06-06T05:13:55.748" v="42417" actId="790"/>
            <ac:spMkLst>
              <pc:docMk/>
              <pc:sldMasterMk cId="3038285351" sldId="2147484138"/>
              <pc:sldLayoutMk cId="805317852" sldId="2147484164"/>
              <ac:spMk id="4" creationId="{1738C416-A771-006E-7A9A-E71192A3B51C}"/>
            </ac:spMkLst>
          </pc:spChg>
          <pc:spChg chg="del mod modVis">
            <ac:chgData name="Grace, Morgan (Brisbane)" userId="221d5f7b-4a46-4bd5-bdf1-698d3a91c208" providerId="ADAL" clId="{D90324C1-6CE4-4C28-B886-AED0B666B37F}" dt="2024-06-06T05:14:00.959" v="45963" actId="478"/>
            <ac:spMkLst>
              <pc:docMk/>
              <pc:sldMasterMk cId="3038285351" sldId="2147484138"/>
              <pc:sldLayoutMk cId="805317852" sldId="2147484164"/>
              <ac:spMk id="5" creationId="{AE8A2191-4746-0B12-33AF-D11EC01DD39C}"/>
            </ac:spMkLst>
          </pc:spChg>
          <pc:spChg chg="mod">
            <ac:chgData name="Grace, Morgan (Brisbane)" userId="221d5f7b-4a46-4bd5-bdf1-698d3a91c208" providerId="ADAL" clId="{D90324C1-6CE4-4C28-B886-AED0B666B37F}" dt="2024-06-06T05:13:55.748" v="42418" actId="790"/>
            <ac:spMkLst>
              <pc:docMk/>
              <pc:sldMasterMk cId="3038285351" sldId="2147484138"/>
              <pc:sldLayoutMk cId="805317852" sldId="2147484164"/>
              <ac:spMk id="6" creationId="{ECDBDF55-EDA1-3C1A-2807-7DF7B554A4BC}"/>
            </ac:spMkLst>
          </pc:spChg>
          <pc:spChg chg="mod">
            <ac:chgData name="Grace, Morgan (Brisbane)" userId="221d5f7b-4a46-4bd5-bdf1-698d3a91c208" providerId="ADAL" clId="{D90324C1-6CE4-4C28-B886-AED0B666B37F}" dt="2024-06-06T05:13:55.748" v="42419" actId="790"/>
            <ac:spMkLst>
              <pc:docMk/>
              <pc:sldMasterMk cId="3038285351" sldId="2147484138"/>
              <pc:sldLayoutMk cId="805317852" sldId="2147484164"/>
              <ac:spMk id="7" creationId="{B3E24485-5EB1-BEE2-0B83-8304CC4B126F}"/>
            </ac:spMkLst>
          </pc:spChg>
          <pc:spChg chg="mod">
            <ac:chgData name="Grace, Morgan (Brisbane)" userId="221d5f7b-4a46-4bd5-bdf1-698d3a91c208" providerId="ADAL" clId="{D90324C1-6CE4-4C28-B886-AED0B666B37F}" dt="2024-06-06T05:13:55.748" v="42420" actId="790"/>
            <ac:spMkLst>
              <pc:docMk/>
              <pc:sldMasterMk cId="3038285351" sldId="2147484138"/>
              <pc:sldLayoutMk cId="805317852" sldId="2147484164"/>
              <ac:spMk id="8" creationId="{EBA985A7-3FB2-1F69-0441-292FCF882154}"/>
            </ac:spMkLst>
          </pc:spChg>
          <pc:spChg chg="mod">
            <ac:chgData name="Grace, Morgan (Brisbane)" userId="221d5f7b-4a46-4bd5-bdf1-698d3a91c208" providerId="ADAL" clId="{D90324C1-6CE4-4C28-B886-AED0B666B37F}" dt="2024-06-06T05:13:55.748" v="42421" actId="790"/>
            <ac:spMkLst>
              <pc:docMk/>
              <pc:sldMasterMk cId="3038285351" sldId="2147484138"/>
              <pc:sldLayoutMk cId="805317852" sldId="2147484164"/>
              <ac:spMk id="9" creationId="{26DB58EA-9851-EC30-69C3-FEAED68F59CE}"/>
            </ac:spMkLst>
          </pc:spChg>
          <pc:spChg chg="mod">
            <ac:chgData name="Grace, Morgan (Brisbane)" userId="221d5f7b-4a46-4bd5-bdf1-698d3a91c208" providerId="ADAL" clId="{D90324C1-6CE4-4C28-B886-AED0B666B37F}" dt="2024-06-06T05:13:55.748" v="42422" actId="790"/>
            <ac:spMkLst>
              <pc:docMk/>
              <pc:sldMasterMk cId="3038285351" sldId="2147484138"/>
              <pc:sldLayoutMk cId="805317852" sldId="2147484164"/>
              <ac:spMk id="10" creationId="{2F853119-3291-86C9-8134-3B62F6BB7CDC}"/>
            </ac:spMkLst>
          </pc:spChg>
          <pc:spChg chg="mod">
            <ac:chgData name="Grace, Morgan (Brisbane)" userId="221d5f7b-4a46-4bd5-bdf1-698d3a91c208" providerId="ADAL" clId="{D90324C1-6CE4-4C28-B886-AED0B666B37F}" dt="2024-06-06T05:13:55.748" v="42423" actId="790"/>
            <ac:spMkLst>
              <pc:docMk/>
              <pc:sldMasterMk cId="3038285351" sldId="2147484138"/>
              <pc:sldLayoutMk cId="805317852" sldId="2147484164"/>
              <ac:spMk id="11" creationId="{493A258E-0A77-8AE7-85C4-BB05BA8EC428}"/>
            </ac:spMkLst>
          </pc:spChg>
          <pc:spChg chg="mod">
            <ac:chgData name="Grace, Morgan (Brisbane)" userId="221d5f7b-4a46-4bd5-bdf1-698d3a91c208" providerId="ADAL" clId="{D90324C1-6CE4-4C28-B886-AED0B666B37F}" dt="2024-06-06T05:13:55.764" v="42424" actId="790"/>
            <ac:spMkLst>
              <pc:docMk/>
              <pc:sldMasterMk cId="3038285351" sldId="2147484138"/>
              <pc:sldLayoutMk cId="805317852" sldId="2147484164"/>
              <ac:spMk id="12" creationId="{E9F9926B-198E-36E7-647E-63E5B57AF738}"/>
            </ac:spMkLst>
          </pc:spChg>
          <pc:spChg chg="mod">
            <ac:chgData name="Grace, Morgan (Brisbane)" userId="221d5f7b-4a46-4bd5-bdf1-698d3a91c208" providerId="ADAL" clId="{D90324C1-6CE4-4C28-B886-AED0B666B37F}" dt="2024-06-06T05:13:55.764" v="42425" actId="790"/>
            <ac:spMkLst>
              <pc:docMk/>
              <pc:sldMasterMk cId="3038285351" sldId="2147484138"/>
              <pc:sldLayoutMk cId="805317852" sldId="2147484164"/>
              <ac:spMk id="13" creationId="{250E494B-E345-E6BD-B49A-1A9FC7B08FAB}"/>
            </ac:spMkLst>
          </pc:spChg>
          <pc:spChg chg="mod">
            <ac:chgData name="Grace, Morgan (Brisbane)" userId="221d5f7b-4a46-4bd5-bdf1-698d3a91c208" providerId="ADAL" clId="{D90324C1-6CE4-4C28-B886-AED0B666B37F}" dt="2024-06-06T05:13:55.764" v="42426" actId="790"/>
            <ac:spMkLst>
              <pc:docMk/>
              <pc:sldMasterMk cId="3038285351" sldId="2147484138"/>
              <pc:sldLayoutMk cId="805317852" sldId="2147484164"/>
              <ac:spMk id="14" creationId="{2CD66ACD-B71C-0AEF-4BE6-5EF3D4A29E75}"/>
            </ac:spMkLst>
          </pc:spChg>
          <pc:spChg chg="mod">
            <ac:chgData name="Grace, Morgan (Brisbane)" userId="221d5f7b-4a46-4bd5-bdf1-698d3a91c208" providerId="ADAL" clId="{D90324C1-6CE4-4C28-B886-AED0B666B37F}" dt="2024-06-06T05:13:55.764" v="42427" actId="790"/>
            <ac:spMkLst>
              <pc:docMk/>
              <pc:sldMasterMk cId="3038285351" sldId="2147484138"/>
              <pc:sldLayoutMk cId="805317852" sldId="2147484164"/>
              <ac:spMk id="15" creationId="{1950AAF4-78B3-C752-E949-B9316B4F1C86}"/>
            </ac:spMkLst>
          </pc:spChg>
          <pc:spChg chg="mod">
            <ac:chgData name="Grace, Morgan (Brisbane)" userId="221d5f7b-4a46-4bd5-bdf1-698d3a91c208" providerId="ADAL" clId="{D90324C1-6CE4-4C28-B886-AED0B666B37F}" dt="2024-06-06T05:13:55.764" v="42428" actId="790"/>
            <ac:spMkLst>
              <pc:docMk/>
              <pc:sldMasterMk cId="3038285351" sldId="2147484138"/>
              <pc:sldLayoutMk cId="805317852" sldId="2147484164"/>
              <ac:spMk id="16" creationId="{04D71DD2-22B2-C435-107B-73D8758A9908}"/>
            </ac:spMkLst>
          </pc:spChg>
          <pc:spChg chg="mod">
            <ac:chgData name="Grace, Morgan (Brisbane)" userId="221d5f7b-4a46-4bd5-bdf1-698d3a91c208" providerId="ADAL" clId="{D90324C1-6CE4-4C28-B886-AED0B666B37F}" dt="2024-06-06T05:13:55.764" v="42429" actId="790"/>
            <ac:spMkLst>
              <pc:docMk/>
              <pc:sldMasterMk cId="3038285351" sldId="2147484138"/>
              <pc:sldLayoutMk cId="805317852" sldId="2147484164"/>
              <ac:spMk id="17" creationId="{11E20692-FD6B-DD81-B97D-82799DF4D4B8}"/>
            </ac:spMkLst>
          </pc:spChg>
          <pc:spChg chg="mod">
            <ac:chgData name="Grace, Morgan (Brisbane)" userId="221d5f7b-4a46-4bd5-bdf1-698d3a91c208" providerId="ADAL" clId="{D90324C1-6CE4-4C28-B886-AED0B666B37F}" dt="2024-06-06T05:13:55.764" v="42430" actId="790"/>
            <ac:spMkLst>
              <pc:docMk/>
              <pc:sldMasterMk cId="3038285351" sldId="2147484138"/>
              <pc:sldLayoutMk cId="805317852" sldId="2147484164"/>
              <ac:spMk id="18" creationId="{8FDECBDA-66FC-A8E8-2C03-F007071D5422}"/>
            </ac:spMkLst>
          </pc:spChg>
          <pc:spChg chg="mod">
            <ac:chgData name="Grace, Morgan (Brisbane)" userId="221d5f7b-4a46-4bd5-bdf1-698d3a91c208" providerId="ADAL" clId="{D90324C1-6CE4-4C28-B886-AED0B666B37F}" dt="2024-06-06T05:13:55.764" v="42431" actId="790"/>
            <ac:spMkLst>
              <pc:docMk/>
              <pc:sldMasterMk cId="3038285351" sldId="2147484138"/>
              <pc:sldLayoutMk cId="805317852" sldId="2147484164"/>
              <ac:spMk id="19" creationId="{5AFE9389-47EC-1485-99AA-0DFBFCBD52A7}"/>
            </ac:spMkLst>
          </pc:spChg>
          <pc:spChg chg="mod">
            <ac:chgData name="Grace, Morgan (Brisbane)" userId="221d5f7b-4a46-4bd5-bdf1-698d3a91c208" providerId="ADAL" clId="{D90324C1-6CE4-4C28-B886-AED0B666B37F}" dt="2024-06-06T05:13:55.764" v="42432" actId="790"/>
            <ac:spMkLst>
              <pc:docMk/>
              <pc:sldMasterMk cId="3038285351" sldId="2147484138"/>
              <pc:sldLayoutMk cId="805317852" sldId="2147484164"/>
              <ac:spMk id="20" creationId="{DD2EDAE5-82CD-B42A-EBD6-EA42BB0AAED5}"/>
            </ac:spMkLst>
          </pc:spChg>
          <pc:spChg chg="mod">
            <ac:chgData name="Grace, Morgan (Brisbane)" userId="221d5f7b-4a46-4bd5-bdf1-698d3a91c208" providerId="ADAL" clId="{D90324C1-6CE4-4C28-B886-AED0B666B37F}" dt="2024-06-06T05:13:55.764" v="42433" actId="790"/>
            <ac:spMkLst>
              <pc:docMk/>
              <pc:sldMasterMk cId="3038285351" sldId="2147484138"/>
              <pc:sldLayoutMk cId="805317852" sldId="2147484164"/>
              <ac:spMk id="21" creationId="{42E6E8BB-7E42-497F-DD49-2F4FF8BC292D}"/>
            </ac:spMkLst>
          </pc:spChg>
          <pc:spChg chg="mod">
            <ac:chgData name="Grace, Morgan (Brisbane)" userId="221d5f7b-4a46-4bd5-bdf1-698d3a91c208" providerId="ADAL" clId="{D90324C1-6CE4-4C28-B886-AED0B666B37F}" dt="2024-06-06T05:13:55.726" v="42399" actId="947"/>
            <ac:spMkLst>
              <pc:docMk/>
              <pc:sldMasterMk cId="3038285351" sldId="2147484138"/>
              <pc:sldLayoutMk cId="805317852" sldId="2147484164"/>
              <ac:spMk id="22" creationId="{3792FF49-F1E4-5FCE-1190-808ABD400030}"/>
            </ac:spMkLst>
          </pc:spChg>
          <pc:spChg chg="mod">
            <ac:chgData name="Grace, Morgan (Brisbane)" userId="221d5f7b-4a46-4bd5-bdf1-698d3a91c208" providerId="ADAL" clId="{D90324C1-6CE4-4C28-B886-AED0B666B37F}" dt="2024-06-06T05:13:55.780" v="42434" actId="790"/>
            <ac:spMkLst>
              <pc:docMk/>
              <pc:sldMasterMk cId="3038285351" sldId="2147484138"/>
              <pc:sldLayoutMk cId="805317852" sldId="2147484164"/>
              <ac:spMk id="23" creationId="{0ADE6EDB-87B4-CB37-D731-1FA3DAFDC36E}"/>
            </ac:spMkLst>
          </pc:spChg>
          <pc:spChg chg="mod">
            <ac:chgData name="Grace, Morgan (Brisbane)" userId="221d5f7b-4a46-4bd5-bdf1-698d3a91c208" providerId="ADAL" clId="{D90324C1-6CE4-4C28-B886-AED0B666B37F}" dt="2024-06-06T05:13:55.733" v="42409" actId="790"/>
            <ac:spMkLst>
              <pc:docMk/>
              <pc:sldMasterMk cId="3038285351" sldId="2147484138"/>
              <pc:sldLayoutMk cId="805317852" sldId="2147484164"/>
              <ac:spMk id="24" creationId="{D3728905-279E-7106-8B1D-772BD533C104}"/>
            </ac:spMkLst>
          </pc:spChg>
          <pc:spChg chg="mod">
            <ac:chgData name="Grace, Morgan (Brisbane)" userId="221d5f7b-4a46-4bd5-bdf1-698d3a91c208" providerId="ADAL" clId="{D90324C1-6CE4-4C28-B886-AED0B666B37F}" dt="2024-06-06T05:13:59.016" v="44747" actId="948"/>
            <ac:spMkLst>
              <pc:docMk/>
              <pc:sldMasterMk cId="3038285351" sldId="2147484138"/>
              <pc:sldLayoutMk cId="805317852" sldId="2147484164"/>
              <ac:spMk id="25" creationId="{8B698040-36E7-D812-A70A-DB7BFB6F9864}"/>
            </ac:spMkLst>
          </pc:spChg>
          <pc:spChg chg="mod">
            <ac:chgData name="Grace, Morgan (Brisbane)" userId="221d5f7b-4a46-4bd5-bdf1-698d3a91c208" providerId="ADAL" clId="{D90324C1-6CE4-4C28-B886-AED0B666B37F}" dt="2024-06-06T05:13:55.780" v="42435" actId="790"/>
            <ac:spMkLst>
              <pc:docMk/>
              <pc:sldMasterMk cId="3038285351" sldId="2147484138"/>
              <pc:sldLayoutMk cId="805317852" sldId="2147484164"/>
              <ac:spMk id="26" creationId="{35649A95-ED9B-E46F-7E22-94FDF8CEFBAF}"/>
            </ac:spMkLst>
          </pc:spChg>
          <pc:spChg chg="mod">
            <ac:chgData name="Grace, Morgan (Brisbane)" userId="221d5f7b-4a46-4bd5-bdf1-698d3a91c208" providerId="ADAL" clId="{D90324C1-6CE4-4C28-B886-AED0B666B37F}" dt="2024-06-06T05:13:55.733" v="42410" actId="790"/>
            <ac:spMkLst>
              <pc:docMk/>
              <pc:sldMasterMk cId="3038285351" sldId="2147484138"/>
              <pc:sldLayoutMk cId="805317852" sldId="2147484164"/>
              <ac:spMk id="27" creationId="{1ED0DF56-B9E0-DAA3-47FC-F661E47340CA}"/>
            </ac:spMkLst>
          </pc:spChg>
          <pc:spChg chg="mod">
            <ac:chgData name="Grace, Morgan (Brisbane)" userId="221d5f7b-4a46-4bd5-bdf1-698d3a91c208" providerId="ADAL" clId="{D90324C1-6CE4-4C28-B886-AED0B666B37F}" dt="2024-06-06T05:13:55.733" v="42411" actId="790"/>
            <ac:spMkLst>
              <pc:docMk/>
              <pc:sldMasterMk cId="3038285351" sldId="2147484138"/>
              <pc:sldLayoutMk cId="805317852" sldId="2147484164"/>
              <ac:spMk id="28" creationId="{CAE5A476-9B3B-C2D2-72A9-97737B2457CC}"/>
            </ac:spMkLst>
          </pc:spChg>
          <pc:spChg chg="mod">
            <ac:chgData name="Grace, Morgan (Brisbane)" userId="221d5f7b-4a46-4bd5-bdf1-698d3a91c208" providerId="ADAL" clId="{D90324C1-6CE4-4C28-B886-AED0B666B37F}" dt="2024-06-06T05:13:55.733" v="42412" actId="790"/>
            <ac:spMkLst>
              <pc:docMk/>
              <pc:sldMasterMk cId="3038285351" sldId="2147484138"/>
              <pc:sldLayoutMk cId="805317852" sldId="2147484164"/>
              <ac:spMk id="29" creationId="{962CEC72-2679-C0CA-FD2E-252C3E04A791}"/>
            </ac:spMkLst>
          </pc:spChg>
          <pc:spChg chg="mod">
            <ac:chgData name="Grace, Morgan (Brisbane)" userId="221d5f7b-4a46-4bd5-bdf1-698d3a91c208" providerId="ADAL" clId="{D90324C1-6CE4-4C28-B886-AED0B666B37F}" dt="2024-06-06T05:13:55.748" v="42413" actId="790"/>
            <ac:spMkLst>
              <pc:docMk/>
              <pc:sldMasterMk cId="3038285351" sldId="2147484138"/>
              <pc:sldLayoutMk cId="805317852" sldId="2147484164"/>
              <ac:spMk id="30" creationId="{1363E1E9-D92E-3756-9A2C-FDB20B386488}"/>
            </ac:spMkLst>
          </pc:spChg>
          <pc:spChg chg="mod">
            <ac:chgData name="Grace, Morgan (Brisbane)" userId="221d5f7b-4a46-4bd5-bdf1-698d3a91c208" providerId="ADAL" clId="{D90324C1-6CE4-4C28-B886-AED0B666B37F}" dt="2024-06-06T05:13:55.748" v="42414" actId="790"/>
            <ac:spMkLst>
              <pc:docMk/>
              <pc:sldMasterMk cId="3038285351" sldId="2147484138"/>
              <pc:sldLayoutMk cId="805317852" sldId="2147484164"/>
              <ac:spMk id="31" creationId="{A620C6E8-1ECB-76DC-4135-D60A3565287E}"/>
            </ac:spMkLst>
          </pc:spChg>
          <pc:spChg chg="mod">
            <ac:chgData name="Grace, Morgan (Brisbane)" userId="221d5f7b-4a46-4bd5-bdf1-698d3a91c208" providerId="ADAL" clId="{D90324C1-6CE4-4C28-B886-AED0B666B37F}" dt="2024-06-06T05:13:55.780" v="42436" actId="790"/>
            <ac:spMkLst>
              <pc:docMk/>
              <pc:sldMasterMk cId="3038285351" sldId="2147484138"/>
              <pc:sldLayoutMk cId="805317852" sldId="2147484164"/>
              <ac:spMk id="44" creationId="{B8B5D2EC-52FC-BB73-B15C-EA481A29B0E0}"/>
            </ac:spMkLst>
          </pc:spChg>
          <pc:spChg chg="mod">
            <ac:chgData name="Grace, Morgan (Brisbane)" userId="221d5f7b-4a46-4bd5-bdf1-698d3a91c208" providerId="ADAL" clId="{D90324C1-6CE4-4C28-B886-AED0B666B37F}" dt="2024-06-06T05:13:55.748" v="42415" actId="790"/>
            <ac:spMkLst>
              <pc:docMk/>
              <pc:sldMasterMk cId="3038285351" sldId="2147484138"/>
              <pc:sldLayoutMk cId="805317852" sldId="2147484164"/>
              <ac:spMk id="45" creationId="{9885D681-9985-A8EE-F842-543CEA8B256A}"/>
            </ac:spMkLst>
          </pc:spChg>
          <pc:spChg chg="mod">
            <ac:chgData name="Grace, Morgan (Brisbane)" userId="221d5f7b-4a46-4bd5-bdf1-698d3a91c208" providerId="ADAL" clId="{D90324C1-6CE4-4C28-B886-AED0B666B37F}" dt="2024-06-06T05:13:55.780" v="42437" actId="790"/>
            <ac:spMkLst>
              <pc:docMk/>
              <pc:sldMasterMk cId="3038285351" sldId="2147484138"/>
              <pc:sldLayoutMk cId="805317852" sldId="2147484164"/>
              <ac:spMk id="46" creationId="{562C6F34-CE29-0702-1B0B-3269EC161FDA}"/>
            </ac:spMkLst>
          </pc:spChg>
          <pc:spChg chg="mod">
            <ac:chgData name="Grace, Morgan (Brisbane)" userId="221d5f7b-4a46-4bd5-bdf1-698d3a91c208" providerId="ADAL" clId="{D90324C1-6CE4-4C28-B886-AED0B666B37F}" dt="2024-06-06T05:13:55.726" v="42401" actId="790"/>
            <ac:spMkLst>
              <pc:docMk/>
              <pc:sldMasterMk cId="3038285351" sldId="2147484138"/>
              <pc:sldLayoutMk cId="805317852" sldId="2147484164"/>
              <ac:spMk id="49" creationId="{D99AA914-4041-8437-8E30-797CA494A642}"/>
            </ac:spMkLst>
          </pc:spChg>
          <pc:spChg chg="mod">
            <ac:chgData name="Grace, Morgan (Brisbane)" userId="221d5f7b-4a46-4bd5-bdf1-698d3a91c208" providerId="ADAL" clId="{D90324C1-6CE4-4C28-B886-AED0B666B37F}" dt="2024-06-06T05:13:55.733" v="42402" actId="790"/>
            <ac:spMkLst>
              <pc:docMk/>
              <pc:sldMasterMk cId="3038285351" sldId="2147484138"/>
              <pc:sldLayoutMk cId="805317852" sldId="2147484164"/>
              <ac:spMk id="50" creationId="{55C156AF-0ADC-3253-219B-AAEEF68689AC}"/>
            </ac:spMkLst>
          </pc:spChg>
          <pc:spChg chg="mod">
            <ac:chgData name="Grace, Morgan (Brisbane)" userId="221d5f7b-4a46-4bd5-bdf1-698d3a91c208" providerId="ADAL" clId="{D90324C1-6CE4-4C28-B886-AED0B666B37F}" dt="2024-06-06T05:13:55.733" v="42403" actId="790"/>
            <ac:spMkLst>
              <pc:docMk/>
              <pc:sldMasterMk cId="3038285351" sldId="2147484138"/>
              <pc:sldLayoutMk cId="805317852" sldId="2147484164"/>
              <ac:spMk id="51" creationId="{10495980-2FB2-C2F6-BFF9-DC69E306715B}"/>
            </ac:spMkLst>
          </pc:spChg>
          <pc:spChg chg="mod">
            <ac:chgData name="Grace, Morgan (Brisbane)" userId="221d5f7b-4a46-4bd5-bdf1-698d3a91c208" providerId="ADAL" clId="{D90324C1-6CE4-4C28-B886-AED0B666B37F}" dt="2024-06-06T05:13:55.733" v="42404" actId="790"/>
            <ac:spMkLst>
              <pc:docMk/>
              <pc:sldMasterMk cId="3038285351" sldId="2147484138"/>
              <pc:sldLayoutMk cId="805317852" sldId="2147484164"/>
              <ac:spMk id="52" creationId="{940A4722-FF91-8173-E029-770F5EB5488B}"/>
            </ac:spMkLst>
          </pc:spChg>
          <pc:spChg chg="mod">
            <ac:chgData name="Grace, Morgan (Brisbane)" userId="221d5f7b-4a46-4bd5-bdf1-698d3a91c208" providerId="ADAL" clId="{D90324C1-6CE4-4C28-B886-AED0B666B37F}" dt="2024-06-06T05:13:55.733" v="42405" actId="790"/>
            <ac:spMkLst>
              <pc:docMk/>
              <pc:sldMasterMk cId="3038285351" sldId="2147484138"/>
              <pc:sldLayoutMk cId="805317852" sldId="2147484164"/>
              <ac:spMk id="53" creationId="{FA2B5B95-7153-7A09-DE17-0382E7B8386C}"/>
            </ac:spMkLst>
          </pc:spChg>
          <pc:spChg chg="mod">
            <ac:chgData name="Grace, Morgan (Brisbane)" userId="221d5f7b-4a46-4bd5-bdf1-698d3a91c208" providerId="ADAL" clId="{D90324C1-6CE4-4C28-B886-AED0B666B37F}" dt="2024-06-06T05:13:55.733" v="42406" actId="790"/>
            <ac:spMkLst>
              <pc:docMk/>
              <pc:sldMasterMk cId="3038285351" sldId="2147484138"/>
              <pc:sldLayoutMk cId="805317852" sldId="2147484164"/>
              <ac:spMk id="54" creationId="{AA66F570-F712-D0A3-5ADD-903CBE9F1326}"/>
            </ac:spMkLst>
          </pc:spChg>
          <pc:spChg chg="mod">
            <ac:chgData name="Grace, Morgan (Brisbane)" userId="221d5f7b-4a46-4bd5-bdf1-698d3a91c208" providerId="ADAL" clId="{D90324C1-6CE4-4C28-B886-AED0B666B37F}" dt="2024-06-06T05:13:55.733" v="42407" actId="790"/>
            <ac:spMkLst>
              <pc:docMk/>
              <pc:sldMasterMk cId="3038285351" sldId="2147484138"/>
              <pc:sldLayoutMk cId="805317852" sldId="2147484164"/>
              <ac:spMk id="59" creationId="{7AE0120E-E127-31E7-A4A8-2823B642B56B}"/>
            </ac:spMkLst>
          </pc:spChg>
          <pc:spChg chg="mod">
            <ac:chgData name="Grace, Morgan (Brisbane)" userId="221d5f7b-4a46-4bd5-bdf1-698d3a91c208" providerId="ADAL" clId="{D90324C1-6CE4-4C28-B886-AED0B666B37F}" dt="2024-06-06T05:13:55.733" v="42408" actId="790"/>
            <ac:spMkLst>
              <pc:docMk/>
              <pc:sldMasterMk cId="3038285351" sldId="2147484138"/>
              <pc:sldLayoutMk cId="805317852" sldId="2147484164"/>
              <ac:spMk id="60" creationId="{E0D45D32-EFC7-E134-AB01-F9E8A218C717}"/>
            </ac:spMkLst>
          </pc:spChg>
          <pc:graphicFrameChg chg="mod ord modVis replST">
            <ac:chgData name="Grace, Morgan (Brisbane)" userId="221d5f7b-4a46-4bd5-bdf1-698d3a91c208" providerId="ADAL" clId="{D90324C1-6CE4-4C28-B886-AED0B666B37F}" dt="2024-06-06T05:14:00.990" v="45970"/>
            <ac:graphicFrameMkLst>
              <pc:docMk/>
              <pc:sldMasterMk cId="3038285351" sldId="2147484138"/>
              <pc:sldLayoutMk cId="805317852" sldId="2147484164"/>
              <ac:graphicFrameMk id="32" creationId="{E00AB87A-0697-6D36-2AF6-B79381B3EB97}"/>
            </ac:graphicFrameMkLst>
          </pc:graphicFrameChg>
        </pc:sldLayoutChg>
      </pc:sldMasterChg>
      <pc:sldMasterChg chg="delSp modSp mod modSldLayout">
        <pc:chgData name="Grace, Morgan (Brisbane)" userId="221d5f7b-4a46-4bd5-bdf1-698d3a91c208" providerId="ADAL" clId="{D90324C1-6CE4-4C28-B886-AED0B666B37F}" dt="2024-06-06T05:14:01.072" v="46004"/>
        <pc:sldMasterMkLst>
          <pc:docMk/>
          <pc:sldMasterMk cId="1176229821" sldId="2147484187"/>
        </pc:sldMasterMkLst>
        <pc:spChg chg="mod">
          <ac:chgData name="Grace, Morgan (Brisbane)" userId="221d5f7b-4a46-4bd5-bdf1-698d3a91c208" providerId="ADAL" clId="{D90324C1-6CE4-4C28-B886-AED0B666B37F}" dt="2024-06-06T05:13:59.029" v="44766" actId="948"/>
          <ac:spMkLst>
            <pc:docMk/>
            <pc:sldMasterMk cId="1176229821" sldId="2147484187"/>
            <ac:spMk id="2" creationId="{106F217F-D8E3-0146-D631-EC38566A36EF}"/>
          </ac:spMkLst>
        </pc:spChg>
        <pc:spChg chg="del mod modVis">
          <ac:chgData name="Grace, Morgan (Brisbane)" userId="221d5f7b-4a46-4bd5-bdf1-698d3a91c208" providerId="ADAL" clId="{D90324C1-6CE4-4C28-B886-AED0B666B37F}" dt="2024-06-06T05:14:00.990" v="45971" actId="478"/>
          <ac:spMkLst>
            <pc:docMk/>
            <pc:sldMasterMk cId="1176229821" sldId="2147484187"/>
            <ac:spMk id="3" creationId="{F3F12B40-0F4E-E3D8-6EFB-C5B5442C9A01}"/>
          </ac:spMkLst>
        </pc:spChg>
        <pc:spChg chg="mod">
          <ac:chgData name="Grace, Morgan (Brisbane)" userId="221d5f7b-4a46-4bd5-bdf1-698d3a91c208" providerId="ADAL" clId="{D90324C1-6CE4-4C28-B886-AED0B666B37F}" dt="2024-06-06T05:13:55.795" v="42441" actId="790"/>
          <ac:spMkLst>
            <pc:docMk/>
            <pc:sldMasterMk cId="1176229821" sldId="2147484187"/>
            <ac:spMk id="4" creationId="{3C98C8E9-53A9-E726-DFE9-07714F5557F9}"/>
          </ac:spMkLst>
        </pc:spChg>
        <pc:spChg chg="mod">
          <ac:chgData name="Grace, Morgan (Brisbane)" userId="221d5f7b-4a46-4bd5-bdf1-698d3a91c208" providerId="ADAL" clId="{D90324C1-6CE4-4C28-B886-AED0B666B37F}" dt="2024-06-06T05:13:55.795" v="42442" actId="790"/>
          <ac:spMkLst>
            <pc:docMk/>
            <pc:sldMasterMk cId="1176229821" sldId="2147484187"/>
            <ac:spMk id="6" creationId="{87DF0065-1E85-3CAE-AFF2-1B24507DE8EE}"/>
          </ac:spMkLst>
        </pc:spChg>
        <pc:spChg chg="mod">
          <ac:chgData name="Grace, Morgan (Brisbane)" userId="221d5f7b-4a46-4bd5-bdf1-698d3a91c208" providerId="ADAL" clId="{D90324C1-6CE4-4C28-B886-AED0B666B37F}" dt="2024-06-06T05:13:55.795" v="42440" actId="790"/>
          <ac:spMkLst>
            <pc:docMk/>
            <pc:sldMasterMk cId="1176229821" sldId="2147484187"/>
            <ac:spMk id="8" creationId="{05AC2582-4AF7-82C5-5AFC-CAEBC21F3E32}"/>
          </ac:spMkLst>
        </pc:spChg>
        <pc:graphicFrameChg chg="mod">
          <ac:chgData name="Grace, Morgan (Brisbane)" userId="221d5f7b-4a46-4bd5-bdf1-698d3a91c208" providerId="ADAL" clId="{D90324C1-6CE4-4C28-B886-AED0B666B37F}" dt="2024-06-06T05:14:00.990" v="45972" actId="1076"/>
          <ac:graphicFrameMkLst>
            <pc:docMk/>
            <pc:sldMasterMk cId="1176229821" sldId="2147484187"/>
            <ac:graphicFrameMk id="5" creationId="{1AB594FD-135B-F469-74E5-F86A999172AD}"/>
          </ac:graphicFrameMkLst>
        </pc:graphicFrameChg>
        <pc:sldLayoutChg chg="delSp modSp mod">
          <pc:chgData name="Grace, Morgan (Brisbane)" userId="221d5f7b-4a46-4bd5-bdf1-698d3a91c208" providerId="ADAL" clId="{D90324C1-6CE4-4C28-B886-AED0B666B37F}" dt="2024-06-06T05:14:01.014" v="45980"/>
          <pc:sldLayoutMkLst>
            <pc:docMk/>
            <pc:sldMasterMk cId="1176229821" sldId="2147484187"/>
            <pc:sldLayoutMk cId="2372022270" sldId="2147484196"/>
          </pc:sldLayoutMkLst>
          <pc:spChg chg="mod">
            <ac:chgData name="Grace, Morgan (Brisbane)" userId="221d5f7b-4a46-4bd5-bdf1-698d3a91c208" providerId="ADAL" clId="{D90324C1-6CE4-4C28-B886-AED0B666B37F}" dt="2024-06-06T05:13:55.811" v="42447" actId="790"/>
            <ac:spMkLst>
              <pc:docMk/>
              <pc:sldMasterMk cId="1176229821" sldId="2147484187"/>
              <pc:sldLayoutMk cId="2372022270" sldId="2147484196"/>
              <ac:spMk id="3" creationId="{F3EF7426-DD1A-D509-A7DD-62E9A16BACA8}"/>
            </ac:spMkLst>
          </pc:spChg>
          <pc:spChg chg="mod">
            <ac:chgData name="Grace, Morgan (Brisbane)" userId="221d5f7b-4a46-4bd5-bdf1-698d3a91c208" providerId="ADAL" clId="{D90324C1-6CE4-4C28-B886-AED0B666B37F}" dt="2024-06-06T05:13:55.811" v="42446" actId="790"/>
            <ac:spMkLst>
              <pc:docMk/>
              <pc:sldMasterMk cId="1176229821" sldId="2147484187"/>
              <pc:sldLayoutMk cId="2372022270" sldId="2147484196"/>
              <ac:spMk id="4" creationId="{BCE88927-8E0C-DE71-A13B-8A9F4D7F370F}"/>
            </ac:spMkLst>
          </pc:spChg>
          <pc:spChg chg="del mod modVis">
            <ac:chgData name="Grace, Morgan (Brisbane)" userId="221d5f7b-4a46-4bd5-bdf1-698d3a91c208" providerId="ADAL" clId="{D90324C1-6CE4-4C28-B886-AED0B666B37F}" dt="2024-06-06T05:14:00.990" v="45973" actId="478"/>
            <ac:spMkLst>
              <pc:docMk/>
              <pc:sldMasterMk cId="1176229821" sldId="2147484187"/>
              <pc:sldLayoutMk cId="2372022270" sldId="2147484196"/>
              <ac:spMk id="5" creationId="{F8AA4D47-AC45-891F-D9C6-C7403AF30348}"/>
            </ac:spMkLst>
          </pc:spChg>
          <pc:spChg chg="mod">
            <ac:chgData name="Grace, Morgan (Brisbane)" userId="221d5f7b-4a46-4bd5-bdf1-698d3a91c208" providerId="ADAL" clId="{D90324C1-6CE4-4C28-B886-AED0B666B37F}" dt="2024-06-06T05:13:55.795" v="42443" actId="790"/>
            <ac:spMkLst>
              <pc:docMk/>
              <pc:sldMasterMk cId="1176229821" sldId="2147484187"/>
              <pc:sldLayoutMk cId="2372022270" sldId="2147484196"/>
              <ac:spMk id="13" creationId="{0CFDD0B2-98AA-E7B4-C3A8-5D434B8CF249}"/>
            </ac:spMkLst>
          </pc:spChg>
          <pc:spChg chg="mod">
            <ac:chgData name="Grace, Morgan (Brisbane)" userId="221d5f7b-4a46-4bd5-bdf1-698d3a91c208" providerId="ADAL" clId="{D90324C1-6CE4-4C28-B886-AED0B666B37F}" dt="2024-06-06T05:13:55.811" v="42444" actId="790"/>
            <ac:spMkLst>
              <pc:docMk/>
              <pc:sldMasterMk cId="1176229821" sldId="2147484187"/>
              <pc:sldLayoutMk cId="2372022270" sldId="2147484196"/>
              <ac:spMk id="14" creationId="{A2BD8B16-8809-1FB9-3239-D9BBDBB7FDA7}"/>
            </ac:spMkLst>
          </pc:spChg>
          <pc:spChg chg="mod">
            <ac:chgData name="Grace, Morgan (Brisbane)" userId="221d5f7b-4a46-4bd5-bdf1-698d3a91c208" providerId="ADAL" clId="{D90324C1-6CE4-4C28-B886-AED0B666B37F}" dt="2024-06-06T05:13:59.038" v="44785" actId="948"/>
            <ac:spMkLst>
              <pc:docMk/>
              <pc:sldMasterMk cId="1176229821" sldId="2147484187"/>
              <pc:sldLayoutMk cId="2372022270" sldId="2147484196"/>
              <ac:spMk id="18" creationId="{119FA088-DFEE-420F-B9C8-B0CC1F767DE6}"/>
            </ac:spMkLst>
          </pc:spChg>
          <pc:graphicFrameChg chg="mod ord modVis replST">
            <ac:chgData name="Grace, Morgan (Brisbane)" userId="221d5f7b-4a46-4bd5-bdf1-698d3a91c208" providerId="ADAL" clId="{D90324C1-6CE4-4C28-B886-AED0B666B37F}" dt="2024-06-06T05:14:01.014" v="45980"/>
            <ac:graphicFrameMkLst>
              <pc:docMk/>
              <pc:sldMasterMk cId="1176229821" sldId="2147484187"/>
              <pc:sldLayoutMk cId="2372022270" sldId="2147484196"/>
              <ac:graphicFrameMk id="6" creationId="{684CA9F7-8056-DE6A-4F29-B3650D381527}"/>
            </ac:graphicFrameMkLst>
          </pc:graphicFrameChg>
        </pc:sldLayoutChg>
        <pc:sldLayoutChg chg="delSp modSp mod">
          <pc:chgData name="Grace, Morgan (Brisbane)" userId="221d5f7b-4a46-4bd5-bdf1-698d3a91c208" providerId="ADAL" clId="{D90324C1-6CE4-4C28-B886-AED0B666B37F}" dt="2024-06-06T05:14:01.072" v="46004"/>
          <pc:sldLayoutMkLst>
            <pc:docMk/>
            <pc:sldMasterMk cId="1176229821" sldId="2147484187"/>
            <pc:sldLayoutMk cId="1590013183" sldId="2147484197"/>
          </pc:sldLayoutMkLst>
          <pc:spChg chg="mod">
            <ac:chgData name="Grace, Morgan (Brisbane)" userId="221d5f7b-4a46-4bd5-bdf1-698d3a91c208" providerId="ADAL" clId="{D90324C1-6CE4-4C28-B886-AED0B666B37F}" dt="2024-06-06T05:13:55.849" v="42466" actId="790"/>
            <ac:spMkLst>
              <pc:docMk/>
              <pc:sldMasterMk cId="1176229821" sldId="2147484187"/>
              <pc:sldLayoutMk cId="1590013183" sldId="2147484197"/>
              <ac:spMk id="2" creationId="{2C23915F-00B5-05A2-7E0B-A15917A463ED}"/>
            </ac:spMkLst>
          </pc:spChg>
          <pc:spChg chg="mod">
            <ac:chgData name="Grace, Morgan (Brisbane)" userId="221d5f7b-4a46-4bd5-bdf1-698d3a91c208" providerId="ADAL" clId="{D90324C1-6CE4-4C28-B886-AED0B666B37F}" dt="2024-06-06T05:13:55.849" v="42465" actId="790"/>
            <ac:spMkLst>
              <pc:docMk/>
              <pc:sldMasterMk cId="1176229821" sldId="2147484187"/>
              <pc:sldLayoutMk cId="1590013183" sldId="2147484197"/>
              <ac:spMk id="4" creationId="{3411DECD-2D04-ECE5-C926-8D940DB78AFF}"/>
            </ac:spMkLst>
          </pc:spChg>
          <pc:spChg chg="del mod modVis">
            <ac:chgData name="Grace, Morgan (Brisbane)" userId="221d5f7b-4a46-4bd5-bdf1-698d3a91c208" providerId="ADAL" clId="{D90324C1-6CE4-4C28-B886-AED0B666B37F}" dt="2024-06-06T05:14:01.041" v="45997" actId="478"/>
            <ac:spMkLst>
              <pc:docMk/>
              <pc:sldMasterMk cId="1176229821" sldId="2147484187"/>
              <pc:sldLayoutMk cId="1590013183" sldId="2147484197"/>
              <ac:spMk id="5" creationId="{2BB4FBF4-357F-935D-4B66-79CA56576C94}"/>
            </ac:spMkLst>
          </pc:spChg>
          <pc:spChg chg="mod">
            <ac:chgData name="Grace, Morgan (Brisbane)" userId="221d5f7b-4a46-4bd5-bdf1-698d3a91c208" providerId="ADAL" clId="{D90324C1-6CE4-4C28-B886-AED0B666B37F}" dt="2024-06-06T05:13:55.849" v="42462" actId="790"/>
            <ac:spMkLst>
              <pc:docMk/>
              <pc:sldMasterMk cId="1176229821" sldId="2147484187"/>
              <pc:sldLayoutMk cId="1590013183" sldId="2147484197"/>
              <ac:spMk id="7" creationId="{CA9C773E-C5EB-9262-D02D-CEC2DBF78CB3}"/>
            </ac:spMkLst>
          </pc:spChg>
          <pc:spChg chg="mod">
            <ac:chgData name="Grace, Morgan (Brisbane)" userId="221d5f7b-4a46-4bd5-bdf1-698d3a91c208" providerId="ADAL" clId="{D90324C1-6CE4-4C28-B886-AED0B666B37F}" dt="2024-06-06T05:13:55.849" v="42463" actId="790"/>
            <ac:spMkLst>
              <pc:docMk/>
              <pc:sldMasterMk cId="1176229821" sldId="2147484187"/>
              <pc:sldLayoutMk cId="1590013183" sldId="2147484197"/>
              <ac:spMk id="10" creationId="{705993B7-4CE1-BAEA-6EE7-BDA9C2739705}"/>
            </ac:spMkLst>
          </pc:spChg>
          <pc:spChg chg="mod">
            <ac:chgData name="Grace, Morgan (Brisbane)" userId="221d5f7b-4a46-4bd5-bdf1-698d3a91c208" providerId="ADAL" clId="{D90324C1-6CE4-4C28-B886-AED0B666B37F}" dt="2024-06-06T05:13:59.116" v="44839" actId="948"/>
            <ac:spMkLst>
              <pc:docMk/>
              <pc:sldMasterMk cId="1176229821" sldId="2147484187"/>
              <pc:sldLayoutMk cId="1590013183" sldId="2147484197"/>
              <ac:spMk id="11" creationId="{47B86A2E-2427-CF9A-1C0A-F1FF3580AF0C}"/>
            </ac:spMkLst>
          </pc:spChg>
          <pc:graphicFrameChg chg="mod ord modVis replST">
            <ac:chgData name="Grace, Morgan (Brisbane)" userId="221d5f7b-4a46-4bd5-bdf1-698d3a91c208" providerId="ADAL" clId="{D90324C1-6CE4-4C28-B886-AED0B666B37F}" dt="2024-06-06T05:14:01.072" v="46004"/>
            <ac:graphicFrameMkLst>
              <pc:docMk/>
              <pc:sldMasterMk cId="1176229821" sldId="2147484187"/>
              <pc:sldLayoutMk cId="1590013183" sldId="2147484197"/>
              <ac:graphicFrameMk id="6" creationId="{FD3A5378-7C27-3086-D0E5-BCFF25C88350}"/>
            </ac:graphicFrameMkLst>
          </pc:graphicFrameChg>
        </pc:sldLayoutChg>
        <pc:sldLayoutChg chg="delSp modSp mod">
          <pc:chgData name="Grace, Morgan (Brisbane)" userId="221d5f7b-4a46-4bd5-bdf1-698d3a91c208" providerId="ADAL" clId="{D90324C1-6CE4-4C28-B886-AED0B666B37F}" dt="2024-06-06T05:14:01.030" v="45988"/>
          <pc:sldLayoutMkLst>
            <pc:docMk/>
            <pc:sldMasterMk cId="1176229821" sldId="2147484187"/>
            <pc:sldLayoutMk cId="2514373490" sldId="2147484198"/>
          </pc:sldLayoutMkLst>
          <pc:spChg chg="mod">
            <ac:chgData name="Grace, Morgan (Brisbane)" userId="221d5f7b-4a46-4bd5-bdf1-698d3a91c208" providerId="ADAL" clId="{D90324C1-6CE4-4C28-B886-AED0B666B37F}" dt="2024-06-06T05:13:55.811" v="42449" actId="947"/>
            <ac:spMkLst>
              <pc:docMk/>
              <pc:sldMasterMk cId="1176229821" sldId="2147484187"/>
              <pc:sldLayoutMk cId="2514373490" sldId="2147484198"/>
              <ac:spMk id="2" creationId="{95AD8B54-9B27-AAC2-1081-AE1A4A5342D0}"/>
            </ac:spMkLst>
          </pc:spChg>
          <pc:spChg chg="mod">
            <ac:chgData name="Grace, Morgan (Brisbane)" userId="221d5f7b-4a46-4bd5-bdf1-698d3a91c208" providerId="ADAL" clId="{D90324C1-6CE4-4C28-B886-AED0B666B37F}" dt="2024-06-06T05:13:55.833" v="42454" actId="790"/>
            <ac:spMkLst>
              <pc:docMk/>
              <pc:sldMasterMk cId="1176229821" sldId="2147484187"/>
              <pc:sldLayoutMk cId="2514373490" sldId="2147484198"/>
              <ac:spMk id="3" creationId="{B49E8B1A-B1CA-E22D-A39E-37065DEAC5FF}"/>
            </ac:spMkLst>
          </pc:spChg>
          <pc:spChg chg="mod">
            <ac:chgData name="Grace, Morgan (Brisbane)" userId="221d5f7b-4a46-4bd5-bdf1-698d3a91c208" providerId="ADAL" clId="{D90324C1-6CE4-4C28-B886-AED0B666B37F}" dt="2024-06-06T05:13:55.811" v="42450" actId="790"/>
            <ac:spMkLst>
              <pc:docMk/>
              <pc:sldMasterMk cId="1176229821" sldId="2147484187"/>
              <pc:sldLayoutMk cId="2514373490" sldId="2147484198"/>
              <ac:spMk id="5" creationId="{4CCA0459-03EA-3914-A7F9-DDFFB0EFB08F}"/>
            </ac:spMkLst>
          </pc:spChg>
          <pc:spChg chg="mod">
            <ac:chgData name="Grace, Morgan (Brisbane)" userId="221d5f7b-4a46-4bd5-bdf1-698d3a91c208" providerId="ADAL" clId="{D90324C1-6CE4-4C28-B886-AED0B666B37F}" dt="2024-06-06T05:13:55.827" v="42451" actId="790"/>
            <ac:spMkLst>
              <pc:docMk/>
              <pc:sldMasterMk cId="1176229821" sldId="2147484187"/>
              <pc:sldLayoutMk cId="2514373490" sldId="2147484198"/>
              <ac:spMk id="6" creationId="{E61F6500-2285-A3FF-A1E6-690AB9B16E96}"/>
            </ac:spMkLst>
          </pc:spChg>
          <pc:spChg chg="mod">
            <ac:chgData name="Grace, Morgan (Brisbane)" userId="221d5f7b-4a46-4bd5-bdf1-698d3a91c208" providerId="ADAL" clId="{D90324C1-6CE4-4C28-B886-AED0B666B37F}" dt="2024-06-06T05:13:55.827" v="42453" actId="790"/>
            <ac:spMkLst>
              <pc:docMk/>
              <pc:sldMasterMk cId="1176229821" sldId="2147484187"/>
              <pc:sldLayoutMk cId="2514373490" sldId="2147484198"/>
              <ac:spMk id="7" creationId="{37B32966-20A9-5A16-1B84-9DECE7A06601}"/>
            </ac:spMkLst>
          </pc:spChg>
          <pc:spChg chg="del mod modVis">
            <ac:chgData name="Grace, Morgan (Brisbane)" userId="221d5f7b-4a46-4bd5-bdf1-698d3a91c208" providerId="ADAL" clId="{D90324C1-6CE4-4C28-B886-AED0B666B37F}" dt="2024-06-06T05:14:01.015" v="45981" actId="478"/>
            <ac:spMkLst>
              <pc:docMk/>
              <pc:sldMasterMk cId="1176229821" sldId="2147484187"/>
              <pc:sldLayoutMk cId="2514373490" sldId="2147484198"/>
              <ac:spMk id="8" creationId="{43565DF2-2725-4784-6B45-2A85F486C7C5}"/>
            </ac:spMkLst>
          </pc:spChg>
          <pc:spChg chg="mod">
            <ac:chgData name="Grace, Morgan (Brisbane)" userId="221d5f7b-4a46-4bd5-bdf1-698d3a91c208" providerId="ADAL" clId="{D90324C1-6CE4-4C28-B886-AED0B666B37F}" dt="2024-06-06T05:13:59.069" v="44803" actId="948"/>
            <ac:spMkLst>
              <pc:docMk/>
              <pc:sldMasterMk cId="1176229821" sldId="2147484187"/>
              <pc:sldLayoutMk cId="2514373490" sldId="2147484198"/>
              <ac:spMk id="12" creationId="{ADA52984-60F2-016E-DC50-EC518796E1F1}"/>
            </ac:spMkLst>
          </pc:spChg>
          <pc:graphicFrameChg chg="mod ord modVis replST">
            <ac:chgData name="Grace, Morgan (Brisbane)" userId="221d5f7b-4a46-4bd5-bdf1-698d3a91c208" providerId="ADAL" clId="{D90324C1-6CE4-4C28-B886-AED0B666B37F}" dt="2024-06-06T05:14:01.030" v="45988"/>
            <ac:graphicFrameMkLst>
              <pc:docMk/>
              <pc:sldMasterMk cId="1176229821" sldId="2147484187"/>
              <pc:sldLayoutMk cId="2514373490" sldId="2147484198"/>
              <ac:graphicFrameMk id="9" creationId="{18055809-0FDA-8DE3-FA12-E5A4F9122A0A}"/>
            </ac:graphicFrameMkLst>
          </pc:graphicFrameChg>
        </pc:sldLayoutChg>
        <pc:sldLayoutChg chg="delSp modSp mod">
          <pc:chgData name="Grace, Morgan (Brisbane)" userId="221d5f7b-4a46-4bd5-bdf1-698d3a91c208" providerId="ADAL" clId="{D90324C1-6CE4-4C28-B886-AED0B666B37F}" dt="2024-06-06T05:14:01.041" v="45996"/>
          <pc:sldLayoutMkLst>
            <pc:docMk/>
            <pc:sldMasterMk cId="1176229821" sldId="2147484187"/>
            <pc:sldLayoutMk cId="2724914330" sldId="2147484199"/>
          </pc:sldLayoutMkLst>
          <pc:spChg chg="mod">
            <ac:chgData name="Grace, Morgan (Brisbane)" userId="221d5f7b-4a46-4bd5-bdf1-698d3a91c208" providerId="ADAL" clId="{D90324C1-6CE4-4C28-B886-AED0B666B37F}" dt="2024-06-06T05:13:55.833" v="42461" actId="790"/>
            <ac:spMkLst>
              <pc:docMk/>
              <pc:sldMasterMk cId="1176229821" sldId="2147484187"/>
              <pc:sldLayoutMk cId="2724914330" sldId="2147484199"/>
              <ac:spMk id="2" creationId="{58FA9EA6-BB9D-B8E3-921D-BE0DD74F5EF1}"/>
            </ac:spMkLst>
          </pc:spChg>
          <pc:spChg chg="mod">
            <ac:chgData name="Grace, Morgan (Brisbane)" userId="221d5f7b-4a46-4bd5-bdf1-698d3a91c208" providerId="ADAL" clId="{D90324C1-6CE4-4C28-B886-AED0B666B37F}" dt="2024-06-06T05:13:55.833" v="42456" actId="947"/>
            <ac:spMkLst>
              <pc:docMk/>
              <pc:sldMasterMk cId="1176229821" sldId="2147484187"/>
              <pc:sldLayoutMk cId="2724914330" sldId="2147484199"/>
              <ac:spMk id="3" creationId="{1CC24C0A-E053-3A78-7489-897E3900DBB2}"/>
            </ac:spMkLst>
          </pc:spChg>
          <pc:spChg chg="mod">
            <ac:chgData name="Grace, Morgan (Brisbane)" userId="221d5f7b-4a46-4bd5-bdf1-698d3a91c208" providerId="ADAL" clId="{D90324C1-6CE4-4C28-B886-AED0B666B37F}" dt="2024-06-06T05:13:55.833" v="42460" actId="790"/>
            <ac:spMkLst>
              <pc:docMk/>
              <pc:sldMasterMk cId="1176229821" sldId="2147484187"/>
              <pc:sldLayoutMk cId="2724914330" sldId="2147484199"/>
              <ac:spMk id="4" creationId="{992D864C-0737-C0E0-E551-D224A693703A}"/>
            </ac:spMkLst>
          </pc:spChg>
          <pc:spChg chg="del mod modVis">
            <ac:chgData name="Grace, Morgan (Brisbane)" userId="221d5f7b-4a46-4bd5-bdf1-698d3a91c208" providerId="ADAL" clId="{D90324C1-6CE4-4C28-B886-AED0B666B37F}" dt="2024-06-06T05:14:01.030" v="45989" actId="478"/>
            <ac:spMkLst>
              <pc:docMk/>
              <pc:sldMasterMk cId="1176229821" sldId="2147484187"/>
              <pc:sldLayoutMk cId="2724914330" sldId="2147484199"/>
              <ac:spMk id="5" creationId="{F62F6A9F-C58E-C45E-C67B-A3BDAAAF5061}"/>
            </ac:spMkLst>
          </pc:spChg>
          <pc:spChg chg="mod">
            <ac:chgData name="Grace, Morgan (Brisbane)" userId="221d5f7b-4a46-4bd5-bdf1-698d3a91c208" providerId="ADAL" clId="{D90324C1-6CE4-4C28-B886-AED0B666B37F}" dt="2024-06-06T05:13:55.833" v="42457" actId="790"/>
            <ac:spMkLst>
              <pc:docMk/>
              <pc:sldMasterMk cId="1176229821" sldId="2147484187"/>
              <pc:sldLayoutMk cId="2724914330" sldId="2147484199"/>
              <ac:spMk id="10" creationId="{8049461A-8423-79C0-A62B-B0720279DC70}"/>
            </ac:spMkLst>
          </pc:spChg>
          <pc:spChg chg="mod">
            <ac:chgData name="Grace, Morgan (Brisbane)" userId="221d5f7b-4a46-4bd5-bdf1-698d3a91c208" providerId="ADAL" clId="{D90324C1-6CE4-4C28-B886-AED0B666B37F}" dt="2024-06-06T05:13:55.833" v="42458" actId="790"/>
            <ac:spMkLst>
              <pc:docMk/>
              <pc:sldMasterMk cId="1176229821" sldId="2147484187"/>
              <pc:sldLayoutMk cId="2724914330" sldId="2147484199"/>
              <ac:spMk id="11" creationId="{0A01DA0A-959D-B395-A263-8F3732FEE921}"/>
            </ac:spMkLst>
          </pc:spChg>
          <pc:spChg chg="mod">
            <ac:chgData name="Grace, Morgan (Brisbane)" userId="221d5f7b-4a46-4bd5-bdf1-698d3a91c208" providerId="ADAL" clId="{D90324C1-6CE4-4C28-B886-AED0B666B37F}" dt="2024-06-06T05:13:59.101" v="44821" actId="948"/>
            <ac:spMkLst>
              <pc:docMk/>
              <pc:sldMasterMk cId="1176229821" sldId="2147484187"/>
              <pc:sldLayoutMk cId="2724914330" sldId="2147484199"/>
              <ac:spMk id="13" creationId="{09FFCCFB-2E2A-89D7-D40F-4B82E119D7A7}"/>
            </ac:spMkLst>
          </pc:spChg>
          <pc:graphicFrameChg chg="mod ord modVis replST">
            <ac:chgData name="Grace, Morgan (Brisbane)" userId="221d5f7b-4a46-4bd5-bdf1-698d3a91c208" providerId="ADAL" clId="{D90324C1-6CE4-4C28-B886-AED0B666B37F}" dt="2024-06-06T05:14:01.041" v="45996"/>
            <ac:graphicFrameMkLst>
              <pc:docMk/>
              <pc:sldMasterMk cId="1176229821" sldId="2147484187"/>
              <pc:sldLayoutMk cId="2724914330" sldId="2147484199"/>
              <ac:graphicFrameMk id="6" creationId="{1AB54820-EDA9-09BD-87D1-5F9152A14194}"/>
            </ac:graphicFrameMkLst>
          </pc:graphicFrameChg>
        </pc:sldLayoutChg>
        <pc:sldLayoutChg chg="modSp mod">
          <pc:chgData name="Grace, Morgan (Brisbane)" userId="221d5f7b-4a46-4bd5-bdf1-698d3a91c208" providerId="ADAL" clId="{D90324C1-6CE4-4C28-B886-AED0B666B37F}" dt="2024-06-06T05:14:00.471" v="45777"/>
          <pc:sldLayoutMkLst>
            <pc:docMk/>
            <pc:sldMasterMk cId="1176229821" sldId="2147484187"/>
            <pc:sldLayoutMk cId="492996473" sldId="2147484200"/>
          </pc:sldLayoutMkLst>
          <pc:spChg chg="mod">
            <ac:chgData name="Grace, Morgan (Brisbane)" userId="221d5f7b-4a46-4bd5-bdf1-698d3a91c208" providerId="ADAL" clId="{D90324C1-6CE4-4C28-B886-AED0B666B37F}" dt="2024-06-06T05:13:55.031" v="42113" actId="790"/>
            <ac:spMkLst>
              <pc:docMk/>
              <pc:sldMasterMk cId="1176229821" sldId="2147484187"/>
              <pc:sldLayoutMk cId="492996473" sldId="2147484200"/>
              <ac:spMk id="2" creationId="{8EDCD539-9F0A-0753-3160-3109FCF62208}"/>
            </ac:spMkLst>
          </pc:spChg>
          <pc:spChg chg="mod">
            <ac:chgData name="Grace, Morgan (Brisbane)" userId="221d5f7b-4a46-4bd5-bdf1-698d3a91c208" providerId="ADAL" clId="{D90324C1-6CE4-4C28-B886-AED0B666B37F}" dt="2024-06-06T05:13:55.025" v="42105" actId="947"/>
            <ac:spMkLst>
              <pc:docMk/>
              <pc:sldMasterMk cId="1176229821" sldId="2147484187"/>
              <pc:sldLayoutMk cId="492996473" sldId="2147484200"/>
              <ac:spMk id="12" creationId="{DA312167-BFD5-2532-32DF-0B0223C7B215}"/>
            </ac:spMkLst>
          </pc:spChg>
          <pc:spChg chg="mod">
            <ac:chgData name="Grace, Morgan (Brisbane)" userId="221d5f7b-4a46-4bd5-bdf1-698d3a91c208" providerId="ADAL" clId="{D90324C1-6CE4-4C28-B886-AED0B666B37F}" dt="2024-06-06T05:13:55.027" v="42106" actId="790"/>
            <ac:spMkLst>
              <pc:docMk/>
              <pc:sldMasterMk cId="1176229821" sldId="2147484187"/>
              <pc:sldLayoutMk cId="492996473" sldId="2147484200"/>
              <ac:spMk id="19" creationId="{7CC8F8D9-9685-4080-86C2-8080534AE1C2}"/>
            </ac:spMkLst>
          </pc:spChg>
          <pc:spChg chg="mod">
            <ac:chgData name="Grace, Morgan (Brisbane)" userId="221d5f7b-4a46-4bd5-bdf1-698d3a91c208" providerId="ADAL" clId="{D90324C1-6CE4-4C28-B886-AED0B666B37F}" dt="2024-06-06T05:13:55.030" v="42107" actId="790"/>
            <ac:spMkLst>
              <pc:docMk/>
              <pc:sldMasterMk cId="1176229821" sldId="2147484187"/>
              <pc:sldLayoutMk cId="492996473" sldId="2147484200"/>
              <ac:spMk id="20" creationId="{31120E53-78B3-C204-53DA-8FC95F691EA8}"/>
            </ac:spMkLst>
          </pc:spChg>
          <pc:spChg chg="mod">
            <ac:chgData name="Grace, Morgan (Brisbane)" userId="221d5f7b-4a46-4bd5-bdf1-698d3a91c208" providerId="ADAL" clId="{D90324C1-6CE4-4C28-B886-AED0B666B37F}" dt="2024-06-06T05:13:55.031" v="42108" actId="790"/>
            <ac:spMkLst>
              <pc:docMk/>
              <pc:sldMasterMk cId="1176229821" sldId="2147484187"/>
              <pc:sldLayoutMk cId="492996473" sldId="2147484200"/>
              <ac:spMk id="21" creationId="{A41E5BDE-0D34-F7A0-CD73-E2E4D4E83FF1}"/>
            </ac:spMkLst>
          </pc:spChg>
          <pc:spChg chg="mod">
            <ac:chgData name="Grace, Morgan (Brisbane)" userId="221d5f7b-4a46-4bd5-bdf1-698d3a91c208" providerId="ADAL" clId="{D90324C1-6CE4-4C28-B886-AED0B666B37F}" dt="2024-06-06T05:13:55.031" v="42109" actId="790"/>
            <ac:spMkLst>
              <pc:docMk/>
              <pc:sldMasterMk cId="1176229821" sldId="2147484187"/>
              <pc:sldLayoutMk cId="492996473" sldId="2147484200"/>
              <ac:spMk id="22" creationId="{043E8A05-1419-59E5-197F-0E88F6CAE464}"/>
            </ac:spMkLst>
          </pc:spChg>
          <pc:spChg chg="mod">
            <ac:chgData name="Grace, Morgan (Brisbane)" userId="221d5f7b-4a46-4bd5-bdf1-698d3a91c208" providerId="ADAL" clId="{D90324C1-6CE4-4C28-B886-AED0B666B37F}" dt="2024-06-06T05:13:55.031" v="42110" actId="790"/>
            <ac:spMkLst>
              <pc:docMk/>
              <pc:sldMasterMk cId="1176229821" sldId="2147484187"/>
              <pc:sldLayoutMk cId="492996473" sldId="2147484200"/>
              <ac:spMk id="28" creationId="{12126CE7-924E-D9DB-7B1E-8895BAFF58BE}"/>
            </ac:spMkLst>
          </pc:spChg>
          <pc:spChg chg="mod">
            <ac:chgData name="Grace, Morgan (Brisbane)" userId="221d5f7b-4a46-4bd5-bdf1-698d3a91c208" providerId="ADAL" clId="{D90324C1-6CE4-4C28-B886-AED0B666B37F}" dt="2024-06-06T05:13:55.031" v="42111" actId="790"/>
            <ac:spMkLst>
              <pc:docMk/>
              <pc:sldMasterMk cId="1176229821" sldId="2147484187"/>
              <pc:sldLayoutMk cId="492996473" sldId="2147484200"/>
              <ac:spMk id="31" creationId="{FDBC914A-C4C3-5D42-242A-B232DFA089E5}"/>
            </ac:spMkLst>
          </pc:spChg>
          <pc:spChg chg="mod">
            <ac:chgData name="Grace, Morgan (Brisbane)" userId="221d5f7b-4a46-4bd5-bdf1-698d3a91c208" providerId="ADAL" clId="{D90324C1-6CE4-4C28-B886-AED0B666B37F}" dt="2024-06-06T05:13:55.031" v="42112" actId="790"/>
            <ac:spMkLst>
              <pc:docMk/>
              <pc:sldMasterMk cId="1176229821" sldId="2147484187"/>
              <pc:sldLayoutMk cId="492996473" sldId="2147484200"/>
              <ac:spMk id="33" creationId="{E4BD650E-0A40-18F5-163D-7D7F158C16DC}"/>
            </ac:spMkLst>
          </pc:spChg>
          <pc:graphicFrameChg chg="mod ord modVis replST">
            <ac:chgData name="Grace, Morgan (Brisbane)" userId="221d5f7b-4a46-4bd5-bdf1-698d3a91c208" providerId="ADAL" clId="{D90324C1-6CE4-4C28-B886-AED0B666B37F}" dt="2024-06-06T05:14:00.471" v="45777"/>
            <ac:graphicFrameMkLst>
              <pc:docMk/>
              <pc:sldMasterMk cId="1176229821" sldId="2147484187"/>
              <pc:sldLayoutMk cId="492996473" sldId="2147484200"/>
              <ac:graphicFrameMk id="3" creationId="{19165B29-9255-1376-CC3A-9D21EF36A6DE}"/>
            </ac:graphicFrameMkLst>
          </pc:graphicFrameChg>
        </pc:sldLayoutChg>
        <pc:sldLayoutChg chg="modSp mod">
          <pc:chgData name="Grace, Morgan (Brisbane)" userId="221d5f7b-4a46-4bd5-bdf1-698d3a91c208" providerId="ADAL" clId="{D90324C1-6CE4-4C28-B886-AED0B666B37F}" dt="2024-06-06T05:14:00.405" v="45747"/>
          <pc:sldLayoutMkLst>
            <pc:docMk/>
            <pc:sldMasterMk cId="1176229821" sldId="2147484187"/>
            <pc:sldLayoutMk cId="4148867636" sldId="2147484201"/>
          </pc:sldLayoutMkLst>
          <pc:spChg chg="mod">
            <ac:chgData name="Grace, Morgan (Brisbane)" userId="221d5f7b-4a46-4bd5-bdf1-698d3a91c208" providerId="ADAL" clId="{D90324C1-6CE4-4C28-B886-AED0B666B37F}" dt="2024-06-06T05:13:54.931" v="42069" actId="790"/>
            <ac:spMkLst>
              <pc:docMk/>
              <pc:sldMasterMk cId="1176229821" sldId="2147484187"/>
              <pc:sldLayoutMk cId="4148867636" sldId="2147484201"/>
              <ac:spMk id="2" creationId="{0B0A5F25-9D82-9DB6-7ADC-FDD791D32B99}"/>
            </ac:spMkLst>
          </pc:spChg>
          <pc:spChg chg="mod">
            <ac:chgData name="Grace, Morgan (Brisbane)" userId="221d5f7b-4a46-4bd5-bdf1-698d3a91c208" providerId="ADAL" clId="{D90324C1-6CE4-4C28-B886-AED0B666B37F}" dt="2024-06-06T05:13:54.931" v="42068" actId="790"/>
            <ac:spMkLst>
              <pc:docMk/>
              <pc:sldMasterMk cId="1176229821" sldId="2147484187"/>
              <pc:sldLayoutMk cId="4148867636" sldId="2147484201"/>
              <ac:spMk id="5" creationId="{1A49D53A-8AEC-3ACB-BEF9-EF37A4E7C7E0}"/>
            </ac:spMkLst>
          </pc:spChg>
          <pc:spChg chg="mod">
            <ac:chgData name="Grace, Morgan (Brisbane)" userId="221d5f7b-4a46-4bd5-bdf1-698d3a91c208" providerId="ADAL" clId="{D90324C1-6CE4-4C28-B886-AED0B666B37F}" dt="2024-06-06T05:13:54.909" v="42061" actId="947"/>
            <ac:spMkLst>
              <pc:docMk/>
              <pc:sldMasterMk cId="1176229821" sldId="2147484187"/>
              <pc:sldLayoutMk cId="4148867636" sldId="2147484201"/>
              <ac:spMk id="12" creationId="{DA312167-BFD5-2532-32DF-0B0223C7B215}"/>
            </ac:spMkLst>
          </pc:spChg>
          <pc:spChg chg="mod">
            <ac:chgData name="Grace, Morgan (Brisbane)" userId="221d5f7b-4a46-4bd5-bdf1-698d3a91c208" providerId="ADAL" clId="{D90324C1-6CE4-4C28-B886-AED0B666B37F}" dt="2024-06-06T05:13:54.909" v="42062" actId="790"/>
            <ac:spMkLst>
              <pc:docMk/>
              <pc:sldMasterMk cId="1176229821" sldId="2147484187"/>
              <pc:sldLayoutMk cId="4148867636" sldId="2147484201"/>
              <ac:spMk id="19" creationId="{7CC8F8D9-9685-4080-86C2-8080534AE1C2}"/>
            </ac:spMkLst>
          </pc:spChg>
          <pc:spChg chg="mod">
            <ac:chgData name="Grace, Morgan (Brisbane)" userId="221d5f7b-4a46-4bd5-bdf1-698d3a91c208" providerId="ADAL" clId="{D90324C1-6CE4-4C28-B886-AED0B666B37F}" dt="2024-06-06T05:13:54.925" v="42063" actId="790"/>
            <ac:spMkLst>
              <pc:docMk/>
              <pc:sldMasterMk cId="1176229821" sldId="2147484187"/>
              <pc:sldLayoutMk cId="4148867636" sldId="2147484201"/>
              <ac:spMk id="20" creationId="{31120E53-78B3-C204-53DA-8FC95F691EA8}"/>
            </ac:spMkLst>
          </pc:spChg>
          <pc:spChg chg="mod">
            <ac:chgData name="Grace, Morgan (Brisbane)" userId="221d5f7b-4a46-4bd5-bdf1-698d3a91c208" providerId="ADAL" clId="{D90324C1-6CE4-4C28-B886-AED0B666B37F}" dt="2024-06-06T05:13:54.925" v="42064" actId="790"/>
            <ac:spMkLst>
              <pc:docMk/>
              <pc:sldMasterMk cId="1176229821" sldId="2147484187"/>
              <pc:sldLayoutMk cId="4148867636" sldId="2147484201"/>
              <ac:spMk id="21" creationId="{A41E5BDE-0D34-F7A0-CD73-E2E4D4E83FF1}"/>
            </ac:spMkLst>
          </pc:spChg>
          <pc:spChg chg="mod">
            <ac:chgData name="Grace, Morgan (Brisbane)" userId="221d5f7b-4a46-4bd5-bdf1-698d3a91c208" providerId="ADAL" clId="{D90324C1-6CE4-4C28-B886-AED0B666B37F}" dt="2024-06-06T05:13:54.925" v="42065" actId="790"/>
            <ac:spMkLst>
              <pc:docMk/>
              <pc:sldMasterMk cId="1176229821" sldId="2147484187"/>
              <pc:sldLayoutMk cId="4148867636" sldId="2147484201"/>
              <ac:spMk id="22" creationId="{043E8A05-1419-59E5-197F-0E88F6CAE464}"/>
            </ac:spMkLst>
          </pc:spChg>
          <pc:spChg chg="mod">
            <ac:chgData name="Grace, Morgan (Brisbane)" userId="221d5f7b-4a46-4bd5-bdf1-698d3a91c208" providerId="ADAL" clId="{D90324C1-6CE4-4C28-B886-AED0B666B37F}" dt="2024-06-06T05:13:54.925" v="42066" actId="790"/>
            <ac:spMkLst>
              <pc:docMk/>
              <pc:sldMasterMk cId="1176229821" sldId="2147484187"/>
              <pc:sldLayoutMk cId="4148867636" sldId="2147484201"/>
              <ac:spMk id="28" creationId="{12126CE7-924E-D9DB-7B1E-8895BAFF58BE}"/>
            </ac:spMkLst>
          </pc:spChg>
          <pc:spChg chg="mod">
            <ac:chgData name="Grace, Morgan (Brisbane)" userId="221d5f7b-4a46-4bd5-bdf1-698d3a91c208" providerId="ADAL" clId="{D90324C1-6CE4-4C28-B886-AED0B666B37F}" dt="2024-06-06T05:13:54.931" v="42067" actId="790"/>
            <ac:spMkLst>
              <pc:docMk/>
              <pc:sldMasterMk cId="1176229821" sldId="2147484187"/>
              <pc:sldLayoutMk cId="4148867636" sldId="2147484201"/>
              <ac:spMk id="31" creationId="{FDBC914A-C4C3-5D42-242A-B232DFA089E5}"/>
            </ac:spMkLst>
          </pc:spChg>
          <pc:graphicFrameChg chg="mod ord modVis replST">
            <ac:chgData name="Grace, Morgan (Brisbane)" userId="221d5f7b-4a46-4bd5-bdf1-698d3a91c208" providerId="ADAL" clId="{D90324C1-6CE4-4C28-B886-AED0B666B37F}" dt="2024-06-06T05:14:00.405" v="45747"/>
            <ac:graphicFrameMkLst>
              <pc:docMk/>
              <pc:sldMasterMk cId="1176229821" sldId="2147484187"/>
              <pc:sldLayoutMk cId="4148867636" sldId="2147484201"/>
              <ac:graphicFrameMk id="3" creationId="{0AA6726F-5CEA-06DD-A697-04B25A85AAC0}"/>
            </ac:graphicFrameMkLst>
          </pc:graphicFrameChg>
        </pc:sldLayoutChg>
        <pc:sldLayoutChg chg="modSp mod">
          <pc:chgData name="Grace, Morgan (Brisbane)" userId="221d5f7b-4a46-4bd5-bdf1-698d3a91c208" providerId="ADAL" clId="{D90324C1-6CE4-4C28-B886-AED0B666B37F}" dt="2024-06-06T05:14:00.372" v="45740"/>
          <pc:sldLayoutMkLst>
            <pc:docMk/>
            <pc:sldMasterMk cId="1176229821" sldId="2147484187"/>
            <pc:sldLayoutMk cId="3668392349" sldId="2147484202"/>
          </pc:sldLayoutMkLst>
          <pc:spChg chg="mod">
            <ac:chgData name="Grace, Morgan (Brisbane)" userId="221d5f7b-4a46-4bd5-bdf1-698d3a91c208" providerId="ADAL" clId="{D90324C1-6CE4-4C28-B886-AED0B666B37F}" dt="2024-06-06T05:13:54.909" v="42059" actId="790"/>
            <ac:spMkLst>
              <pc:docMk/>
              <pc:sldMasterMk cId="1176229821" sldId="2147484187"/>
              <pc:sldLayoutMk cId="3668392349" sldId="2147484202"/>
              <ac:spMk id="2" creationId="{4AECF381-002B-6064-180D-059ABE568FE9}"/>
            </ac:spMkLst>
          </pc:spChg>
          <pc:spChg chg="mod">
            <ac:chgData name="Grace, Morgan (Brisbane)" userId="221d5f7b-4a46-4bd5-bdf1-698d3a91c208" providerId="ADAL" clId="{D90324C1-6CE4-4C28-B886-AED0B666B37F}" dt="2024-06-06T05:13:54.894" v="42053" actId="790"/>
            <ac:spMkLst>
              <pc:docMk/>
              <pc:sldMasterMk cId="1176229821" sldId="2147484187"/>
              <pc:sldLayoutMk cId="3668392349" sldId="2147484202"/>
              <ac:spMk id="7" creationId="{30A66767-E7BB-34D3-1698-BAD5850680EF}"/>
            </ac:spMkLst>
          </pc:spChg>
          <pc:spChg chg="mod">
            <ac:chgData name="Grace, Morgan (Brisbane)" userId="221d5f7b-4a46-4bd5-bdf1-698d3a91c208" providerId="ADAL" clId="{D90324C1-6CE4-4C28-B886-AED0B666B37F}" dt="2024-06-06T05:13:54.894" v="42052" actId="790"/>
            <ac:spMkLst>
              <pc:docMk/>
              <pc:sldMasterMk cId="1176229821" sldId="2147484187"/>
              <pc:sldLayoutMk cId="3668392349" sldId="2147484202"/>
              <ac:spMk id="8" creationId="{DDA998BF-A44A-3873-BF38-6808A0FFAC9A}"/>
            </ac:spMkLst>
          </pc:spChg>
          <pc:spChg chg="mod">
            <ac:chgData name="Grace, Morgan (Brisbane)" userId="221d5f7b-4a46-4bd5-bdf1-698d3a91c208" providerId="ADAL" clId="{D90324C1-6CE4-4C28-B886-AED0B666B37F}" dt="2024-06-06T05:13:54.894" v="42054" actId="790"/>
            <ac:spMkLst>
              <pc:docMk/>
              <pc:sldMasterMk cId="1176229821" sldId="2147484187"/>
              <pc:sldLayoutMk cId="3668392349" sldId="2147484202"/>
              <ac:spMk id="10" creationId="{AD0F7AA4-CE32-A25D-8D25-9049CB814A98}"/>
            </ac:spMkLst>
          </pc:spChg>
          <pc:spChg chg="mod">
            <ac:chgData name="Grace, Morgan (Brisbane)" userId="221d5f7b-4a46-4bd5-bdf1-698d3a91c208" providerId="ADAL" clId="{D90324C1-6CE4-4C28-B886-AED0B666B37F}" dt="2024-06-06T05:13:54.894" v="42055" actId="790"/>
            <ac:spMkLst>
              <pc:docMk/>
              <pc:sldMasterMk cId="1176229821" sldId="2147484187"/>
              <pc:sldLayoutMk cId="3668392349" sldId="2147484202"/>
              <ac:spMk id="11" creationId="{292C9018-41E6-B9CA-1941-54A4B430CA49}"/>
            </ac:spMkLst>
          </pc:spChg>
          <pc:spChg chg="mod">
            <ac:chgData name="Grace, Morgan (Brisbane)" userId="221d5f7b-4a46-4bd5-bdf1-698d3a91c208" providerId="ADAL" clId="{D90324C1-6CE4-4C28-B886-AED0B666B37F}" dt="2024-06-06T05:13:54.894" v="42056" actId="790"/>
            <ac:spMkLst>
              <pc:docMk/>
              <pc:sldMasterMk cId="1176229821" sldId="2147484187"/>
              <pc:sldLayoutMk cId="3668392349" sldId="2147484202"/>
              <ac:spMk id="12" creationId="{71DB033B-8A87-603D-17CD-A5270186EAE3}"/>
            </ac:spMkLst>
          </pc:spChg>
          <pc:spChg chg="mod">
            <ac:chgData name="Grace, Morgan (Brisbane)" userId="221d5f7b-4a46-4bd5-bdf1-698d3a91c208" providerId="ADAL" clId="{D90324C1-6CE4-4C28-B886-AED0B666B37F}" dt="2024-06-06T05:13:54.909" v="42057" actId="790"/>
            <ac:spMkLst>
              <pc:docMk/>
              <pc:sldMasterMk cId="1176229821" sldId="2147484187"/>
              <pc:sldLayoutMk cId="3668392349" sldId="2147484202"/>
              <ac:spMk id="13" creationId="{1D551B8E-C568-639E-0ECF-96D10CEAB48E}"/>
            </ac:spMkLst>
          </pc:spChg>
          <pc:spChg chg="mod">
            <ac:chgData name="Grace, Morgan (Brisbane)" userId="221d5f7b-4a46-4bd5-bdf1-698d3a91c208" providerId="ADAL" clId="{D90324C1-6CE4-4C28-B886-AED0B666B37F}" dt="2024-06-06T05:13:54.909" v="42058" actId="790"/>
            <ac:spMkLst>
              <pc:docMk/>
              <pc:sldMasterMk cId="1176229821" sldId="2147484187"/>
              <pc:sldLayoutMk cId="3668392349" sldId="2147484202"/>
              <ac:spMk id="15" creationId="{847909D6-FEBC-924D-8EFE-96717820D7CF}"/>
            </ac:spMkLst>
          </pc:spChg>
          <pc:graphicFrameChg chg="mod ord modVis replST">
            <ac:chgData name="Grace, Morgan (Brisbane)" userId="221d5f7b-4a46-4bd5-bdf1-698d3a91c208" providerId="ADAL" clId="{D90324C1-6CE4-4C28-B886-AED0B666B37F}" dt="2024-06-06T05:14:00.372" v="45740"/>
            <ac:graphicFrameMkLst>
              <pc:docMk/>
              <pc:sldMasterMk cId="1176229821" sldId="2147484187"/>
              <pc:sldLayoutMk cId="3668392349" sldId="2147484202"/>
              <ac:graphicFrameMk id="3" creationId="{DE3D4A87-4737-E9CD-B23E-323CB0AE8DDE}"/>
            </ac:graphicFrameMkLst>
          </pc:graphicFrameChg>
        </pc:sldLayoutChg>
        <pc:sldLayoutChg chg="modSp mod">
          <pc:chgData name="Grace, Morgan (Brisbane)" userId="221d5f7b-4a46-4bd5-bdf1-698d3a91c208" providerId="ADAL" clId="{D90324C1-6CE4-4C28-B886-AED0B666B37F}" dt="2024-06-06T05:14:00.424" v="45754"/>
          <pc:sldLayoutMkLst>
            <pc:docMk/>
            <pc:sldMasterMk cId="1176229821" sldId="2147484187"/>
            <pc:sldLayoutMk cId="1979953017" sldId="2147484203"/>
          </pc:sldLayoutMkLst>
          <pc:spChg chg="mod">
            <ac:chgData name="Grace, Morgan (Brisbane)" userId="221d5f7b-4a46-4bd5-bdf1-698d3a91c208" providerId="ADAL" clId="{D90324C1-6CE4-4C28-B886-AED0B666B37F}" dt="2024-06-06T05:13:54.947" v="42077" actId="790"/>
            <ac:spMkLst>
              <pc:docMk/>
              <pc:sldMasterMk cId="1176229821" sldId="2147484187"/>
              <pc:sldLayoutMk cId="1979953017" sldId="2147484203"/>
              <ac:spMk id="2" creationId="{192F01DF-30EF-AF76-E7DC-E38C2C0FD5F6}"/>
            </ac:spMkLst>
          </pc:spChg>
          <pc:spChg chg="mod">
            <ac:chgData name="Grace, Morgan (Brisbane)" userId="221d5f7b-4a46-4bd5-bdf1-698d3a91c208" providerId="ADAL" clId="{D90324C1-6CE4-4C28-B886-AED0B666B37F}" dt="2024-06-06T05:13:54.931" v="42071" actId="790"/>
            <ac:spMkLst>
              <pc:docMk/>
              <pc:sldMasterMk cId="1176229821" sldId="2147484187"/>
              <pc:sldLayoutMk cId="1979953017" sldId="2147484203"/>
              <ac:spMk id="7" creationId="{30A66767-E7BB-34D3-1698-BAD5850680EF}"/>
            </ac:spMkLst>
          </pc:spChg>
          <pc:spChg chg="mod">
            <ac:chgData name="Grace, Morgan (Brisbane)" userId="221d5f7b-4a46-4bd5-bdf1-698d3a91c208" providerId="ADAL" clId="{D90324C1-6CE4-4C28-B886-AED0B666B37F}" dt="2024-06-06T05:13:54.931" v="42070" actId="790"/>
            <ac:spMkLst>
              <pc:docMk/>
              <pc:sldMasterMk cId="1176229821" sldId="2147484187"/>
              <pc:sldLayoutMk cId="1979953017" sldId="2147484203"/>
              <ac:spMk id="8" creationId="{DDA998BF-A44A-3873-BF38-6808A0FFAC9A}"/>
            </ac:spMkLst>
          </pc:spChg>
          <pc:spChg chg="mod">
            <ac:chgData name="Grace, Morgan (Brisbane)" userId="221d5f7b-4a46-4bd5-bdf1-698d3a91c208" providerId="ADAL" clId="{D90324C1-6CE4-4C28-B886-AED0B666B37F}" dt="2024-06-06T05:13:54.931" v="42072" actId="790"/>
            <ac:spMkLst>
              <pc:docMk/>
              <pc:sldMasterMk cId="1176229821" sldId="2147484187"/>
              <pc:sldLayoutMk cId="1979953017" sldId="2147484203"/>
              <ac:spMk id="10" creationId="{AD0F7AA4-CE32-A25D-8D25-9049CB814A98}"/>
            </ac:spMkLst>
          </pc:spChg>
          <pc:spChg chg="mod">
            <ac:chgData name="Grace, Morgan (Brisbane)" userId="221d5f7b-4a46-4bd5-bdf1-698d3a91c208" providerId="ADAL" clId="{D90324C1-6CE4-4C28-B886-AED0B666B37F}" dt="2024-06-06T05:13:54.931" v="42073" actId="790"/>
            <ac:spMkLst>
              <pc:docMk/>
              <pc:sldMasterMk cId="1176229821" sldId="2147484187"/>
              <pc:sldLayoutMk cId="1979953017" sldId="2147484203"/>
              <ac:spMk id="11" creationId="{292C9018-41E6-B9CA-1941-54A4B430CA49}"/>
            </ac:spMkLst>
          </pc:spChg>
          <pc:spChg chg="mod">
            <ac:chgData name="Grace, Morgan (Brisbane)" userId="221d5f7b-4a46-4bd5-bdf1-698d3a91c208" providerId="ADAL" clId="{D90324C1-6CE4-4C28-B886-AED0B666B37F}" dt="2024-06-06T05:13:54.947" v="42074" actId="790"/>
            <ac:spMkLst>
              <pc:docMk/>
              <pc:sldMasterMk cId="1176229821" sldId="2147484187"/>
              <pc:sldLayoutMk cId="1979953017" sldId="2147484203"/>
              <ac:spMk id="12" creationId="{71DB033B-8A87-603D-17CD-A5270186EAE3}"/>
            </ac:spMkLst>
          </pc:spChg>
          <pc:spChg chg="mod">
            <ac:chgData name="Grace, Morgan (Brisbane)" userId="221d5f7b-4a46-4bd5-bdf1-698d3a91c208" providerId="ADAL" clId="{D90324C1-6CE4-4C28-B886-AED0B666B37F}" dt="2024-06-06T05:13:54.947" v="42075" actId="790"/>
            <ac:spMkLst>
              <pc:docMk/>
              <pc:sldMasterMk cId="1176229821" sldId="2147484187"/>
              <pc:sldLayoutMk cId="1979953017" sldId="2147484203"/>
              <ac:spMk id="13" creationId="{1D551B8E-C568-639E-0ECF-96D10CEAB48E}"/>
            </ac:spMkLst>
          </pc:spChg>
          <pc:spChg chg="mod">
            <ac:chgData name="Grace, Morgan (Brisbane)" userId="221d5f7b-4a46-4bd5-bdf1-698d3a91c208" providerId="ADAL" clId="{D90324C1-6CE4-4C28-B886-AED0B666B37F}" dt="2024-06-06T05:13:54.947" v="42076" actId="790"/>
            <ac:spMkLst>
              <pc:docMk/>
              <pc:sldMasterMk cId="1176229821" sldId="2147484187"/>
              <pc:sldLayoutMk cId="1979953017" sldId="2147484203"/>
              <ac:spMk id="15" creationId="{847909D6-FEBC-924D-8EFE-96717820D7CF}"/>
            </ac:spMkLst>
          </pc:spChg>
          <pc:graphicFrameChg chg="mod ord modVis replST">
            <ac:chgData name="Grace, Morgan (Brisbane)" userId="221d5f7b-4a46-4bd5-bdf1-698d3a91c208" providerId="ADAL" clId="{D90324C1-6CE4-4C28-B886-AED0B666B37F}" dt="2024-06-06T05:14:00.424" v="45754"/>
            <ac:graphicFrameMkLst>
              <pc:docMk/>
              <pc:sldMasterMk cId="1176229821" sldId="2147484187"/>
              <pc:sldLayoutMk cId="1979953017" sldId="2147484203"/>
              <ac:graphicFrameMk id="3" creationId="{CDFBAFDD-D4EF-BFA7-178B-8C5629CE839C}"/>
            </ac:graphicFrameMkLst>
          </pc:graphicFrameChg>
        </pc:sldLayoutChg>
        <pc:sldLayoutChg chg="modSp mod">
          <pc:chgData name="Grace, Morgan (Brisbane)" userId="221d5f7b-4a46-4bd5-bdf1-698d3a91c208" providerId="ADAL" clId="{D90324C1-6CE4-4C28-B886-AED0B666B37F}" dt="2024-06-06T05:14:00.440" v="45761"/>
          <pc:sldLayoutMkLst>
            <pc:docMk/>
            <pc:sldMasterMk cId="1176229821" sldId="2147484187"/>
            <pc:sldLayoutMk cId="4249764265" sldId="2147484204"/>
          </pc:sldLayoutMkLst>
          <pc:spChg chg="mod">
            <ac:chgData name="Grace, Morgan (Brisbane)" userId="221d5f7b-4a46-4bd5-bdf1-698d3a91c208" providerId="ADAL" clId="{D90324C1-6CE4-4C28-B886-AED0B666B37F}" dt="2024-06-06T05:13:54.963" v="42088" actId="790"/>
            <ac:spMkLst>
              <pc:docMk/>
              <pc:sldMasterMk cId="1176229821" sldId="2147484187"/>
              <pc:sldLayoutMk cId="4249764265" sldId="2147484204"/>
              <ac:spMk id="2" creationId="{61B8F575-0DD2-09C3-48A2-63815EE46197}"/>
            </ac:spMkLst>
          </pc:spChg>
          <pc:spChg chg="mod">
            <ac:chgData name="Grace, Morgan (Brisbane)" userId="221d5f7b-4a46-4bd5-bdf1-698d3a91c208" providerId="ADAL" clId="{D90324C1-6CE4-4C28-B886-AED0B666B37F}" dt="2024-06-06T05:13:54.963" v="42084" actId="790"/>
            <ac:spMkLst>
              <pc:docMk/>
              <pc:sldMasterMk cId="1176229821" sldId="2147484187"/>
              <pc:sldLayoutMk cId="4249764265" sldId="2147484204"/>
              <ac:spMk id="5" creationId="{1A49D53A-8AEC-3ACB-BEF9-EF37A4E7C7E0}"/>
            </ac:spMkLst>
          </pc:spChg>
          <pc:spChg chg="mod">
            <ac:chgData name="Grace, Morgan (Brisbane)" userId="221d5f7b-4a46-4bd5-bdf1-698d3a91c208" providerId="ADAL" clId="{D90324C1-6CE4-4C28-B886-AED0B666B37F}" dt="2024-06-06T05:13:54.947" v="42078" actId="790"/>
            <ac:spMkLst>
              <pc:docMk/>
              <pc:sldMasterMk cId="1176229821" sldId="2147484187"/>
              <pc:sldLayoutMk cId="4249764265" sldId="2147484204"/>
              <ac:spMk id="7" creationId="{363064CB-E480-13D7-997D-A2A2CF889C37}"/>
            </ac:spMkLst>
          </pc:spChg>
          <pc:spChg chg="mod">
            <ac:chgData name="Grace, Morgan (Brisbane)" userId="221d5f7b-4a46-4bd5-bdf1-698d3a91c208" providerId="ADAL" clId="{D90324C1-6CE4-4C28-B886-AED0B666B37F}" dt="2024-06-06T05:13:54.947" v="42080" actId="947"/>
            <ac:spMkLst>
              <pc:docMk/>
              <pc:sldMasterMk cId="1176229821" sldId="2147484187"/>
              <pc:sldLayoutMk cId="4249764265" sldId="2147484204"/>
              <ac:spMk id="9" creationId="{D3F205F7-A4D8-8117-551A-6B3F1D157222}"/>
            </ac:spMkLst>
          </pc:spChg>
          <pc:spChg chg="mod">
            <ac:chgData name="Grace, Morgan (Brisbane)" userId="221d5f7b-4a46-4bd5-bdf1-698d3a91c208" providerId="ADAL" clId="{D90324C1-6CE4-4C28-B886-AED0B666B37F}" dt="2024-06-06T05:13:54.963" v="42086" actId="790"/>
            <ac:spMkLst>
              <pc:docMk/>
              <pc:sldMasterMk cId="1176229821" sldId="2147484187"/>
              <pc:sldLayoutMk cId="4249764265" sldId="2147484204"/>
              <ac:spMk id="13" creationId="{DE43A5AB-C08C-E886-713E-050F8FA098A1}"/>
            </ac:spMkLst>
          </pc:spChg>
          <pc:spChg chg="mod">
            <ac:chgData name="Grace, Morgan (Brisbane)" userId="221d5f7b-4a46-4bd5-bdf1-698d3a91c208" providerId="ADAL" clId="{D90324C1-6CE4-4C28-B886-AED0B666B37F}" dt="2024-06-06T05:13:54.963" v="42081" actId="790"/>
            <ac:spMkLst>
              <pc:docMk/>
              <pc:sldMasterMk cId="1176229821" sldId="2147484187"/>
              <pc:sldLayoutMk cId="4249764265" sldId="2147484204"/>
              <ac:spMk id="19" creationId="{7CC8F8D9-9685-4080-86C2-8080534AE1C2}"/>
            </ac:spMkLst>
          </pc:spChg>
          <pc:spChg chg="mod">
            <ac:chgData name="Grace, Morgan (Brisbane)" userId="221d5f7b-4a46-4bd5-bdf1-698d3a91c208" providerId="ADAL" clId="{D90324C1-6CE4-4C28-B886-AED0B666B37F}" dt="2024-06-06T05:13:54.963" v="42082" actId="790"/>
            <ac:spMkLst>
              <pc:docMk/>
              <pc:sldMasterMk cId="1176229821" sldId="2147484187"/>
              <pc:sldLayoutMk cId="4249764265" sldId="2147484204"/>
              <ac:spMk id="21" creationId="{A41E5BDE-0D34-F7A0-CD73-E2E4D4E83FF1}"/>
            </ac:spMkLst>
          </pc:spChg>
          <pc:spChg chg="mod">
            <ac:chgData name="Grace, Morgan (Brisbane)" userId="221d5f7b-4a46-4bd5-bdf1-698d3a91c208" providerId="ADAL" clId="{D90324C1-6CE4-4C28-B886-AED0B666B37F}" dt="2024-06-06T05:13:54.963" v="42083" actId="790"/>
            <ac:spMkLst>
              <pc:docMk/>
              <pc:sldMasterMk cId="1176229821" sldId="2147484187"/>
              <pc:sldLayoutMk cId="4249764265" sldId="2147484204"/>
              <ac:spMk id="22" creationId="{043E8A05-1419-59E5-197F-0E88F6CAE464}"/>
            </ac:spMkLst>
          </pc:spChg>
          <pc:spChg chg="mod">
            <ac:chgData name="Grace, Morgan (Brisbane)" userId="221d5f7b-4a46-4bd5-bdf1-698d3a91c208" providerId="ADAL" clId="{D90324C1-6CE4-4C28-B886-AED0B666B37F}" dt="2024-06-06T05:13:54.963" v="42085" actId="790"/>
            <ac:spMkLst>
              <pc:docMk/>
              <pc:sldMasterMk cId="1176229821" sldId="2147484187"/>
              <pc:sldLayoutMk cId="4249764265" sldId="2147484204"/>
              <ac:spMk id="24" creationId="{20306413-04ED-0FB9-EA4A-01B67ADAC01C}"/>
            </ac:spMkLst>
          </pc:spChg>
          <pc:spChg chg="mod">
            <ac:chgData name="Grace, Morgan (Brisbane)" userId="221d5f7b-4a46-4bd5-bdf1-698d3a91c208" providerId="ADAL" clId="{D90324C1-6CE4-4C28-B886-AED0B666B37F}" dt="2024-06-06T05:13:54.963" v="42087" actId="790"/>
            <ac:spMkLst>
              <pc:docMk/>
              <pc:sldMasterMk cId="1176229821" sldId="2147484187"/>
              <pc:sldLayoutMk cId="4249764265" sldId="2147484204"/>
              <ac:spMk id="28" creationId="{12126CE7-924E-D9DB-7B1E-8895BAFF58BE}"/>
            </ac:spMkLst>
          </pc:spChg>
          <pc:graphicFrameChg chg="mod ord modVis replST">
            <ac:chgData name="Grace, Morgan (Brisbane)" userId="221d5f7b-4a46-4bd5-bdf1-698d3a91c208" providerId="ADAL" clId="{D90324C1-6CE4-4C28-B886-AED0B666B37F}" dt="2024-06-06T05:14:00.440" v="45761"/>
            <ac:graphicFrameMkLst>
              <pc:docMk/>
              <pc:sldMasterMk cId="1176229821" sldId="2147484187"/>
              <pc:sldLayoutMk cId="4249764265" sldId="2147484204"/>
              <ac:graphicFrameMk id="3" creationId="{C180E75D-4044-45D1-4AC9-B770B3CF9D0C}"/>
            </ac:graphicFrameMkLst>
          </pc:graphicFrameChg>
        </pc:sldLayoutChg>
        <pc:sldLayoutChg chg="modSp mod">
          <pc:chgData name="Grace, Morgan (Brisbane)" userId="221d5f7b-4a46-4bd5-bdf1-698d3a91c208" providerId="ADAL" clId="{D90324C1-6CE4-4C28-B886-AED0B666B37F}" dt="2024-06-06T05:14:00.456" v="45768"/>
          <pc:sldLayoutMkLst>
            <pc:docMk/>
            <pc:sldMasterMk cId="1176229821" sldId="2147484187"/>
            <pc:sldLayoutMk cId="2571189356" sldId="2147484205"/>
          </pc:sldLayoutMkLst>
          <pc:spChg chg="mod">
            <ac:chgData name="Grace, Morgan (Brisbane)" userId="221d5f7b-4a46-4bd5-bdf1-698d3a91c208" providerId="ADAL" clId="{D90324C1-6CE4-4C28-B886-AED0B666B37F}" dt="2024-06-06T05:13:54.994" v="42099" actId="790"/>
            <ac:spMkLst>
              <pc:docMk/>
              <pc:sldMasterMk cId="1176229821" sldId="2147484187"/>
              <pc:sldLayoutMk cId="2571189356" sldId="2147484205"/>
              <ac:spMk id="2" creationId="{1CE8D044-6AF3-8C27-80FE-EDE648733753}"/>
            </ac:spMkLst>
          </pc:spChg>
          <pc:spChg chg="mod">
            <ac:chgData name="Grace, Morgan (Brisbane)" userId="221d5f7b-4a46-4bd5-bdf1-698d3a91c208" providerId="ADAL" clId="{D90324C1-6CE4-4C28-B886-AED0B666B37F}" dt="2024-06-06T05:13:54.978" v="42090" actId="790"/>
            <ac:spMkLst>
              <pc:docMk/>
              <pc:sldMasterMk cId="1176229821" sldId="2147484187"/>
              <pc:sldLayoutMk cId="2571189356" sldId="2147484205"/>
              <ac:spMk id="3" creationId="{E09C989C-1B9E-EFED-A345-0964940BE567}"/>
            </ac:spMkLst>
          </pc:spChg>
          <pc:spChg chg="mod">
            <ac:chgData name="Grace, Morgan (Brisbane)" userId="221d5f7b-4a46-4bd5-bdf1-698d3a91c208" providerId="ADAL" clId="{D90324C1-6CE4-4C28-B886-AED0B666B37F}" dt="2024-06-06T05:13:54.978" v="42097" actId="790"/>
            <ac:spMkLst>
              <pc:docMk/>
              <pc:sldMasterMk cId="1176229821" sldId="2147484187"/>
              <pc:sldLayoutMk cId="2571189356" sldId="2147484205"/>
              <ac:spMk id="5" creationId="{1A49D53A-8AEC-3ACB-BEF9-EF37A4E7C7E0}"/>
            </ac:spMkLst>
          </pc:spChg>
          <pc:spChg chg="mod">
            <ac:chgData name="Grace, Morgan (Brisbane)" userId="221d5f7b-4a46-4bd5-bdf1-698d3a91c208" providerId="ADAL" clId="{D90324C1-6CE4-4C28-B886-AED0B666B37F}" dt="2024-06-06T05:13:54.978" v="42092" actId="947"/>
            <ac:spMkLst>
              <pc:docMk/>
              <pc:sldMasterMk cId="1176229821" sldId="2147484187"/>
              <pc:sldLayoutMk cId="2571189356" sldId="2147484205"/>
              <ac:spMk id="7" creationId="{061A326B-A000-F0A4-6429-8AD684D64522}"/>
            </ac:spMkLst>
          </pc:spChg>
          <pc:spChg chg="mod">
            <ac:chgData name="Grace, Morgan (Brisbane)" userId="221d5f7b-4a46-4bd5-bdf1-698d3a91c208" providerId="ADAL" clId="{D90324C1-6CE4-4C28-B886-AED0B666B37F}" dt="2024-06-06T05:13:54.978" v="42089" actId="790"/>
            <ac:spMkLst>
              <pc:docMk/>
              <pc:sldMasterMk cId="1176229821" sldId="2147484187"/>
              <pc:sldLayoutMk cId="2571189356" sldId="2147484205"/>
              <ac:spMk id="12" creationId="{E48806D0-829B-6D10-ABDD-6596E85B014F}"/>
            </ac:spMkLst>
          </pc:spChg>
          <pc:spChg chg="mod">
            <ac:chgData name="Grace, Morgan (Brisbane)" userId="221d5f7b-4a46-4bd5-bdf1-698d3a91c208" providerId="ADAL" clId="{D90324C1-6CE4-4C28-B886-AED0B666B37F}" dt="2024-06-06T05:13:54.978" v="42093" actId="790"/>
            <ac:spMkLst>
              <pc:docMk/>
              <pc:sldMasterMk cId="1176229821" sldId="2147484187"/>
              <pc:sldLayoutMk cId="2571189356" sldId="2147484205"/>
              <ac:spMk id="19" creationId="{7CC8F8D9-9685-4080-86C2-8080534AE1C2}"/>
            </ac:spMkLst>
          </pc:spChg>
          <pc:spChg chg="mod">
            <ac:chgData name="Grace, Morgan (Brisbane)" userId="221d5f7b-4a46-4bd5-bdf1-698d3a91c208" providerId="ADAL" clId="{D90324C1-6CE4-4C28-B886-AED0B666B37F}" dt="2024-06-06T05:13:54.978" v="42094" actId="790"/>
            <ac:spMkLst>
              <pc:docMk/>
              <pc:sldMasterMk cId="1176229821" sldId="2147484187"/>
              <pc:sldLayoutMk cId="2571189356" sldId="2147484205"/>
              <ac:spMk id="21" creationId="{A41E5BDE-0D34-F7A0-CD73-E2E4D4E83FF1}"/>
            </ac:spMkLst>
          </pc:spChg>
          <pc:spChg chg="mod">
            <ac:chgData name="Grace, Morgan (Brisbane)" userId="221d5f7b-4a46-4bd5-bdf1-698d3a91c208" providerId="ADAL" clId="{D90324C1-6CE4-4C28-B886-AED0B666B37F}" dt="2024-06-06T05:13:54.978" v="42095" actId="790"/>
            <ac:spMkLst>
              <pc:docMk/>
              <pc:sldMasterMk cId="1176229821" sldId="2147484187"/>
              <pc:sldLayoutMk cId="2571189356" sldId="2147484205"/>
              <ac:spMk id="22" creationId="{043E8A05-1419-59E5-197F-0E88F6CAE464}"/>
            </ac:spMkLst>
          </pc:spChg>
          <pc:spChg chg="mod">
            <ac:chgData name="Grace, Morgan (Brisbane)" userId="221d5f7b-4a46-4bd5-bdf1-698d3a91c208" providerId="ADAL" clId="{D90324C1-6CE4-4C28-B886-AED0B666B37F}" dt="2024-06-06T05:13:54.994" v="42098" actId="790"/>
            <ac:spMkLst>
              <pc:docMk/>
              <pc:sldMasterMk cId="1176229821" sldId="2147484187"/>
              <pc:sldLayoutMk cId="2571189356" sldId="2147484205"/>
              <ac:spMk id="24" creationId="{20306413-04ED-0FB9-EA4A-01B67ADAC01C}"/>
            </ac:spMkLst>
          </pc:spChg>
          <pc:spChg chg="mod">
            <ac:chgData name="Grace, Morgan (Brisbane)" userId="221d5f7b-4a46-4bd5-bdf1-698d3a91c208" providerId="ADAL" clId="{D90324C1-6CE4-4C28-B886-AED0B666B37F}" dt="2024-06-06T05:13:54.978" v="42096" actId="790"/>
            <ac:spMkLst>
              <pc:docMk/>
              <pc:sldMasterMk cId="1176229821" sldId="2147484187"/>
              <pc:sldLayoutMk cId="2571189356" sldId="2147484205"/>
              <ac:spMk id="28" creationId="{12126CE7-924E-D9DB-7B1E-8895BAFF58BE}"/>
            </ac:spMkLst>
          </pc:spChg>
          <pc:graphicFrameChg chg="mod ord modVis replST">
            <ac:chgData name="Grace, Morgan (Brisbane)" userId="221d5f7b-4a46-4bd5-bdf1-698d3a91c208" providerId="ADAL" clId="{D90324C1-6CE4-4C28-B886-AED0B666B37F}" dt="2024-06-06T05:14:00.456" v="45768"/>
            <ac:graphicFrameMkLst>
              <pc:docMk/>
              <pc:sldMasterMk cId="1176229821" sldId="2147484187"/>
              <pc:sldLayoutMk cId="2571189356" sldId="2147484205"/>
              <ac:graphicFrameMk id="4" creationId="{58F5461C-9CD7-A385-A38B-F254305B587D}"/>
            </ac:graphicFrameMkLst>
          </pc:graphicFrameChg>
        </pc:sldLayoutChg>
      </pc:sldMasterChg>
      <pc:sldMasterChg chg="delSp modSp mod modSldLayout">
        <pc:chgData name="Grace, Morgan (Brisbane)" userId="221d5f7b-4a46-4bd5-bdf1-698d3a91c208" providerId="ADAL" clId="{D90324C1-6CE4-4C28-B886-AED0B666B37F}" dt="2024-06-06T05:14:01.442" v="46146"/>
        <pc:sldMasterMkLst>
          <pc:docMk/>
          <pc:sldMasterMk cId="2434675916" sldId="2147484214"/>
        </pc:sldMasterMkLst>
        <pc:spChg chg="mod">
          <ac:chgData name="Grace, Morgan (Brisbane)" userId="221d5f7b-4a46-4bd5-bdf1-698d3a91c208" providerId="ADAL" clId="{D90324C1-6CE4-4C28-B886-AED0B666B37F}" dt="2024-06-06T05:13:58.522" v="44291" actId="948"/>
          <ac:spMkLst>
            <pc:docMk/>
            <pc:sldMasterMk cId="2434675916" sldId="2147484214"/>
            <ac:spMk id="2" creationId="{106F217F-D8E3-0146-D631-EC38566A36EF}"/>
          </ac:spMkLst>
        </pc:spChg>
        <pc:spChg chg="del mod modVis">
          <ac:chgData name="Grace, Morgan (Brisbane)" userId="221d5f7b-4a46-4bd5-bdf1-698d3a91c208" providerId="ADAL" clId="{D90324C1-6CE4-4C28-B886-AED0B666B37F}" dt="2024-06-06T05:14:00.456" v="45769" actId="478"/>
          <ac:spMkLst>
            <pc:docMk/>
            <pc:sldMasterMk cId="2434675916" sldId="2147484214"/>
            <ac:spMk id="3" creationId="{996A5E02-F688-B538-68E1-D28189E6187B}"/>
          </ac:spMkLst>
        </pc:spChg>
        <pc:spChg chg="mod">
          <ac:chgData name="Grace, Morgan (Brisbane)" userId="221d5f7b-4a46-4bd5-bdf1-698d3a91c208" providerId="ADAL" clId="{D90324C1-6CE4-4C28-B886-AED0B666B37F}" dt="2024-06-06T05:13:55.013" v="42102" actId="790"/>
          <ac:spMkLst>
            <pc:docMk/>
            <pc:sldMasterMk cId="2434675916" sldId="2147484214"/>
            <ac:spMk id="4" creationId="{3C98C8E9-53A9-E726-DFE9-07714F5557F9}"/>
          </ac:spMkLst>
        </pc:spChg>
        <pc:spChg chg="mod">
          <ac:chgData name="Grace, Morgan (Brisbane)" userId="221d5f7b-4a46-4bd5-bdf1-698d3a91c208" providerId="ADAL" clId="{D90324C1-6CE4-4C28-B886-AED0B666B37F}" dt="2024-06-06T05:13:55.015" v="42103" actId="790"/>
          <ac:spMkLst>
            <pc:docMk/>
            <pc:sldMasterMk cId="2434675916" sldId="2147484214"/>
            <ac:spMk id="6" creationId="{87DF0065-1E85-3CAE-AFF2-1B24507DE8EE}"/>
          </ac:spMkLst>
        </pc:spChg>
        <pc:spChg chg="mod">
          <ac:chgData name="Grace, Morgan (Brisbane)" userId="221d5f7b-4a46-4bd5-bdf1-698d3a91c208" providerId="ADAL" clId="{D90324C1-6CE4-4C28-B886-AED0B666B37F}" dt="2024-06-06T05:13:55.010" v="42101" actId="790"/>
          <ac:spMkLst>
            <pc:docMk/>
            <pc:sldMasterMk cId="2434675916" sldId="2147484214"/>
            <ac:spMk id="8" creationId="{05AC2582-4AF7-82C5-5AFC-CAEBC21F3E32}"/>
          </ac:spMkLst>
        </pc:spChg>
        <pc:graphicFrameChg chg="mod">
          <ac:chgData name="Grace, Morgan (Brisbane)" userId="221d5f7b-4a46-4bd5-bdf1-698d3a91c208" providerId="ADAL" clId="{D90324C1-6CE4-4C28-B886-AED0B666B37F}" dt="2024-06-06T05:14:00.456" v="45770" actId="1076"/>
          <ac:graphicFrameMkLst>
            <pc:docMk/>
            <pc:sldMasterMk cId="2434675916" sldId="2147484214"/>
            <ac:graphicFrameMk id="5" creationId="{6D31DAB9-E31F-6873-4D71-361DA5A6150B}"/>
          </ac:graphicFrameMkLst>
        </pc:graphicFrameChg>
        <pc:sldLayoutChg chg="modSp mod">
          <pc:chgData name="Grace, Morgan (Brisbane)" userId="221d5f7b-4a46-4bd5-bdf1-698d3a91c208" providerId="ADAL" clId="{D90324C1-6CE4-4C28-B886-AED0B666B37F}" dt="2024-06-06T05:14:01.429" v="46139"/>
          <pc:sldLayoutMkLst>
            <pc:docMk/>
            <pc:sldMasterMk cId="2434675916" sldId="2147484214"/>
            <pc:sldLayoutMk cId="2141900500" sldId="2147484219"/>
          </pc:sldLayoutMkLst>
          <pc:spChg chg="mod">
            <ac:chgData name="Grace, Morgan (Brisbane)" userId="221d5f7b-4a46-4bd5-bdf1-698d3a91c208" providerId="ADAL" clId="{D90324C1-6CE4-4C28-B886-AED0B666B37F}" dt="2024-06-06T05:13:56.434" v="42866" actId="947"/>
            <ac:spMkLst>
              <pc:docMk/>
              <pc:sldMasterMk cId="2434675916" sldId="2147484214"/>
              <pc:sldLayoutMk cId="2141900500" sldId="2147484219"/>
              <ac:spMk id="2" creationId="{8884F5D3-5E0E-5F2B-BAB4-702F57222D66}"/>
            </ac:spMkLst>
          </pc:spChg>
          <pc:spChg chg="mod">
            <ac:chgData name="Grace, Morgan (Brisbane)" userId="221d5f7b-4a46-4bd5-bdf1-698d3a91c208" providerId="ADAL" clId="{D90324C1-6CE4-4C28-B886-AED0B666B37F}" dt="2024-06-06T05:13:56.565" v="43049" actId="790"/>
            <ac:spMkLst>
              <pc:docMk/>
              <pc:sldMasterMk cId="2434675916" sldId="2147484214"/>
              <pc:sldLayoutMk cId="2141900500" sldId="2147484219"/>
              <ac:spMk id="3" creationId="{9A5582E7-0890-EED9-96C0-76FB84BC7158}"/>
            </ac:spMkLst>
          </pc:spChg>
          <pc:spChg chg="mod">
            <ac:chgData name="Grace, Morgan (Brisbane)" userId="221d5f7b-4a46-4bd5-bdf1-698d3a91c208" providerId="ADAL" clId="{D90324C1-6CE4-4C28-B886-AED0B666B37F}" dt="2024-06-06T05:13:56.565" v="43048" actId="790"/>
            <ac:spMkLst>
              <pc:docMk/>
              <pc:sldMasterMk cId="2434675916" sldId="2147484214"/>
              <pc:sldLayoutMk cId="2141900500" sldId="2147484219"/>
              <ac:spMk id="5" creationId="{8272AD4B-E7D9-AE94-BF24-D3622D93A0B1}"/>
            </ac:spMkLst>
          </pc:spChg>
          <pc:spChg chg="mod">
            <ac:chgData name="Grace, Morgan (Brisbane)" userId="221d5f7b-4a46-4bd5-bdf1-698d3a91c208" providerId="ADAL" clId="{D90324C1-6CE4-4C28-B886-AED0B666B37F}" dt="2024-06-06T05:13:56.434" v="42868" actId="947"/>
            <ac:spMkLst>
              <pc:docMk/>
              <pc:sldMasterMk cId="2434675916" sldId="2147484214"/>
              <pc:sldLayoutMk cId="2141900500" sldId="2147484219"/>
              <ac:spMk id="7" creationId="{D6AF893B-08DC-370F-6B4A-FB85421C3F9D}"/>
            </ac:spMkLst>
          </pc:spChg>
          <pc:spChg chg="mod">
            <ac:chgData name="Grace, Morgan (Brisbane)" userId="221d5f7b-4a46-4bd5-bdf1-698d3a91c208" providerId="ADAL" clId="{D90324C1-6CE4-4C28-B886-AED0B666B37F}" dt="2024-06-06T05:13:56.450" v="42870" actId="947"/>
            <ac:spMkLst>
              <pc:docMk/>
              <pc:sldMasterMk cId="2434675916" sldId="2147484214"/>
              <pc:sldLayoutMk cId="2141900500" sldId="2147484219"/>
              <ac:spMk id="8" creationId="{981B3B10-ECFD-E6F1-2389-0DA512390912}"/>
            </ac:spMkLst>
          </pc:spChg>
          <pc:spChg chg="mod">
            <ac:chgData name="Grace, Morgan (Brisbane)" userId="221d5f7b-4a46-4bd5-bdf1-698d3a91c208" providerId="ADAL" clId="{D90324C1-6CE4-4C28-B886-AED0B666B37F}" dt="2024-06-06T05:13:56.450" v="42872" actId="947"/>
            <ac:spMkLst>
              <pc:docMk/>
              <pc:sldMasterMk cId="2434675916" sldId="2147484214"/>
              <pc:sldLayoutMk cId="2141900500" sldId="2147484219"/>
              <ac:spMk id="9" creationId="{3F0DA040-B3B4-6B7F-82E6-AC9B69C8290F}"/>
            </ac:spMkLst>
          </pc:spChg>
          <pc:spChg chg="mod">
            <ac:chgData name="Grace, Morgan (Brisbane)" userId="221d5f7b-4a46-4bd5-bdf1-698d3a91c208" providerId="ADAL" clId="{D90324C1-6CE4-4C28-B886-AED0B666B37F}" dt="2024-06-06T05:13:56.450" v="42874" actId="947"/>
            <ac:spMkLst>
              <pc:docMk/>
              <pc:sldMasterMk cId="2434675916" sldId="2147484214"/>
              <pc:sldLayoutMk cId="2141900500" sldId="2147484219"/>
              <ac:spMk id="10" creationId="{4E893A43-CC1D-DE35-D0DC-4878D40FA0B3}"/>
            </ac:spMkLst>
          </pc:spChg>
          <pc:spChg chg="mod">
            <ac:chgData name="Grace, Morgan (Brisbane)" userId="221d5f7b-4a46-4bd5-bdf1-698d3a91c208" providerId="ADAL" clId="{D90324C1-6CE4-4C28-B886-AED0B666B37F}" dt="2024-06-06T05:13:56.450" v="42876" actId="947"/>
            <ac:spMkLst>
              <pc:docMk/>
              <pc:sldMasterMk cId="2434675916" sldId="2147484214"/>
              <pc:sldLayoutMk cId="2141900500" sldId="2147484219"/>
              <ac:spMk id="11" creationId="{BDEF9BDF-2C3A-FC46-03ED-34055086B715}"/>
            </ac:spMkLst>
          </pc:spChg>
          <pc:spChg chg="mod">
            <ac:chgData name="Grace, Morgan (Brisbane)" userId="221d5f7b-4a46-4bd5-bdf1-698d3a91c208" providerId="ADAL" clId="{D90324C1-6CE4-4C28-B886-AED0B666B37F}" dt="2024-06-06T05:13:56.450" v="42878" actId="947"/>
            <ac:spMkLst>
              <pc:docMk/>
              <pc:sldMasterMk cId="2434675916" sldId="2147484214"/>
              <pc:sldLayoutMk cId="2141900500" sldId="2147484219"/>
              <ac:spMk id="12" creationId="{2C16200D-88DD-6372-BE8D-08DEFBE2149C}"/>
            </ac:spMkLst>
          </pc:spChg>
          <pc:spChg chg="mod">
            <ac:chgData name="Grace, Morgan (Brisbane)" userId="221d5f7b-4a46-4bd5-bdf1-698d3a91c208" providerId="ADAL" clId="{D90324C1-6CE4-4C28-B886-AED0B666B37F}" dt="2024-06-06T05:13:56.450" v="42880" actId="947"/>
            <ac:spMkLst>
              <pc:docMk/>
              <pc:sldMasterMk cId="2434675916" sldId="2147484214"/>
              <pc:sldLayoutMk cId="2141900500" sldId="2147484219"/>
              <ac:spMk id="13" creationId="{BBCDAC1A-1AB3-219D-D7D2-8BC30CE069CD}"/>
            </ac:spMkLst>
          </pc:spChg>
          <pc:spChg chg="mod">
            <ac:chgData name="Grace, Morgan (Brisbane)" userId="221d5f7b-4a46-4bd5-bdf1-698d3a91c208" providerId="ADAL" clId="{D90324C1-6CE4-4C28-B886-AED0B666B37F}" dt="2024-06-06T05:13:56.450" v="42882" actId="947"/>
            <ac:spMkLst>
              <pc:docMk/>
              <pc:sldMasterMk cId="2434675916" sldId="2147484214"/>
              <pc:sldLayoutMk cId="2141900500" sldId="2147484219"/>
              <ac:spMk id="14" creationId="{704919D4-82D6-86BA-498A-00223EE0C539}"/>
            </ac:spMkLst>
          </pc:spChg>
          <pc:spChg chg="mod">
            <ac:chgData name="Grace, Morgan (Brisbane)" userId="221d5f7b-4a46-4bd5-bdf1-698d3a91c208" providerId="ADAL" clId="{D90324C1-6CE4-4C28-B886-AED0B666B37F}" dt="2024-06-06T05:13:59.417" v="45106" actId="948"/>
            <ac:spMkLst>
              <pc:docMk/>
              <pc:sldMasterMk cId="2434675916" sldId="2147484214"/>
              <pc:sldLayoutMk cId="2141900500" sldId="2147484219"/>
              <ac:spMk id="15" creationId="{AFB9E9B5-84E3-6B30-E11E-CED1D550695F}"/>
            </ac:spMkLst>
          </pc:spChg>
          <pc:spChg chg="mod">
            <ac:chgData name="Grace, Morgan (Brisbane)" userId="221d5f7b-4a46-4bd5-bdf1-698d3a91c208" providerId="ADAL" clId="{D90324C1-6CE4-4C28-B886-AED0B666B37F}" dt="2024-06-06T05:13:56.565" v="43046" actId="790"/>
            <ac:spMkLst>
              <pc:docMk/>
              <pc:sldMasterMk cId="2434675916" sldId="2147484214"/>
              <pc:sldLayoutMk cId="2141900500" sldId="2147484219"/>
              <ac:spMk id="16" creationId="{6A5D10D8-05A0-C009-D51B-3A982B48CAF7}"/>
            </ac:spMkLst>
          </pc:spChg>
          <pc:spChg chg="mod">
            <ac:chgData name="Grace, Morgan (Brisbane)" userId="221d5f7b-4a46-4bd5-bdf1-698d3a91c208" providerId="ADAL" clId="{D90324C1-6CE4-4C28-B886-AED0B666B37F}" dt="2024-06-06T05:13:56.565" v="43047" actId="790"/>
            <ac:spMkLst>
              <pc:docMk/>
              <pc:sldMasterMk cId="2434675916" sldId="2147484214"/>
              <pc:sldLayoutMk cId="2141900500" sldId="2147484219"/>
              <ac:spMk id="17" creationId="{6584C68B-1FE2-5B0E-5DE4-F1F62C8BF860}"/>
            </ac:spMkLst>
          </pc:spChg>
          <pc:spChg chg="mod">
            <ac:chgData name="Grace, Morgan (Brisbane)" userId="221d5f7b-4a46-4bd5-bdf1-698d3a91c208" providerId="ADAL" clId="{D90324C1-6CE4-4C28-B886-AED0B666B37F}" dt="2024-06-06T05:13:56.450" v="42884" actId="947"/>
            <ac:spMkLst>
              <pc:docMk/>
              <pc:sldMasterMk cId="2434675916" sldId="2147484214"/>
              <pc:sldLayoutMk cId="2141900500" sldId="2147484219"/>
              <ac:spMk id="18" creationId="{52343ECD-9C6E-2FBA-21E2-D95E68ADCE75}"/>
            </ac:spMkLst>
          </pc:spChg>
          <pc:spChg chg="mod">
            <ac:chgData name="Grace, Morgan (Brisbane)" userId="221d5f7b-4a46-4bd5-bdf1-698d3a91c208" providerId="ADAL" clId="{D90324C1-6CE4-4C28-B886-AED0B666B37F}" dt="2024-06-06T05:13:56.450" v="42886" actId="947"/>
            <ac:spMkLst>
              <pc:docMk/>
              <pc:sldMasterMk cId="2434675916" sldId="2147484214"/>
              <pc:sldLayoutMk cId="2141900500" sldId="2147484219"/>
              <ac:spMk id="19" creationId="{2EB20E18-3935-770C-B3B4-45F8E602B4A5}"/>
            </ac:spMkLst>
          </pc:spChg>
          <pc:spChg chg="mod">
            <ac:chgData name="Grace, Morgan (Brisbane)" userId="221d5f7b-4a46-4bd5-bdf1-698d3a91c208" providerId="ADAL" clId="{D90324C1-6CE4-4C28-B886-AED0B666B37F}" dt="2024-06-06T05:13:56.450" v="42888" actId="947"/>
            <ac:spMkLst>
              <pc:docMk/>
              <pc:sldMasterMk cId="2434675916" sldId="2147484214"/>
              <pc:sldLayoutMk cId="2141900500" sldId="2147484219"/>
              <ac:spMk id="20" creationId="{7EDE919D-D18B-ADED-5A7B-9FC0D6755BBE}"/>
            </ac:spMkLst>
          </pc:spChg>
          <pc:spChg chg="mod">
            <ac:chgData name="Grace, Morgan (Brisbane)" userId="221d5f7b-4a46-4bd5-bdf1-698d3a91c208" providerId="ADAL" clId="{D90324C1-6CE4-4C28-B886-AED0B666B37F}" dt="2024-06-06T05:13:56.450" v="42890" actId="947"/>
            <ac:spMkLst>
              <pc:docMk/>
              <pc:sldMasterMk cId="2434675916" sldId="2147484214"/>
              <pc:sldLayoutMk cId="2141900500" sldId="2147484219"/>
              <ac:spMk id="21" creationId="{0512EE2B-6F51-F0D1-D317-282637F92784}"/>
            </ac:spMkLst>
          </pc:spChg>
          <pc:spChg chg="mod">
            <ac:chgData name="Grace, Morgan (Brisbane)" userId="221d5f7b-4a46-4bd5-bdf1-698d3a91c208" providerId="ADAL" clId="{D90324C1-6CE4-4C28-B886-AED0B666B37F}" dt="2024-06-06T05:13:56.465" v="42892" actId="947"/>
            <ac:spMkLst>
              <pc:docMk/>
              <pc:sldMasterMk cId="2434675916" sldId="2147484214"/>
              <pc:sldLayoutMk cId="2141900500" sldId="2147484219"/>
              <ac:spMk id="22" creationId="{2E6C298C-E399-FCF8-6FA9-FBC47771D3D9}"/>
            </ac:spMkLst>
          </pc:spChg>
          <pc:spChg chg="mod">
            <ac:chgData name="Grace, Morgan (Brisbane)" userId="221d5f7b-4a46-4bd5-bdf1-698d3a91c208" providerId="ADAL" clId="{D90324C1-6CE4-4C28-B886-AED0B666B37F}" dt="2024-06-06T05:13:56.465" v="42894" actId="947"/>
            <ac:spMkLst>
              <pc:docMk/>
              <pc:sldMasterMk cId="2434675916" sldId="2147484214"/>
              <pc:sldLayoutMk cId="2141900500" sldId="2147484219"/>
              <ac:spMk id="23" creationId="{DD99B47F-897A-D854-9B35-016829EADFD4}"/>
            </ac:spMkLst>
          </pc:spChg>
          <pc:spChg chg="mod">
            <ac:chgData name="Grace, Morgan (Brisbane)" userId="221d5f7b-4a46-4bd5-bdf1-698d3a91c208" providerId="ADAL" clId="{D90324C1-6CE4-4C28-B886-AED0B666B37F}" dt="2024-06-06T05:13:56.465" v="42896" actId="947"/>
            <ac:spMkLst>
              <pc:docMk/>
              <pc:sldMasterMk cId="2434675916" sldId="2147484214"/>
              <pc:sldLayoutMk cId="2141900500" sldId="2147484219"/>
              <ac:spMk id="24" creationId="{6611F23D-5CC4-79CC-5465-F35CDDD927CB}"/>
            </ac:spMkLst>
          </pc:spChg>
          <pc:spChg chg="mod">
            <ac:chgData name="Grace, Morgan (Brisbane)" userId="221d5f7b-4a46-4bd5-bdf1-698d3a91c208" providerId="ADAL" clId="{D90324C1-6CE4-4C28-B886-AED0B666B37F}" dt="2024-06-06T05:13:56.465" v="42898" actId="947"/>
            <ac:spMkLst>
              <pc:docMk/>
              <pc:sldMasterMk cId="2434675916" sldId="2147484214"/>
              <pc:sldLayoutMk cId="2141900500" sldId="2147484219"/>
              <ac:spMk id="25" creationId="{B0DF94F3-A9BB-28DD-4C21-855FEC485FC3}"/>
            </ac:spMkLst>
          </pc:spChg>
          <pc:spChg chg="mod">
            <ac:chgData name="Grace, Morgan (Brisbane)" userId="221d5f7b-4a46-4bd5-bdf1-698d3a91c208" providerId="ADAL" clId="{D90324C1-6CE4-4C28-B886-AED0B666B37F}" dt="2024-06-06T05:13:56.465" v="42900" actId="947"/>
            <ac:spMkLst>
              <pc:docMk/>
              <pc:sldMasterMk cId="2434675916" sldId="2147484214"/>
              <pc:sldLayoutMk cId="2141900500" sldId="2147484219"/>
              <ac:spMk id="26" creationId="{4AB35A9D-065A-E54B-0926-4C7E77A43445}"/>
            </ac:spMkLst>
          </pc:spChg>
          <pc:spChg chg="mod">
            <ac:chgData name="Grace, Morgan (Brisbane)" userId="221d5f7b-4a46-4bd5-bdf1-698d3a91c208" providerId="ADAL" clId="{D90324C1-6CE4-4C28-B886-AED0B666B37F}" dt="2024-06-06T05:13:56.465" v="42902" actId="947"/>
            <ac:spMkLst>
              <pc:docMk/>
              <pc:sldMasterMk cId="2434675916" sldId="2147484214"/>
              <pc:sldLayoutMk cId="2141900500" sldId="2147484219"/>
              <ac:spMk id="27" creationId="{17D4E3E6-C2D8-146D-BB00-265EC459EB65}"/>
            </ac:spMkLst>
          </pc:spChg>
          <pc:spChg chg="mod">
            <ac:chgData name="Grace, Morgan (Brisbane)" userId="221d5f7b-4a46-4bd5-bdf1-698d3a91c208" providerId="ADAL" clId="{D90324C1-6CE4-4C28-B886-AED0B666B37F}" dt="2024-06-06T05:13:56.465" v="42904" actId="947"/>
            <ac:spMkLst>
              <pc:docMk/>
              <pc:sldMasterMk cId="2434675916" sldId="2147484214"/>
              <pc:sldLayoutMk cId="2141900500" sldId="2147484219"/>
              <ac:spMk id="28" creationId="{3F4D7FC7-9E7C-A296-2C0B-E9D0CC4E1B3B}"/>
            </ac:spMkLst>
          </pc:spChg>
          <pc:spChg chg="mod">
            <ac:chgData name="Grace, Morgan (Brisbane)" userId="221d5f7b-4a46-4bd5-bdf1-698d3a91c208" providerId="ADAL" clId="{D90324C1-6CE4-4C28-B886-AED0B666B37F}" dt="2024-06-06T05:13:56.465" v="42906" actId="947"/>
            <ac:spMkLst>
              <pc:docMk/>
              <pc:sldMasterMk cId="2434675916" sldId="2147484214"/>
              <pc:sldLayoutMk cId="2141900500" sldId="2147484219"/>
              <ac:spMk id="29" creationId="{68BF711B-842E-26EA-B66B-FCF22F13D3B3}"/>
            </ac:spMkLst>
          </pc:spChg>
          <pc:spChg chg="mod">
            <ac:chgData name="Grace, Morgan (Brisbane)" userId="221d5f7b-4a46-4bd5-bdf1-698d3a91c208" providerId="ADAL" clId="{D90324C1-6CE4-4C28-B886-AED0B666B37F}" dt="2024-06-06T05:13:56.465" v="42908" actId="947"/>
            <ac:spMkLst>
              <pc:docMk/>
              <pc:sldMasterMk cId="2434675916" sldId="2147484214"/>
              <pc:sldLayoutMk cId="2141900500" sldId="2147484219"/>
              <ac:spMk id="30" creationId="{A1031C89-A54D-F521-35BF-A51544249C22}"/>
            </ac:spMkLst>
          </pc:spChg>
          <pc:spChg chg="mod">
            <ac:chgData name="Grace, Morgan (Brisbane)" userId="221d5f7b-4a46-4bd5-bdf1-698d3a91c208" providerId="ADAL" clId="{D90324C1-6CE4-4C28-B886-AED0B666B37F}" dt="2024-06-06T05:13:56.465" v="42910" actId="947"/>
            <ac:spMkLst>
              <pc:docMk/>
              <pc:sldMasterMk cId="2434675916" sldId="2147484214"/>
              <pc:sldLayoutMk cId="2141900500" sldId="2147484219"/>
              <ac:spMk id="31" creationId="{C9A4C6DC-FF4A-809A-6319-804C20A7B31E}"/>
            </ac:spMkLst>
          </pc:spChg>
          <pc:spChg chg="mod">
            <ac:chgData name="Grace, Morgan (Brisbane)" userId="221d5f7b-4a46-4bd5-bdf1-698d3a91c208" providerId="ADAL" clId="{D90324C1-6CE4-4C28-B886-AED0B666B37F}" dt="2024-06-06T05:13:56.465" v="42912" actId="947"/>
            <ac:spMkLst>
              <pc:docMk/>
              <pc:sldMasterMk cId="2434675916" sldId="2147484214"/>
              <pc:sldLayoutMk cId="2141900500" sldId="2147484219"/>
              <ac:spMk id="32" creationId="{7B7D30CA-BB03-EECE-16DE-42B973B30FF9}"/>
            </ac:spMkLst>
          </pc:spChg>
          <pc:spChg chg="mod">
            <ac:chgData name="Grace, Morgan (Brisbane)" userId="221d5f7b-4a46-4bd5-bdf1-698d3a91c208" providerId="ADAL" clId="{D90324C1-6CE4-4C28-B886-AED0B666B37F}" dt="2024-06-06T05:13:56.465" v="42914" actId="947"/>
            <ac:spMkLst>
              <pc:docMk/>
              <pc:sldMasterMk cId="2434675916" sldId="2147484214"/>
              <pc:sldLayoutMk cId="2141900500" sldId="2147484219"/>
              <ac:spMk id="33" creationId="{043514E3-C869-2BAD-9F15-88F8C2BCFE77}"/>
            </ac:spMkLst>
          </pc:spChg>
          <pc:spChg chg="mod">
            <ac:chgData name="Grace, Morgan (Brisbane)" userId="221d5f7b-4a46-4bd5-bdf1-698d3a91c208" providerId="ADAL" clId="{D90324C1-6CE4-4C28-B886-AED0B666B37F}" dt="2024-06-06T05:13:56.481" v="42916" actId="947"/>
            <ac:spMkLst>
              <pc:docMk/>
              <pc:sldMasterMk cId="2434675916" sldId="2147484214"/>
              <pc:sldLayoutMk cId="2141900500" sldId="2147484219"/>
              <ac:spMk id="34" creationId="{4578A8D0-6290-D57A-9739-38CCD6A134C2}"/>
            </ac:spMkLst>
          </pc:spChg>
          <pc:spChg chg="mod">
            <ac:chgData name="Grace, Morgan (Brisbane)" userId="221d5f7b-4a46-4bd5-bdf1-698d3a91c208" providerId="ADAL" clId="{D90324C1-6CE4-4C28-B886-AED0B666B37F}" dt="2024-06-06T05:13:56.481" v="42918" actId="947"/>
            <ac:spMkLst>
              <pc:docMk/>
              <pc:sldMasterMk cId="2434675916" sldId="2147484214"/>
              <pc:sldLayoutMk cId="2141900500" sldId="2147484219"/>
              <ac:spMk id="35" creationId="{99876072-C37C-8B38-EB38-448DC48C79F7}"/>
            </ac:spMkLst>
          </pc:spChg>
          <pc:spChg chg="mod">
            <ac:chgData name="Grace, Morgan (Brisbane)" userId="221d5f7b-4a46-4bd5-bdf1-698d3a91c208" providerId="ADAL" clId="{D90324C1-6CE4-4C28-B886-AED0B666B37F}" dt="2024-06-06T05:13:56.481" v="42920" actId="947"/>
            <ac:spMkLst>
              <pc:docMk/>
              <pc:sldMasterMk cId="2434675916" sldId="2147484214"/>
              <pc:sldLayoutMk cId="2141900500" sldId="2147484219"/>
              <ac:spMk id="36" creationId="{25CF0FF7-B8AA-8F1C-A2EB-60E31680544B}"/>
            </ac:spMkLst>
          </pc:spChg>
          <pc:spChg chg="mod">
            <ac:chgData name="Grace, Morgan (Brisbane)" userId="221d5f7b-4a46-4bd5-bdf1-698d3a91c208" providerId="ADAL" clId="{D90324C1-6CE4-4C28-B886-AED0B666B37F}" dt="2024-06-06T05:13:56.481" v="42922" actId="947"/>
            <ac:spMkLst>
              <pc:docMk/>
              <pc:sldMasterMk cId="2434675916" sldId="2147484214"/>
              <pc:sldLayoutMk cId="2141900500" sldId="2147484219"/>
              <ac:spMk id="37" creationId="{693D7B49-1E1D-697A-DF88-4F1A5D27D0A4}"/>
            </ac:spMkLst>
          </pc:spChg>
          <pc:spChg chg="mod">
            <ac:chgData name="Grace, Morgan (Brisbane)" userId="221d5f7b-4a46-4bd5-bdf1-698d3a91c208" providerId="ADAL" clId="{D90324C1-6CE4-4C28-B886-AED0B666B37F}" dt="2024-06-06T05:13:56.481" v="42924" actId="947"/>
            <ac:spMkLst>
              <pc:docMk/>
              <pc:sldMasterMk cId="2434675916" sldId="2147484214"/>
              <pc:sldLayoutMk cId="2141900500" sldId="2147484219"/>
              <ac:spMk id="38" creationId="{ABE76DE3-1B46-DADA-CFEC-2F69400E87BF}"/>
            </ac:spMkLst>
          </pc:spChg>
          <pc:spChg chg="mod">
            <ac:chgData name="Grace, Morgan (Brisbane)" userId="221d5f7b-4a46-4bd5-bdf1-698d3a91c208" providerId="ADAL" clId="{D90324C1-6CE4-4C28-B886-AED0B666B37F}" dt="2024-06-06T05:13:56.481" v="42926" actId="947"/>
            <ac:spMkLst>
              <pc:docMk/>
              <pc:sldMasterMk cId="2434675916" sldId="2147484214"/>
              <pc:sldLayoutMk cId="2141900500" sldId="2147484219"/>
              <ac:spMk id="39" creationId="{D50D3C4C-6553-690C-09A4-52656C410EC9}"/>
            </ac:spMkLst>
          </pc:spChg>
          <pc:spChg chg="mod">
            <ac:chgData name="Grace, Morgan (Brisbane)" userId="221d5f7b-4a46-4bd5-bdf1-698d3a91c208" providerId="ADAL" clId="{D90324C1-6CE4-4C28-B886-AED0B666B37F}" dt="2024-06-06T05:13:56.481" v="42928" actId="947"/>
            <ac:spMkLst>
              <pc:docMk/>
              <pc:sldMasterMk cId="2434675916" sldId="2147484214"/>
              <pc:sldLayoutMk cId="2141900500" sldId="2147484219"/>
              <ac:spMk id="40" creationId="{F25BE25A-9A5F-760F-70B5-72A1DD395279}"/>
            </ac:spMkLst>
          </pc:spChg>
          <pc:spChg chg="mod">
            <ac:chgData name="Grace, Morgan (Brisbane)" userId="221d5f7b-4a46-4bd5-bdf1-698d3a91c208" providerId="ADAL" clId="{D90324C1-6CE4-4C28-B886-AED0B666B37F}" dt="2024-06-06T05:13:56.481" v="42930" actId="947"/>
            <ac:spMkLst>
              <pc:docMk/>
              <pc:sldMasterMk cId="2434675916" sldId="2147484214"/>
              <pc:sldLayoutMk cId="2141900500" sldId="2147484219"/>
              <ac:spMk id="41" creationId="{CDCA4757-2365-27EE-1DEB-2BC00DCB89B4}"/>
            </ac:spMkLst>
          </pc:spChg>
          <pc:spChg chg="mod">
            <ac:chgData name="Grace, Morgan (Brisbane)" userId="221d5f7b-4a46-4bd5-bdf1-698d3a91c208" providerId="ADAL" clId="{D90324C1-6CE4-4C28-B886-AED0B666B37F}" dt="2024-06-06T05:13:56.481" v="42932" actId="947"/>
            <ac:spMkLst>
              <pc:docMk/>
              <pc:sldMasterMk cId="2434675916" sldId="2147484214"/>
              <pc:sldLayoutMk cId="2141900500" sldId="2147484219"/>
              <ac:spMk id="42" creationId="{1BA3DB5A-D36B-2468-D74B-E3F1499BA2A1}"/>
            </ac:spMkLst>
          </pc:spChg>
          <pc:spChg chg="mod">
            <ac:chgData name="Grace, Morgan (Brisbane)" userId="221d5f7b-4a46-4bd5-bdf1-698d3a91c208" providerId="ADAL" clId="{D90324C1-6CE4-4C28-B886-AED0B666B37F}" dt="2024-06-06T05:13:56.481" v="42934" actId="947"/>
            <ac:spMkLst>
              <pc:docMk/>
              <pc:sldMasterMk cId="2434675916" sldId="2147484214"/>
              <pc:sldLayoutMk cId="2141900500" sldId="2147484219"/>
              <ac:spMk id="43" creationId="{B4E01934-9A01-8393-D81B-9781C67DAB15}"/>
            </ac:spMkLst>
          </pc:spChg>
          <pc:spChg chg="mod">
            <ac:chgData name="Grace, Morgan (Brisbane)" userId="221d5f7b-4a46-4bd5-bdf1-698d3a91c208" providerId="ADAL" clId="{D90324C1-6CE4-4C28-B886-AED0B666B37F}" dt="2024-06-06T05:13:56.481" v="42936" actId="947"/>
            <ac:spMkLst>
              <pc:docMk/>
              <pc:sldMasterMk cId="2434675916" sldId="2147484214"/>
              <pc:sldLayoutMk cId="2141900500" sldId="2147484219"/>
              <ac:spMk id="44" creationId="{86F40A56-4EDE-AFB4-9B9E-7A8DD309518A}"/>
            </ac:spMkLst>
          </pc:spChg>
          <pc:spChg chg="mod">
            <ac:chgData name="Grace, Morgan (Brisbane)" userId="221d5f7b-4a46-4bd5-bdf1-698d3a91c208" providerId="ADAL" clId="{D90324C1-6CE4-4C28-B886-AED0B666B37F}" dt="2024-06-06T05:13:56.497" v="42938" actId="947"/>
            <ac:spMkLst>
              <pc:docMk/>
              <pc:sldMasterMk cId="2434675916" sldId="2147484214"/>
              <pc:sldLayoutMk cId="2141900500" sldId="2147484219"/>
              <ac:spMk id="45" creationId="{30226252-3146-FEB5-47CB-4CFD7D29B574}"/>
            </ac:spMkLst>
          </pc:spChg>
          <pc:spChg chg="mod">
            <ac:chgData name="Grace, Morgan (Brisbane)" userId="221d5f7b-4a46-4bd5-bdf1-698d3a91c208" providerId="ADAL" clId="{D90324C1-6CE4-4C28-B886-AED0B666B37F}" dt="2024-06-06T05:13:56.498" v="42940" actId="947"/>
            <ac:spMkLst>
              <pc:docMk/>
              <pc:sldMasterMk cId="2434675916" sldId="2147484214"/>
              <pc:sldLayoutMk cId="2141900500" sldId="2147484219"/>
              <ac:spMk id="46" creationId="{E51F33F4-AE84-B4AF-1ACA-B7EF3B980417}"/>
            </ac:spMkLst>
          </pc:spChg>
          <pc:spChg chg="mod">
            <ac:chgData name="Grace, Morgan (Brisbane)" userId="221d5f7b-4a46-4bd5-bdf1-698d3a91c208" providerId="ADAL" clId="{D90324C1-6CE4-4C28-B886-AED0B666B37F}" dt="2024-06-06T05:13:56.500" v="42942" actId="947"/>
            <ac:spMkLst>
              <pc:docMk/>
              <pc:sldMasterMk cId="2434675916" sldId="2147484214"/>
              <pc:sldLayoutMk cId="2141900500" sldId="2147484219"/>
              <ac:spMk id="47" creationId="{9AD88CC4-D340-7F38-3D06-F1743E7DD98F}"/>
            </ac:spMkLst>
          </pc:spChg>
          <pc:spChg chg="mod">
            <ac:chgData name="Grace, Morgan (Brisbane)" userId="221d5f7b-4a46-4bd5-bdf1-698d3a91c208" providerId="ADAL" clId="{D90324C1-6CE4-4C28-B886-AED0B666B37F}" dt="2024-06-06T05:13:56.501" v="42944" actId="947"/>
            <ac:spMkLst>
              <pc:docMk/>
              <pc:sldMasterMk cId="2434675916" sldId="2147484214"/>
              <pc:sldLayoutMk cId="2141900500" sldId="2147484219"/>
              <ac:spMk id="48" creationId="{7B1CB7CB-F4EF-CA4D-8492-D18F6F4EE414}"/>
            </ac:spMkLst>
          </pc:spChg>
          <pc:spChg chg="mod">
            <ac:chgData name="Grace, Morgan (Brisbane)" userId="221d5f7b-4a46-4bd5-bdf1-698d3a91c208" providerId="ADAL" clId="{D90324C1-6CE4-4C28-B886-AED0B666B37F}" dt="2024-06-06T05:13:56.502" v="42946" actId="947"/>
            <ac:spMkLst>
              <pc:docMk/>
              <pc:sldMasterMk cId="2434675916" sldId="2147484214"/>
              <pc:sldLayoutMk cId="2141900500" sldId="2147484219"/>
              <ac:spMk id="49" creationId="{F2C4DBA1-933D-D880-5DB1-EFEBBC022460}"/>
            </ac:spMkLst>
          </pc:spChg>
          <pc:spChg chg="mod">
            <ac:chgData name="Grace, Morgan (Brisbane)" userId="221d5f7b-4a46-4bd5-bdf1-698d3a91c208" providerId="ADAL" clId="{D90324C1-6CE4-4C28-B886-AED0B666B37F}" dt="2024-06-06T05:13:56.504" v="42948" actId="947"/>
            <ac:spMkLst>
              <pc:docMk/>
              <pc:sldMasterMk cId="2434675916" sldId="2147484214"/>
              <pc:sldLayoutMk cId="2141900500" sldId="2147484219"/>
              <ac:spMk id="50" creationId="{DD568095-04AE-E1C6-C9F7-47BBF68CCD5F}"/>
            </ac:spMkLst>
          </pc:spChg>
          <pc:spChg chg="mod">
            <ac:chgData name="Grace, Morgan (Brisbane)" userId="221d5f7b-4a46-4bd5-bdf1-698d3a91c208" providerId="ADAL" clId="{D90324C1-6CE4-4C28-B886-AED0B666B37F}" dt="2024-06-06T05:13:56.505" v="42950" actId="947"/>
            <ac:spMkLst>
              <pc:docMk/>
              <pc:sldMasterMk cId="2434675916" sldId="2147484214"/>
              <pc:sldLayoutMk cId="2141900500" sldId="2147484219"/>
              <ac:spMk id="51" creationId="{4A42EC77-FD74-7EAF-870B-B21504644B9E}"/>
            </ac:spMkLst>
          </pc:spChg>
          <pc:spChg chg="mod">
            <ac:chgData name="Grace, Morgan (Brisbane)" userId="221d5f7b-4a46-4bd5-bdf1-698d3a91c208" providerId="ADAL" clId="{D90324C1-6CE4-4C28-B886-AED0B666B37F}" dt="2024-06-06T05:13:56.506" v="42952" actId="947"/>
            <ac:spMkLst>
              <pc:docMk/>
              <pc:sldMasterMk cId="2434675916" sldId="2147484214"/>
              <pc:sldLayoutMk cId="2141900500" sldId="2147484219"/>
              <ac:spMk id="52" creationId="{049CEE2C-76CE-9C61-0311-39ECBF9C71AA}"/>
            </ac:spMkLst>
          </pc:spChg>
          <pc:spChg chg="mod">
            <ac:chgData name="Grace, Morgan (Brisbane)" userId="221d5f7b-4a46-4bd5-bdf1-698d3a91c208" providerId="ADAL" clId="{D90324C1-6CE4-4C28-B886-AED0B666B37F}" dt="2024-06-06T05:13:56.508" v="42954" actId="947"/>
            <ac:spMkLst>
              <pc:docMk/>
              <pc:sldMasterMk cId="2434675916" sldId="2147484214"/>
              <pc:sldLayoutMk cId="2141900500" sldId="2147484219"/>
              <ac:spMk id="53" creationId="{018D9CB8-C596-C20B-4275-B16685B17D10}"/>
            </ac:spMkLst>
          </pc:spChg>
          <pc:spChg chg="mod">
            <ac:chgData name="Grace, Morgan (Brisbane)" userId="221d5f7b-4a46-4bd5-bdf1-698d3a91c208" providerId="ADAL" clId="{D90324C1-6CE4-4C28-B886-AED0B666B37F}" dt="2024-06-06T05:13:56.509" v="42956" actId="947"/>
            <ac:spMkLst>
              <pc:docMk/>
              <pc:sldMasterMk cId="2434675916" sldId="2147484214"/>
              <pc:sldLayoutMk cId="2141900500" sldId="2147484219"/>
              <ac:spMk id="54" creationId="{CB0EA832-8DA1-CA42-14D4-4B4EC8E1B983}"/>
            </ac:spMkLst>
          </pc:spChg>
          <pc:spChg chg="mod">
            <ac:chgData name="Grace, Morgan (Brisbane)" userId="221d5f7b-4a46-4bd5-bdf1-698d3a91c208" providerId="ADAL" clId="{D90324C1-6CE4-4C28-B886-AED0B666B37F}" dt="2024-06-06T05:13:56.510" v="42958" actId="947"/>
            <ac:spMkLst>
              <pc:docMk/>
              <pc:sldMasterMk cId="2434675916" sldId="2147484214"/>
              <pc:sldLayoutMk cId="2141900500" sldId="2147484219"/>
              <ac:spMk id="55" creationId="{8C3504EF-A181-16F0-B789-E67F0370DDB4}"/>
            </ac:spMkLst>
          </pc:spChg>
          <pc:spChg chg="mod">
            <ac:chgData name="Grace, Morgan (Brisbane)" userId="221d5f7b-4a46-4bd5-bdf1-698d3a91c208" providerId="ADAL" clId="{D90324C1-6CE4-4C28-B886-AED0B666B37F}" dt="2024-06-06T05:13:56.512" v="42960" actId="947"/>
            <ac:spMkLst>
              <pc:docMk/>
              <pc:sldMasterMk cId="2434675916" sldId="2147484214"/>
              <pc:sldLayoutMk cId="2141900500" sldId="2147484219"/>
              <ac:spMk id="56" creationId="{C43C6B4F-0BA5-F9A1-83A8-C7CD5BD0496B}"/>
            </ac:spMkLst>
          </pc:spChg>
          <pc:spChg chg="mod">
            <ac:chgData name="Grace, Morgan (Brisbane)" userId="221d5f7b-4a46-4bd5-bdf1-698d3a91c208" providerId="ADAL" clId="{D90324C1-6CE4-4C28-B886-AED0B666B37F}" dt="2024-06-06T05:13:56.513" v="42962" actId="947"/>
            <ac:spMkLst>
              <pc:docMk/>
              <pc:sldMasterMk cId="2434675916" sldId="2147484214"/>
              <pc:sldLayoutMk cId="2141900500" sldId="2147484219"/>
              <ac:spMk id="57" creationId="{F2B2AFB1-0FC6-38F2-D7C9-D4AEFD71CFE0}"/>
            </ac:spMkLst>
          </pc:spChg>
          <pc:spChg chg="mod">
            <ac:chgData name="Grace, Morgan (Brisbane)" userId="221d5f7b-4a46-4bd5-bdf1-698d3a91c208" providerId="ADAL" clId="{D90324C1-6CE4-4C28-B886-AED0B666B37F}" dt="2024-06-06T05:13:56.514" v="42964" actId="947"/>
            <ac:spMkLst>
              <pc:docMk/>
              <pc:sldMasterMk cId="2434675916" sldId="2147484214"/>
              <pc:sldLayoutMk cId="2141900500" sldId="2147484219"/>
              <ac:spMk id="58" creationId="{B2D79121-091A-F1D5-535F-0F0D28ED553F}"/>
            </ac:spMkLst>
          </pc:spChg>
          <pc:spChg chg="mod">
            <ac:chgData name="Grace, Morgan (Brisbane)" userId="221d5f7b-4a46-4bd5-bdf1-698d3a91c208" providerId="ADAL" clId="{D90324C1-6CE4-4C28-B886-AED0B666B37F}" dt="2024-06-06T05:13:56.516" v="42966" actId="947"/>
            <ac:spMkLst>
              <pc:docMk/>
              <pc:sldMasterMk cId="2434675916" sldId="2147484214"/>
              <pc:sldLayoutMk cId="2141900500" sldId="2147484219"/>
              <ac:spMk id="59" creationId="{601590B9-D8B5-8C2B-F07F-5B191BE32929}"/>
            </ac:spMkLst>
          </pc:spChg>
          <pc:spChg chg="mod">
            <ac:chgData name="Grace, Morgan (Brisbane)" userId="221d5f7b-4a46-4bd5-bdf1-698d3a91c208" providerId="ADAL" clId="{D90324C1-6CE4-4C28-B886-AED0B666B37F}" dt="2024-06-06T05:13:56.517" v="42968" actId="947"/>
            <ac:spMkLst>
              <pc:docMk/>
              <pc:sldMasterMk cId="2434675916" sldId="2147484214"/>
              <pc:sldLayoutMk cId="2141900500" sldId="2147484219"/>
              <ac:spMk id="60" creationId="{5D5CB6D0-A67B-FD3A-15A5-E707BB6616E1}"/>
            </ac:spMkLst>
          </pc:spChg>
          <pc:spChg chg="mod">
            <ac:chgData name="Grace, Morgan (Brisbane)" userId="221d5f7b-4a46-4bd5-bdf1-698d3a91c208" providerId="ADAL" clId="{D90324C1-6CE4-4C28-B886-AED0B666B37F}" dt="2024-06-06T05:13:56.518" v="42970" actId="947"/>
            <ac:spMkLst>
              <pc:docMk/>
              <pc:sldMasterMk cId="2434675916" sldId="2147484214"/>
              <pc:sldLayoutMk cId="2141900500" sldId="2147484219"/>
              <ac:spMk id="61" creationId="{0EA3B4F2-D483-7C31-858A-2C045615AAD6}"/>
            </ac:spMkLst>
          </pc:spChg>
          <pc:spChg chg="mod">
            <ac:chgData name="Grace, Morgan (Brisbane)" userId="221d5f7b-4a46-4bd5-bdf1-698d3a91c208" providerId="ADAL" clId="{D90324C1-6CE4-4C28-B886-AED0B666B37F}" dt="2024-06-06T05:13:56.520" v="42972" actId="947"/>
            <ac:spMkLst>
              <pc:docMk/>
              <pc:sldMasterMk cId="2434675916" sldId="2147484214"/>
              <pc:sldLayoutMk cId="2141900500" sldId="2147484219"/>
              <ac:spMk id="62" creationId="{957BC36A-CCD8-ED04-0CE3-0FF47F14B669}"/>
            </ac:spMkLst>
          </pc:spChg>
          <pc:spChg chg="mod">
            <ac:chgData name="Grace, Morgan (Brisbane)" userId="221d5f7b-4a46-4bd5-bdf1-698d3a91c208" providerId="ADAL" clId="{D90324C1-6CE4-4C28-B886-AED0B666B37F}" dt="2024-06-06T05:13:56.521" v="42974" actId="947"/>
            <ac:spMkLst>
              <pc:docMk/>
              <pc:sldMasterMk cId="2434675916" sldId="2147484214"/>
              <pc:sldLayoutMk cId="2141900500" sldId="2147484219"/>
              <ac:spMk id="63" creationId="{850DC44B-CDB2-FC23-B362-9C5218F8CE92}"/>
            </ac:spMkLst>
          </pc:spChg>
          <pc:spChg chg="mod">
            <ac:chgData name="Grace, Morgan (Brisbane)" userId="221d5f7b-4a46-4bd5-bdf1-698d3a91c208" providerId="ADAL" clId="{D90324C1-6CE4-4C28-B886-AED0B666B37F}" dt="2024-06-06T05:13:56.522" v="42976" actId="947"/>
            <ac:spMkLst>
              <pc:docMk/>
              <pc:sldMasterMk cId="2434675916" sldId="2147484214"/>
              <pc:sldLayoutMk cId="2141900500" sldId="2147484219"/>
              <ac:spMk id="64" creationId="{94A9CC03-EB20-5365-CCDC-F6FF159D92D6}"/>
            </ac:spMkLst>
          </pc:spChg>
          <pc:spChg chg="mod">
            <ac:chgData name="Grace, Morgan (Brisbane)" userId="221d5f7b-4a46-4bd5-bdf1-698d3a91c208" providerId="ADAL" clId="{D90324C1-6CE4-4C28-B886-AED0B666B37F}" dt="2024-06-06T05:13:56.524" v="42978" actId="947"/>
            <ac:spMkLst>
              <pc:docMk/>
              <pc:sldMasterMk cId="2434675916" sldId="2147484214"/>
              <pc:sldLayoutMk cId="2141900500" sldId="2147484219"/>
              <ac:spMk id="65" creationId="{088AA1A6-D0DA-4D3A-39E1-66436FF2C702}"/>
            </ac:spMkLst>
          </pc:spChg>
          <pc:spChg chg="mod">
            <ac:chgData name="Grace, Morgan (Brisbane)" userId="221d5f7b-4a46-4bd5-bdf1-698d3a91c208" providerId="ADAL" clId="{D90324C1-6CE4-4C28-B886-AED0B666B37F}" dt="2024-06-06T05:13:56.525" v="42980" actId="947"/>
            <ac:spMkLst>
              <pc:docMk/>
              <pc:sldMasterMk cId="2434675916" sldId="2147484214"/>
              <pc:sldLayoutMk cId="2141900500" sldId="2147484219"/>
              <ac:spMk id="66" creationId="{6E5767A0-C9F2-56DB-D63E-EF4C77D53A56}"/>
            </ac:spMkLst>
          </pc:spChg>
          <pc:spChg chg="mod">
            <ac:chgData name="Grace, Morgan (Brisbane)" userId="221d5f7b-4a46-4bd5-bdf1-698d3a91c208" providerId="ADAL" clId="{D90324C1-6CE4-4C28-B886-AED0B666B37F}" dt="2024-06-06T05:13:56.526" v="42982" actId="947"/>
            <ac:spMkLst>
              <pc:docMk/>
              <pc:sldMasterMk cId="2434675916" sldId="2147484214"/>
              <pc:sldLayoutMk cId="2141900500" sldId="2147484219"/>
              <ac:spMk id="67" creationId="{D66659F2-90B3-A57F-8C09-8140D05A7B24}"/>
            </ac:spMkLst>
          </pc:spChg>
          <pc:spChg chg="mod">
            <ac:chgData name="Grace, Morgan (Brisbane)" userId="221d5f7b-4a46-4bd5-bdf1-698d3a91c208" providerId="ADAL" clId="{D90324C1-6CE4-4C28-B886-AED0B666B37F}" dt="2024-06-06T05:13:56.528" v="42984" actId="947"/>
            <ac:spMkLst>
              <pc:docMk/>
              <pc:sldMasterMk cId="2434675916" sldId="2147484214"/>
              <pc:sldLayoutMk cId="2141900500" sldId="2147484219"/>
              <ac:spMk id="68" creationId="{E82F240C-0479-3F7F-C095-4DEFCE18E42A}"/>
            </ac:spMkLst>
          </pc:spChg>
          <pc:spChg chg="mod">
            <ac:chgData name="Grace, Morgan (Brisbane)" userId="221d5f7b-4a46-4bd5-bdf1-698d3a91c208" providerId="ADAL" clId="{D90324C1-6CE4-4C28-B886-AED0B666B37F}" dt="2024-06-06T05:13:56.529" v="42986" actId="947"/>
            <ac:spMkLst>
              <pc:docMk/>
              <pc:sldMasterMk cId="2434675916" sldId="2147484214"/>
              <pc:sldLayoutMk cId="2141900500" sldId="2147484219"/>
              <ac:spMk id="69" creationId="{101D7C83-7F00-8988-0A9F-66E764511350}"/>
            </ac:spMkLst>
          </pc:spChg>
          <pc:spChg chg="mod">
            <ac:chgData name="Grace, Morgan (Brisbane)" userId="221d5f7b-4a46-4bd5-bdf1-698d3a91c208" providerId="ADAL" clId="{D90324C1-6CE4-4C28-B886-AED0B666B37F}" dt="2024-06-06T05:13:56.531" v="42988" actId="947"/>
            <ac:spMkLst>
              <pc:docMk/>
              <pc:sldMasterMk cId="2434675916" sldId="2147484214"/>
              <pc:sldLayoutMk cId="2141900500" sldId="2147484219"/>
              <ac:spMk id="70" creationId="{A872E620-E7E9-EA81-880B-2B0E1887E914}"/>
            </ac:spMkLst>
          </pc:spChg>
          <pc:spChg chg="mod">
            <ac:chgData name="Grace, Morgan (Brisbane)" userId="221d5f7b-4a46-4bd5-bdf1-698d3a91c208" providerId="ADAL" clId="{D90324C1-6CE4-4C28-B886-AED0B666B37F}" dt="2024-06-06T05:13:56.531" v="42990" actId="947"/>
            <ac:spMkLst>
              <pc:docMk/>
              <pc:sldMasterMk cId="2434675916" sldId="2147484214"/>
              <pc:sldLayoutMk cId="2141900500" sldId="2147484219"/>
              <ac:spMk id="71" creationId="{49F549F6-9877-8CE5-A2FB-CAC8AE4BAAC3}"/>
            </ac:spMkLst>
          </pc:spChg>
          <pc:spChg chg="mod">
            <ac:chgData name="Grace, Morgan (Brisbane)" userId="221d5f7b-4a46-4bd5-bdf1-698d3a91c208" providerId="ADAL" clId="{D90324C1-6CE4-4C28-B886-AED0B666B37F}" dt="2024-06-06T05:13:56.531" v="42992" actId="947"/>
            <ac:spMkLst>
              <pc:docMk/>
              <pc:sldMasterMk cId="2434675916" sldId="2147484214"/>
              <pc:sldLayoutMk cId="2141900500" sldId="2147484219"/>
              <ac:spMk id="72" creationId="{2A26415D-4ADC-5882-1BA4-6F5C9AA8883B}"/>
            </ac:spMkLst>
          </pc:spChg>
          <pc:spChg chg="mod">
            <ac:chgData name="Grace, Morgan (Brisbane)" userId="221d5f7b-4a46-4bd5-bdf1-698d3a91c208" providerId="ADAL" clId="{D90324C1-6CE4-4C28-B886-AED0B666B37F}" dt="2024-06-06T05:13:56.534" v="42994" actId="947"/>
            <ac:spMkLst>
              <pc:docMk/>
              <pc:sldMasterMk cId="2434675916" sldId="2147484214"/>
              <pc:sldLayoutMk cId="2141900500" sldId="2147484219"/>
              <ac:spMk id="73" creationId="{DD6E714C-FEEC-C639-6867-E6FAB9370AC2}"/>
            </ac:spMkLst>
          </pc:spChg>
          <pc:spChg chg="mod">
            <ac:chgData name="Grace, Morgan (Brisbane)" userId="221d5f7b-4a46-4bd5-bdf1-698d3a91c208" providerId="ADAL" clId="{D90324C1-6CE4-4C28-B886-AED0B666B37F}" dt="2024-06-06T05:13:56.534" v="42996" actId="947"/>
            <ac:spMkLst>
              <pc:docMk/>
              <pc:sldMasterMk cId="2434675916" sldId="2147484214"/>
              <pc:sldLayoutMk cId="2141900500" sldId="2147484219"/>
              <ac:spMk id="74" creationId="{898D1295-C3E8-0E56-2C24-B9573DFA816D}"/>
            </ac:spMkLst>
          </pc:spChg>
          <pc:spChg chg="mod">
            <ac:chgData name="Grace, Morgan (Brisbane)" userId="221d5f7b-4a46-4bd5-bdf1-698d3a91c208" providerId="ADAL" clId="{D90324C1-6CE4-4C28-B886-AED0B666B37F}" dt="2024-06-06T05:13:56.534" v="42998" actId="947"/>
            <ac:spMkLst>
              <pc:docMk/>
              <pc:sldMasterMk cId="2434675916" sldId="2147484214"/>
              <pc:sldLayoutMk cId="2141900500" sldId="2147484219"/>
              <ac:spMk id="75" creationId="{C40DD7ED-244F-DE65-3506-61CE9A40BF4C}"/>
            </ac:spMkLst>
          </pc:spChg>
          <pc:spChg chg="mod">
            <ac:chgData name="Grace, Morgan (Brisbane)" userId="221d5f7b-4a46-4bd5-bdf1-698d3a91c208" providerId="ADAL" clId="{D90324C1-6CE4-4C28-B886-AED0B666B37F}" dt="2024-06-06T05:13:56.534" v="43000" actId="947"/>
            <ac:spMkLst>
              <pc:docMk/>
              <pc:sldMasterMk cId="2434675916" sldId="2147484214"/>
              <pc:sldLayoutMk cId="2141900500" sldId="2147484219"/>
              <ac:spMk id="76" creationId="{FF6358E9-A511-C518-E5F6-7DD7B9F100FB}"/>
            </ac:spMkLst>
          </pc:spChg>
          <pc:spChg chg="mod">
            <ac:chgData name="Grace, Morgan (Brisbane)" userId="221d5f7b-4a46-4bd5-bdf1-698d3a91c208" providerId="ADAL" clId="{D90324C1-6CE4-4C28-B886-AED0B666B37F}" dt="2024-06-06T05:13:56.534" v="43002" actId="947"/>
            <ac:spMkLst>
              <pc:docMk/>
              <pc:sldMasterMk cId="2434675916" sldId="2147484214"/>
              <pc:sldLayoutMk cId="2141900500" sldId="2147484219"/>
              <ac:spMk id="77" creationId="{14481C51-370F-3DAA-1B43-4275C20AE96F}"/>
            </ac:spMkLst>
          </pc:spChg>
          <pc:spChg chg="mod">
            <ac:chgData name="Grace, Morgan (Brisbane)" userId="221d5f7b-4a46-4bd5-bdf1-698d3a91c208" providerId="ADAL" clId="{D90324C1-6CE4-4C28-B886-AED0B666B37F}" dt="2024-06-06T05:13:56.534" v="43004" actId="947"/>
            <ac:spMkLst>
              <pc:docMk/>
              <pc:sldMasterMk cId="2434675916" sldId="2147484214"/>
              <pc:sldLayoutMk cId="2141900500" sldId="2147484219"/>
              <ac:spMk id="78" creationId="{7C09A528-489E-2DBE-8336-FE4D89149E2C}"/>
            </ac:spMkLst>
          </pc:spChg>
          <pc:spChg chg="mod">
            <ac:chgData name="Grace, Morgan (Brisbane)" userId="221d5f7b-4a46-4bd5-bdf1-698d3a91c208" providerId="ADAL" clId="{D90324C1-6CE4-4C28-B886-AED0B666B37F}" dt="2024-06-06T05:13:56.534" v="43006" actId="947"/>
            <ac:spMkLst>
              <pc:docMk/>
              <pc:sldMasterMk cId="2434675916" sldId="2147484214"/>
              <pc:sldLayoutMk cId="2141900500" sldId="2147484219"/>
              <ac:spMk id="79" creationId="{8A39E5C0-3B5B-FC11-33CD-EE9F79BE9F41}"/>
            </ac:spMkLst>
          </pc:spChg>
          <pc:spChg chg="mod">
            <ac:chgData name="Grace, Morgan (Brisbane)" userId="221d5f7b-4a46-4bd5-bdf1-698d3a91c208" providerId="ADAL" clId="{D90324C1-6CE4-4C28-B886-AED0B666B37F}" dt="2024-06-06T05:13:56.534" v="43008" actId="947"/>
            <ac:spMkLst>
              <pc:docMk/>
              <pc:sldMasterMk cId="2434675916" sldId="2147484214"/>
              <pc:sldLayoutMk cId="2141900500" sldId="2147484219"/>
              <ac:spMk id="80" creationId="{EC817B37-B913-9C3C-E070-255816F9DF9F}"/>
            </ac:spMkLst>
          </pc:spChg>
          <pc:spChg chg="mod">
            <ac:chgData name="Grace, Morgan (Brisbane)" userId="221d5f7b-4a46-4bd5-bdf1-698d3a91c208" providerId="ADAL" clId="{D90324C1-6CE4-4C28-B886-AED0B666B37F}" dt="2024-06-06T05:13:56.534" v="43010" actId="947"/>
            <ac:spMkLst>
              <pc:docMk/>
              <pc:sldMasterMk cId="2434675916" sldId="2147484214"/>
              <pc:sldLayoutMk cId="2141900500" sldId="2147484219"/>
              <ac:spMk id="81" creationId="{0CB2C15C-3A9F-EB49-551C-5C7C872B3D66}"/>
            </ac:spMkLst>
          </pc:spChg>
          <pc:spChg chg="mod">
            <ac:chgData name="Grace, Morgan (Brisbane)" userId="221d5f7b-4a46-4bd5-bdf1-698d3a91c208" providerId="ADAL" clId="{D90324C1-6CE4-4C28-B886-AED0B666B37F}" dt="2024-06-06T05:13:56.534" v="43012" actId="947"/>
            <ac:spMkLst>
              <pc:docMk/>
              <pc:sldMasterMk cId="2434675916" sldId="2147484214"/>
              <pc:sldLayoutMk cId="2141900500" sldId="2147484219"/>
              <ac:spMk id="82" creationId="{F98276E0-3E95-686C-F956-F15BEDBE588A}"/>
            </ac:spMkLst>
          </pc:spChg>
          <pc:spChg chg="mod">
            <ac:chgData name="Grace, Morgan (Brisbane)" userId="221d5f7b-4a46-4bd5-bdf1-698d3a91c208" providerId="ADAL" clId="{D90324C1-6CE4-4C28-B886-AED0B666B37F}" dt="2024-06-06T05:13:56.534" v="43014" actId="947"/>
            <ac:spMkLst>
              <pc:docMk/>
              <pc:sldMasterMk cId="2434675916" sldId="2147484214"/>
              <pc:sldLayoutMk cId="2141900500" sldId="2147484219"/>
              <ac:spMk id="83" creationId="{BE3EE28C-B9C1-3BE1-FAB3-5C32B1941599}"/>
            </ac:spMkLst>
          </pc:spChg>
          <pc:spChg chg="mod">
            <ac:chgData name="Grace, Morgan (Brisbane)" userId="221d5f7b-4a46-4bd5-bdf1-698d3a91c208" providerId="ADAL" clId="{D90324C1-6CE4-4C28-B886-AED0B666B37F}" dt="2024-06-06T05:13:56.550" v="43016" actId="947"/>
            <ac:spMkLst>
              <pc:docMk/>
              <pc:sldMasterMk cId="2434675916" sldId="2147484214"/>
              <pc:sldLayoutMk cId="2141900500" sldId="2147484219"/>
              <ac:spMk id="84" creationId="{4827CABE-0CB2-D508-0638-38C81AB1C215}"/>
            </ac:spMkLst>
          </pc:spChg>
          <pc:spChg chg="mod">
            <ac:chgData name="Grace, Morgan (Brisbane)" userId="221d5f7b-4a46-4bd5-bdf1-698d3a91c208" providerId="ADAL" clId="{D90324C1-6CE4-4C28-B886-AED0B666B37F}" dt="2024-06-06T05:13:56.550" v="43018" actId="947"/>
            <ac:spMkLst>
              <pc:docMk/>
              <pc:sldMasterMk cId="2434675916" sldId="2147484214"/>
              <pc:sldLayoutMk cId="2141900500" sldId="2147484219"/>
              <ac:spMk id="85" creationId="{CD901F8D-55B3-4522-F0F0-1481BBF7491E}"/>
            </ac:spMkLst>
          </pc:spChg>
          <pc:spChg chg="mod">
            <ac:chgData name="Grace, Morgan (Brisbane)" userId="221d5f7b-4a46-4bd5-bdf1-698d3a91c208" providerId="ADAL" clId="{D90324C1-6CE4-4C28-B886-AED0B666B37F}" dt="2024-06-06T05:13:56.550" v="43020" actId="947"/>
            <ac:spMkLst>
              <pc:docMk/>
              <pc:sldMasterMk cId="2434675916" sldId="2147484214"/>
              <pc:sldLayoutMk cId="2141900500" sldId="2147484219"/>
              <ac:spMk id="86" creationId="{594A6EED-83B9-DB07-1659-74F4F26171A1}"/>
            </ac:spMkLst>
          </pc:spChg>
          <pc:spChg chg="mod">
            <ac:chgData name="Grace, Morgan (Brisbane)" userId="221d5f7b-4a46-4bd5-bdf1-698d3a91c208" providerId="ADAL" clId="{D90324C1-6CE4-4C28-B886-AED0B666B37F}" dt="2024-06-06T05:13:56.550" v="43022" actId="947"/>
            <ac:spMkLst>
              <pc:docMk/>
              <pc:sldMasterMk cId="2434675916" sldId="2147484214"/>
              <pc:sldLayoutMk cId="2141900500" sldId="2147484219"/>
              <ac:spMk id="87" creationId="{56A61F3D-3A9D-A746-8919-74F52F76EB55}"/>
            </ac:spMkLst>
          </pc:spChg>
          <pc:spChg chg="mod">
            <ac:chgData name="Grace, Morgan (Brisbane)" userId="221d5f7b-4a46-4bd5-bdf1-698d3a91c208" providerId="ADAL" clId="{D90324C1-6CE4-4C28-B886-AED0B666B37F}" dt="2024-06-06T05:13:56.550" v="43024" actId="947"/>
            <ac:spMkLst>
              <pc:docMk/>
              <pc:sldMasterMk cId="2434675916" sldId="2147484214"/>
              <pc:sldLayoutMk cId="2141900500" sldId="2147484219"/>
              <ac:spMk id="88" creationId="{36F30E52-DDF4-3641-4B9B-7EE315654B25}"/>
            </ac:spMkLst>
          </pc:spChg>
          <pc:spChg chg="mod">
            <ac:chgData name="Grace, Morgan (Brisbane)" userId="221d5f7b-4a46-4bd5-bdf1-698d3a91c208" providerId="ADAL" clId="{D90324C1-6CE4-4C28-B886-AED0B666B37F}" dt="2024-06-06T05:13:56.550" v="43026" actId="947"/>
            <ac:spMkLst>
              <pc:docMk/>
              <pc:sldMasterMk cId="2434675916" sldId="2147484214"/>
              <pc:sldLayoutMk cId="2141900500" sldId="2147484219"/>
              <ac:spMk id="89" creationId="{DC83C007-45EB-91E1-1CF0-38C60DD6934C}"/>
            </ac:spMkLst>
          </pc:spChg>
          <pc:spChg chg="mod">
            <ac:chgData name="Grace, Morgan (Brisbane)" userId="221d5f7b-4a46-4bd5-bdf1-698d3a91c208" providerId="ADAL" clId="{D90324C1-6CE4-4C28-B886-AED0B666B37F}" dt="2024-06-06T05:13:56.550" v="43028" actId="947"/>
            <ac:spMkLst>
              <pc:docMk/>
              <pc:sldMasterMk cId="2434675916" sldId="2147484214"/>
              <pc:sldLayoutMk cId="2141900500" sldId="2147484219"/>
              <ac:spMk id="90" creationId="{94D0FA9A-A3AB-4223-467A-A5E79EA0024F}"/>
            </ac:spMkLst>
          </pc:spChg>
          <pc:spChg chg="mod">
            <ac:chgData name="Grace, Morgan (Brisbane)" userId="221d5f7b-4a46-4bd5-bdf1-698d3a91c208" providerId="ADAL" clId="{D90324C1-6CE4-4C28-B886-AED0B666B37F}" dt="2024-06-06T05:13:56.550" v="43030" actId="947"/>
            <ac:spMkLst>
              <pc:docMk/>
              <pc:sldMasterMk cId="2434675916" sldId="2147484214"/>
              <pc:sldLayoutMk cId="2141900500" sldId="2147484219"/>
              <ac:spMk id="91" creationId="{C5178186-413A-1508-195A-ABCC6BECE730}"/>
            </ac:spMkLst>
          </pc:spChg>
          <pc:spChg chg="mod">
            <ac:chgData name="Grace, Morgan (Brisbane)" userId="221d5f7b-4a46-4bd5-bdf1-698d3a91c208" providerId="ADAL" clId="{D90324C1-6CE4-4C28-B886-AED0B666B37F}" dt="2024-06-06T05:13:56.550" v="43032" actId="947"/>
            <ac:spMkLst>
              <pc:docMk/>
              <pc:sldMasterMk cId="2434675916" sldId="2147484214"/>
              <pc:sldLayoutMk cId="2141900500" sldId="2147484219"/>
              <ac:spMk id="92" creationId="{07ECFDD2-209C-8956-884D-3D0F000A10C1}"/>
            </ac:spMkLst>
          </pc:spChg>
          <pc:spChg chg="mod">
            <ac:chgData name="Grace, Morgan (Brisbane)" userId="221d5f7b-4a46-4bd5-bdf1-698d3a91c208" providerId="ADAL" clId="{D90324C1-6CE4-4C28-B886-AED0B666B37F}" dt="2024-06-06T05:13:56.550" v="43034" actId="947"/>
            <ac:spMkLst>
              <pc:docMk/>
              <pc:sldMasterMk cId="2434675916" sldId="2147484214"/>
              <pc:sldLayoutMk cId="2141900500" sldId="2147484219"/>
              <ac:spMk id="93" creationId="{1B5DABD2-C76F-EFE4-E6BF-E8E6B774E062}"/>
            </ac:spMkLst>
          </pc:spChg>
          <pc:spChg chg="mod">
            <ac:chgData name="Grace, Morgan (Brisbane)" userId="221d5f7b-4a46-4bd5-bdf1-698d3a91c208" providerId="ADAL" clId="{D90324C1-6CE4-4C28-B886-AED0B666B37F}" dt="2024-06-06T05:13:56.550" v="43036" actId="947"/>
            <ac:spMkLst>
              <pc:docMk/>
              <pc:sldMasterMk cId="2434675916" sldId="2147484214"/>
              <pc:sldLayoutMk cId="2141900500" sldId="2147484219"/>
              <ac:spMk id="94" creationId="{2EDF62AF-4B01-45A4-A06B-3E973CFF8C45}"/>
            </ac:spMkLst>
          </pc:spChg>
          <pc:spChg chg="mod">
            <ac:chgData name="Grace, Morgan (Brisbane)" userId="221d5f7b-4a46-4bd5-bdf1-698d3a91c208" providerId="ADAL" clId="{D90324C1-6CE4-4C28-B886-AED0B666B37F}" dt="2024-06-06T05:13:56.550" v="43038" actId="947"/>
            <ac:spMkLst>
              <pc:docMk/>
              <pc:sldMasterMk cId="2434675916" sldId="2147484214"/>
              <pc:sldLayoutMk cId="2141900500" sldId="2147484219"/>
              <ac:spMk id="95" creationId="{87B0FC5B-F1F4-9E97-DBC9-0A6B957F020B}"/>
            </ac:spMkLst>
          </pc:spChg>
          <pc:spChg chg="mod">
            <ac:chgData name="Grace, Morgan (Brisbane)" userId="221d5f7b-4a46-4bd5-bdf1-698d3a91c208" providerId="ADAL" clId="{D90324C1-6CE4-4C28-B886-AED0B666B37F}" dt="2024-06-06T05:13:56.565" v="43040" actId="947"/>
            <ac:spMkLst>
              <pc:docMk/>
              <pc:sldMasterMk cId="2434675916" sldId="2147484214"/>
              <pc:sldLayoutMk cId="2141900500" sldId="2147484219"/>
              <ac:spMk id="96" creationId="{19F8832F-1D2E-4C43-6250-4394F5DF4D38}"/>
            </ac:spMkLst>
          </pc:spChg>
          <pc:spChg chg="mod">
            <ac:chgData name="Grace, Morgan (Brisbane)" userId="221d5f7b-4a46-4bd5-bdf1-698d3a91c208" providerId="ADAL" clId="{D90324C1-6CE4-4C28-B886-AED0B666B37F}" dt="2024-06-06T05:13:56.565" v="43042" actId="947"/>
            <ac:spMkLst>
              <pc:docMk/>
              <pc:sldMasterMk cId="2434675916" sldId="2147484214"/>
              <pc:sldLayoutMk cId="2141900500" sldId="2147484219"/>
              <ac:spMk id="97" creationId="{1F3DD414-D004-AD21-EBC4-06A3E418E319}"/>
            </ac:spMkLst>
          </pc:spChg>
          <pc:spChg chg="mod">
            <ac:chgData name="Grace, Morgan (Brisbane)" userId="221d5f7b-4a46-4bd5-bdf1-698d3a91c208" providerId="ADAL" clId="{D90324C1-6CE4-4C28-B886-AED0B666B37F}" dt="2024-06-06T05:13:56.565" v="43044" actId="947"/>
            <ac:spMkLst>
              <pc:docMk/>
              <pc:sldMasterMk cId="2434675916" sldId="2147484214"/>
              <pc:sldLayoutMk cId="2141900500" sldId="2147484219"/>
              <ac:spMk id="98" creationId="{5A633FF2-2B29-0AFE-FEF4-A8169FD8A6FF}"/>
            </ac:spMkLst>
          </pc:spChg>
          <pc:graphicFrameChg chg="mod ord modVis replST">
            <ac:chgData name="Grace, Morgan (Brisbane)" userId="221d5f7b-4a46-4bd5-bdf1-698d3a91c208" providerId="ADAL" clId="{D90324C1-6CE4-4C28-B886-AED0B666B37F}" dt="2024-06-06T05:14:01.429" v="46139"/>
            <ac:graphicFrameMkLst>
              <pc:docMk/>
              <pc:sldMasterMk cId="2434675916" sldId="2147484214"/>
              <pc:sldLayoutMk cId="2141900500" sldId="2147484219"/>
              <ac:graphicFrameMk id="4" creationId="{DE40BDB2-3100-19CC-AEA9-11672D61484F}"/>
            </ac:graphicFrameMkLst>
          </pc:graphicFrameChg>
        </pc:sldLayoutChg>
        <pc:sldLayoutChg chg="modSp mod">
          <pc:chgData name="Grace, Morgan (Brisbane)" userId="221d5f7b-4a46-4bd5-bdf1-698d3a91c208" providerId="ADAL" clId="{D90324C1-6CE4-4C28-B886-AED0B666B37F}" dt="2024-06-06T05:14:01.382" v="46123"/>
          <pc:sldLayoutMkLst>
            <pc:docMk/>
            <pc:sldMasterMk cId="2434675916" sldId="2147484214"/>
            <pc:sldLayoutMk cId="1283400633" sldId="2147484220"/>
          </pc:sldLayoutMkLst>
          <pc:spChg chg="mod">
            <ac:chgData name="Grace, Morgan (Brisbane)" userId="221d5f7b-4a46-4bd5-bdf1-698d3a91c208" providerId="ADAL" clId="{D90324C1-6CE4-4C28-B886-AED0B666B37F}" dt="2024-06-06T05:13:56.334" v="42847" actId="947"/>
            <ac:spMkLst>
              <pc:docMk/>
              <pc:sldMasterMk cId="2434675916" sldId="2147484214"/>
              <pc:sldLayoutMk cId="1283400633" sldId="2147484220"/>
              <ac:spMk id="2" creationId="{8884F5D3-5E0E-5F2B-BAB4-702F57222D66}"/>
            </ac:spMkLst>
          </pc:spChg>
          <pc:spChg chg="mod">
            <ac:chgData name="Grace, Morgan (Brisbane)" userId="221d5f7b-4a46-4bd5-bdf1-698d3a91c208" providerId="ADAL" clId="{D90324C1-6CE4-4C28-B886-AED0B666B37F}" dt="2024-06-06T05:13:56.350" v="42853" actId="790"/>
            <ac:spMkLst>
              <pc:docMk/>
              <pc:sldMasterMk cId="2434675916" sldId="2147484214"/>
              <pc:sldLayoutMk cId="1283400633" sldId="2147484220"/>
              <ac:spMk id="3" creationId="{2ED0761A-CAC0-209C-8215-FA40CAD39099}"/>
            </ac:spMkLst>
          </pc:spChg>
          <pc:spChg chg="mod">
            <ac:chgData name="Grace, Morgan (Brisbane)" userId="221d5f7b-4a46-4bd5-bdf1-698d3a91c208" providerId="ADAL" clId="{D90324C1-6CE4-4C28-B886-AED0B666B37F}" dt="2024-06-06T05:13:56.350" v="42851" actId="790"/>
            <ac:spMkLst>
              <pc:docMk/>
              <pc:sldMasterMk cId="2434675916" sldId="2147484214"/>
              <pc:sldLayoutMk cId="1283400633" sldId="2147484220"/>
              <ac:spMk id="6" creationId="{DAF6DCBF-C860-2BF0-2A91-397B27202DD8}"/>
            </ac:spMkLst>
          </pc:spChg>
          <pc:spChg chg="mod">
            <ac:chgData name="Grace, Morgan (Brisbane)" userId="221d5f7b-4a46-4bd5-bdf1-698d3a91c208" providerId="ADAL" clId="{D90324C1-6CE4-4C28-B886-AED0B666B37F}" dt="2024-06-06T05:13:56.350" v="42852" actId="790"/>
            <ac:spMkLst>
              <pc:docMk/>
              <pc:sldMasterMk cId="2434675916" sldId="2147484214"/>
              <pc:sldLayoutMk cId="1283400633" sldId="2147484220"/>
              <ac:spMk id="12" creationId="{0040ECE5-B276-6904-4EF0-2DBAD87D8546}"/>
            </ac:spMkLst>
          </pc:spChg>
          <pc:spChg chg="mod">
            <ac:chgData name="Grace, Morgan (Brisbane)" userId="221d5f7b-4a46-4bd5-bdf1-698d3a91c208" providerId="ADAL" clId="{D90324C1-6CE4-4C28-B886-AED0B666B37F}" dt="2024-06-06T05:13:59.386" v="45085" actId="948"/>
            <ac:spMkLst>
              <pc:docMk/>
              <pc:sldMasterMk cId="2434675916" sldId="2147484214"/>
              <pc:sldLayoutMk cId="1283400633" sldId="2147484220"/>
              <ac:spMk id="15" creationId="{AFB9E9B5-84E3-6B30-E11E-CED1D550695F}"/>
            </ac:spMkLst>
          </pc:spChg>
          <pc:spChg chg="mod">
            <ac:chgData name="Grace, Morgan (Brisbane)" userId="221d5f7b-4a46-4bd5-bdf1-698d3a91c208" providerId="ADAL" clId="{D90324C1-6CE4-4C28-B886-AED0B666B37F}" dt="2024-06-06T05:13:56.334" v="42849" actId="790"/>
            <ac:spMkLst>
              <pc:docMk/>
              <pc:sldMasterMk cId="2434675916" sldId="2147484214"/>
              <pc:sldLayoutMk cId="1283400633" sldId="2147484220"/>
              <ac:spMk id="16" creationId="{6A5D10D8-05A0-C009-D51B-3A982B48CAF7}"/>
            </ac:spMkLst>
          </pc:spChg>
          <pc:spChg chg="mod">
            <ac:chgData name="Grace, Morgan (Brisbane)" userId="221d5f7b-4a46-4bd5-bdf1-698d3a91c208" providerId="ADAL" clId="{D90324C1-6CE4-4C28-B886-AED0B666B37F}" dt="2024-06-06T05:13:56.334" v="42850" actId="790"/>
            <ac:spMkLst>
              <pc:docMk/>
              <pc:sldMasterMk cId="2434675916" sldId="2147484214"/>
              <pc:sldLayoutMk cId="1283400633" sldId="2147484220"/>
              <ac:spMk id="17" creationId="{6584C68B-1FE2-5B0E-5DE4-F1F62C8BF860}"/>
            </ac:spMkLst>
          </pc:spChg>
          <pc:spChg chg="mod">
            <ac:chgData name="Grace, Morgan (Brisbane)" userId="221d5f7b-4a46-4bd5-bdf1-698d3a91c208" providerId="ADAL" clId="{D90324C1-6CE4-4C28-B886-AED0B666B37F}" dt="2024-06-06T05:13:56.334" v="42845" actId="790"/>
            <ac:spMkLst>
              <pc:docMk/>
              <pc:sldMasterMk cId="2434675916" sldId="2147484214"/>
              <pc:sldLayoutMk cId="1283400633" sldId="2147484220"/>
              <ac:spMk id="18" creationId="{9459277B-2C63-49A5-B199-0D097738FA9B}"/>
            </ac:spMkLst>
          </pc:spChg>
          <pc:graphicFrameChg chg="mod ord modVis replST">
            <ac:chgData name="Grace, Morgan (Brisbane)" userId="221d5f7b-4a46-4bd5-bdf1-698d3a91c208" providerId="ADAL" clId="{D90324C1-6CE4-4C28-B886-AED0B666B37F}" dt="2024-06-06T05:14:01.382" v="46123"/>
            <ac:graphicFrameMkLst>
              <pc:docMk/>
              <pc:sldMasterMk cId="2434675916" sldId="2147484214"/>
              <pc:sldLayoutMk cId="1283400633" sldId="2147484220"/>
              <ac:graphicFrameMk id="4" creationId="{6119FCB8-C7F1-8D97-8AC2-DD7FDE59562C}"/>
            </ac:graphicFrameMkLst>
          </pc:graphicFrameChg>
        </pc:sldLayoutChg>
        <pc:sldLayoutChg chg="modSp mod">
          <pc:chgData name="Grace, Morgan (Brisbane)" userId="221d5f7b-4a46-4bd5-bdf1-698d3a91c208" providerId="ADAL" clId="{D90324C1-6CE4-4C28-B886-AED0B666B37F}" dt="2024-06-06T05:14:01.397" v="46132"/>
          <pc:sldLayoutMkLst>
            <pc:docMk/>
            <pc:sldMasterMk cId="2434675916" sldId="2147484214"/>
            <pc:sldLayoutMk cId="2082146837" sldId="2147484221"/>
          </pc:sldLayoutMkLst>
          <pc:spChg chg="mod">
            <ac:chgData name="Grace, Morgan (Brisbane)" userId="221d5f7b-4a46-4bd5-bdf1-698d3a91c208" providerId="ADAL" clId="{D90324C1-6CE4-4C28-B886-AED0B666B37F}" dt="2024-06-06T05:13:56.365" v="42859" actId="947"/>
            <ac:spMkLst>
              <pc:docMk/>
              <pc:sldMasterMk cId="2434675916" sldId="2147484214"/>
              <pc:sldLayoutMk cId="2082146837" sldId="2147484221"/>
              <ac:spMk id="2" creationId="{8884F5D3-5E0E-5F2B-BAB4-702F57222D66}"/>
            </ac:spMkLst>
          </pc:spChg>
          <pc:spChg chg="mod">
            <ac:chgData name="Grace, Morgan (Brisbane)" userId="221d5f7b-4a46-4bd5-bdf1-698d3a91c208" providerId="ADAL" clId="{D90324C1-6CE4-4C28-B886-AED0B666B37F}" dt="2024-06-06T05:13:56.381" v="42864" actId="790"/>
            <ac:spMkLst>
              <pc:docMk/>
              <pc:sldMasterMk cId="2434675916" sldId="2147484214"/>
              <pc:sldLayoutMk cId="2082146837" sldId="2147484221"/>
              <ac:spMk id="3" creationId="{168C1E4C-A56D-52AF-6ECE-998BFD1C9FA2}"/>
            </ac:spMkLst>
          </pc:spChg>
          <pc:spChg chg="mod">
            <ac:chgData name="Grace, Morgan (Brisbane)" userId="221d5f7b-4a46-4bd5-bdf1-698d3a91c208" providerId="ADAL" clId="{D90324C1-6CE4-4C28-B886-AED0B666B37F}" dt="2024-06-06T05:13:56.381" v="42863" actId="790"/>
            <ac:spMkLst>
              <pc:docMk/>
              <pc:sldMasterMk cId="2434675916" sldId="2147484214"/>
              <pc:sldLayoutMk cId="2082146837" sldId="2147484221"/>
              <ac:spMk id="5" creationId="{C83CC9FF-A9C4-517C-CBCB-653FBCC2AAC6}"/>
            </ac:spMkLst>
          </pc:spChg>
          <pc:spChg chg="mod">
            <ac:chgData name="Grace, Morgan (Brisbane)" userId="221d5f7b-4a46-4bd5-bdf1-698d3a91c208" providerId="ADAL" clId="{D90324C1-6CE4-4C28-B886-AED0B666B37F}" dt="2024-06-06T05:13:59.401" v="45105" actId="948"/>
            <ac:spMkLst>
              <pc:docMk/>
              <pc:sldMasterMk cId="2434675916" sldId="2147484214"/>
              <pc:sldLayoutMk cId="2082146837" sldId="2147484221"/>
              <ac:spMk id="15" creationId="{AFB9E9B5-84E3-6B30-E11E-CED1D550695F}"/>
            </ac:spMkLst>
          </pc:spChg>
          <pc:spChg chg="mod">
            <ac:chgData name="Grace, Morgan (Brisbane)" userId="221d5f7b-4a46-4bd5-bdf1-698d3a91c208" providerId="ADAL" clId="{D90324C1-6CE4-4C28-B886-AED0B666B37F}" dt="2024-06-06T05:13:56.365" v="42861" actId="790"/>
            <ac:spMkLst>
              <pc:docMk/>
              <pc:sldMasterMk cId="2434675916" sldId="2147484214"/>
              <pc:sldLayoutMk cId="2082146837" sldId="2147484221"/>
              <ac:spMk id="16" creationId="{6A5D10D8-05A0-C009-D51B-3A982B48CAF7}"/>
            </ac:spMkLst>
          </pc:spChg>
          <pc:spChg chg="mod">
            <ac:chgData name="Grace, Morgan (Brisbane)" userId="221d5f7b-4a46-4bd5-bdf1-698d3a91c208" providerId="ADAL" clId="{D90324C1-6CE4-4C28-B886-AED0B666B37F}" dt="2024-06-06T05:13:56.381" v="42862" actId="790"/>
            <ac:spMkLst>
              <pc:docMk/>
              <pc:sldMasterMk cId="2434675916" sldId="2147484214"/>
              <pc:sldLayoutMk cId="2082146837" sldId="2147484221"/>
              <ac:spMk id="17" creationId="{6584C68B-1FE2-5B0E-5DE4-F1F62C8BF860}"/>
            </ac:spMkLst>
          </pc:spChg>
          <pc:graphicFrameChg chg="mod ord modVis replST">
            <ac:chgData name="Grace, Morgan (Brisbane)" userId="221d5f7b-4a46-4bd5-bdf1-698d3a91c208" providerId="ADAL" clId="{D90324C1-6CE4-4C28-B886-AED0B666B37F}" dt="2024-06-06T05:14:01.397" v="46132"/>
            <ac:graphicFrameMkLst>
              <pc:docMk/>
              <pc:sldMasterMk cId="2434675916" sldId="2147484214"/>
              <pc:sldLayoutMk cId="2082146837" sldId="2147484221"/>
              <ac:graphicFrameMk id="8" creationId="{AB7D43D1-0098-167F-0A03-D129121B1030}"/>
            </ac:graphicFrameMkLst>
          </pc:graphicFrameChg>
        </pc:sldLayoutChg>
        <pc:sldLayoutChg chg="modSp mod">
          <pc:chgData name="Grace, Morgan (Brisbane)" userId="221d5f7b-4a46-4bd5-bdf1-698d3a91c208" providerId="ADAL" clId="{D90324C1-6CE4-4C28-B886-AED0B666B37F}" dt="2024-06-06T05:14:01.442" v="46146"/>
          <pc:sldLayoutMkLst>
            <pc:docMk/>
            <pc:sldMasterMk cId="2434675916" sldId="2147484214"/>
            <pc:sldLayoutMk cId="4099888876" sldId="2147484222"/>
          </pc:sldLayoutMkLst>
          <pc:spChg chg="mod">
            <ac:chgData name="Grace, Morgan (Brisbane)" userId="221d5f7b-4a46-4bd5-bdf1-698d3a91c208" providerId="ADAL" clId="{D90324C1-6CE4-4C28-B886-AED0B666B37F}" dt="2024-06-06T05:13:56.581" v="43052" actId="947"/>
            <ac:spMkLst>
              <pc:docMk/>
              <pc:sldMasterMk cId="2434675916" sldId="2147484214"/>
              <pc:sldLayoutMk cId="4099888876" sldId="2147484222"/>
              <ac:spMk id="2" creationId="{8884F5D3-5E0E-5F2B-BAB4-702F57222D66}"/>
            </ac:spMkLst>
          </pc:spChg>
          <pc:spChg chg="mod">
            <ac:chgData name="Grace, Morgan (Brisbane)" userId="221d5f7b-4a46-4bd5-bdf1-698d3a91c208" providerId="ADAL" clId="{D90324C1-6CE4-4C28-B886-AED0B666B37F}" dt="2024-06-06T05:13:56.581" v="43058" actId="790"/>
            <ac:spMkLst>
              <pc:docMk/>
              <pc:sldMasterMk cId="2434675916" sldId="2147484214"/>
              <pc:sldLayoutMk cId="4099888876" sldId="2147484222"/>
              <ac:spMk id="3" creationId="{D23534DE-0B88-154A-101F-A3065B13B8D8}"/>
            </ac:spMkLst>
          </pc:spChg>
          <pc:spChg chg="mod">
            <ac:chgData name="Grace, Morgan (Brisbane)" userId="221d5f7b-4a46-4bd5-bdf1-698d3a91c208" providerId="ADAL" clId="{D90324C1-6CE4-4C28-B886-AED0B666B37F}" dt="2024-06-06T05:13:56.581" v="43050" actId="790"/>
            <ac:spMkLst>
              <pc:docMk/>
              <pc:sldMasterMk cId="2434675916" sldId="2147484214"/>
              <pc:sldLayoutMk cId="4099888876" sldId="2147484222"/>
              <ac:spMk id="4" creationId="{5E464C9B-DDD7-DA8A-F0A6-B6EB8373CC60}"/>
            </ac:spMkLst>
          </pc:spChg>
          <pc:spChg chg="mod">
            <ac:chgData name="Grace, Morgan (Brisbane)" userId="221d5f7b-4a46-4bd5-bdf1-698d3a91c208" providerId="ADAL" clId="{D90324C1-6CE4-4C28-B886-AED0B666B37F}" dt="2024-06-06T05:13:56.581" v="43056" actId="790"/>
            <ac:spMkLst>
              <pc:docMk/>
              <pc:sldMasterMk cId="2434675916" sldId="2147484214"/>
              <pc:sldLayoutMk cId="4099888876" sldId="2147484222"/>
              <ac:spMk id="6" creationId="{E8FB4E74-117C-D903-2D8B-F422331B89A0}"/>
            </ac:spMkLst>
          </pc:spChg>
          <pc:spChg chg="mod">
            <ac:chgData name="Grace, Morgan (Brisbane)" userId="221d5f7b-4a46-4bd5-bdf1-698d3a91c208" providerId="ADAL" clId="{D90324C1-6CE4-4C28-B886-AED0B666B37F}" dt="2024-06-06T05:13:59.417" v="45107" actId="948"/>
            <ac:spMkLst>
              <pc:docMk/>
              <pc:sldMasterMk cId="2434675916" sldId="2147484214"/>
              <pc:sldLayoutMk cId="4099888876" sldId="2147484222"/>
              <ac:spMk id="15" creationId="{AFB9E9B5-84E3-6B30-E11E-CED1D550695F}"/>
            </ac:spMkLst>
          </pc:spChg>
          <pc:spChg chg="mod">
            <ac:chgData name="Grace, Morgan (Brisbane)" userId="221d5f7b-4a46-4bd5-bdf1-698d3a91c208" providerId="ADAL" clId="{D90324C1-6CE4-4C28-B886-AED0B666B37F}" dt="2024-06-06T05:13:56.581" v="43054" actId="790"/>
            <ac:spMkLst>
              <pc:docMk/>
              <pc:sldMasterMk cId="2434675916" sldId="2147484214"/>
              <pc:sldLayoutMk cId="4099888876" sldId="2147484222"/>
              <ac:spMk id="16" creationId="{6A5D10D8-05A0-C009-D51B-3A982B48CAF7}"/>
            </ac:spMkLst>
          </pc:spChg>
          <pc:spChg chg="mod">
            <ac:chgData name="Grace, Morgan (Brisbane)" userId="221d5f7b-4a46-4bd5-bdf1-698d3a91c208" providerId="ADAL" clId="{D90324C1-6CE4-4C28-B886-AED0B666B37F}" dt="2024-06-06T05:13:56.581" v="43055" actId="790"/>
            <ac:spMkLst>
              <pc:docMk/>
              <pc:sldMasterMk cId="2434675916" sldId="2147484214"/>
              <pc:sldLayoutMk cId="4099888876" sldId="2147484222"/>
              <ac:spMk id="17" creationId="{6584C68B-1FE2-5B0E-5DE4-F1F62C8BF860}"/>
            </ac:spMkLst>
          </pc:spChg>
          <pc:spChg chg="mod">
            <ac:chgData name="Grace, Morgan (Brisbane)" userId="221d5f7b-4a46-4bd5-bdf1-698d3a91c208" providerId="ADAL" clId="{D90324C1-6CE4-4C28-B886-AED0B666B37F}" dt="2024-06-06T05:13:56.581" v="43057" actId="790"/>
            <ac:spMkLst>
              <pc:docMk/>
              <pc:sldMasterMk cId="2434675916" sldId="2147484214"/>
              <pc:sldLayoutMk cId="4099888876" sldId="2147484222"/>
              <ac:spMk id="20" creationId="{0DBC7339-9B16-FB82-2FF0-422EB21ABBDB}"/>
            </ac:spMkLst>
          </pc:spChg>
          <pc:graphicFrameChg chg="mod ord modVis replST">
            <ac:chgData name="Grace, Morgan (Brisbane)" userId="221d5f7b-4a46-4bd5-bdf1-698d3a91c208" providerId="ADAL" clId="{D90324C1-6CE4-4C28-B886-AED0B666B37F}" dt="2024-06-06T05:14:01.442" v="46146"/>
            <ac:graphicFrameMkLst>
              <pc:docMk/>
              <pc:sldMasterMk cId="2434675916" sldId="2147484214"/>
              <pc:sldLayoutMk cId="4099888876" sldId="2147484222"/>
              <ac:graphicFrameMk id="5" creationId="{2849F928-AC49-831D-20C0-E979DC444A09}"/>
            </ac:graphicFrameMkLst>
          </pc:graphicFrameChg>
        </pc:sldLayoutChg>
      </pc:sldMasterChg>
      <pc:sldMasterChg chg="delSp modSp mod modSldLayout">
        <pc:chgData name="Grace, Morgan (Brisbane)" userId="221d5f7b-4a46-4bd5-bdf1-698d3a91c208" providerId="ADAL" clId="{D90324C1-6CE4-4C28-B886-AED0B666B37F}" dt="2024-06-06T05:14:01.532" v="46176"/>
        <pc:sldMasterMkLst>
          <pc:docMk/>
          <pc:sldMasterMk cId="941904229" sldId="2147484241"/>
        </pc:sldMasterMkLst>
        <pc:spChg chg="mod">
          <ac:chgData name="Grace, Morgan (Brisbane)" userId="221d5f7b-4a46-4bd5-bdf1-698d3a91c208" providerId="ADAL" clId="{D90324C1-6CE4-4C28-B886-AED0B666B37F}" dt="2024-06-06T05:13:59.386" v="45086" actId="948"/>
          <ac:spMkLst>
            <pc:docMk/>
            <pc:sldMasterMk cId="941904229" sldId="2147484241"/>
            <ac:spMk id="2" creationId="{106F217F-D8E3-0146-D631-EC38566A36EF}"/>
          </ac:spMkLst>
        </pc:spChg>
        <pc:spChg chg="del mod modVis">
          <ac:chgData name="Grace, Morgan (Brisbane)" userId="221d5f7b-4a46-4bd5-bdf1-698d3a91c208" providerId="ADAL" clId="{D90324C1-6CE4-4C28-B886-AED0B666B37F}" dt="2024-06-06T05:14:01.382" v="46124" actId="478"/>
          <ac:spMkLst>
            <pc:docMk/>
            <pc:sldMasterMk cId="941904229" sldId="2147484241"/>
            <ac:spMk id="3" creationId="{B048E2F8-5877-700C-CB8F-278A8A2E0C3A}"/>
          </ac:spMkLst>
        </pc:spChg>
        <pc:spChg chg="mod">
          <ac:chgData name="Grace, Morgan (Brisbane)" userId="221d5f7b-4a46-4bd5-bdf1-698d3a91c208" providerId="ADAL" clId="{D90324C1-6CE4-4C28-B886-AED0B666B37F}" dt="2024-06-06T05:13:56.365" v="42856" actId="790"/>
          <ac:spMkLst>
            <pc:docMk/>
            <pc:sldMasterMk cId="941904229" sldId="2147484241"/>
            <ac:spMk id="4" creationId="{3C98C8E9-53A9-E726-DFE9-07714F5557F9}"/>
          </ac:spMkLst>
        </pc:spChg>
        <pc:spChg chg="mod">
          <ac:chgData name="Grace, Morgan (Brisbane)" userId="221d5f7b-4a46-4bd5-bdf1-698d3a91c208" providerId="ADAL" clId="{D90324C1-6CE4-4C28-B886-AED0B666B37F}" dt="2024-06-06T05:13:56.365" v="42857" actId="790"/>
          <ac:spMkLst>
            <pc:docMk/>
            <pc:sldMasterMk cId="941904229" sldId="2147484241"/>
            <ac:spMk id="6" creationId="{87DF0065-1E85-3CAE-AFF2-1B24507DE8EE}"/>
          </ac:spMkLst>
        </pc:spChg>
        <pc:spChg chg="mod">
          <ac:chgData name="Grace, Morgan (Brisbane)" userId="221d5f7b-4a46-4bd5-bdf1-698d3a91c208" providerId="ADAL" clId="{D90324C1-6CE4-4C28-B886-AED0B666B37F}" dt="2024-06-06T05:13:56.350" v="42855" actId="790"/>
          <ac:spMkLst>
            <pc:docMk/>
            <pc:sldMasterMk cId="941904229" sldId="2147484241"/>
            <ac:spMk id="8" creationId="{05AC2582-4AF7-82C5-5AFC-CAEBC21F3E32}"/>
          </ac:spMkLst>
        </pc:spChg>
        <pc:graphicFrameChg chg="mod">
          <ac:chgData name="Grace, Morgan (Brisbane)" userId="221d5f7b-4a46-4bd5-bdf1-698d3a91c208" providerId="ADAL" clId="{D90324C1-6CE4-4C28-B886-AED0B666B37F}" dt="2024-06-06T05:14:01.382" v="46125" actId="1076"/>
          <ac:graphicFrameMkLst>
            <pc:docMk/>
            <pc:sldMasterMk cId="941904229" sldId="2147484241"/>
            <ac:graphicFrameMk id="5" creationId="{C2D011F6-F978-7951-B37F-90C17BC7B74E}"/>
          </ac:graphicFrameMkLst>
        </pc:graphicFrameChg>
        <pc:sldLayoutChg chg="modSp mod">
          <pc:chgData name="Grace, Morgan (Brisbane)" userId="221d5f7b-4a46-4bd5-bdf1-698d3a91c208" providerId="ADAL" clId="{D90324C1-6CE4-4C28-B886-AED0B666B37F}" dt="2024-06-06T05:14:01.457" v="46153"/>
          <pc:sldLayoutMkLst>
            <pc:docMk/>
            <pc:sldMasterMk cId="941904229" sldId="2147484241"/>
            <pc:sldLayoutMk cId="1069108425" sldId="2147484260"/>
          </pc:sldLayoutMkLst>
          <pc:spChg chg="mod">
            <ac:chgData name="Grace, Morgan (Brisbane)" userId="221d5f7b-4a46-4bd5-bdf1-698d3a91c208" providerId="ADAL" clId="{D90324C1-6CE4-4C28-B886-AED0B666B37F}" dt="2024-06-06T05:13:56.666" v="43152" actId="790"/>
            <ac:spMkLst>
              <pc:docMk/>
              <pc:sldMasterMk cId="941904229" sldId="2147484241"/>
              <pc:sldLayoutMk cId="1069108425" sldId="2147484260"/>
              <ac:spMk id="2" creationId="{CE75130F-1C86-A414-4F4B-45DFBA6F8DAB}"/>
            </ac:spMkLst>
          </pc:spChg>
          <pc:spChg chg="mod">
            <ac:chgData name="Grace, Morgan (Brisbane)" userId="221d5f7b-4a46-4bd5-bdf1-698d3a91c208" providerId="ADAL" clId="{D90324C1-6CE4-4C28-B886-AED0B666B37F}" dt="2024-06-06T05:13:56.666" v="43144" actId="947"/>
            <ac:spMkLst>
              <pc:docMk/>
              <pc:sldMasterMk cId="941904229" sldId="2147484241"/>
              <pc:sldLayoutMk cId="1069108425" sldId="2147484260"/>
              <ac:spMk id="5" creationId="{E2AA94F3-2C8F-33B0-F5DB-C61DF31C2CE5}"/>
            </ac:spMkLst>
          </pc:spChg>
          <pc:spChg chg="mod">
            <ac:chgData name="Grace, Morgan (Brisbane)" userId="221d5f7b-4a46-4bd5-bdf1-698d3a91c208" providerId="ADAL" clId="{D90324C1-6CE4-4C28-B886-AED0B666B37F}" dt="2024-06-06T05:13:56.666" v="43146" actId="947"/>
            <ac:spMkLst>
              <pc:docMk/>
              <pc:sldMasterMk cId="941904229" sldId="2147484241"/>
              <pc:sldLayoutMk cId="1069108425" sldId="2147484260"/>
              <ac:spMk id="6" creationId="{51345874-544E-69CB-375A-027A49EAFF45}"/>
            </ac:spMkLst>
          </pc:spChg>
          <pc:spChg chg="mod">
            <ac:chgData name="Grace, Morgan (Brisbane)" userId="221d5f7b-4a46-4bd5-bdf1-698d3a91c208" providerId="ADAL" clId="{D90324C1-6CE4-4C28-B886-AED0B666B37F}" dt="2024-06-06T05:13:56.666" v="43148" actId="947"/>
            <ac:spMkLst>
              <pc:docMk/>
              <pc:sldMasterMk cId="941904229" sldId="2147484241"/>
              <pc:sldLayoutMk cId="1069108425" sldId="2147484260"/>
              <ac:spMk id="7" creationId="{091214CB-0A19-7B13-1E8E-6CD0F79B06C8}"/>
            </ac:spMkLst>
          </pc:spChg>
          <pc:spChg chg="mod">
            <ac:chgData name="Grace, Morgan (Brisbane)" userId="221d5f7b-4a46-4bd5-bdf1-698d3a91c208" providerId="ADAL" clId="{D90324C1-6CE4-4C28-B886-AED0B666B37F}" dt="2024-06-06T05:13:56.666" v="43150" actId="947"/>
            <ac:spMkLst>
              <pc:docMk/>
              <pc:sldMasterMk cId="941904229" sldId="2147484241"/>
              <pc:sldLayoutMk cId="1069108425" sldId="2147484260"/>
              <ac:spMk id="8" creationId="{87F46BA8-1623-B06E-358E-3FAE7689B852}"/>
            </ac:spMkLst>
          </pc:spChg>
          <pc:spChg chg="mod">
            <ac:chgData name="Grace, Morgan (Brisbane)" userId="221d5f7b-4a46-4bd5-bdf1-698d3a91c208" providerId="ADAL" clId="{D90324C1-6CE4-4C28-B886-AED0B666B37F}" dt="2024-06-06T05:13:56.666" v="43151" actId="790"/>
            <ac:spMkLst>
              <pc:docMk/>
              <pc:sldMasterMk cId="941904229" sldId="2147484241"/>
              <pc:sldLayoutMk cId="1069108425" sldId="2147484260"/>
              <ac:spMk id="9" creationId="{BBE0F063-0EF2-9214-9C94-21D0140E74DB}"/>
            </ac:spMkLst>
          </pc:spChg>
          <pc:graphicFrameChg chg="mod ord modVis replST">
            <ac:chgData name="Grace, Morgan (Brisbane)" userId="221d5f7b-4a46-4bd5-bdf1-698d3a91c208" providerId="ADAL" clId="{D90324C1-6CE4-4C28-B886-AED0B666B37F}" dt="2024-06-06T05:14:01.457" v="46153"/>
            <ac:graphicFrameMkLst>
              <pc:docMk/>
              <pc:sldMasterMk cId="941904229" sldId="2147484241"/>
              <pc:sldLayoutMk cId="1069108425" sldId="2147484260"/>
              <ac:graphicFrameMk id="3" creationId="{E40D9EEF-9DBC-210F-D422-40B74F83F94B}"/>
            </ac:graphicFrameMkLst>
          </pc:graphicFrameChg>
        </pc:sldLayoutChg>
        <pc:sldLayoutChg chg="modSp mod">
          <pc:chgData name="Grace, Morgan (Brisbane)" userId="221d5f7b-4a46-4bd5-bdf1-698d3a91c208" providerId="ADAL" clId="{D90324C1-6CE4-4C28-B886-AED0B666B37F}" dt="2024-06-06T05:14:01.473" v="46160"/>
          <pc:sldLayoutMkLst>
            <pc:docMk/>
            <pc:sldMasterMk cId="941904229" sldId="2147484241"/>
            <pc:sldLayoutMk cId="3564487701" sldId="2147484261"/>
          </pc:sldLayoutMkLst>
          <pc:spChg chg="mod">
            <ac:chgData name="Grace, Morgan (Brisbane)" userId="221d5f7b-4a46-4bd5-bdf1-698d3a91c208" providerId="ADAL" clId="{D90324C1-6CE4-4C28-B886-AED0B666B37F}" dt="2024-06-06T05:13:56.681" v="43162" actId="790"/>
            <ac:spMkLst>
              <pc:docMk/>
              <pc:sldMasterMk cId="941904229" sldId="2147484241"/>
              <pc:sldLayoutMk cId="3564487701" sldId="2147484261"/>
              <ac:spMk id="2" creationId="{AE7E750E-FFB1-75E4-F9C7-BB4AF6252DB0}"/>
            </ac:spMkLst>
          </pc:spChg>
          <pc:spChg chg="mod">
            <ac:chgData name="Grace, Morgan (Brisbane)" userId="221d5f7b-4a46-4bd5-bdf1-698d3a91c208" providerId="ADAL" clId="{D90324C1-6CE4-4C28-B886-AED0B666B37F}" dt="2024-06-06T05:13:56.681" v="43154" actId="947"/>
            <ac:spMkLst>
              <pc:docMk/>
              <pc:sldMasterMk cId="941904229" sldId="2147484241"/>
              <pc:sldLayoutMk cId="3564487701" sldId="2147484261"/>
              <ac:spMk id="5" creationId="{E2AA94F3-2C8F-33B0-F5DB-C61DF31C2CE5}"/>
            </ac:spMkLst>
          </pc:spChg>
          <pc:spChg chg="mod">
            <ac:chgData name="Grace, Morgan (Brisbane)" userId="221d5f7b-4a46-4bd5-bdf1-698d3a91c208" providerId="ADAL" clId="{D90324C1-6CE4-4C28-B886-AED0B666B37F}" dt="2024-06-06T05:13:56.681" v="43156" actId="947"/>
            <ac:spMkLst>
              <pc:docMk/>
              <pc:sldMasterMk cId="941904229" sldId="2147484241"/>
              <pc:sldLayoutMk cId="3564487701" sldId="2147484261"/>
              <ac:spMk id="6" creationId="{51345874-544E-69CB-375A-027A49EAFF45}"/>
            </ac:spMkLst>
          </pc:spChg>
          <pc:spChg chg="mod">
            <ac:chgData name="Grace, Morgan (Brisbane)" userId="221d5f7b-4a46-4bd5-bdf1-698d3a91c208" providerId="ADAL" clId="{D90324C1-6CE4-4C28-B886-AED0B666B37F}" dt="2024-06-06T05:13:56.681" v="43158" actId="947"/>
            <ac:spMkLst>
              <pc:docMk/>
              <pc:sldMasterMk cId="941904229" sldId="2147484241"/>
              <pc:sldLayoutMk cId="3564487701" sldId="2147484261"/>
              <ac:spMk id="7" creationId="{091214CB-0A19-7B13-1E8E-6CD0F79B06C8}"/>
            </ac:spMkLst>
          </pc:spChg>
          <pc:spChg chg="mod">
            <ac:chgData name="Grace, Morgan (Brisbane)" userId="221d5f7b-4a46-4bd5-bdf1-698d3a91c208" providerId="ADAL" clId="{D90324C1-6CE4-4C28-B886-AED0B666B37F}" dt="2024-06-06T05:13:56.681" v="43160" actId="947"/>
            <ac:spMkLst>
              <pc:docMk/>
              <pc:sldMasterMk cId="941904229" sldId="2147484241"/>
              <pc:sldLayoutMk cId="3564487701" sldId="2147484261"/>
              <ac:spMk id="8" creationId="{87F46BA8-1623-B06E-358E-3FAE7689B852}"/>
            </ac:spMkLst>
          </pc:spChg>
          <pc:spChg chg="mod">
            <ac:chgData name="Grace, Morgan (Brisbane)" userId="221d5f7b-4a46-4bd5-bdf1-698d3a91c208" providerId="ADAL" clId="{D90324C1-6CE4-4C28-B886-AED0B666B37F}" dt="2024-06-06T05:13:56.681" v="43161" actId="790"/>
            <ac:spMkLst>
              <pc:docMk/>
              <pc:sldMasterMk cId="941904229" sldId="2147484241"/>
              <pc:sldLayoutMk cId="3564487701" sldId="2147484261"/>
              <ac:spMk id="9" creationId="{C7B57297-17FB-78B7-BCBC-00BD6BE5F527}"/>
            </ac:spMkLst>
          </pc:spChg>
          <pc:graphicFrameChg chg="mod ord modVis replST">
            <ac:chgData name="Grace, Morgan (Brisbane)" userId="221d5f7b-4a46-4bd5-bdf1-698d3a91c208" providerId="ADAL" clId="{D90324C1-6CE4-4C28-B886-AED0B666B37F}" dt="2024-06-06T05:14:01.473" v="46160"/>
            <ac:graphicFrameMkLst>
              <pc:docMk/>
              <pc:sldMasterMk cId="941904229" sldId="2147484241"/>
              <pc:sldLayoutMk cId="3564487701" sldId="2147484261"/>
              <ac:graphicFrameMk id="3" creationId="{79C69696-9F5C-35B0-D7E8-D76EB99FF702}"/>
            </ac:graphicFrameMkLst>
          </pc:graphicFrameChg>
        </pc:sldLayoutChg>
        <pc:sldLayoutChg chg="modSp mod">
          <pc:chgData name="Grace, Morgan (Brisbane)" userId="221d5f7b-4a46-4bd5-bdf1-698d3a91c208" providerId="ADAL" clId="{D90324C1-6CE4-4C28-B886-AED0B666B37F}" dt="2024-06-06T05:13:56.750" v="43246" actId="947"/>
          <pc:sldLayoutMkLst>
            <pc:docMk/>
            <pc:sldMasterMk cId="941904229" sldId="2147484241"/>
            <pc:sldLayoutMk cId="2622753220" sldId="2147484262"/>
          </pc:sldLayoutMkLst>
          <pc:spChg chg="mod">
            <ac:chgData name="Grace, Morgan (Brisbane)" userId="221d5f7b-4a46-4bd5-bdf1-698d3a91c208" providerId="ADAL" clId="{D90324C1-6CE4-4C28-B886-AED0B666B37F}" dt="2024-06-06T05:13:56.735" v="43216" actId="947"/>
            <ac:spMkLst>
              <pc:docMk/>
              <pc:sldMasterMk cId="941904229" sldId="2147484241"/>
              <pc:sldLayoutMk cId="2622753220" sldId="2147484262"/>
              <ac:spMk id="53" creationId="{7ACC36A6-5486-848F-C877-E5067DFFF2CF}"/>
            </ac:spMkLst>
          </pc:spChg>
          <pc:spChg chg="mod">
            <ac:chgData name="Grace, Morgan (Brisbane)" userId="221d5f7b-4a46-4bd5-bdf1-698d3a91c208" providerId="ADAL" clId="{D90324C1-6CE4-4C28-B886-AED0B666B37F}" dt="2024-06-06T05:13:56.735" v="43214" actId="947"/>
            <ac:spMkLst>
              <pc:docMk/>
              <pc:sldMasterMk cId="941904229" sldId="2147484241"/>
              <pc:sldLayoutMk cId="2622753220" sldId="2147484262"/>
              <ac:spMk id="54" creationId="{6220BB0A-81A9-B378-CB91-9BA4B875C0BF}"/>
            </ac:spMkLst>
          </pc:spChg>
          <pc:spChg chg="mod">
            <ac:chgData name="Grace, Morgan (Brisbane)" userId="221d5f7b-4a46-4bd5-bdf1-698d3a91c208" providerId="ADAL" clId="{D90324C1-6CE4-4C28-B886-AED0B666B37F}" dt="2024-06-06T05:13:56.735" v="43212" actId="947"/>
            <ac:spMkLst>
              <pc:docMk/>
              <pc:sldMasterMk cId="941904229" sldId="2147484241"/>
              <pc:sldLayoutMk cId="2622753220" sldId="2147484262"/>
              <ac:spMk id="55" creationId="{1A7335DA-8895-4F93-884E-C11EF2385545}"/>
            </ac:spMkLst>
          </pc:spChg>
          <pc:spChg chg="mod">
            <ac:chgData name="Grace, Morgan (Brisbane)" userId="221d5f7b-4a46-4bd5-bdf1-698d3a91c208" providerId="ADAL" clId="{D90324C1-6CE4-4C28-B886-AED0B666B37F}" dt="2024-06-06T05:13:56.735" v="43210" actId="947"/>
            <ac:spMkLst>
              <pc:docMk/>
              <pc:sldMasterMk cId="941904229" sldId="2147484241"/>
              <pc:sldLayoutMk cId="2622753220" sldId="2147484262"/>
              <ac:spMk id="56" creationId="{9BD62B3A-3893-6439-F753-598042CDAC23}"/>
            </ac:spMkLst>
          </pc:spChg>
          <pc:spChg chg="mod">
            <ac:chgData name="Grace, Morgan (Brisbane)" userId="221d5f7b-4a46-4bd5-bdf1-698d3a91c208" providerId="ADAL" clId="{D90324C1-6CE4-4C28-B886-AED0B666B37F}" dt="2024-06-06T05:13:56.735" v="43208" actId="947"/>
            <ac:spMkLst>
              <pc:docMk/>
              <pc:sldMasterMk cId="941904229" sldId="2147484241"/>
              <pc:sldLayoutMk cId="2622753220" sldId="2147484262"/>
              <ac:spMk id="57" creationId="{6004D20C-E7A6-5432-C8C2-2FAF39FCB88E}"/>
            </ac:spMkLst>
          </pc:spChg>
          <pc:spChg chg="mod">
            <ac:chgData name="Grace, Morgan (Brisbane)" userId="221d5f7b-4a46-4bd5-bdf1-698d3a91c208" providerId="ADAL" clId="{D90324C1-6CE4-4C28-B886-AED0B666B37F}" dt="2024-06-06T05:13:56.735" v="43206" actId="947"/>
            <ac:spMkLst>
              <pc:docMk/>
              <pc:sldMasterMk cId="941904229" sldId="2147484241"/>
              <pc:sldLayoutMk cId="2622753220" sldId="2147484262"/>
              <ac:spMk id="58" creationId="{8E344BEB-3469-EF84-7779-24EC09F1A450}"/>
            </ac:spMkLst>
          </pc:spChg>
          <pc:spChg chg="mod">
            <ac:chgData name="Grace, Morgan (Brisbane)" userId="221d5f7b-4a46-4bd5-bdf1-698d3a91c208" providerId="ADAL" clId="{D90324C1-6CE4-4C28-B886-AED0B666B37F}" dt="2024-06-06T05:13:56.728" v="43204" actId="947"/>
            <ac:spMkLst>
              <pc:docMk/>
              <pc:sldMasterMk cId="941904229" sldId="2147484241"/>
              <pc:sldLayoutMk cId="2622753220" sldId="2147484262"/>
              <ac:spMk id="59" creationId="{EFB882B6-5AF3-F666-0470-2680957808F8}"/>
            </ac:spMkLst>
          </pc:spChg>
          <pc:spChg chg="mod">
            <ac:chgData name="Grace, Morgan (Brisbane)" userId="221d5f7b-4a46-4bd5-bdf1-698d3a91c208" providerId="ADAL" clId="{D90324C1-6CE4-4C28-B886-AED0B666B37F}" dt="2024-06-06T05:13:56.728" v="43202" actId="947"/>
            <ac:spMkLst>
              <pc:docMk/>
              <pc:sldMasterMk cId="941904229" sldId="2147484241"/>
              <pc:sldLayoutMk cId="2622753220" sldId="2147484262"/>
              <ac:spMk id="60" creationId="{CD877CC1-284D-0903-CF55-57DB97E26EC2}"/>
            </ac:spMkLst>
          </pc:spChg>
          <pc:spChg chg="mod">
            <ac:chgData name="Grace, Morgan (Brisbane)" userId="221d5f7b-4a46-4bd5-bdf1-698d3a91c208" providerId="ADAL" clId="{D90324C1-6CE4-4C28-B886-AED0B666B37F}" dt="2024-06-06T05:13:56.728" v="43200" actId="947"/>
            <ac:spMkLst>
              <pc:docMk/>
              <pc:sldMasterMk cId="941904229" sldId="2147484241"/>
              <pc:sldLayoutMk cId="2622753220" sldId="2147484262"/>
              <ac:spMk id="61" creationId="{0260F3EA-107A-108A-62A4-09051EE80F19}"/>
            </ac:spMkLst>
          </pc:spChg>
          <pc:spChg chg="mod">
            <ac:chgData name="Grace, Morgan (Brisbane)" userId="221d5f7b-4a46-4bd5-bdf1-698d3a91c208" providerId="ADAL" clId="{D90324C1-6CE4-4C28-B886-AED0B666B37F}" dt="2024-06-06T05:13:56.713" v="43198" actId="947"/>
            <ac:spMkLst>
              <pc:docMk/>
              <pc:sldMasterMk cId="941904229" sldId="2147484241"/>
              <pc:sldLayoutMk cId="2622753220" sldId="2147484262"/>
              <ac:spMk id="62" creationId="{A0D3C48C-D41F-8232-58C0-CC8141974138}"/>
            </ac:spMkLst>
          </pc:spChg>
          <pc:spChg chg="mod">
            <ac:chgData name="Grace, Morgan (Brisbane)" userId="221d5f7b-4a46-4bd5-bdf1-698d3a91c208" providerId="ADAL" clId="{D90324C1-6CE4-4C28-B886-AED0B666B37F}" dt="2024-06-06T05:13:56.713" v="43196" actId="947"/>
            <ac:spMkLst>
              <pc:docMk/>
              <pc:sldMasterMk cId="941904229" sldId="2147484241"/>
              <pc:sldLayoutMk cId="2622753220" sldId="2147484262"/>
              <ac:spMk id="63" creationId="{01DAF4D0-BF7F-DF34-917E-663EB8268E02}"/>
            </ac:spMkLst>
          </pc:spChg>
          <pc:spChg chg="mod">
            <ac:chgData name="Grace, Morgan (Brisbane)" userId="221d5f7b-4a46-4bd5-bdf1-698d3a91c208" providerId="ADAL" clId="{D90324C1-6CE4-4C28-B886-AED0B666B37F}" dt="2024-06-06T05:13:56.713" v="43194" actId="947"/>
            <ac:spMkLst>
              <pc:docMk/>
              <pc:sldMasterMk cId="941904229" sldId="2147484241"/>
              <pc:sldLayoutMk cId="2622753220" sldId="2147484262"/>
              <ac:spMk id="64" creationId="{992E1DBA-61B9-1FB1-9021-054BB98183F9}"/>
            </ac:spMkLst>
          </pc:spChg>
          <pc:spChg chg="mod">
            <ac:chgData name="Grace, Morgan (Brisbane)" userId="221d5f7b-4a46-4bd5-bdf1-698d3a91c208" providerId="ADAL" clId="{D90324C1-6CE4-4C28-B886-AED0B666B37F}" dt="2024-06-06T05:13:56.713" v="43192" actId="947"/>
            <ac:spMkLst>
              <pc:docMk/>
              <pc:sldMasterMk cId="941904229" sldId="2147484241"/>
              <pc:sldLayoutMk cId="2622753220" sldId="2147484262"/>
              <ac:spMk id="65" creationId="{E4E6B472-1848-ACF3-6CC8-F22AF625F03B}"/>
            </ac:spMkLst>
          </pc:spChg>
          <pc:spChg chg="mod">
            <ac:chgData name="Grace, Morgan (Brisbane)" userId="221d5f7b-4a46-4bd5-bdf1-698d3a91c208" providerId="ADAL" clId="{D90324C1-6CE4-4C28-B886-AED0B666B37F}" dt="2024-06-06T05:13:56.713" v="43190" actId="947"/>
            <ac:spMkLst>
              <pc:docMk/>
              <pc:sldMasterMk cId="941904229" sldId="2147484241"/>
              <pc:sldLayoutMk cId="2622753220" sldId="2147484262"/>
              <ac:spMk id="66" creationId="{64C8745A-959A-A236-90FF-17BEA6A60F39}"/>
            </ac:spMkLst>
          </pc:spChg>
          <pc:spChg chg="mod">
            <ac:chgData name="Grace, Morgan (Brisbane)" userId="221d5f7b-4a46-4bd5-bdf1-698d3a91c208" providerId="ADAL" clId="{D90324C1-6CE4-4C28-B886-AED0B666B37F}" dt="2024-06-06T05:13:56.713" v="43188" actId="947"/>
            <ac:spMkLst>
              <pc:docMk/>
              <pc:sldMasterMk cId="941904229" sldId="2147484241"/>
              <pc:sldLayoutMk cId="2622753220" sldId="2147484262"/>
              <ac:spMk id="67" creationId="{30F70029-79F2-F19C-DFA4-57CF8A4C0743}"/>
            </ac:spMkLst>
          </pc:spChg>
          <pc:spChg chg="mod">
            <ac:chgData name="Grace, Morgan (Brisbane)" userId="221d5f7b-4a46-4bd5-bdf1-698d3a91c208" providerId="ADAL" clId="{D90324C1-6CE4-4C28-B886-AED0B666B37F}" dt="2024-06-06T05:13:56.713" v="43186" actId="947"/>
            <ac:spMkLst>
              <pc:docMk/>
              <pc:sldMasterMk cId="941904229" sldId="2147484241"/>
              <pc:sldLayoutMk cId="2622753220" sldId="2147484262"/>
              <ac:spMk id="68" creationId="{B8A2481B-7ACF-EE49-6C97-955338ECBD1D}"/>
            </ac:spMkLst>
          </pc:spChg>
          <pc:spChg chg="mod">
            <ac:chgData name="Grace, Morgan (Brisbane)" userId="221d5f7b-4a46-4bd5-bdf1-698d3a91c208" providerId="ADAL" clId="{D90324C1-6CE4-4C28-B886-AED0B666B37F}" dt="2024-06-06T05:13:56.713" v="43184" actId="947"/>
            <ac:spMkLst>
              <pc:docMk/>
              <pc:sldMasterMk cId="941904229" sldId="2147484241"/>
              <pc:sldLayoutMk cId="2622753220" sldId="2147484262"/>
              <ac:spMk id="69" creationId="{A440969B-028C-B9C7-F898-DE3F8547DB58}"/>
            </ac:spMkLst>
          </pc:spChg>
          <pc:spChg chg="mod">
            <ac:chgData name="Grace, Morgan (Brisbane)" userId="221d5f7b-4a46-4bd5-bdf1-698d3a91c208" providerId="ADAL" clId="{D90324C1-6CE4-4C28-B886-AED0B666B37F}" dt="2024-06-06T05:13:56.713" v="43182" actId="947"/>
            <ac:spMkLst>
              <pc:docMk/>
              <pc:sldMasterMk cId="941904229" sldId="2147484241"/>
              <pc:sldLayoutMk cId="2622753220" sldId="2147484262"/>
              <ac:spMk id="70" creationId="{BEB3AE46-AC5D-CE7A-0BE9-C5C5ED3909A7}"/>
            </ac:spMkLst>
          </pc:spChg>
          <pc:spChg chg="mod">
            <ac:chgData name="Grace, Morgan (Brisbane)" userId="221d5f7b-4a46-4bd5-bdf1-698d3a91c208" providerId="ADAL" clId="{D90324C1-6CE4-4C28-B886-AED0B666B37F}" dt="2024-06-06T05:13:56.713" v="43180" actId="947"/>
            <ac:spMkLst>
              <pc:docMk/>
              <pc:sldMasterMk cId="941904229" sldId="2147484241"/>
              <pc:sldLayoutMk cId="2622753220" sldId="2147484262"/>
              <ac:spMk id="71" creationId="{0FA6E4A9-A93A-4B4C-0BC9-87E72CB6754B}"/>
            </ac:spMkLst>
          </pc:spChg>
          <pc:spChg chg="mod">
            <ac:chgData name="Grace, Morgan (Brisbane)" userId="221d5f7b-4a46-4bd5-bdf1-698d3a91c208" providerId="ADAL" clId="{D90324C1-6CE4-4C28-B886-AED0B666B37F}" dt="2024-06-06T05:13:56.697" v="43178" actId="947"/>
            <ac:spMkLst>
              <pc:docMk/>
              <pc:sldMasterMk cId="941904229" sldId="2147484241"/>
              <pc:sldLayoutMk cId="2622753220" sldId="2147484262"/>
              <ac:spMk id="72" creationId="{2E70C05E-7C55-E663-B10D-F527195035EA}"/>
            </ac:spMkLst>
          </pc:spChg>
          <pc:spChg chg="mod">
            <ac:chgData name="Grace, Morgan (Brisbane)" userId="221d5f7b-4a46-4bd5-bdf1-698d3a91c208" providerId="ADAL" clId="{D90324C1-6CE4-4C28-B886-AED0B666B37F}" dt="2024-06-06T05:13:56.697" v="43176" actId="947"/>
            <ac:spMkLst>
              <pc:docMk/>
              <pc:sldMasterMk cId="941904229" sldId="2147484241"/>
              <pc:sldLayoutMk cId="2622753220" sldId="2147484262"/>
              <ac:spMk id="73" creationId="{52A34A1C-2485-26C0-627F-9535BFCD0C61}"/>
            </ac:spMkLst>
          </pc:spChg>
          <pc:spChg chg="mod">
            <ac:chgData name="Grace, Morgan (Brisbane)" userId="221d5f7b-4a46-4bd5-bdf1-698d3a91c208" providerId="ADAL" clId="{D90324C1-6CE4-4C28-B886-AED0B666B37F}" dt="2024-06-06T05:13:56.697" v="43174" actId="947"/>
            <ac:spMkLst>
              <pc:docMk/>
              <pc:sldMasterMk cId="941904229" sldId="2147484241"/>
              <pc:sldLayoutMk cId="2622753220" sldId="2147484262"/>
              <ac:spMk id="74" creationId="{62683230-2A6A-B7A2-124B-2346A60094BA}"/>
            </ac:spMkLst>
          </pc:spChg>
          <pc:spChg chg="mod">
            <ac:chgData name="Grace, Morgan (Brisbane)" userId="221d5f7b-4a46-4bd5-bdf1-698d3a91c208" providerId="ADAL" clId="{D90324C1-6CE4-4C28-B886-AED0B666B37F}" dt="2024-06-06T05:13:56.697" v="43172" actId="947"/>
            <ac:spMkLst>
              <pc:docMk/>
              <pc:sldMasterMk cId="941904229" sldId="2147484241"/>
              <pc:sldLayoutMk cId="2622753220" sldId="2147484262"/>
              <ac:spMk id="75" creationId="{CE088CCA-66AD-7F0D-B572-5DA0E842AE9A}"/>
            </ac:spMkLst>
          </pc:spChg>
          <pc:spChg chg="mod">
            <ac:chgData name="Grace, Morgan (Brisbane)" userId="221d5f7b-4a46-4bd5-bdf1-698d3a91c208" providerId="ADAL" clId="{D90324C1-6CE4-4C28-B886-AED0B666B37F}" dt="2024-06-06T05:13:56.697" v="43170" actId="947"/>
            <ac:spMkLst>
              <pc:docMk/>
              <pc:sldMasterMk cId="941904229" sldId="2147484241"/>
              <pc:sldLayoutMk cId="2622753220" sldId="2147484262"/>
              <ac:spMk id="76" creationId="{DC99FA3F-645E-9AF1-3939-AF6B25BE6C01}"/>
            </ac:spMkLst>
          </pc:spChg>
          <pc:spChg chg="mod">
            <ac:chgData name="Grace, Morgan (Brisbane)" userId="221d5f7b-4a46-4bd5-bdf1-698d3a91c208" providerId="ADAL" clId="{D90324C1-6CE4-4C28-B886-AED0B666B37F}" dt="2024-06-06T05:13:56.697" v="43168" actId="947"/>
            <ac:spMkLst>
              <pc:docMk/>
              <pc:sldMasterMk cId="941904229" sldId="2147484241"/>
              <pc:sldLayoutMk cId="2622753220" sldId="2147484262"/>
              <ac:spMk id="77" creationId="{EC7D9690-85FD-DAF5-1866-CA2FEEAFFD5F}"/>
            </ac:spMkLst>
          </pc:spChg>
          <pc:spChg chg="mod">
            <ac:chgData name="Grace, Morgan (Brisbane)" userId="221d5f7b-4a46-4bd5-bdf1-698d3a91c208" providerId="ADAL" clId="{D90324C1-6CE4-4C28-B886-AED0B666B37F}" dt="2024-06-06T05:13:56.697" v="43166" actId="947"/>
            <ac:spMkLst>
              <pc:docMk/>
              <pc:sldMasterMk cId="941904229" sldId="2147484241"/>
              <pc:sldLayoutMk cId="2622753220" sldId="2147484262"/>
              <ac:spMk id="78" creationId="{60B1571C-A593-8B54-E584-899424C92386}"/>
            </ac:spMkLst>
          </pc:spChg>
          <pc:spChg chg="mod">
            <ac:chgData name="Grace, Morgan (Brisbane)" userId="221d5f7b-4a46-4bd5-bdf1-698d3a91c208" providerId="ADAL" clId="{D90324C1-6CE4-4C28-B886-AED0B666B37F}" dt="2024-06-06T05:13:56.697" v="43164" actId="947"/>
            <ac:spMkLst>
              <pc:docMk/>
              <pc:sldMasterMk cId="941904229" sldId="2147484241"/>
              <pc:sldLayoutMk cId="2622753220" sldId="2147484262"/>
              <ac:spMk id="79" creationId="{5B4CDAB2-90B2-9053-C57C-61281EB0B258}"/>
            </ac:spMkLst>
          </pc:spChg>
          <pc:spChg chg="mod">
            <ac:chgData name="Grace, Morgan (Brisbane)" userId="221d5f7b-4a46-4bd5-bdf1-698d3a91c208" providerId="ADAL" clId="{D90324C1-6CE4-4C28-B886-AED0B666B37F}" dt="2024-06-06T05:13:56.750" v="43234" actId="947"/>
            <ac:spMkLst>
              <pc:docMk/>
              <pc:sldMasterMk cId="941904229" sldId="2147484241"/>
              <pc:sldLayoutMk cId="2622753220" sldId="2147484262"/>
              <ac:spMk id="80" creationId="{02941302-0A7C-4AAD-FFA8-B078444177D7}"/>
            </ac:spMkLst>
          </pc:spChg>
          <pc:spChg chg="mod">
            <ac:chgData name="Grace, Morgan (Brisbane)" userId="221d5f7b-4a46-4bd5-bdf1-698d3a91c208" providerId="ADAL" clId="{D90324C1-6CE4-4C28-B886-AED0B666B37F}" dt="2024-06-06T05:13:56.750" v="43232" actId="947"/>
            <ac:spMkLst>
              <pc:docMk/>
              <pc:sldMasterMk cId="941904229" sldId="2147484241"/>
              <pc:sldLayoutMk cId="2622753220" sldId="2147484262"/>
              <ac:spMk id="81" creationId="{22D72876-B7C2-0E6D-52A1-3DCF53E20949}"/>
            </ac:spMkLst>
          </pc:spChg>
          <pc:spChg chg="mod">
            <ac:chgData name="Grace, Morgan (Brisbane)" userId="221d5f7b-4a46-4bd5-bdf1-698d3a91c208" providerId="ADAL" clId="{D90324C1-6CE4-4C28-B886-AED0B666B37F}" dt="2024-06-06T05:13:56.750" v="43230" actId="947"/>
            <ac:spMkLst>
              <pc:docMk/>
              <pc:sldMasterMk cId="941904229" sldId="2147484241"/>
              <pc:sldLayoutMk cId="2622753220" sldId="2147484262"/>
              <ac:spMk id="82" creationId="{9F17EE6C-38F5-1F09-A5A4-25CDA07467D6}"/>
            </ac:spMkLst>
          </pc:spChg>
          <pc:spChg chg="mod">
            <ac:chgData name="Grace, Morgan (Brisbane)" userId="221d5f7b-4a46-4bd5-bdf1-698d3a91c208" providerId="ADAL" clId="{D90324C1-6CE4-4C28-B886-AED0B666B37F}" dt="2024-06-06T05:13:56.750" v="43228" actId="947"/>
            <ac:spMkLst>
              <pc:docMk/>
              <pc:sldMasterMk cId="941904229" sldId="2147484241"/>
              <pc:sldLayoutMk cId="2622753220" sldId="2147484262"/>
              <ac:spMk id="83" creationId="{C5A5AB5A-F1C0-2267-A974-B7A534225565}"/>
            </ac:spMkLst>
          </pc:spChg>
          <pc:spChg chg="mod">
            <ac:chgData name="Grace, Morgan (Brisbane)" userId="221d5f7b-4a46-4bd5-bdf1-698d3a91c208" providerId="ADAL" clId="{D90324C1-6CE4-4C28-B886-AED0B666B37F}" dt="2024-06-06T05:13:56.735" v="43226" actId="947"/>
            <ac:spMkLst>
              <pc:docMk/>
              <pc:sldMasterMk cId="941904229" sldId="2147484241"/>
              <pc:sldLayoutMk cId="2622753220" sldId="2147484262"/>
              <ac:spMk id="84" creationId="{A355F0BD-77F2-B545-5CF9-8FD935D35E3A}"/>
            </ac:spMkLst>
          </pc:spChg>
          <pc:spChg chg="mod">
            <ac:chgData name="Grace, Morgan (Brisbane)" userId="221d5f7b-4a46-4bd5-bdf1-698d3a91c208" providerId="ADAL" clId="{D90324C1-6CE4-4C28-B886-AED0B666B37F}" dt="2024-06-06T05:13:56.735" v="43224" actId="947"/>
            <ac:spMkLst>
              <pc:docMk/>
              <pc:sldMasterMk cId="941904229" sldId="2147484241"/>
              <pc:sldLayoutMk cId="2622753220" sldId="2147484262"/>
              <ac:spMk id="85" creationId="{F2389A3C-8BC6-3C84-21F9-8F35AC800262}"/>
            </ac:spMkLst>
          </pc:spChg>
          <pc:spChg chg="mod">
            <ac:chgData name="Grace, Morgan (Brisbane)" userId="221d5f7b-4a46-4bd5-bdf1-698d3a91c208" providerId="ADAL" clId="{D90324C1-6CE4-4C28-B886-AED0B666B37F}" dt="2024-06-06T05:13:56.735" v="43222" actId="947"/>
            <ac:spMkLst>
              <pc:docMk/>
              <pc:sldMasterMk cId="941904229" sldId="2147484241"/>
              <pc:sldLayoutMk cId="2622753220" sldId="2147484262"/>
              <ac:spMk id="86" creationId="{15D5633C-1875-36D2-68EC-75F550C62CA4}"/>
            </ac:spMkLst>
          </pc:spChg>
          <pc:spChg chg="mod">
            <ac:chgData name="Grace, Morgan (Brisbane)" userId="221d5f7b-4a46-4bd5-bdf1-698d3a91c208" providerId="ADAL" clId="{D90324C1-6CE4-4C28-B886-AED0B666B37F}" dt="2024-06-06T05:13:56.735" v="43220" actId="947"/>
            <ac:spMkLst>
              <pc:docMk/>
              <pc:sldMasterMk cId="941904229" sldId="2147484241"/>
              <pc:sldLayoutMk cId="2622753220" sldId="2147484262"/>
              <ac:spMk id="87" creationId="{2C8139A8-5FE0-B819-262D-F4FF08AB5FE3}"/>
            </ac:spMkLst>
          </pc:spChg>
          <pc:spChg chg="mod">
            <ac:chgData name="Grace, Morgan (Brisbane)" userId="221d5f7b-4a46-4bd5-bdf1-698d3a91c208" providerId="ADAL" clId="{D90324C1-6CE4-4C28-B886-AED0B666B37F}" dt="2024-06-06T05:13:56.735" v="43218" actId="947"/>
            <ac:spMkLst>
              <pc:docMk/>
              <pc:sldMasterMk cId="941904229" sldId="2147484241"/>
              <pc:sldLayoutMk cId="2622753220" sldId="2147484262"/>
              <ac:spMk id="88" creationId="{B609A4A7-379C-DE44-A744-4096E8C5A700}"/>
            </ac:spMkLst>
          </pc:spChg>
          <pc:spChg chg="mod">
            <ac:chgData name="Grace, Morgan (Brisbane)" userId="221d5f7b-4a46-4bd5-bdf1-698d3a91c208" providerId="ADAL" clId="{D90324C1-6CE4-4C28-B886-AED0B666B37F}" dt="2024-06-06T05:13:56.750" v="43246" actId="947"/>
            <ac:spMkLst>
              <pc:docMk/>
              <pc:sldMasterMk cId="941904229" sldId="2147484241"/>
              <pc:sldLayoutMk cId="2622753220" sldId="2147484262"/>
              <ac:spMk id="89" creationId="{DED8887A-B578-1A88-6A82-B810CC72F3BE}"/>
            </ac:spMkLst>
          </pc:spChg>
          <pc:spChg chg="mod">
            <ac:chgData name="Grace, Morgan (Brisbane)" userId="221d5f7b-4a46-4bd5-bdf1-698d3a91c208" providerId="ADAL" clId="{D90324C1-6CE4-4C28-B886-AED0B666B37F}" dt="2024-06-06T05:13:56.750" v="43244" actId="947"/>
            <ac:spMkLst>
              <pc:docMk/>
              <pc:sldMasterMk cId="941904229" sldId="2147484241"/>
              <pc:sldLayoutMk cId="2622753220" sldId="2147484262"/>
              <ac:spMk id="90" creationId="{991DEF41-8A9F-FB3D-CAB6-5A44E94ABFBB}"/>
            </ac:spMkLst>
          </pc:spChg>
          <pc:spChg chg="mod">
            <ac:chgData name="Grace, Morgan (Brisbane)" userId="221d5f7b-4a46-4bd5-bdf1-698d3a91c208" providerId="ADAL" clId="{D90324C1-6CE4-4C28-B886-AED0B666B37F}" dt="2024-06-06T05:13:56.750" v="43242" actId="947"/>
            <ac:spMkLst>
              <pc:docMk/>
              <pc:sldMasterMk cId="941904229" sldId="2147484241"/>
              <pc:sldLayoutMk cId="2622753220" sldId="2147484262"/>
              <ac:spMk id="91" creationId="{A8167E94-5154-5986-BA14-9C77DCB8D956}"/>
            </ac:spMkLst>
          </pc:spChg>
          <pc:spChg chg="mod">
            <ac:chgData name="Grace, Morgan (Brisbane)" userId="221d5f7b-4a46-4bd5-bdf1-698d3a91c208" providerId="ADAL" clId="{D90324C1-6CE4-4C28-B886-AED0B666B37F}" dt="2024-06-06T05:13:56.750" v="43240" actId="947"/>
            <ac:spMkLst>
              <pc:docMk/>
              <pc:sldMasterMk cId="941904229" sldId="2147484241"/>
              <pc:sldLayoutMk cId="2622753220" sldId="2147484262"/>
              <ac:spMk id="92" creationId="{20A9C1DB-12A0-535D-05FA-EC678BF7E38C}"/>
            </ac:spMkLst>
          </pc:spChg>
          <pc:spChg chg="mod">
            <ac:chgData name="Grace, Morgan (Brisbane)" userId="221d5f7b-4a46-4bd5-bdf1-698d3a91c208" providerId="ADAL" clId="{D90324C1-6CE4-4C28-B886-AED0B666B37F}" dt="2024-06-06T05:13:56.750" v="43238" actId="947"/>
            <ac:spMkLst>
              <pc:docMk/>
              <pc:sldMasterMk cId="941904229" sldId="2147484241"/>
              <pc:sldLayoutMk cId="2622753220" sldId="2147484262"/>
              <ac:spMk id="93" creationId="{BCC5833F-CD9C-CC34-25D2-9D0A4AD07061}"/>
            </ac:spMkLst>
          </pc:spChg>
          <pc:spChg chg="mod">
            <ac:chgData name="Grace, Morgan (Brisbane)" userId="221d5f7b-4a46-4bd5-bdf1-698d3a91c208" providerId="ADAL" clId="{D90324C1-6CE4-4C28-B886-AED0B666B37F}" dt="2024-06-06T05:13:56.750" v="43236" actId="947"/>
            <ac:spMkLst>
              <pc:docMk/>
              <pc:sldMasterMk cId="941904229" sldId="2147484241"/>
              <pc:sldLayoutMk cId="2622753220" sldId="2147484262"/>
              <ac:spMk id="94" creationId="{6538B402-A1F8-CF5A-4F7A-8D5CCCD88DAC}"/>
            </ac:spMkLst>
          </pc:spChg>
        </pc:sldLayoutChg>
        <pc:sldLayoutChg chg="modSp mod">
          <pc:chgData name="Grace, Morgan (Brisbane)" userId="221d5f7b-4a46-4bd5-bdf1-698d3a91c208" providerId="ADAL" clId="{D90324C1-6CE4-4C28-B886-AED0B666B37F}" dt="2024-06-06T05:13:56.982" v="43501" actId="947"/>
          <pc:sldLayoutMkLst>
            <pc:docMk/>
            <pc:sldMasterMk cId="941904229" sldId="2147484241"/>
            <pc:sldLayoutMk cId="1118112105" sldId="2147484263"/>
          </pc:sldLayoutMkLst>
          <pc:spChg chg="mod">
            <ac:chgData name="Grace, Morgan (Brisbane)" userId="221d5f7b-4a46-4bd5-bdf1-698d3a91c208" providerId="ADAL" clId="{D90324C1-6CE4-4C28-B886-AED0B666B37F}" dt="2024-06-06T05:13:56.951" v="43471" actId="947"/>
            <ac:spMkLst>
              <pc:docMk/>
              <pc:sldMasterMk cId="941904229" sldId="2147484241"/>
              <pc:sldLayoutMk cId="1118112105" sldId="2147484263"/>
              <ac:spMk id="54" creationId="{34EA39D6-0314-A642-C988-97B2B8687635}"/>
            </ac:spMkLst>
          </pc:spChg>
          <pc:spChg chg="mod">
            <ac:chgData name="Grace, Morgan (Brisbane)" userId="221d5f7b-4a46-4bd5-bdf1-698d3a91c208" providerId="ADAL" clId="{D90324C1-6CE4-4C28-B886-AED0B666B37F}" dt="2024-06-06T05:13:56.951" v="43469" actId="947"/>
            <ac:spMkLst>
              <pc:docMk/>
              <pc:sldMasterMk cId="941904229" sldId="2147484241"/>
              <pc:sldLayoutMk cId="1118112105" sldId="2147484263"/>
              <ac:spMk id="55" creationId="{B2B17063-58EB-7B9F-D70D-48F5C1B097AD}"/>
            </ac:spMkLst>
          </pc:spChg>
          <pc:spChg chg="mod">
            <ac:chgData name="Grace, Morgan (Brisbane)" userId="221d5f7b-4a46-4bd5-bdf1-698d3a91c208" providerId="ADAL" clId="{D90324C1-6CE4-4C28-B886-AED0B666B37F}" dt="2024-06-06T05:13:56.951" v="43467" actId="947"/>
            <ac:spMkLst>
              <pc:docMk/>
              <pc:sldMasterMk cId="941904229" sldId="2147484241"/>
              <pc:sldLayoutMk cId="1118112105" sldId="2147484263"/>
              <ac:spMk id="56" creationId="{292CE103-E14D-DCEB-3C79-26D5AF6EB44C}"/>
            </ac:spMkLst>
          </pc:spChg>
          <pc:spChg chg="mod">
            <ac:chgData name="Grace, Morgan (Brisbane)" userId="221d5f7b-4a46-4bd5-bdf1-698d3a91c208" providerId="ADAL" clId="{D90324C1-6CE4-4C28-B886-AED0B666B37F}" dt="2024-06-06T05:13:56.951" v="43465" actId="947"/>
            <ac:spMkLst>
              <pc:docMk/>
              <pc:sldMasterMk cId="941904229" sldId="2147484241"/>
              <pc:sldLayoutMk cId="1118112105" sldId="2147484263"/>
              <ac:spMk id="57" creationId="{F044E930-DEA5-17F5-DD6F-36F870AA6F80}"/>
            </ac:spMkLst>
          </pc:spChg>
          <pc:spChg chg="mod">
            <ac:chgData name="Grace, Morgan (Brisbane)" userId="221d5f7b-4a46-4bd5-bdf1-698d3a91c208" providerId="ADAL" clId="{D90324C1-6CE4-4C28-B886-AED0B666B37F}" dt="2024-06-06T05:13:56.951" v="43463" actId="947"/>
            <ac:spMkLst>
              <pc:docMk/>
              <pc:sldMasterMk cId="941904229" sldId="2147484241"/>
              <pc:sldLayoutMk cId="1118112105" sldId="2147484263"/>
              <ac:spMk id="58" creationId="{EBDF6B81-7BDE-398B-AC7B-88D53EC71D53}"/>
            </ac:spMkLst>
          </pc:spChg>
          <pc:spChg chg="mod">
            <ac:chgData name="Grace, Morgan (Brisbane)" userId="221d5f7b-4a46-4bd5-bdf1-698d3a91c208" providerId="ADAL" clId="{D90324C1-6CE4-4C28-B886-AED0B666B37F}" dt="2024-06-06T05:13:56.951" v="43461" actId="947"/>
            <ac:spMkLst>
              <pc:docMk/>
              <pc:sldMasterMk cId="941904229" sldId="2147484241"/>
              <pc:sldLayoutMk cId="1118112105" sldId="2147484263"/>
              <ac:spMk id="59" creationId="{B49B569A-D7BD-4BFB-53E7-3F65FCF3F928}"/>
            </ac:spMkLst>
          </pc:spChg>
          <pc:spChg chg="mod">
            <ac:chgData name="Grace, Morgan (Brisbane)" userId="221d5f7b-4a46-4bd5-bdf1-698d3a91c208" providerId="ADAL" clId="{D90324C1-6CE4-4C28-B886-AED0B666B37F}" dt="2024-06-06T05:13:56.951" v="43459" actId="947"/>
            <ac:spMkLst>
              <pc:docMk/>
              <pc:sldMasterMk cId="941904229" sldId="2147484241"/>
              <pc:sldLayoutMk cId="1118112105" sldId="2147484263"/>
              <ac:spMk id="60" creationId="{5F57ED50-C814-D11C-FECF-774558F19AC0}"/>
            </ac:spMkLst>
          </pc:spChg>
          <pc:spChg chg="mod">
            <ac:chgData name="Grace, Morgan (Brisbane)" userId="221d5f7b-4a46-4bd5-bdf1-698d3a91c208" providerId="ADAL" clId="{D90324C1-6CE4-4C28-B886-AED0B666B37F}" dt="2024-06-06T05:13:56.935" v="43457" actId="947"/>
            <ac:spMkLst>
              <pc:docMk/>
              <pc:sldMasterMk cId="941904229" sldId="2147484241"/>
              <pc:sldLayoutMk cId="1118112105" sldId="2147484263"/>
              <ac:spMk id="61" creationId="{D7950CB6-E433-9A01-0143-55052D5F162A}"/>
            </ac:spMkLst>
          </pc:spChg>
          <pc:spChg chg="mod">
            <ac:chgData name="Grace, Morgan (Brisbane)" userId="221d5f7b-4a46-4bd5-bdf1-698d3a91c208" providerId="ADAL" clId="{D90324C1-6CE4-4C28-B886-AED0B666B37F}" dt="2024-06-06T05:13:56.935" v="43455" actId="947"/>
            <ac:spMkLst>
              <pc:docMk/>
              <pc:sldMasterMk cId="941904229" sldId="2147484241"/>
              <pc:sldLayoutMk cId="1118112105" sldId="2147484263"/>
              <ac:spMk id="62" creationId="{A58DD185-BE66-C542-19A0-305FE1833914}"/>
            </ac:spMkLst>
          </pc:spChg>
          <pc:spChg chg="mod">
            <ac:chgData name="Grace, Morgan (Brisbane)" userId="221d5f7b-4a46-4bd5-bdf1-698d3a91c208" providerId="ADAL" clId="{D90324C1-6CE4-4C28-B886-AED0B666B37F}" dt="2024-06-06T05:13:56.935" v="43453" actId="947"/>
            <ac:spMkLst>
              <pc:docMk/>
              <pc:sldMasterMk cId="941904229" sldId="2147484241"/>
              <pc:sldLayoutMk cId="1118112105" sldId="2147484263"/>
              <ac:spMk id="63" creationId="{657E2F9E-8DA6-643F-BAA0-854F12431F52}"/>
            </ac:spMkLst>
          </pc:spChg>
          <pc:spChg chg="mod">
            <ac:chgData name="Grace, Morgan (Brisbane)" userId="221d5f7b-4a46-4bd5-bdf1-698d3a91c208" providerId="ADAL" clId="{D90324C1-6CE4-4C28-B886-AED0B666B37F}" dt="2024-06-06T05:13:56.935" v="43451" actId="947"/>
            <ac:spMkLst>
              <pc:docMk/>
              <pc:sldMasterMk cId="941904229" sldId="2147484241"/>
              <pc:sldLayoutMk cId="1118112105" sldId="2147484263"/>
              <ac:spMk id="64" creationId="{0CB3F4AD-AE85-FD02-4E5A-0D9CD0FBB0F8}"/>
            </ac:spMkLst>
          </pc:spChg>
          <pc:spChg chg="mod">
            <ac:chgData name="Grace, Morgan (Brisbane)" userId="221d5f7b-4a46-4bd5-bdf1-698d3a91c208" providerId="ADAL" clId="{D90324C1-6CE4-4C28-B886-AED0B666B37F}" dt="2024-06-06T05:13:56.935" v="43449" actId="947"/>
            <ac:spMkLst>
              <pc:docMk/>
              <pc:sldMasterMk cId="941904229" sldId="2147484241"/>
              <pc:sldLayoutMk cId="1118112105" sldId="2147484263"/>
              <ac:spMk id="65" creationId="{457E81F8-5E24-F736-1339-AE616058801D}"/>
            </ac:spMkLst>
          </pc:spChg>
          <pc:spChg chg="mod">
            <ac:chgData name="Grace, Morgan (Brisbane)" userId="221d5f7b-4a46-4bd5-bdf1-698d3a91c208" providerId="ADAL" clId="{D90324C1-6CE4-4C28-B886-AED0B666B37F}" dt="2024-06-06T05:13:56.935" v="43447" actId="947"/>
            <ac:spMkLst>
              <pc:docMk/>
              <pc:sldMasterMk cId="941904229" sldId="2147484241"/>
              <pc:sldLayoutMk cId="1118112105" sldId="2147484263"/>
              <ac:spMk id="66" creationId="{9FB55E78-65D7-2FE5-B241-A699E5B82A32}"/>
            </ac:spMkLst>
          </pc:spChg>
          <pc:spChg chg="mod">
            <ac:chgData name="Grace, Morgan (Brisbane)" userId="221d5f7b-4a46-4bd5-bdf1-698d3a91c208" providerId="ADAL" clId="{D90324C1-6CE4-4C28-B886-AED0B666B37F}" dt="2024-06-06T05:13:56.935" v="43445" actId="947"/>
            <ac:spMkLst>
              <pc:docMk/>
              <pc:sldMasterMk cId="941904229" sldId="2147484241"/>
              <pc:sldLayoutMk cId="1118112105" sldId="2147484263"/>
              <ac:spMk id="67" creationId="{4535F420-4E06-E5C5-EE0E-A15193289707}"/>
            </ac:spMkLst>
          </pc:spChg>
          <pc:spChg chg="mod">
            <ac:chgData name="Grace, Morgan (Brisbane)" userId="221d5f7b-4a46-4bd5-bdf1-698d3a91c208" providerId="ADAL" clId="{D90324C1-6CE4-4C28-B886-AED0B666B37F}" dt="2024-06-06T05:13:56.935" v="43443" actId="947"/>
            <ac:spMkLst>
              <pc:docMk/>
              <pc:sldMasterMk cId="941904229" sldId="2147484241"/>
              <pc:sldLayoutMk cId="1118112105" sldId="2147484263"/>
              <ac:spMk id="68" creationId="{628A7C49-5CB4-A330-C434-6CFDECC93320}"/>
            </ac:spMkLst>
          </pc:spChg>
          <pc:spChg chg="mod">
            <ac:chgData name="Grace, Morgan (Brisbane)" userId="221d5f7b-4a46-4bd5-bdf1-698d3a91c208" providerId="ADAL" clId="{D90324C1-6CE4-4C28-B886-AED0B666B37F}" dt="2024-06-06T05:13:56.935" v="43441" actId="947"/>
            <ac:spMkLst>
              <pc:docMk/>
              <pc:sldMasterMk cId="941904229" sldId="2147484241"/>
              <pc:sldLayoutMk cId="1118112105" sldId="2147484263"/>
              <ac:spMk id="69" creationId="{4CD42D67-6E75-FC5F-09AE-27F4B80578C3}"/>
            </ac:spMkLst>
          </pc:spChg>
          <pc:spChg chg="mod">
            <ac:chgData name="Grace, Morgan (Brisbane)" userId="221d5f7b-4a46-4bd5-bdf1-698d3a91c208" providerId="ADAL" clId="{D90324C1-6CE4-4C28-B886-AED0B666B37F}" dt="2024-06-06T05:13:56.935" v="43439" actId="947"/>
            <ac:spMkLst>
              <pc:docMk/>
              <pc:sldMasterMk cId="941904229" sldId="2147484241"/>
              <pc:sldLayoutMk cId="1118112105" sldId="2147484263"/>
              <ac:spMk id="70" creationId="{8A7B09E9-DBE0-00C6-8B9B-424128562E0A}"/>
            </ac:spMkLst>
          </pc:spChg>
          <pc:spChg chg="mod">
            <ac:chgData name="Grace, Morgan (Brisbane)" userId="221d5f7b-4a46-4bd5-bdf1-698d3a91c208" providerId="ADAL" clId="{D90324C1-6CE4-4C28-B886-AED0B666B37F}" dt="2024-06-06T05:13:56.931" v="43437" actId="947"/>
            <ac:spMkLst>
              <pc:docMk/>
              <pc:sldMasterMk cId="941904229" sldId="2147484241"/>
              <pc:sldLayoutMk cId="1118112105" sldId="2147484263"/>
              <ac:spMk id="71" creationId="{EEEFBDFD-9B52-D6EB-6C26-D779D4867F0C}"/>
            </ac:spMkLst>
          </pc:spChg>
          <pc:spChg chg="mod">
            <ac:chgData name="Grace, Morgan (Brisbane)" userId="221d5f7b-4a46-4bd5-bdf1-698d3a91c208" providerId="ADAL" clId="{D90324C1-6CE4-4C28-B886-AED0B666B37F}" dt="2024-06-06T05:13:56.931" v="43435" actId="947"/>
            <ac:spMkLst>
              <pc:docMk/>
              <pc:sldMasterMk cId="941904229" sldId="2147484241"/>
              <pc:sldLayoutMk cId="1118112105" sldId="2147484263"/>
              <ac:spMk id="72" creationId="{6806E057-2573-4B78-AD30-2223C083DEAF}"/>
            </ac:spMkLst>
          </pc:spChg>
          <pc:spChg chg="mod">
            <ac:chgData name="Grace, Morgan (Brisbane)" userId="221d5f7b-4a46-4bd5-bdf1-698d3a91c208" providerId="ADAL" clId="{D90324C1-6CE4-4C28-B886-AED0B666B37F}" dt="2024-06-06T05:13:56.931" v="43433" actId="947"/>
            <ac:spMkLst>
              <pc:docMk/>
              <pc:sldMasterMk cId="941904229" sldId="2147484241"/>
              <pc:sldLayoutMk cId="1118112105" sldId="2147484263"/>
              <ac:spMk id="73" creationId="{0FD3023D-18E5-E7EB-D5BB-12F91229BA8E}"/>
            </ac:spMkLst>
          </pc:spChg>
          <pc:spChg chg="mod">
            <ac:chgData name="Grace, Morgan (Brisbane)" userId="221d5f7b-4a46-4bd5-bdf1-698d3a91c208" providerId="ADAL" clId="{D90324C1-6CE4-4C28-B886-AED0B666B37F}" dt="2024-06-06T05:13:56.915" v="43431" actId="947"/>
            <ac:spMkLst>
              <pc:docMk/>
              <pc:sldMasterMk cId="941904229" sldId="2147484241"/>
              <pc:sldLayoutMk cId="1118112105" sldId="2147484263"/>
              <ac:spMk id="74" creationId="{C4B90466-6CF0-9062-515E-7D2516654110}"/>
            </ac:spMkLst>
          </pc:spChg>
          <pc:spChg chg="mod">
            <ac:chgData name="Grace, Morgan (Brisbane)" userId="221d5f7b-4a46-4bd5-bdf1-698d3a91c208" providerId="ADAL" clId="{D90324C1-6CE4-4C28-B886-AED0B666B37F}" dt="2024-06-06T05:13:56.915" v="43429" actId="947"/>
            <ac:spMkLst>
              <pc:docMk/>
              <pc:sldMasterMk cId="941904229" sldId="2147484241"/>
              <pc:sldLayoutMk cId="1118112105" sldId="2147484263"/>
              <ac:spMk id="75" creationId="{928DE4C2-F156-CEE8-5EDD-341F498DD6FB}"/>
            </ac:spMkLst>
          </pc:spChg>
          <pc:spChg chg="mod">
            <ac:chgData name="Grace, Morgan (Brisbane)" userId="221d5f7b-4a46-4bd5-bdf1-698d3a91c208" providerId="ADAL" clId="{D90324C1-6CE4-4C28-B886-AED0B666B37F}" dt="2024-06-06T05:13:56.915" v="43427" actId="947"/>
            <ac:spMkLst>
              <pc:docMk/>
              <pc:sldMasterMk cId="941904229" sldId="2147484241"/>
              <pc:sldLayoutMk cId="1118112105" sldId="2147484263"/>
              <ac:spMk id="76" creationId="{AB9F3B3A-C8A4-B1FC-8FBA-B9D641725DB8}"/>
            </ac:spMkLst>
          </pc:spChg>
          <pc:spChg chg="mod">
            <ac:chgData name="Grace, Morgan (Brisbane)" userId="221d5f7b-4a46-4bd5-bdf1-698d3a91c208" providerId="ADAL" clId="{D90324C1-6CE4-4C28-B886-AED0B666B37F}" dt="2024-06-06T05:13:56.915" v="43425" actId="947"/>
            <ac:spMkLst>
              <pc:docMk/>
              <pc:sldMasterMk cId="941904229" sldId="2147484241"/>
              <pc:sldLayoutMk cId="1118112105" sldId="2147484263"/>
              <ac:spMk id="77" creationId="{71DBEC47-EBA0-223E-651A-F311CD69925A}"/>
            </ac:spMkLst>
          </pc:spChg>
          <pc:spChg chg="mod">
            <ac:chgData name="Grace, Morgan (Brisbane)" userId="221d5f7b-4a46-4bd5-bdf1-698d3a91c208" providerId="ADAL" clId="{D90324C1-6CE4-4C28-B886-AED0B666B37F}" dt="2024-06-06T05:13:56.915" v="43423" actId="947"/>
            <ac:spMkLst>
              <pc:docMk/>
              <pc:sldMasterMk cId="941904229" sldId="2147484241"/>
              <pc:sldLayoutMk cId="1118112105" sldId="2147484263"/>
              <ac:spMk id="78" creationId="{151EE274-C22B-0806-FB23-0EBC83033CFD}"/>
            </ac:spMkLst>
          </pc:spChg>
          <pc:spChg chg="mod">
            <ac:chgData name="Grace, Morgan (Brisbane)" userId="221d5f7b-4a46-4bd5-bdf1-698d3a91c208" providerId="ADAL" clId="{D90324C1-6CE4-4C28-B886-AED0B666B37F}" dt="2024-06-06T05:13:56.915" v="43421" actId="947"/>
            <ac:spMkLst>
              <pc:docMk/>
              <pc:sldMasterMk cId="941904229" sldId="2147484241"/>
              <pc:sldLayoutMk cId="1118112105" sldId="2147484263"/>
              <ac:spMk id="79" creationId="{6C314A20-934D-D47D-6410-DC9900E0DA64}"/>
            </ac:spMkLst>
          </pc:spChg>
          <pc:spChg chg="mod">
            <ac:chgData name="Grace, Morgan (Brisbane)" userId="221d5f7b-4a46-4bd5-bdf1-698d3a91c208" providerId="ADAL" clId="{D90324C1-6CE4-4C28-B886-AED0B666B37F}" dt="2024-06-06T05:13:56.915" v="43419" actId="947"/>
            <ac:spMkLst>
              <pc:docMk/>
              <pc:sldMasterMk cId="941904229" sldId="2147484241"/>
              <pc:sldLayoutMk cId="1118112105" sldId="2147484263"/>
              <ac:spMk id="80" creationId="{4CB36A5B-A3D0-5F33-6D7B-26818E74531E}"/>
            </ac:spMkLst>
          </pc:spChg>
          <pc:spChg chg="mod">
            <ac:chgData name="Grace, Morgan (Brisbane)" userId="221d5f7b-4a46-4bd5-bdf1-698d3a91c208" providerId="ADAL" clId="{D90324C1-6CE4-4C28-B886-AED0B666B37F}" dt="2024-06-06T05:13:56.966" v="43489" actId="947"/>
            <ac:spMkLst>
              <pc:docMk/>
              <pc:sldMasterMk cId="941904229" sldId="2147484241"/>
              <pc:sldLayoutMk cId="1118112105" sldId="2147484263"/>
              <ac:spMk id="81" creationId="{CFFEB207-1B0A-5744-477D-3DBDB449B7D7}"/>
            </ac:spMkLst>
          </pc:spChg>
          <pc:spChg chg="mod">
            <ac:chgData name="Grace, Morgan (Brisbane)" userId="221d5f7b-4a46-4bd5-bdf1-698d3a91c208" providerId="ADAL" clId="{D90324C1-6CE4-4C28-B886-AED0B666B37F}" dt="2024-06-06T05:13:56.966" v="43487" actId="947"/>
            <ac:spMkLst>
              <pc:docMk/>
              <pc:sldMasterMk cId="941904229" sldId="2147484241"/>
              <pc:sldLayoutMk cId="1118112105" sldId="2147484263"/>
              <ac:spMk id="82" creationId="{2A8EDD01-4689-A6C3-652F-1FC604D244E2}"/>
            </ac:spMkLst>
          </pc:spChg>
          <pc:spChg chg="mod">
            <ac:chgData name="Grace, Morgan (Brisbane)" userId="221d5f7b-4a46-4bd5-bdf1-698d3a91c208" providerId="ADAL" clId="{D90324C1-6CE4-4C28-B886-AED0B666B37F}" dt="2024-06-06T05:13:56.966" v="43485" actId="947"/>
            <ac:spMkLst>
              <pc:docMk/>
              <pc:sldMasterMk cId="941904229" sldId="2147484241"/>
              <pc:sldLayoutMk cId="1118112105" sldId="2147484263"/>
              <ac:spMk id="83" creationId="{B13CBD13-161E-B030-0933-56B4A2654FD6}"/>
            </ac:spMkLst>
          </pc:spChg>
          <pc:spChg chg="mod">
            <ac:chgData name="Grace, Morgan (Brisbane)" userId="221d5f7b-4a46-4bd5-bdf1-698d3a91c208" providerId="ADAL" clId="{D90324C1-6CE4-4C28-B886-AED0B666B37F}" dt="2024-06-06T05:13:56.966" v="43483" actId="947"/>
            <ac:spMkLst>
              <pc:docMk/>
              <pc:sldMasterMk cId="941904229" sldId="2147484241"/>
              <pc:sldLayoutMk cId="1118112105" sldId="2147484263"/>
              <ac:spMk id="84" creationId="{49E686E5-9C44-A082-83E4-ADB34232E39E}"/>
            </ac:spMkLst>
          </pc:spChg>
          <pc:spChg chg="mod">
            <ac:chgData name="Grace, Morgan (Brisbane)" userId="221d5f7b-4a46-4bd5-bdf1-698d3a91c208" providerId="ADAL" clId="{D90324C1-6CE4-4C28-B886-AED0B666B37F}" dt="2024-06-06T05:13:56.966" v="43481" actId="947"/>
            <ac:spMkLst>
              <pc:docMk/>
              <pc:sldMasterMk cId="941904229" sldId="2147484241"/>
              <pc:sldLayoutMk cId="1118112105" sldId="2147484263"/>
              <ac:spMk id="85" creationId="{EE49B7AB-876F-F080-E87A-AB4D00F0D937}"/>
            </ac:spMkLst>
          </pc:spChg>
          <pc:spChg chg="mod">
            <ac:chgData name="Grace, Morgan (Brisbane)" userId="221d5f7b-4a46-4bd5-bdf1-698d3a91c208" providerId="ADAL" clId="{D90324C1-6CE4-4C28-B886-AED0B666B37F}" dt="2024-06-06T05:13:56.951" v="43479" actId="947"/>
            <ac:spMkLst>
              <pc:docMk/>
              <pc:sldMasterMk cId="941904229" sldId="2147484241"/>
              <pc:sldLayoutMk cId="1118112105" sldId="2147484263"/>
              <ac:spMk id="86" creationId="{B5B01F0A-12A1-B62D-8CAA-1248984AC72C}"/>
            </ac:spMkLst>
          </pc:spChg>
          <pc:spChg chg="mod">
            <ac:chgData name="Grace, Morgan (Brisbane)" userId="221d5f7b-4a46-4bd5-bdf1-698d3a91c208" providerId="ADAL" clId="{D90324C1-6CE4-4C28-B886-AED0B666B37F}" dt="2024-06-06T05:13:56.951" v="43477" actId="947"/>
            <ac:spMkLst>
              <pc:docMk/>
              <pc:sldMasterMk cId="941904229" sldId="2147484241"/>
              <pc:sldLayoutMk cId="1118112105" sldId="2147484263"/>
              <ac:spMk id="87" creationId="{C0B05414-95E9-FA39-9083-6D8AA651EDE9}"/>
            </ac:spMkLst>
          </pc:spChg>
          <pc:spChg chg="mod">
            <ac:chgData name="Grace, Morgan (Brisbane)" userId="221d5f7b-4a46-4bd5-bdf1-698d3a91c208" providerId="ADAL" clId="{D90324C1-6CE4-4C28-B886-AED0B666B37F}" dt="2024-06-06T05:13:56.951" v="43475" actId="947"/>
            <ac:spMkLst>
              <pc:docMk/>
              <pc:sldMasterMk cId="941904229" sldId="2147484241"/>
              <pc:sldLayoutMk cId="1118112105" sldId="2147484263"/>
              <ac:spMk id="88" creationId="{A2FC16D9-AB21-8E42-280B-8E8666E4933D}"/>
            </ac:spMkLst>
          </pc:spChg>
          <pc:spChg chg="mod">
            <ac:chgData name="Grace, Morgan (Brisbane)" userId="221d5f7b-4a46-4bd5-bdf1-698d3a91c208" providerId="ADAL" clId="{D90324C1-6CE4-4C28-B886-AED0B666B37F}" dt="2024-06-06T05:13:56.951" v="43473" actId="947"/>
            <ac:spMkLst>
              <pc:docMk/>
              <pc:sldMasterMk cId="941904229" sldId="2147484241"/>
              <pc:sldLayoutMk cId="1118112105" sldId="2147484263"/>
              <ac:spMk id="89" creationId="{599F365B-FCF8-312D-A159-C8C8DEFC1E67}"/>
            </ac:spMkLst>
          </pc:spChg>
          <pc:spChg chg="mod">
            <ac:chgData name="Grace, Morgan (Brisbane)" userId="221d5f7b-4a46-4bd5-bdf1-698d3a91c208" providerId="ADAL" clId="{D90324C1-6CE4-4C28-B886-AED0B666B37F}" dt="2024-06-06T05:13:56.982" v="43501" actId="947"/>
            <ac:spMkLst>
              <pc:docMk/>
              <pc:sldMasterMk cId="941904229" sldId="2147484241"/>
              <pc:sldLayoutMk cId="1118112105" sldId="2147484263"/>
              <ac:spMk id="90" creationId="{0038B7A9-7ED3-9E21-6E15-46FA0ECAE1C3}"/>
            </ac:spMkLst>
          </pc:spChg>
          <pc:spChg chg="mod">
            <ac:chgData name="Grace, Morgan (Brisbane)" userId="221d5f7b-4a46-4bd5-bdf1-698d3a91c208" providerId="ADAL" clId="{D90324C1-6CE4-4C28-B886-AED0B666B37F}" dt="2024-06-06T05:13:56.966" v="43499" actId="947"/>
            <ac:spMkLst>
              <pc:docMk/>
              <pc:sldMasterMk cId="941904229" sldId="2147484241"/>
              <pc:sldLayoutMk cId="1118112105" sldId="2147484263"/>
              <ac:spMk id="91" creationId="{6142F10C-BE48-729F-2CD7-B945FFBFDB18}"/>
            </ac:spMkLst>
          </pc:spChg>
          <pc:spChg chg="mod">
            <ac:chgData name="Grace, Morgan (Brisbane)" userId="221d5f7b-4a46-4bd5-bdf1-698d3a91c208" providerId="ADAL" clId="{D90324C1-6CE4-4C28-B886-AED0B666B37F}" dt="2024-06-06T05:13:56.966" v="43497" actId="947"/>
            <ac:spMkLst>
              <pc:docMk/>
              <pc:sldMasterMk cId="941904229" sldId="2147484241"/>
              <pc:sldLayoutMk cId="1118112105" sldId="2147484263"/>
              <ac:spMk id="92" creationId="{4ED5366E-9CF9-3C5B-9D97-D6FC4E93A0B5}"/>
            </ac:spMkLst>
          </pc:spChg>
          <pc:spChg chg="mod">
            <ac:chgData name="Grace, Morgan (Brisbane)" userId="221d5f7b-4a46-4bd5-bdf1-698d3a91c208" providerId="ADAL" clId="{D90324C1-6CE4-4C28-B886-AED0B666B37F}" dt="2024-06-06T05:13:56.966" v="43495" actId="947"/>
            <ac:spMkLst>
              <pc:docMk/>
              <pc:sldMasterMk cId="941904229" sldId="2147484241"/>
              <pc:sldLayoutMk cId="1118112105" sldId="2147484263"/>
              <ac:spMk id="93" creationId="{7872488D-F5D5-636C-0999-529E224B41DF}"/>
            </ac:spMkLst>
          </pc:spChg>
          <pc:spChg chg="mod">
            <ac:chgData name="Grace, Morgan (Brisbane)" userId="221d5f7b-4a46-4bd5-bdf1-698d3a91c208" providerId="ADAL" clId="{D90324C1-6CE4-4C28-B886-AED0B666B37F}" dt="2024-06-06T05:13:56.966" v="43493" actId="947"/>
            <ac:spMkLst>
              <pc:docMk/>
              <pc:sldMasterMk cId="941904229" sldId="2147484241"/>
              <pc:sldLayoutMk cId="1118112105" sldId="2147484263"/>
              <ac:spMk id="94" creationId="{015C39A2-2F7F-459B-E72C-CBF738EA3885}"/>
            </ac:spMkLst>
          </pc:spChg>
          <pc:spChg chg="mod">
            <ac:chgData name="Grace, Morgan (Brisbane)" userId="221d5f7b-4a46-4bd5-bdf1-698d3a91c208" providerId="ADAL" clId="{D90324C1-6CE4-4C28-B886-AED0B666B37F}" dt="2024-06-06T05:13:56.966" v="43491" actId="947"/>
            <ac:spMkLst>
              <pc:docMk/>
              <pc:sldMasterMk cId="941904229" sldId="2147484241"/>
              <pc:sldLayoutMk cId="1118112105" sldId="2147484263"/>
              <ac:spMk id="95" creationId="{5149EF4A-C6DB-2BB6-73A0-4B34FAF83CAC}"/>
            </ac:spMkLst>
          </pc:spChg>
        </pc:sldLayoutChg>
        <pc:sldLayoutChg chg="modSp mod">
          <pc:chgData name="Grace, Morgan (Brisbane)" userId="221d5f7b-4a46-4bd5-bdf1-698d3a91c208" providerId="ADAL" clId="{D90324C1-6CE4-4C28-B886-AED0B666B37F}" dt="2024-06-06T05:14:01.500" v="46167"/>
          <pc:sldLayoutMkLst>
            <pc:docMk/>
            <pc:sldMasterMk cId="941904229" sldId="2147484241"/>
            <pc:sldLayoutMk cId="3595057874" sldId="2147484264"/>
          </pc:sldLayoutMkLst>
          <pc:spChg chg="mod">
            <ac:chgData name="Grace, Morgan (Brisbane)" userId="221d5f7b-4a46-4bd5-bdf1-698d3a91c208" providerId="ADAL" clId="{D90324C1-6CE4-4C28-B886-AED0B666B37F}" dt="2024-06-06T05:13:56.835" v="43332" actId="947"/>
            <ac:spMkLst>
              <pc:docMk/>
              <pc:sldMasterMk cId="941904229" sldId="2147484241"/>
              <pc:sldLayoutMk cId="3595057874" sldId="2147484264"/>
              <ac:spMk id="2" creationId="{47941BDE-7C0D-267A-0B4D-8ED5C03FFBDF}"/>
            </ac:spMkLst>
          </pc:spChg>
          <pc:spChg chg="mod">
            <ac:chgData name="Grace, Morgan (Brisbane)" userId="221d5f7b-4a46-4bd5-bdf1-698d3a91c208" providerId="ADAL" clId="{D90324C1-6CE4-4C28-B886-AED0B666B37F}" dt="2024-06-06T05:13:56.835" v="43333" actId="790"/>
            <ac:spMkLst>
              <pc:docMk/>
              <pc:sldMasterMk cId="941904229" sldId="2147484241"/>
              <pc:sldLayoutMk cId="3595057874" sldId="2147484264"/>
              <ac:spMk id="3" creationId="{B55F3CF9-1398-FA4E-4BD0-0378A70CA90E}"/>
            </ac:spMkLst>
          </pc:spChg>
          <pc:spChg chg="mod">
            <ac:chgData name="Grace, Morgan (Brisbane)" userId="221d5f7b-4a46-4bd5-bdf1-698d3a91c208" providerId="ADAL" clId="{D90324C1-6CE4-4C28-B886-AED0B666B37F}" dt="2024-06-06T05:13:56.798" v="43300" actId="947"/>
            <ac:spMkLst>
              <pc:docMk/>
              <pc:sldMasterMk cId="941904229" sldId="2147484241"/>
              <pc:sldLayoutMk cId="3595057874" sldId="2147484264"/>
              <ac:spMk id="54" creationId="{34EA39D6-0314-A642-C988-97B2B8687635}"/>
            </ac:spMkLst>
          </pc:spChg>
          <pc:spChg chg="mod">
            <ac:chgData name="Grace, Morgan (Brisbane)" userId="221d5f7b-4a46-4bd5-bdf1-698d3a91c208" providerId="ADAL" clId="{D90324C1-6CE4-4C28-B886-AED0B666B37F}" dt="2024-06-06T05:13:56.798" v="43298" actId="947"/>
            <ac:spMkLst>
              <pc:docMk/>
              <pc:sldMasterMk cId="941904229" sldId="2147484241"/>
              <pc:sldLayoutMk cId="3595057874" sldId="2147484264"/>
              <ac:spMk id="55" creationId="{B2B17063-58EB-7B9F-D70D-48F5C1B097AD}"/>
            </ac:spMkLst>
          </pc:spChg>
          <pc:spChg chg="mod">
            <ac:chgData name="Grace, Morgan (Brisbane)" userId="221d5f7b-4a46-4bd5-bdf1-698d3a91c208" providerId="ADAL" clId="{D90324C1-6CE4-4C28-B886-AED0B666B37F}" dt="2024-06-06T05:13:56.798" v="43296" actId="947"/>
            <ac:spMkLst>
              <pc:docMk/>
              <pc:sldMasterMk cId="941904229" sldId="2147484241"/>
              <pc:sldLayoutMk cId="3595057874" sldId="2147484264"/>
              <ac:spMk id="56" creationId="{292CE103-E14D-DCEB-3C79-26D5AF6EB44C}"/>
            </ac:spMkLst>
          </pc:spChg>
          <pc:spChg chg="mod">
            <ac:chgData name="Grace, Morgan (Brisbane)" userId="221d5f7b-4a46-4bd5-bdf1-698d3a91c208" providerId="ADAL" clId="{D90324C1-6CE4-4C28-B886-AED0B666B37F}" dt="2024-06-06T05:13:56.798" v="43294" actId="947"/>
            <ac:spMkLst>
              <pc:docMk/>
              <pc:sldMasterMk cId="941904229" sldId="2147484241"/>
              <pc:sldLayoutMk cId="3595057874" sldId="2147484264"/>
              <ac:spMk id="57" creationId="{F044E930-DEA5-17F5-DD6F-36F870AA6F80}"/>
            </ac:spMkLst>
          </pc:spChg>
          <pc:spChg chg="mod">
            <ac:chgData name="Grace, Morgan (Brisbane)" userId="221d5f7b-4a46-4bd5-bdf1-698d3a91c208" providerId="ADAL" clId="{D90324C1-6CE4-4C28-B886-AED0B666B37F}" dt="2024-06-06T05:13:56.798" v="43292" actId="947"/>
            <ac:spMkLst>
              <pc:docMk/>
              <pc:sldMasterMk cId="941904229" sldId="2147484241"/>
              <pc:sldLayoutMk cId="3595057874" sldId="2147484264"/>
              <ac:spMk id="58" creationId="{EBDF6B81-7BDE-398B-AC7B-88D53EC71D53}"/>
            </ac:spMkLst>
          </pc:spChg>
          <pc:spChg chg="mod">
            <ac:chgData name="Grace, Morgan (Brisbane)" userId="221d5f7b-4a46-4bd5-bdf1-698d3a91c208" providerId="ADAL" clId="{D90324C1-6CE4-4C28-B886-AED0B666B37F}" dt="2024-06-06T05:13:56.798" v="43290" actId="947"/>
            <ac:spMkLst>
              <pc:docMk/>
              <pc:sldMasterMk cId="941904229" sldId="2147484241"/>
              <pc:sldLayoutMk cId="3595057874" sldId="2147484264"/>
              <ac:spMk id="59" creationId="{B49B569A-D7BD-4BFB-53E7-3F65FCF3F928}"/>
            </ac:spMkLst>
          </pc:spChg>
          <pc:spChg chg="mod">
            <ac:chgData name="Grace, Morgan (Brisbane)" userId="221d5f7b-4a46-4bd5-bdf1-698d3a91c208" providerId="ADAL" clId="{D90324C1-6CE4-4C28-B886-AED0B666B37F}" dt="2024-06-06T05:13:56.798" v="43288" actId="947"/>
            <ac:spMkLst>
              <pc:docMk/>
              <pc:sldMasterMk cId="941904229" sldId="2147484241"/>
              <pc:sldLayoutMk cId="3595057874" sldId="2147484264"/>
              <ac:spMk id="60" creationId="{5F57ED50-C814-D11C-FECF-774558F19AC0}"/>
            </ac:spMkLst>
          </pc:spChg>
          <pc:spChg chg="mod">
            <ac:chgData name="Grace, Morgan (Brisbane)" userId="221d5f7b-4a46-4bd5-bdf1-698d3a91c208" providerId="ADAL" clId="{D90324C1-6CE4-4C28-B886-AED0B666B37F}" dt="2024-06-06T05:13:56.798" v="43286" actId="947"/>
            <ac:spMkLst>
              <pc:docMk/>
              <pc:sldMasterMk cId="941904229" sldId="2147484241"/>
              <pc:sldLayoutMk cId="3595057874" sldId="2147484264"/>
              <ac:spMk id="61" creationId="{D7950CB6-E433-9A01-0143-55052D5F162A}"/>
            </ac:spMkLst>
          </pc:spChg>
          <pc:spChg chg="mod">
            <ac:chgData name="Grace, Morgan (Brisbane)" userId="221d5f7b-4a46-4bd5-bdf1-698d3a91c208" providerId="ADAL" clId="{D90324C1-6CE4-4C28-B886-AED0B666B37F}" dt="2024-06-06T05:13:56.798" v="43284" actId="947"/>
            <ac:spMkLst>
              <pc:docMk/>
              <pc:sldMasterMk cId="941904229" sldId="2147484241"/>
              <pc:sldLayoutMk cId="3595057874" sldId="2147484264"/>
              <ac:spMk id="62" creationId="{A58DD185-BE66-C542-19A0-305FE1833914}"/>
            </ac:spMkLst>
          </pc:spChg>
          <pc:spChg chg="mod">
            <ac:chgData name="Grace, Morgan (Brisbane)" userId="221d5f7b-4a46-4bd5-bdf1-698d3a91c208" providerId="ADAL" clId="{D90324C1-6CE4-4C28-B886-AED0B666B37F}" dt="2024-06-06T05:13:56.798" v="43282" actId="947"/>
            <ac:spMkLst>
              <pc:docMk/>
              <pc:sldMasterMk cId="941904229" sldId="2147484241"/>
              <pc:sldLayoutMk cId="3595057874" sldId="2147484264"/>
              <ac:spMk id="63" creationId="{657E2F9E-8DA6-643F-BAA0-854F12431F52}"/>
            </ac:spMkLst>
          </pc:spChg>
          <pc:spChg chg="mod">
            <ac:chgData name="Grace, Morgan (Brisbane)" userId="221d5f7b-4a46-4bd5-bdf1-698d3a91c208" providerId="ADAL" clId="{D90324C1-6CE4-4C28-B886-AED0B666B37F}" dt="2024-06-06T05:13:56.798" v="43280" actId="947"/>
            <ac:spMkLst>
              <pc:docMk/>
              <pc:sldMasterMk cId="941904229" sldId="2147484241"/>
              <pc:sldLayoutMk cId="3595057874" sldId="2147484264"/>
              <ac:spMk id="64" creationId="{0CB3F4AD-AE85-FD02-4E5A-0D9CD0FBB0F8}"/>
            </ac:spMkLst>
          </pc:spChg>
          <pc:spChg chg="mod">
            <ac:chgData name="Grace, Morgan (Brisbane)" userId="221d5f7b-4a46-4bd5-bdf1-698d3a91c208" providerId="ADAL" clId="{D90324C1-6CE4-4C28-B886-AED0B666B37F}" dt="2024-06-06T05:13:56.782" v="43278" actId="947"/>
            <ac:spMkLst>
              <pc:docMk/>
              <pc:sldMasterMk cId="941904229" sldId="2147484241"/>
              <pc:sldLayoutMk cId="3595057874" sldId="2147484264"/>
              <ac:spMk id="65" creationId="{457E81F8-5E24-F736-1339-AE616058801D}"/>
            </ac:spMkLst>
          </pc:spChg>
          <pc:spChg chg="mod">
            <ac:chgData name="Grace, Morgan (Brisbane)" userId="221d5f7b-4a46-4bd5-bdf1-698d3a91c208" providerId="ADAL" clId="{D90324C1-6CE4-4C28-B886-AED0B666B37F}" dt="2024-06-06T05:13:56.782" v="43276" actId="947"/>
            <ac:spMkLst>
              <pc:docMk/>
              <pc:sldMasterMk cId="941904229" sldId="2147484241"/>
              <pc:sldLayoutMk cId="3595057874" sldId="2147484264"/>
              <ac:spMk id="66" creationId="{9FB55E78-65D7-2FE5-B241-A699E5B82A32}"/>
            </ac:spMkLst>
          </pc:spChg>
          <pc:spChg chg="mod">
            <ac:chgData name="Grace, Morgan (Brisbane)" userId="221d5f7b-4a46-4bd5-bdf1-698d3a91c208" providerId="ADAL" clId="{D90324C1-6CE4-4C28-B886-AED0B666B37F}" dt="2024-06-06T05:13:56.782" v="43274" actId="947"/>
            <ac:spMkLst>
              <pc:docMk/>
              <pc:sldMasterMk cId="941904229" sldId="2147484241"/>
              <pc:sldLayoutMk cId="3595057874" sldId="2147484264"/>
              <ac:spMk id="67" creationId="{4535F420-4E06-E5C5-EE0E-A15193289707}"/>
            </ac:spMkLst>
          </pc:spChg>
          <pc:spChg chg="mod">
            <ac:chgData name="Grace, Morgan (Brisbane)" userId="221d5f7b-4a46-4bd5-bdf1-698d3a91c208" providerId="ADAL" clId="{D90324C1-6CE4-4C28-B886-AED0B666B37F}" dt="2024-06-06T05:13:56.782" v="43272" actId="947"/>
            <ac:spMkLst>
              <pc:docMk/>
              <pc:sldMasterMk cId="941904229" sldId="2147484241"/>
              <pc:sldLayoutMk cId="3595057874" sldId="2147484264"/>
              <ac:spMk id="68" creationId="{628A7C49-5CB4-A330-C434-6CFDECC93320}"/>
            </ac:spMkLst>
          </pc:spChg>
          <pc:spChg chg="mod">
            <ac:chgData name="Grace, Morgan (Brisbane)" userId="221d5f7b-4a46-4bd5-bdf1-698d3a91c208" providerId="ADAL" clId="{D90324C1-6CE4-4C28-B886-AED0B666B37F}" dt="2024-06-06T05:13:56.782" v="43270" actId="947"/>
            <ac:spMkLst>
              <pc:docMk/>
              <pc:sldMasterMk cId="941904229" sldId="2147484241"/>
              <pc:sldLayoutMk cId="3595057874" sldId="2147484264"/>
              <ac:spMk id="69" creationId="{4CD42D67-6E75-FC5F-09AE-27F4B80578C3}"/>
            </ac:spMkLst>
          </pc:spChg>
          <pc:spChg chg="mod">
            <ac:chgData name="Grace, Morgan (Brisbane)" userId="221d5f7b-4a46-4bd5-bdf1-698d3a91c208" providerId="ADAL" clId="{D90324C1-6CE4-4C28-B886-AED0B666B37F}" dt="2024-06-06T05:13:56.782" v="43268" actId="947"/>
            <ac:spMkLst>
              <pc:docMk/>
              <pc:sldMasterMk cId="941904229" sldId="2147484241"/>
              <pc:sldLayoutMk cId="3595057874" sldId="2147484264"/>
              <ac:spMk id="70" creationId="{8A7B09E9-DBE0-00C6-8B9B-424128562E0A}"/>
            </ac:spMkLst>
          </pc:spChg>
          <pc:spChg chg="mod">
            <ac:chgData name="Grace, Morgan (Brisbane)" userId="221d5f7b-4a46-4bd5-bdf1-698d3a91c208" providerId="ADAL" clId="{D90324C1-6CE4-4C28-B886-AED0B666B37F}" dt="2024-06-06T05:13:56.782" v="43266" actId="947"/>
            <ac:spMkLst>
              <pc:docMk/>
              <pc:sldMasterMk cId="941904229" sldId="2147484241"/>
              <pc:sldLayoutMk cId="3595057874" sldId="2147484264"/>
              <ac:spMk id="71" creationId="{EEEFBDFD-9B52-D6EB-6C26-D779D4867F0C}"/>
            </ac:spMkLst>
          </pc:spChg>
          <pc:spChg chg="mod">
            <ac:chgData name="Grace, Morgan (Brisbane)" userId="221d5f7b-4a46-4bd5-bdf1-698d3a91c208" providerId="ADAL" clId="{D90324C1-6CE4-4C28-B886-AED0B666B37F}" dt="2024-06-06T05:13:56.782" v="43264" actId="947"/>
            <ac:spMkLst>
              <pc:docMk/>
              <pc:sldMasterMk cId="941904229" sldId="2147484241"/>
              <pc:sldLayoutMk cId="3595057874" sldId="2147484264"/>
              <ac:spMk id="72" creationId="{6806E057-2573-4B78-AD30-2223C083DEAF}"/>
            </ac:spMkLst>
          </pc:spChg>
          <pc:spChg chg="mod">
            <ac:chgData name="Grace, Morgan (Brisbane)" userId="221d5f7b-4a46-4bd5-bdf1-698d3a91c208" providerId="ADAL" clId="{D90324C1-6CE4-4C28-B886-AED0B666B37F}" dt="2024-06-06T05:13:56.782" v="43262" actId="947"/>
            <ac:spMkLst>
              <pc:docMk/>
              <pc:sldMasterMk cId="941904229" sldId="2147484241"/>
              <pc:sldLayoutMk cId="3595057874" sldId="2147484264"/>
              <ac:spMk id="73" creationId="{0FD3023D-18E5-E7EB-D5BB-12F91229BA8E}"/>
            </ac:spMkLst>
          </pc:spChg>
          <pc:spChg chg="mod">
            <ac:chgData name="Grace, Morgan (Brisbane)" userId="221d5f7b-4a46-4bd5-bdf1-698d3a91c208" providerId="ADAL" clId="{D90324C1-6CE4-4C28-B886-AED0B666B37F}" dt="2024-06-06T05:13:56.782" v="43260" actId="947"/>
            <ac:spMkLst>
              <pc:docMk/>
              <pc:sldMasterMk cId="941904229" sldId="2147484241"/>
              <pc:sldLayoutMk cId="3595057874" sldId="2147484264"/>
              <ac:spMk id="74" creationId="{C4B90466-6CF0-9062-515E-7D2516654110}"/>
            </ac:spMkLst>
          </pc:spChg>
          <pc:spChg chg="mod">
            <ac:chgData name="Grace, Morgan (Brisbane)" userId="221d5f7b-4a46-4bd5-bdf1-698d3a91c208" providerId="ADAL" clId="{D90324C1-6CE4-4C28-B886-AED0B666B37F}" dt="2024-06-06T05:13:56.782" v="43258" actId="947"/>
            <ac:spMkLst>
              <pc:docMk/>
              <pc:sldMasterMk cId="941904229" sldId="2147484241"/>
              <pc:sldLayoutMk cId="3595057874" sldId="2147484264"/>
              <ac:spMk id="75" creationId="{928DE4C2-F156-CEE8-5EDD-341F498DD6FB}"/>
            </ac:spMkLst>
          </pc:spChg>
          <pc:spChg chg="mod">
            <ac:chgData name="Grace, Morgan (Brisbane)" userId="221d5f7b-4a46-4bd5-bdf1-698d3a91c208" providerId="ADAL" clId="{D90324C1-6CE4-4C28-B886-AED0B666B37F}" dt="2024-06-06T05:13:56.766" v="43256" actId="947"/>
            <ac:spMkLst>
              <pc:docMk/>
              <pc:sldMasterMk cId="941904229" sldId="2147484241"/>
              <pc:sldLayoutMk cId="3595057874" sldId="2147484264"/>
              <ac:spMk id="76" creationId="{AB9F3B3A-C8A4-B1FC-8FBA-B9D641725DB8}"/>
            </ac:spMkLst>
          </pc:spChg>
          <pc:spChg chg="mod">
            <ac:chgData name="Grace, Morgan (Brisbane)" userId="221d5f7b-4a46-4bd5-bdf1-698d3a91c208" providerId="ADAL" clId="{D90324C1-6CE4-4C28-B886-AED0B666B37F}" dt="2024-06-06T05:13:56.766" v="43254" actId="947"/>
            <ac:spMkLst>
              <pc:docMk/>
              <pc:sldMasterMk cId="941904229" sldId="2147484241"/>
              <pc:sldLayoutMk cId="3595057874" sldId="2147484264"/>
              <ac:spMk id="77" creationId="{71DBEC47-EBA0-223E-651A-F311CD69925A}"/>
            </ac:spMkLst>
          </pc:spChg>
          <pc:spChg chg="mod">
            <ac:chgData name="Grace, Morgan (Brisbane)" userId="221d5f7b-4a46-4bd5-bdf1-698d3a91c208" providerId="ADAL" clId="{D90324C1-6CE4-4C28-B886-AED0B666B37F}" dt="2024-06-06T05:13:56.766" v="43252" actId="947"/>
            <ac:spMkLst>
              <pc:docMk/>
              <pc:sldMasterMk cId="941904229" sldId="2147484241"/>
              <pc:sldLayoutMk cId="3595057874" sldId="2147484264"/>
              <ac:spMk id="78" creationId="{151EE274-C22B-0806-FB23-0EBC83033CFD}"/>
            </ac:spMkLst>
          </pc:spChg>
          <pc:spChg chg="mod">
            <ac:chgData name="Grace, Morgan (Brisbane)" userId="221d5f7b-4a46-4bd5-bdf1-698d3a91c208" providerId="ADAL" clId="{D90324C1-6CE4-4C28-B886-AED0B666B37F}" dt="2024-06-06T05:13:56.766" v="43250" actId="947"/>
            <ac:spMkLst>
              <pc:docMk/>
              <pc:sldMasterMk cId="941904229" sldId="2147484241"/>
              <pc:sldLayoutMk cId="3595057874" sldId="2147484264"/>
              <ac:spMk id="79" creationId="{6C314A20-934D-D47D-6410-DC9900E0DA64}"/>
            </ac:spMkLst>
          </pc:spChg>
          <pc:spChg chg="mod">
            <ac:chgData name="Grace, Morgan (Brisbane)" userId="221d5f7b-4a46-4bd5-bdf1-698d3a91c208" providerId="ADAL" clId="{D90324C1-6CE4-4C28-B886-AED0B666B37F}" dt="2024-06-06T05:13:56.766" v="43248" actId="947"/>
            <ac:spMkLst>
              <pc:docMk/>
              <pc:sldMasterMk cId="941904229" sldId="2147484241"/>
              <pc:sldLayoutMk cId="3595057874" sldId="2147484264"/>
              <ac:spMk id="80" creationId="{4CB36A5B-A3D0-5F33-6D7B-26818E74531E}"/>
            </ac:spMkLst>
          </pc:spChg>
          <pc:spChg chg="mod">
            <ac:chgData name="Grace, Morgan (Brisbane)" userId="221d5f7b-4a46-4bd5-bdf1-698d3a91c208" providerId="ADAL" clId="{D90324C1-6CE4-4C28-B886-AED0B666B37F}" dt="2024-06-06T05:13:56.814" v="43318" actId="947"/>
            <ac:spMkLst>
              <pc:docMk/>
              <pc:sldMasterMk cId="941904229" sldId="2147484241"/>
              <pc:sldLayoutMk cId="3595057874" sldId="2147484264"/>
              <ac:spMk id="81" creationId="{CFFEB207-1B0A-5744-477D-3DBDB449B7D7}"/>
            </ac:spMkLst>
          </pc:spChg>
          <pc:spChg chg="mod">
            <ac:chgData name="Grace, Morgan (Brisbane)" userId="221d5f7b-4a46-4bd5-bdf1-698d3a91c208" providerId="ADAL" clId="{D90324C1-6CE4-4C28-B886-AED0B666B37F}" dt="2024-06-06T05:13:56.814" v="43316" actId="947"/>
            <ac:spMkLst>
              <pc:docMk/>
              <pc:sldMasterMk cId="941904229" sldId="2147484241"/>
              <pc:sldLayoutMk cId="3595057874" sldId="2147484264"/>
              <ac:spMk id="82" creationId="{2A8EDD01-4689-A6C3-652F-1FC604D244E2}"/>
            </ac:spMkLst>
          </pc:spChg>
          <pc:spChg chg="mod">
            <ac:chgData name="Grace, Morgan (Brisbane)" userId="221d5f7b-4a46-4bd5-bdf1-698d3a91c208" providerId="ADAL" clId="{D90324C1-6CE4-4C28-B886-AED0B666B37F}" dt="2024-06-06T05:13:56.814" v="43314" actId="947"/>
            <ac:spMkLst>
              <pc:docMk/>
              <pc:sldMasterMk cId="941904229" sldId="2147484241"/>
              <pc:sldLayoutMk cId="3595057874" sldId="2147484264"/>
              <ac:spMk id="83" creationId="{B13CBD13-161E-B030-0933-56B4A2654FD6}"/>
            </ac:spMkLst>
          </pc:spChg>
          <pc:spChg chg="mod">
            <ac:chgData name="Grace, Morgan (Brisbane)" userId="221d5f7b-4a46-4bd5-bdf1-698d3a91c208" providerId="ADAL" clId="{D90324C1-6CE4-4C28-B886-AED0B666B37F}" dt="2024-06-06T05:13:56.814" v="43312" actId="947"/>
            <ac:spMkLst>
              <pc:docMk/>
              <pc:sldMasterMk cId="941904229" sldId="2147484241"/>
              <pc:sldLayoutMk cId="3595057874" sldId="2147484264"/>
              <ac:spMk id="84" creationId="{49E686E5-9C44-A082-83E4-ADB34232E39E}"/>
            </ac:spMkLst>
          </pc:spChg>
          <pc:spChg chg="mod">
            <ac:chgData name="Grace, Morgan (Brisbane)" userId="221d5f7b-4a46-4bd5-bdf1-698d3a91c208" providerId="ADAL" clId="{D90324C1-6CE4-4C28-B886-AED0B666B37F}" dt="2024-06-06T05:13:56.814" v="43310" actId="947"/>
            <ac:spMkLst>
              <pc:docMk/>
              <pc:sldMasterMk cId="941904229" sldId="2147484241"/>
              <pc:sldLayoutMk cId="3595057874" sldId="2147484264"/>
              <ac:spMk id="85" creationId="{EE49B7AB-876F-F080-E87A-AB4D00F0D937}"/>
            </ac:spMkLst>
          </pc:spChg>
          <pc:spChg chg="mod">
            <ac:chgData name="Grace, Morgan (Brisbane)" userId="221d5f7b-4a46-4bd5-bdf1-698d3a91c208" providerId="ADAL" clId="{D90324C1-6CE4-4C28-B886-AED0B666B37F}" dt="2024-06-06T05:13:56.814" v="43308" actId="947"/>
            <ac:spMkLst>
              <pc:docMk/>
              <pc:sldMasterMk cId="941904229" sldId="2147484241"/>
              <pc:sldLayoutMk cId="3595057874" sldId="2147484264"/>
              <ac:spMk id="86" creationId="{B5B01F0A-12A1-B62D-8CAA-1248984AC72C}"/>
            </ac:spMkLst>
          </pc:spChg>
          <pc:spChg chg="mod">
            <ac:chgData name="Grace, Morgan (Brisbane)" userId="221d5f7b-4a46-4bd5-bdf1-698d3a91c208" providerId="ADAL" clId="{D90324C1-6CE4-4C28-B886-AED0B666B37F}" dt="2024-06-06T05:13:56.814" v="43306" actId="947"/>
            <ac:spMkLst>
              <pc:docMk/>
              <pc:sldMasterMk cId="941904229" sldId="2147484241"/>
              <pc:sldLayoutMk cId="3595057874" sldId="2147484264"/>
              <ac:spMk id="87" creationId="{C0B05414-95E9-FA39-9083-6D8AA651EDE9}"/>
            </ac:spMkLst>
          </pc:spChg>
          <pc:spChg chg="mod">
            <ac:chgData name="Grace, Morgan (Brisbane)" userId="221d5f7b-4a46-4bd5-bdf1-698d3a91c208" providerId="ADAL" clId="{D90324C1-6CE4-4C28-B886-AED0B666B37F}" dt="2024-06-06T05:13:56.814" v="43304" actId="947"/>
            <ac:spMkLst>
              <pc:docMk/>
              <pc:sldMasterMk cId="941904229" sldId="2147484241"/>
              <pc:sldLayoutMk cId="3595057874" sldId="2147484264"/>
              <ac:spMk id="88" creationId="{A2FC16D9-AB21-8E42-280B-8E8666E4933D}"/>
            </ac:spMkLst>
          </pc:spChg>
          <pc:spChg chg="mod">
            <ac:chgData name="Grace, Morgan (Brisbane)" userId="221d5f7b-4a46-4bd5-bdf1-698d3a91c208" providerId="ADAL" clId="{D90324C1-6CE4-4C28-B886-AED0B666B37F}" dt="2024-06-06T05:13:56.814" v="43302" actId="947"/>
            <ac:spMkLst>
              <pc:docMk/>
              <pc:sldMasterMk cId="941904229" sldId="2147484241"/>
              <pc:sldLayoutMk cId="3595057874" sldId="2147484264"/>
              <ac:spMk id="89" creationId="{599F365B-FCF8-312D-A159-C8C8DEFC1E67}"/>
            </ac:spMkLst>
          </pc:spChg>
          <pc:spChg chg="mod">
            <ac:chgData name="Grace, Morgan (Brisbane)" userId="221d5f7b-4a46-4bd5-bdf1-698d3a91c208" providerId="ADAL" clId="{D90324C1-6CE4-4C28-B886-AED0B666B37F}" dt="2024-06-06T05:13:56.835" v="43330" actId="947"/>
            <ac:spMkLst>
              <pc:docMk/>
              <pc:sldMasterMk cId="941904229" sldId="2147484241"/>
              <pc:sldLayoutMk cId="3595057874" sldId="2147484264"/>
              <ac:spMk id="90" creationId="{0038B7A9-7ED3-9E21-6E15-46FA0ECAE1C3}"/>
            </ac:spMkLst>
          </pc:spChg>
          <pc:spChg chg="mod">
            <ac:chgData name="Grace, Morgan (Brisbane)" userId="221d5f7b-4a46-4bd5-bdf1-698d3a91c208" providerId="ADAL" clId="{D90324C1-6CE4-4C28-B886-AED0B666B37F}" dt="2024-06-06T05:13:56.835" v="43328" actId="947"/>
            <ac:spMkLst>
              <pc:docMk/>
              <pc:sldMasterMk cId="941904229" sldId="2147484241"/>
              <pc:sldLayoutMk cId="3595057874" sldId="2147484264"/>
              <ac:spMk id="91" creationId="{6142F10C-BE48-729F-2CD7-B945FFBFDB18}"/>
            </ac:spMkLst>
          </pc:spChg>
          <pc:spChg chg="mod">
            <ac:chgData name="Grace, Morgan (Brisbane)" userId="221d5f7b-4a46-4bd5-bdf1-698d3a91c208" providerId="ADAL" clId="{D90324C1-6CE4-4C28-B886-AED0B666B37F}" dt="2024-06-06T05:13:56.829" v="43326" actId="947"/>
            <ac:spMkLst>
              <pc:docMk/>
              <pc:sldMasterMk cId="941904229" sldId="2147484241"/>
              <pc:sldLayoutMk cId="3595057874" sldId="2147484264"/>
              <ac:spMk id="92" creationId="{4ED5366E-9CF9-3C5B-9D97-D6FC4E93A0B5}"/>
            </ac:spMkLst>
          </pc:spChg>
          <pc:spChg chg="mod">
            <ac:chgData name="Grace, Morgan (Brisbane)" userId="221d5f7b-4a46-4bd5-bdf1-698d3a91c208" providerId="ADAL" clId="{D90324C1-6CE4-4C28-B886-AED0B666B37F}" dt="2024-06-06T05:13:56.829" v="43324" actId="947"/>
            <ac:spMkLst>
              <pc:docMk/>
              <pc:sldMasterMk cId="941904229" sldId="2147484241"/>
              <pc:sldLayoutMk cId="3595057874" sldId="2147484264"/>
              <ac:spMk id="93" creationId="{7872488D-F5D5-636C-0999-529E224B41DF}"/>
            </ac:spMkLst>
          </pc:spChg>
          <pc:spChg chg="mod">
            <ac:chgData name="Grace, Morgan (Brisbane)" userId="221d5f7b-4a46-4bd5-bdf1-698d3a91c208" providerId="ADAL" clId="{D90324C1-6CE4-4C28-B886-AED0B666B37F}" dt="2024-06-06T05:13:56.829" v="43322" actId="947"/>
            <ac:spMkLst>
              <pc:docMk/>
              <pc:sldMasterMk cId="941904229" sldId="2147484241"/>
              <pc:sldLayoutMk cId="3595057874" sldId="2147484264"/>
              <ac:spMk id="94" creationId="{015C39A2-2F7F-459B-E72C-CBF738EA3885}"/>
            </ac:spMkLst>
          </pc:spChg>
          <pc:spChg chg="mod">
            <ac:chgData name="Grace, Morgan (Brisbane)" userId="221d5f7b-4a46-4bd5-bdf1-698d3a91c208" providerId="ADAL" clId="{D90324C1-6CE4-4C28-B886-AED0B666B37F}" dt="2024-06-06T05:13:56.829" v="43320" actId="947"/>
            <ac:spMkLst>
              <pc:docMk/>
              <pc:sldMasterMk cId="941904229" sldId="2147484241"/>
              <pc:sldLayoutMk cId="3595057874" sldId="2147484264"/>
              <ac:spMk id="95" creationId="{5149EF4A-C6DB-2BB6-73A0-4B34FAF83CAC}"/>
            </ac:spMkLst>
          </pc:spChg>
          <pc:graphicFrameChg chg="mod ord modVis replST">
            <ac:chgData name="Grace, Morgan (Brisbane)" userId="221d5f7b-4a46-4bd5-bdf1-698d3a91c208" providerId="ADAL" clId="{D90324C1-6CE4-4C28-B886-AED0B666B37F}" dt="2024-06-06T05:14:01.500" v="46167"/>
            <ac:graphicFrameMkLst>
              <pc:docMk/>
              <pc:sldMasterMk cId="941904229" sldId="2147484241"/>
              <pc:sldLayoutMk cId="3595057874" sldId="2147484264"/>
              <ac:graphicFrameMk id="5" creationId="{834509A5-D77F-739C-DB2A-49844A598EC5}"/>
            </ac:graphicFrameMkLst>
          </pc:graphicFrameChg>
        </pc:sldLayoutChg>
        <pc:sldLayoutChg chg="modSp mod">
          <pc:chgData name="Grace, Morgan (Brisbane)" userId="221d5f7b-4a46-4bd5-bdf1-698d3a91c208" providerId="ADAL" clId="{D90324C1-6CE4-4C28-B886-AED0B666B37F}" dt="2024-06-06T05:13:56.899" v="43417" actId="947"/>
          <pc:sldLayoutMkLst>
            <pc:docMk/>
            <pc:sldMasterMk cId="941904229" sldId="2147484241"/>
            <pc:sldLayoutMk cId="955511793" sldId="2147484265"/>
          </pc:sldLayoutMkLst>
          <pc:spChg chg="mod">
            <ac:chgData name="Grace, Morgan (Brisbane)" userId="221d5f7b-4a46-4bd5-bdf1-698d3a91c208" providerId="ADAL" clId="{D90324C1-6CE4-4C28-B886-AED0B666B37F}" dt="2024-06-06T05:13:56.884" v="43387" actId="947"/>
            <ac:spMkLst>
              <pc:docMk/>
              <pc:sldMasterMk cId="941904229" sldId="2147484241"/>
              <pc:sldLayoutMk cId="955511793" sldId="2147484265"/>
              <ac:spMk id="56" creationId="{2A5F1CD2-47A4-AB6F-73C5-C23E521EB488}"/>
            </ac:spMkLst>
          </pc:spChg>
          <pc:spChg chg="mod">
            <ac:chgData name="Grace, Morgan (Brisbane)" userId="221d5f7b-4a46-4bd5-bdf1-698d3a91c208" providerId="ADAL" clId="{D90324C1-6CE4-4C28-B886-AED0B666B37F}" dt="2024-06-06T05:13:56.884" v="43385" actId="947"/>
            <ac:spMkLst>
              <pc:docMk/>
              <pc:sldMasterMk cId="941904229" sldId="2147484241"/>
              <pc:sldLayoutMk cId="955511793" sldId="2147484265"/>
              <ac:spMk id="57" creationId="{8242D394-8E66-3CE8-B50A-387191521989}"/>
            </ac:spMkLst>
          </pc:spChg>
          <pc:spChg chg="mod">
            <ac:chgData name="Grace, Morgan (Brisbane)" userId="221d5f7b-4a46-4bd5-bdf1-698d3a91c208" providerId="ADAL" clId="{D90324C1-6CE4-4C28-B886-AED0B666B37F}" dt="2024-06-06T05:13:56.884" v="43383" actId="947"/>
            <ac:spMkLst>
              <pc:docMk/>
              <pc:sldMasterMk cId="941904229" sldId="2147484241"/>
              <pc:sldLayoutMk cId="955511793" sldId="2147484265"/>
              <ac:spMk id="58" creationId="{650DFAA9-8482-247A-8C33-30D87F831804}"/>
            </ac:spMkLst>
          </pc:spChg>
          <pc:spChg chg="mod">
            <ac:chgData name="Grace, Morgan (Brisbane)" userId="221d5f7b-4a46-4bd5-bdf1-698d3a91c208" providerId="ADAL" clId="{D90324C1-6CE4-4C28-B886-AED0B666B37F}" dt="2024-06-06T05:13:56.884" v="43381" actId="947"/>
            <ac:spMkLst>
              <pc:docMk/>
              <pc:sldMasterMk cId="941904229" sldId="2147484241"/>
              <pc:sldLayoutMk cId="955511793" sldId="2147484265"/>
              <ac:spMk id="59" creationId="{DBCABBE5-3AD2-F527-8E92-91E605FB5C10}"/>
            </ac:spMkLst>
          </pc:spChg>
          <pc:spChg chg="mod">
            <ac:chgData name="Grace, Morgan (Brisbane)" userId="221d5f7b-4a46-4bd5-bdf1-698d3a91c208" providerId="ADAL" clId="{D90324C1-6CE4-4C28-B886-AED0B666B37F}" dt="2024-06-06T05:13:56.884" v="43379" actId="947"/>
            <ac:spMkLst>
              <pc:docMk/>
              <pc:sldMasterMk cId="941904229" sldId="2147484241"/>
              <pc:sldLayoutMk cId="955511793" sldId="2147484265"/>
              <ac:spMk id="60" creationId="{525AE9B7-0689-23A0-3F32-28CC90F2D1E7}"/>
            </ac:spMkLst>
          </pc:spChg>
          <pc:spChg chg="mod">
            <ac:chgData name="Grace, Morgan (Brisbane)" userId="221d5f7b-4a46-4bd5-bdf1-698d3a91c208" providerId="ADAL" clId="{D90324C1-6CE4-4C28-B886-AED0B666B37F}" dt="2024-06-06T05:13:56.882" v="43377" actId="947"/>
            <ac:spMkLst>
              <pc:docMk/>
              <pc:sldMasterMk cId="941904229" sldId="2147484241"/>
              <pc:sldLayoutMk cId="955511793" sldId="2147484265"/>
              <ac:spMk id="61" creationId="{38C85AD7-F6CA-E719-C9E2-ED8786CFF96D}"/>
            </ac:spMkLst>
          </pc:spChg>
          <pc:spChg chg="mod">
            <ac:chgData name="Grace, Morgan (Brisbane)" userId="221d5f7b-4a46-4bd5-bdf1-698d3a91c208" providerId="ADAL" clId="{D90324C1-6CE4-4C28-B886-AED0B666B37F}" dt="2024-06-06T05:13:56.866" v="43375" actId="947"/>
            <ac:spMkLst>
              <pc:docMk/>
              <pc:sldMasterMk cId="941904229" sldId="2147484241"/>
              <pc:sldLayoutMk cId="955511793" sldId="2147484265"/>
              <ac:spMk id="62" creationId="{9E78B42D-6E0C-984B-86A9-F5D75F14F247}"/>
            </ac:spMkLst>
          </pc:spChg>
          <pc:spChg chg="mod">
            <ac:chgData name="Grace, Morgan (Brisbane)" userId="221d5f7b-4a46-4bd5-bdf1-698d3a91c208" providerId="ADAL" clId="{D90324C1-6CE4-4C28-B886-AED0B666B37F}" dt="2024-06-06T05:13:56.866" v="43373" actId="947"/>
            <ac:spMkLst>
              <pc:docMk/>
              <pc:sldMasterMk cId="941904229" sldId="2147484241"/>
              <pc:sldLayoutMk cId="955511793" sldId="2147484265"/>
              <ac:spMk id="63" creationId="{48729CE7-C331-EAB4-5917-3CF66695BFCE}"/>
            </ac:spMkLst>
          </pc:spChg>
          <pc:spChg chg="mod">
            <ac:chgData name="Grace, Morgan (Brisbane)" userId="221d5f7b-4a46-4bd5-bdf1-698d3a91c208" providerId="ADAL" clId="{D90324C1-6CE4-4C28-B886-AED0B666B37F}" dt="2024-06-06T05:13:56.866" v="43371" actId="947"/>
            <ac:spMkLst>
              <pc:docMk/>
              <pc:sldMasterMk cId="941904229" sldId="2147484241"/>
              <pc:sldLayoutMk cId="955511793" sldId="2147484265"/>
              <ac:spMk id="64" creationId="{10D2B23A-2596-C94E-A006-DDB750249490}"/>
            </ac:spMkLst>
          </pc:spChg>
          <pc:spChg chg="mod">
            <ac:chgData name="Grace, Morgan (Brisbane)" userId="221d5f7b-4a46-4bd5-bdf1-698d3a91c208" providerId="ADAL" clId="{D90324C1-6CE4-4C28-B886-AED0B666B37F}" dt="2024-06-06T05:13:56.866" v="43369" actId="947"/>
            <ac:spMkLst>
              <pc:docMk/>
              <pc:sldMasterMk cId="941904229" sldId="2147484241"/>
              <pc:sldLayoutMk cId="955511793" sldId="2147484265"/>
              <ac:spMk id="65" creationId="{20D46A55-D8B1-D4C1-400E-EB3AF63FFCED}"/>
            </ac:spMkLst>
          </pc:spChg>
          <pc:spChg chg="mod">
            <ac:chgData name="Grace, Morgan (Brisbane)" userId="221d5f7b-4a46-4bd5-bdf1-698d3a91c208" providerId="ADAL" clId="{D90324C1-6CE4-4C28-B886-AED0B666B37F}" dt="2024-06-06T05:13:56.866" v="43367" actId="947"/>
            <ac:spMkLst>
              <pc:docMk/>
              <pc:sldMasterMk cId="941904229" sldId="2147484241"/>
              <pc:sldLayoutMk cId="955511793" sldId="2147484265"/>
              <ac:spMk id="66" creationId="{F9CBFCB5-D5CA-E134-81C2-D73B156A4AE6}"/>
            </ac:spMkLst>
          </pc:spChg>
          <pc:spChg chg="mod">
            <ac:chgData name="Grace, Morgan (Brisbane)" userId="221d5f7b-4a46-4bd5-bdf1-698d3a91c208" providerId="ADAL" clId="{D90324C1-6CE4-4C28-B886-AED0B666B37F}" dt="2024-06-06T05:13:56.866" v="43365" actId="947"/>
            <ac:spMkLst>
              <pc:docMk/>
              <pc:sldMasterMk cId="941904229" sldId="2147484241"/>
              <pc:sldLayoutMk cId="955511793" sldId="2147484265"/>
              <ac:spMk id="67" creationId="{360D25E0-2302-BD8F-F292-CB58AA973AC5}"/>
            </ac:spMkLst>
          </pc:spChg>
          <pc:spChg chg="mod">
            <ac:chgData name="Grace, Morgan (Brisbane)" userId="221d5f7b-4a46-4bd5-bdf1-698d3a91c208" providerId="ADAL" clId="{D90324C1-6CE4-4C28-B886-AED0B666B37F}" dt="2024-06-06T05:13:56.866" v="43363" actId="947"/>
            <ac:spMkLst>
              <pc:docMk/>
              <pc:sldMasterMk cId="941904229" sldId="2147484241"/>
              <pc:sldLayoutMk cId="955511793" sldId="2147484265"/>
              <ac:spMk id="68" creationId="{F4F6E987-F008-5AC0-CAC8-48B110ABA5B7}"/>
            </ac:spMkLst>
          </pc:spChg>
          <pc:spChg chg="mod">
            <ac:chgData name="Grace, Morgan (Brisbane)" userId="221d5f7b-4a46-4bd5-bdf1-698d3a91c208" providerId="ADAL" clId="{D90324C1-6CE4-4C28-B886-AED0B666B37F}" dt="2024-06-06T05:13:56.866" v="43361" actId="947"/>
            <ac:spMkLst>
              <pc:docMk/>
              <pc:sldMasterMk cId="941904229" sldId="2147484241"/>
              <pc:sldLayoutMk cId="955511793" sldId="2147484265"/>
              <ac:spMk id="69" creationId="{2C850871-BB1D-829E-FAB0-A9BDB069F253}"/>
            </ac:spMkLst>
          </pc:spChg>
          <pc:spChg chg="mod">
            <ac:chgData name="Grace, Morgan (Brisbane)" userId="221d5f7b-4a46-4bd5-bdf1-698d3a91c208" providerId="ADAL" clId="{D90324C1-6CE4-4C28-B886-AED0B666B37F}" dt="2024-06-06T05:13:56.866" v="43359" actId="947"/>
            <ac:spMkLst>
              <pc:docMk/>
              <pc:sldMasterMk cId="941904229" sldId="2147484241"/>
              <pc:sldLayoutMk cId="955511793" sldId="2147484265"/>
              <ac:spMk id="70" creationId="{21B9B7D4-5F7A-5BB4-5FF9-1E38C9BCA9FE}"/>
            </ac:spMkLst>
          </pc:spChg>
          <pc:spChg chg="mod">
            <ac:chgData name="Grace, Morgan (Brisbane)" userId="221d5f7b-4a46-4bd5-bdf1-698d3a91c208" providerId="ADAL" clId="{D90324C1-6CE4-4C28-B886-AED0B666B37F}" dt="2024-06-06T05:13:56.866" v="43357" actId="947"/>
            <ac:spMkLst>
              <pc:docMk/>
              <pc:sldMasterMk cId="941904229" sldId="2147484241"/>
              <pc:sldLayoutMk cId="955511793" sldId="2147484265"/>
              <ac:spMk id="71" creationId="{2FCCFA66-3EFA-6DAD-B520-4495FBDAFFEE}"/>
            </ac:spMkLst>
          </pc:spChg>
          <pc:spChg chg="mod">
            <ac:chgData name="Grace, Morgan (Brisbane)" userId="221d5f7b-4a46-4bd5-bdf1-698d3a91c208" providerId="ADAL" clId="{D90324C1-6CE4-4C28-B886-AED0B666B37F}" dt="2024-06-06T05:13:56.850" v="43355" actId="947"/>
            <ac:spMkLst>
              <pc:docMk/>
              <pc:sldMasterMk cId="941904229" sldId="2147484241"/>
              <pc:sldLayoutMk cId="955511793" sldId="2147484265"/>
              <ac:spMk id="72" creationId="{39EC726F-3A44-7378-CC21-0DBF8B3A5CA7}"/>
            </ac:spMkLst>
          </pc:spChg>
          <pc:spChg chg="mod">
            <ac:chgData name="Grace, Morgan (Brisbane)" userId="221d5f7b-4a46-4bd5-bdf1-698d3a91c208" providerId="ADAL" clId="{D90324C1-6CE4-4C28-B886-AED0B666B37F}" dt="2024-06-06T05:13:56.850" v="43353" actId="947"/>
            <ac:spMkLst>
              <pc:docMk/>
              <pc:sldMasterMk cId="941904229" sldId="2147484241"/>
              <pc:sldLayoutMk cId="955511793" sldId="2147484265"/>
              <ac:spMk id="73" creationId="{7A61F8F1-0A27-6133-869D-E78E3036D1CB}"/>
            </ac:spMkLst>
          </pc:spChg>
          <pc:spChg chg="mod">
            <ac:chgData name="Grace, Morgan (Brisbane)" userId="221d5f7b-4a46-4bd5-bdf1-698d3a91c208" providerId="ADAL" clId="{D90324C1-6CE4-4C28-B886-AED0B666B37F}" dt="2024-06-06T05:13:56.850" v="43351" actId="947"/>
            <ac:spMkLst>
              <pc:docMk/>
              <pc:sldMasterMk cId="941904229" sldId="2147484241"/>
              <pc:sldLayoutMk cId="955511793" sldId="2147484265"/>
              <ac:spMk id="74" creationId="{727BBFC1-1A9B-4C04-3F49-3245C72F637B}"/>
            </ac:spMkLst>
          </pc:spChg>
          <pc:spChg chg="mod">
            <ac:chgData name="Grace, Morgan (Brisbane)" userId="221d5f7b-4a46-4bd5-bdf1-698d3a91c208" providerId="ADAL" clId="{D90324C1-6CE4-4C28-B886-AED0B666B37F}" dt="2024-06-06T05:13:56.850" v="43349" actId="947"/>
            <ac:spMkLst>
              <pc:docMk/>
              <pc:sldMasterMk cId="941904229" sldId="2147484241"/>
              <pc:sldLayoutMk cId="955511793" sldId="2147484265"/>
              <ac:spMk id="75" creationId="{80CF6D76-53EC-398D-F556-83BC238CBC83}"/>
            </ac:spMkLst>
          </pc:spChg>
          <pc:spChg chg="mod">
            <ac:chgData name="Grace, Morgan (Brisbane)" userId="221d5f7b-4a46-4bd5-bdf1-698d3a91c208" providerId="ADAL" clId="{D90324C1-6CE4-4C28-B886-AED0B666B37F}" dt="2024-06-06T05:13:56.850" v="43347" actId="947"/>
            <ac:spMkLst>
              <pc:docMk/>
              <pc:sldMasterMk cId="941904229" sldId="2147484241"/>
              <pc:sldLayoutMk cId="955511793" sldId="2147484265"/>
              <ac:spMk id="76" creationId="{A1363313-D182-A6F1-232D-3AAB9359326A}"/>
            </ac:spMkLst>
          </pc:spChg>
          <pc:spChg chg="mod">
            <ac:chgData name="Grace, Morgan (Brisbane)" userId="221d5f7b-4a46-4bd5-bdf1-698d3a91c208" providerId="ADAL" clId="{D90324C1-6CE4-4C28-B886-AED0B666B37F}" dt="2024-06-06T05:13:56.850" v="43345" actId="947"/>
            <ac:spMkLst>
              <pc:docMk/>
              <pc:sldMasterMk cId="941904229" sldId="2147484241"/>
              <pc:sldLayoutMk cId="955511793" sldId="2147484265"/>
              <ac:spMk id="77" creationId="{B0B90CE5-159F-AFD1-FFF9-9748850E7708}"/>
            </ac:spMkLst>
          </pc:spChg>
          <pc:spChg chg="mod">
            <ac:chgData name="Grace, Morgan (Brisbane)" userId="221d5f7b-4a46-4bd5-bdf1-698d3a91c208" providerId="ADAL" clId="{D90324C1-6CE4-4C28-B886-AED0B666B37F}" dt="2024-06-06T05:13:56.850" v="43343" actId="947"/>
            <ac:spMkLst>
              <pc:docMk/>
              <pc:sldMasterMk cId="941904229" sldId="2147484241"/>
              <pc:sldLayoutMk cId="955511793" sldId="2147484265"/>
              <ac:spMk id="78" creationId="{1E046ACB-DF4D-E922-F92E-30E68A19C0C8}"/>
            </ac:spMkLst>
          </pc:spChg>
          <pc:spChg chg="mod">
            <ac:chgData name="Grace, Morgan (Brisbane)" userId="221d5f7b-4a46-4bd5-bdf1-698d3a91c208" providerId="ADAL" clId="{D90324C1-6CE4-4C28-B886-AED0B666B37F}" dt="2024-06-06T05:13:56.850" v="43341" actId="947"/>
            <ac:spMkLst>
              <pc:docMk/>
              <pc:sldMasterMk cId="941904229" sldId="2147484241"/>
              <pc:sldLayoutMk cId="955511793" sldId="2147484265"/>
              <ac:spMk id="79" creationId="{A7092E5D-61D5-E835-9A41-28F62C671721}"/>
            </ac:spMkLst>
          </pc:spChg>
          <pc:spChg chg="mod">
            <ac:chgData name="Grace, Morgan (Brisbane)" userId="221d5f7b-4a46-4bd5-bdf1-698d3a91c208" providerId="ADAL" clId="{D90324C1-6CE4-4C28-B886-AED0B666B37F}" dt="2024-06-06T05:13:56.850" v="43339" actId="947"/>
            <ac:spMkLst>
              <pc:docMk/>
              <pc:sldMasterMk cId="941904229" sldId="2147484241"/>
              <pc:sldLayoutMk cId="955511793" sldId="2147484265"/>
              <ac:spMk id="80" creationId="{5AB12452-5D42-F2AD-C36F-F70084F840A3}"/>
            </ac:spMkLst>
          </pc:spChg>
          <pc:spChg chg="mod">
            <ac:chgData name="Grace, Morgan (Brisbane)" userId="221d5f7b-4a46-4bd5-bdf1-698d3a91c208" providerId="ADAL" clId="{D90324C1-6CE4-4C28-B886-AED0B666B37F}" dt="2024-06-06T05:13:56.850" v="43337" actId="947"/>
            <ac:spMkLst>
              <pc:docMk/>
              <pc:sldMasterMk cId="941904229" sldId="2147484241"/>
              <pc:sldLayoutMk cId="955511793" sldId="2147484265"/>
              <ac:spMk id="81" creationId="{F8BC82AD-B257-92EC-9323-6D69B295BA67}"/>
            </ac:spMkLst>
          </pc:spChg>
          <pc:spChg chg="mod">
            <ac:chgData name="Grace, Morgan (Brisbane)" userId="221d5f7b-4a46-4bd5-bdf1-698d3a91c208" providerId="ADAL" clId="{D90324C1-6CE4-4C28-B886-AED0B666B37F}" dt="2024-06-06T05:13:56.835" v="43335" actId="947"/>
            <ac:spMkLst>
              <pc:docMk/>
              <pc:sldMasterMk cId="941904229" sldId="2147484241"/>
              <pc:sldLayoutMk cId="955511793" sldId="2147484265"/>
              <ac:spMk id="82" creationId="{0B73149D-17CF-54CE-92D9-537CCC9B51F6}"/>
            </ac:spMkLst>
          </pc:spChg>
          <pc:spChg chg="mod">
            <ac:chgData name="Grace, Morgan (Brisbane)" userId="221d5f7b-4a46-4bd5-bdf1-698d3a91c208" providerId="ADAL" clId="{D90324C1-6CE4-4C28-B886-AED0B666B37F}" dt="2024-06-06T05:13:56.899" v="43405" actId="947"/>
            <ac:spMkLst>
              <pc:docMk/>
              <pc:sldMasterMk cId="941904229" sldId="2147484241"/>
              <pc:sldLayoutMk cId="955511793" sldId="2147484265"/>
              <ac:spMk id="83" creationId="{BB1B8AB7-65D9-D736-467B-682E656FD217}"/>
            </ac:spMkLst>
          </pc:spChg>
          <pc:spChg chg="mod">
            <ac:chgData name="Grace, Morgan (Brisbane)" userId="221d5f7b-4a46-4bd5-bdf1-698d3a91c208" providerId="ADAL" clId="{D90324C1-6CE4-4C28-B886-AED0B666B37F}" dt="2024-06-06T05:13:56.899" v="43403" actId="947"/>
            <ac:spMkLst>
              <pc:docMk/>
              <pc:sldMasterMk cId="941904229" sldId="2147484241"/>
              <pc:sldLayoutMk cId="955511793" sldId="2147484265"/>
              <ac:spMk id="84" creationId="{C4B99DA8-F9EE-259C-C3A8-73E91B0CFEC1}"/>
            </ac:spMkLst>
          </pc:spChg>
          <pc:spChg chg="mod">
            <ac:chgData name="Grace, Morgan (Brisbane)" userId="221d5f7b-4a46-4bd5-bdf1-698d3a91c208" providerId="ADAL" clId="{D90324C1-6CE4-4C28-B886-AED0B666B37F}" dt="2024-06-06T05:13:56.899" v="43401" actId="947"/>
            <ac:spMkLst>
              <pc:docMk/>
              <pc:sldMasterMk cId="941904229" sldId="2147484241"/>
              <pc:sldLayoutMk cId="955511793" sldId="2147484265"/>
              <ac:spMk id="85" creationId="{310BEC54-00B5-36FC-6236-119F49727090}"/>
            </ac:spMkLst>
          </pc:spChg>
          <pc:spChg chg="mod">
            <ac:chgData name="Grace, Morgan (Brisbane)" userId="221d5f7b-4a46-4bd5-bdf1-698d3a91c208" providerId="ADAL" clId="{D90324C1-6CE4-4C28-B886-AED0B666B37F}" dt="2024-06-06T05:13:56.884" v="43399" actId="947"/>
            <ac:spMkLst>
              <pc:docMk/>
              <pc:sldMasterMk cId="941904229" sldId="2147484241"/>
              <pc:sldLayoutMk cId="955511793" sldId="2147484265"/>
              <ac:spMk id="86" creationId="{A362D657-F1AF-60A2-A43B-417EF0271EB4}"/>
            </ac:spMkLst>
          </pc:spChg>
          <pc:spChg chg="mod">
            <ac:chgData name="Grace, Morgan (Brisbane)" userId="221d5f7b-4a46-4bd5-bdf1-698d3a91c208" providerId="ADAL" clId="{D90324C1-6CE4-4C28-B886-AED0B666B37F}" dt="2024-06-06T05:13:56.884" v="43397" actId="947"/>
            <ac:spMkLst>
              <pc:docMk/>
              <pc:sldMasterMk cId="941904229" sldId="2147484241"/>
              <pc:sldLayoutMk cId="955511793" sldId="2147484265"/>
              <ac:spMk id="87" creationId="{DD6CBD68-9671-2415-6318-44FB41731B28}"/>
            </ac:spMkLst>
          </pc:spChg>
          <pc:spChg chg="mod">
            <ac:chgData name="Grace, Morgan (Brisbane)" userId="221d5f7b-4a46-4bd5-bdf1-698d3a91c208" providerId="ADAL" clId="{D90324C1-6CE4-4C28-B886-AED0B666B37F}" dt="2024-06-06T05:13:56.884" v="43395" actId="947"/>
            <ac:spMkLst>
              <pc:docMk/>
              <pc:sldMasterMk cId="941904229" sldId="2147484241"/>
              <pc:sldLayoutMk cId="955511793" sldId="2147484265"/>
              <ac:spMk id="88" creationId="{98A63FF3-9F45-4D02-4308-E8E4D34400D7}"/>
            </ac:spMkLst>
          </pc:spChg>
          <pc:spChg chg="mod">
            <ac:chgData name="Grace, Morgan (Brisbane)" userId="221d5f7b-4a46-4bd5-bdf1-698d3a91c208" providerId="ADAL" clId="{D90324C1-6CE4-4C28-B886-AED0B666B37F}" dt="2024-06-06T05:13:56.884" v="43393" actId="947"/>
            <ac:spMkLst>
              <pc:docMk/>
              <pc:sldMasterMk cId="941904229" sldId="2147484241"/>
              <pc:sldLayoutMk cId="955511793" sldId="2147484265"/>
              <ac:spMk id="89" creationId="{859A7E77-B554-E3C6-DC32-9D6FE609E53E}"/>
            </ac:spMkLst>
          </pc:spChg>
          <pc:spChg chg="mod">
            <ac:chgData name="Grace, Morgan (Brisbane)" userId="221d5f7b-4a46-4bd5-bdf1-698d3a91c208" providerId="ADAL" clId="{D90324C1-6CE4-4C28-B886-AED0B666B37F}" dt="2024-06-06T05:13:56.884" v="43391" actId="947"/>
            <ac:spMkLst>
              <pc:docMk/>
              <pc:sldMasterMk cId="941904229" sldId="2147484241"/>
              <pc:sldLayoutMk cId="955511793" sldId="2147484265"/>
              <ac:spMk id="90" creationId="{B9D581B2-7572-7F5A-7426-7C5F96F35E0B}"/>
            </ac:spMkLst>
          </pc:spChg>
          <pc:spChg chg="mod">
            <ac:chgData name="Grace, Morgan (Brisbane)" userId="221d5f7b-4a46-4bd5-bdf1-698d3a91c208" providerId="ADAL" clId="{D90324C1-6CE4-4C28-B886-AED0B666B37F}" dt="2024-06-06T05:13:56.884" v="43389" actId="947"/>
            <ac:spMkLst>
              <pc:docMk/>
              <pc:sldMasterMk cId="941904229" sldId="2147484241"/>
              <pc:sldLayoutMk cId="955511793" sldId="2147484265"/>
              <ac:spMk id="91" creationId="{A594D5C6-3666-BA27-F90F-5569A64E74ED}"/>
            </ac:spMkLst>
          </pc:spChg>
          <pc:spChg chg="mod">
            <ac:chgData name="Grace, Morgan (Brisbane)" userId="221d5f7b-4a46-4bd5-bdf1-698d3a91c208" providerId="ADAL" clId="{D90324C1-6CE4-4C28-B886-AED0B666B37F}" dt="2024-06-06T05:13:56.899" v="43417" actId="947"/>
            <ac:spMkLst>
              <pc:docMk/>
              <pc:sldMasterMk cId="941904229" sldId="2147484241"/>
              <pc:sldLayoutMk cId="955511793" sldId="2147484265"/>
              <ac:spMk id="92" creationId="{77C6D4E1-DC17-46A2-C113-74E560B59985}"/>
            </ac:spMkLst>
          </pc:spChg>
          <pc:spChg chg="mod">
            <ac:chgData name="Grace, Morgan (Brisbane)" userId="221d5f7b-4a46-4bd5-bdf1-698d3a91c208" providerId="ADAL" clId="{D90324C1-6CE4-4C28-B886-AED0B666B37F}" dt="2024-06-06T05:13:56.899" v="43415" actId="947"/>
            <ac:spMkLst>
              <pc:docMk/>
              <pc:sldMasterMk cId="941904229" sldId="2147484241"/>
              <pc:sldLayoutMk cId="955511793" sldId="2147484265"/>
              <ac:spMk id="93" creationId="{0D01A321-4306-F3DE-73A2-6B82F5822608}"/>
            </ac:spMkLst>
          </pc:spChg>
          <pc:spChg chg="mod">
            <ac:chgData name="Grace, Morgan (Brisbane)" userId="221d5f7b-4a46-4bd5-bdf1-698d3a91c208" providerId="ADAL" clId="{D90324C1-6CE4-4C28-B886-AED0B666B37F}" dt="2024-06-06T05:13:56.899" v="43413" actId="947"/>
            <ac:spMkLst>
              <pc:docMk/>
              <pc:sldMasterMk cId="941904229" sldId="2147484241"/>
              <pc:sldLayoutMk cId="955511793" sldId="2147484265"/>
              <ac:spMk id="94" creationId="{C0CE406F-F25B-993A-A8AD-819A8EC59219}"/>
            </ac:spMkLst>
          </pc:spChg>
          <pc:spChg chg="mod">
            <ac:chgData name="Grace, Morgan (Brisbane)" userId="221d5f7b-4a46-4bd5-bdf1-698d3a91c208" providerId="ADAL" clId="{D90324C1-6CE4-4C28-B886-AED0B666B37F}" dt="2024-06-06T05:13:56.899" v="43411" actId="947"/>
            <ac:spMkLst>
              <pc:docMk/>
              <pc:sldMasterMk cId="941904229" sldId="2147484241"/>
              <pc:sldLayoutMk cId="955511793" sldId="2147484265"/>
              <ac:spMk id="95" creationId="{639CB797-DBFF-8242-0349-EF597AA1940B}"/>
            </ac:spMkLst>
          </pc:spChg>
          <pc:spChg chg="mod">
            <ac:chgData name="Grace, Morgan (Brisbane)" userId="221d5f7b-4a46-4bd5-bdf1-698d3a91c208" providerId="ADAL" clId="{D90324C1-6CE4-4C28-B886-AED0B666B37F}" dt="2024-06-06T05:13:56.899" v="43409" actId="947"/>
            <ac:spMkLst>
              <pc:docMk/>
              <pc:sldMasterMk cId="941904229" sldId="2147484241"/>
              <pc:sldLayoutMk cId="955511793" sldId="2147484265"/>
              <ac:spMk id="96" creationId="{A0D02F32-231B-7297-E874-B471765CBB6D}"/>
            </ac:spMkLst>
          </pc:spChg>
          <pc:spChg chg="mod">
            <ac:chgData name="Grace, Morgan (Brisbane)" userId="221d5f7b-4a46-4bd5-bdf1-698d3a91c208" providerId="ADAL" clId="{D90324C1-6CE4-4C28-B886-AED0B666B37F}" dt="2024-06-06T05:13:56.899" v="43407" actId="947"/>
            <ac:spMkLst>
              <pc:docMk/>
              <pc:sldMasterMk cId="941904229" sldId="2147484241"/>
              <pc:sldLayoutMk cId="955511793" sldId="2147484265"/>
              <ac:spMk id="97" creationId="{8FBB212B-AF9C-FC0F-6327-3E6D9928A390}"/>
            </ac:spMkLst>
          </pc:spChg>
        </pc:sldLayoutChg>
        <pc:sldLayoutChg chg="modSp mod">
          <pc:chgData name="Grace, Morgan (Brisbane)" userId="221d5f7b-4a46-4bd5-bdf1-698d3a91c208" providerId="ADAL" clId="{D90324C1-6CE4-4C28-B886-AED0B666B37F}" dt="2024-06-06T05:13:56.666" v="43142" actId="947"/>
          <pc:sldLayoutMkLst>
            <pc:docMk/>
            <pc:sldMasterMk cId="941904229" sldId="2147484241"/>
            <pc:sldLayoutMk cId="586985778" sldId="2147484266"/>
          </pc:sldLayoutMkLst>
          <pc:spChg chg="mod">
            <ac:chgData name="Grace, Morgan (Brisbane)" userId="221d5f7b-4a46-4bd5-bdf1-698d3a91c208" providerId="ADAL" clId="{D90324C1-6CE4-4C28-B886-AED0B666B37F}" dt="2024-06-06T05:13:56.634" v="43112" actId="947"/>
            <ac:spMkLst>
              <pc:docMk/>
              <pc:sldMasterMk cId="941904229" sldId="2147484241"/>
              <pc:sldLayoutMk cId="586985778" sldId="2147484266"/>
              <ac:spMk id="100" creationId="{81BDB15F-60DA-068E-9D78-F6CA3002A3B2}"/>
            </ac:spMkLst>
          </pc:spChg>
          <pc:spChg chg="mod">
            <ac:chgData name="Grace, Morgan (Brisbane)" userId="221d5f7b-4a46-4bd5-bdf1-698d3a91c208" providerId="ADAL" clId="{D90324C1-6CE4-4C28-B886-AED0B666B37F}" dt="2024-06-06T05:13:56.634" v="43110" actId="947"/>
            <ac:spMkLst>
              <pc:docMk/>
              <pc:sldMasterMk cId="941904229" sldId="2147484241"/>
              <pc:sldLayoutMk cId="586985778" sldId="2147484266"/>
              <ac:spMk id="101" creationId="{26D4F2D9-7C32-2BF6-6F8B-8F99395DD815}"/>
            </ac:spMkLst>
          </pc:spChg>
          <pc:spChg chg="mod">
            <ac:chgData name="Grace, Morgan (Brisbane)" userId="221d5f7b-4a46-4bd5-bdf1-698d3a91c208" providerId="ADAL" clId="{D90324C1-6CE4-4C28-B886-AED0B666B37F}" dt="2024-06-06T05:13:56.634" v="43108" actId="947"/>
            <ac:spMkLst>
              <pc:docMk/>
              <pc:sldMasterMk cId="941904229" sldId="2147484241"/>
              <pc:sldLayoutMk cId="586985778" sldId="2147484266"/>
              <ac:spMk id="102" creationId="{E207A851-36B6-B0A4-D2C5-885C4A7F2A68}"/>
            </ac:spMkLst>
          </pc:spChg>
          <pc:spChg chg="mod">
            <ac:chgData name="Grace, Morgan (Brisbane)" userId="221d5f7b-4a46-4bd5-bdf1-698d3a91c208" providerId="ADAL" clId="{D90324C1-6CE4-4C28-B886-AED0B666B37F}" dt="2024-06-06T05:13:56.634" v="43106" actId="947"/>
            <ac:spMkLst>
              <pc:docMk/>
              <pc:sldMasterMk cId="941904229" sldId="2147484241"/>
              <pc:sldLayoutMk cId="586985778" sldId="2147484266"/>
              <ac:spMk id="103" creationId="{39F96361-7BB1-89CC-B7BB-1F09AEF40A0A}"/>
            </ac:spMkLst>
          </pc:spChg>
          <pc:spChg chg="mod">
            <ac:chgData name="Grace, Morgan (Brisbane)" userId="221d5f7b-4a46-4bd5-bdf1-698d3a91c208" providerId="ADAL" clId="{D90324C1-6CE4-4C28-B886-AED0B666B37F}" dt="2024-06-06T05:13:56.634" v="43104" actId="947"/>
            <ac:spMkLst>
              <pc:docMk/>
              <pc:sldMasterMk cId="941904229" sldId="2147484241"/>
              <pc:sldLayoutMk cId="586985778" sldId="2147484266"/>
              <ac:spMk id="104" creationId="{685EB9F5-FEAF-6540-5701-146D8B4285C8}"/>
            </ac:spMkLst>
          </pc:spChg>
          <pc:spChg chg="mod">
            <ac:chgData name="Grace, Morgan (Brisbane)" userId="221d5f7b-4a46-4bd5-bdf1-698d3a91c208" providerId="ADAL" clId="{D90324C1-6CE4-4C28-B886-AED0B666B37F}" dt="2024-06-06T05:13:56.634" v="43102" actId="947"/>
            <ac:spMkLst>
              <pc:docMk/>
              <pc:sldMasterMk cId="941904229" sldId="2147484241"/>
              <pc:sldLayoutMk cId="586985778" sldId="2147484266"/>
              <ac:spMk id="105" creationId="{7A3B0A22-C870-E82D-1524-9292110DE75B}"/>
            </ac:spMkLst>
          </pc:spChg>
          <pc:spChg chg="mod">
            <ac:chgData name="Grace, Morgan (Brisbane)" userId="221d5f7b-4a46-4bd5-bdf1-698d3a91c208" providerId="ADAL" clId="{D90324C1-6CE4-4C28-B886-AED0B666B37F}" dt="2024-06-06T05:13:56.628" v="43100" actId="947"/>
            <ac:spMkLst>
              <pc:docMk/>
              <pc:sldMasterMk cId="941904229" sldId="2147484241"/>
              <pc:sldLayoutMk cId="586985778" sldId="2147484266"/>
              <ac:spMk id="106" creationId="{97D4DA06-DA83-684C-CA14-80883912DAA0}"/>
            </ac:spMkLst>
          </pc:spChg>
          <pc:spChg chg="mod">
            <ac:chgData name="Grace, Morgan (Brisbane)" userId="221d5f7b-4a46-4bd5-bdf1-698d3a91c208" providerId="ADAL" clId="{D90324C1-6CE4-4C28-B886-AED0B666B37F}" dt="2024-06-06T05:13:56.628" v="43098" actId="947"/>
            <ac:spMkLst>
              <pc:docMk/>
              <pc:sldMasterMk cId="941904229" sldId="2147484241"/>
              <pc:sldLayoutMk cId="586985778" sldId="2147484266"/>
              <ac:spMk id="107" creationId="{C45C2808-04D1-E585-A2AE-7F8FFA4F7EB8}"/>
            </ac:spMkLst>
          </pc:spChg>
          <pc:spChg chg="mod">
            <ac:chgData name="Grace, Morgan (Brisbane)" userId="221d5f7b-4a46-4bd5-bdf1-698d3a91c208" providerId="ADAL" clId="{D90324C1-6CE4-4C28-B886-AED0B666B37F}" dt="2024-06-06T05:13:56.628" v="43096" actId="947"/>
            <ac:spMkLst>
              <pc:docMk/>
              <pc:sldMasterMk cId="941904229" sldId="2147484241"/>
              <pc:sldLayoutMk cId="586985778" sldId="2147484266"/>
              <ac:spMk id="108" creationId="{5609EA16-8C66-8EAB-397D-DDDDB10FCF3E}"/>
            </ac:spMkLst>
          </pc:spChg>
          <pc:spChg chg="mod">
            <ac:chgData name="Grace, Morgan (Brisbane)" userId="221d5f7b-4a46-4bd5-bdf1-698d3a91c208" providerId="ADAL" clId="{D90324C1-6CE4-4C28-B886-AED0B666B37F}" dt="2024-06-06T05:13:56.628" v="43094" actId="947"/>
            <ac:spMkLst>
              <pc:docMk/>
              <pc:sldMasterMk cId="941904229" sldId="2147484241"/>
              <pc:sldLayoutMk cId="586985778" sldId="2147484266"/>
              <ac:spMk id="109" creationId="{37667BEB-3352-2A44-C063-F220F8511C26}"/>
            </ac:spMkLst>
          </pc:spChg>
          <pc:spChg chg="mod">
            <ac:chgData name="Grace, Morgan (Brisbane)" userId="221d5f7b-4a46-4bd5-bdf1-698d3a91c208" providerId="ADAL" clId="{D90324C1-6CE4-4C28-B886-AED0B666B37F}" dt="2024-06-06T05:13:56.612" v="43092" actId="947"/>
            <ac:spMkLst>
              <pc:docMk/>
              <pc:sldMasterMk cId="941904229" sldId="2147484241"/>
              <pc:sldLayoutMk cId="586985778" sldId="2147484266"/>
              <ac:spMk id="110" creationId="{C4D7A3F7-C13A-B820-3026-E39A75DC9BFB}"/>
            </ac:spMkLst>
          </pc:spChg>
          <pc:spChg chg="mod">
            <ac:chgData name="Grace, Morgan (Brisbane)" userId="221d5f7b-4a46-4bd5-bdf1-698d3a91c208" providerId="ADAL" clId="{D90324C1-6CE4-4C28-B886-AED0B666B37F}" dt="2024-06-06T05:13:56.612" v="43090" actId="947"/>
            <ac:spMkLst>
              <pc:docMk/>
              <pc:sldMasterMk cId="941904229" sldId="2147484241"/>
              <pc:sldLayoutMk cId="586985778" sldId="2147484266"/>
              <ac:spMk id="111" creationId="{A81B5E6F-7DF1-A8B4-F14D-709CC852C8BA}"/>
            </ac:spMkLst>
          </pc:spChg>
          <pc:spChg chg="mod">
            <ac:chgData name="Grace, Morgan (Brisbane)" userId="221d5f7b-4a46-4bd5-bdf1-698d3a91c208" providerId="ADAL" clId="{D90324C1-6CE4-4C28-B886-AED0B666B37F}" dt="2024-06-06T05:13:56.612" v="43088" actId="947"/>
            <ac:spMkLst>
              <pc:docMk/>
              <pc:sldMasterMk cId="941904229" sldId="2147484241"/>
              <pc:sldLayoutMk cId="586985778" sldId="2147484266"/>
              <ac:spMk id="112" creationId="{399BC73D-01BA-3C2D-7DDD-A4857C00204C}"/>
            </ac:spMkLst>
          </pc:spChg>
          <pc:spChg chg="mod">
            <ac:chgData name="Grace, Morgan (Brisbane)" userId="221d5f7b-4a46-4bd5-bdf1-698d3a91c208" providerId="ADAL" clId="{D90324C1-6CE4-4C28-B886-AED0B666B37F}" dt="2024-06-06T05:13:56.612" v="43086" actId="947"/>
            <ac:spMkLst>
              <pc:docMk/>
              <pc:sldMasterMk cId="941904229" sldId="2147484241"/>
              <pc:sldLayoutMk cId="586985778" sldId="2147484266"/>
              <ac:spMk id="113" creationId="{D469163A-1A44-53E8-C356-20B9A8CB52BD}"/>
            </ac:spMkLst>
          </pc:spChg>
          <pc:spChg chg="mod">
            <ac:chgData name="Grace, Morgan (Brisbane)" userId="221d5f7b-4a46-4bd5-bdf1-698d3a91c208" providerId="ADAL" clId="{D90324C1-6CE4-4C28-B886-AED0B666B37F}" dt="2024-06-06T05:13:56.612" v="43084" actId="947"/>
            <ac:spMkLst>
              <pc:docMk/>
              <pc:sldMasterMk cId="941904229" sldId="2147484241"/>
              <pc:sldLayoutMk cId="586985778" sldId="2147484266"/>
              <ac:spMk id="114" creationId="{343FE43C-9658-DEDB-38D6-C5809C0E8A3F}"/>
            </ac:spMkLst>
          </pc:spChg>
          <pc:spChg chg="mod">
            <ac:chgData name="Grace, Morgan (Brisbane)" userId="221d5f7b-4a46-4bd5-bdf1-698d3a91c208" providerId="ADAL" clId="{D90324C1-6CE4-4C28-B886-AED0B666B37F}" dt="2024-06-06T05:13:56.612" v="43082" actId="947"/>
            <ac:spMkLst>
              <pc:docMk/>
              <pc:sldMasterMk cId="941904229" sldId="2147484241"/>
              <pc:sldLayoutMk cId="586985778" sldId="2147484266"/>
              <ac:spMk id="115" creationId="{69429EA5-5B7A-B65C-2AF1-0E61EC2FAFB7}"/>
            </ac:spMkLst>
          </pc:spChg>
          <pc:spChg chg="mod">
            <ac:chgData name="Grace, Morgan (Brisbane)" userId="221d5f7b-4a46-4bd5-bdf1-698d3a91c208" providerId="ADAL" clId="{D90324C1-6CE4-4C28-B886-AED0B666B37F}" dt="2024-06-06T05:13:56.612" v="43080" actId="947"/>
            <ac:spMkLst>
              <pc:docMk/>
              <pc:sldMasterMk cId="941904229" sldId="2147484241"/>
              <pc:sldLayoutMk cId="586985778" sldId="2147484266"/>
              <ac:spMk id="116" creationId="{1E3B8889-92E2-9687-91F2-F9DEBEB29B29}"/>
            </ac:spMkLst>
          </pc:spChg>
          <pc:spChg chg="mod">
            <ac:chgData name="Grace, Morgan (Brisbane)" userId="221d5f7b-4a46-4bd5-bdf1-698d3a91c208" providerId="ADAL" clId="{D90324C1-6CE4-4C28-B886-AED0B666B37F}" dt="2024-06-06T05:13:56.612" v="43078" actId="947"/>
            <ac:spMkLst>
              <pc:docMk/>
              <pc:sldMasterMk cId="941904229" sldId="2147484241"/>
              <pc:sldLayoutMk cId="586985778" sldId="2147484266"/>
              <ac:spMk id="117" creationId="{9E838223-530D-95A1-B100-2175D417A86E}"/>
            </ac:spMkLst>
          </pc:spChg>
          <pc:spChg chg="mod">
            <ac:chgData name="Grace, Morgan (Brisbane)" userId="221d5f7b-4a46-4bd5-bdf1-698d3a91c208" providerId="ADAL" clId="{D90324C1-6CE4-4C28-B886-AED0B666B37F}" dt="2024-06-06T05:13:56.612" v="43076" actId="947"/>
            <ac:spMkLst>
              <pc:docMk/>
              <pc:sldMasterMk cId="941904229" sldId="2147484241"/>
              <pc:sldLayoutMk cId="586985778" sldId="2147484266"/>
              <ac:spMk id="118" creationId="{5E427475-23C4-E47B-3489-04CC653FB9AB}"/>
            </ac:spMkLst>
          </pc:spChg>
          <pc:spChg chg="mod">
            <ac:chgData name="Grace, Morgan (Brisbane)" userId="221d5f7b-4a46-4bd5-bdf1-698d3a91c208" providerId="ADAL" clId="{D90324C1-6CE4-4C28-B886-AED0B666B37F}" dt="2024-06-06T05:13:56.612" v="43074" actId="947"/>
            <ac:spMkLst>
              <pc:docMk/>
              <pc:sldMasterMk cId="941904229" sldId="2147484241"/>
              <pc:sldLayoutMk cId="586985778" sldId="2147484266"/>
              <ac:spMk id="119" creationId="{FAD47BA3-A8BD-25BA-2118-C83EA24BEF32}"/>
            </ac:spMkLst>
          </pc:spChg>
          <pc:spChg chg="mod">
            <ac:chgData name="Grace, Morgan (Brisbane)" userId="221d5f7b-4a46-4bd5-bdf1-698d3a91c208" providerId="ADAL" clId="{D90324C1-6CE4-4C28-B886-AED0B666B37F}" dt="2024-06-06T05:13:56.597" v="43072" actId="947"/>
            <ac:spMkLst>
              <pc:docMk/>
              <pc:sldMasterMk cId="941904229" sldId="2147484241"/>
              <pc:sldLayoutMk cId="586985778" sldId="2147484266"/>
              <ac:spMk id="120" creationId="{C0271BD8-A8E1-62AC-73A4-EED30BE7C2C2}"/>
            </ac:spMkLst>
          </pc:spChg>
          <pc:spChg chg="mod">
            <ac:chgData name="Grace, Morgan (Brisbane)" userId="221d5f7b-4a46-4bd5-bdf1-698d3a91c208" providerId="ADAL" clId="{D90324C1-6CE4-4C28-B886-AED0B666B37F}" dt="2024-06-06T05:13:56.597" v="43070" actId="947"/>
            <ac:spMkLst>
              <pc:docMk/>
              <pc:sldMasterMk cId="941904229" sldId="2147484241"/>
              <pc:sldLayoutMk cId="586985778" sldId="2147484266"/>
              <ac:spMk id="121" creationId="{D4B50E99-9C48-DF82-653E-A4FC3A6E16C5}"/>
            </ac:spMkLst>
          </pc:spChg>
          <pc:spChg chg="mod">
            <ac:chgData name="Grace, Morgan (Brisbane)" userId="221d5f7b-4a46-4bd5-bdf1-698d3a91c208" providerId="ADAL" clId="{D90324C1-6CE4-4C28-B886-AED0B666B37F}" dt="2024-06-06T05:13:56.597" v="43068" actId="947"/>
            <ac:spMkLst>
              <pc:docMk/>
              <pc:sldMasterMk cId="941904229" sldId="2147484241"/>
              <pc:sldLayoutMk cId="586985778" sldId="2147484266"/>
              <ac:spMk id="122" creationId="{D7479843-1E1B-4349-9299-515081CE9D5C}"/>
            </ac:spMkLst>
          </pc:spChg>
          <pc:spChg chg="mod">
            <ac:chgData name="Grace, Morgan (Brisbane)" userId="221d5f7b-4a46-4bd5-bdf1-698d3a91c208" providerId="ADAL" clId="{D90324C1-6CE4-4C28-B886-AED0B666B37F}" dt="2024-06-06T05:13:56.597" v="43066" actId="947"/>
            <ac:spMkLst>
              <pc:docMk/>
              <pc:sldMasterMk cId="941904229" sldId="2147484241"/>
              <pc:sldLayoutMk cId="586985778" sldId="2147484266"/>
              <ac:spMk id="123" creationId="{FDE93787-636F-3492-FECE-B4F737B2C378}"/>
            </ac:spMkLst>
          </pc:spChg>
          <pc:spChg chg="mod">
            <ac:chgData name="Grace, Morgan (Brisbane)" userId="221d5f7b-4a46-4bd5-bdf1-698d3a91c208" providerId="ADAL" clId="{D90324C1-6CE4-4C28-B886-AED0B666B37F}" dt="2024-06-06T05:13:56.597" v="43064" actId="947"/>
            <ac:spMkLst>
              <pc:docMk/>
              <pc:sldMasterMk cId="941904229" sldId="2147484241"/>
              <pc:sldLayoutMk cId="586985778" sldId="2147484266"/>
              <ac:spMk id="124" creationId="{FA22C8AF-C670-4C04-8734-0C25F75D04C5}"/>
            </ac:spMkLst>
          </pc:spChg>
          <pc:spChg chg="mod">
            <ac:chgData name="Grace, Morgan (Brisbane)" userId="221d5f7b-4a46-4bd5-bdf1-698d3a91c208" providerId="ADAL" clId="{D90324C1-6CE4-4C28-B886-AED0B666B37F}" dt="2024-06-06T05:13:56.597" v="43062" actId="947"/>
            <ac:spMkLst>
              <pc:docMk/>
              <pc:sldMasterMk cId="941904229" sldId="2147484241"/>
              <pc:sldLayoutMk cId="586985778" sldId="2147484266"/>
              <ac:spMk id="125" creationId="{51F0B7EF-6E75-D512-7E6F-D75E83FEF8A3}"/>
            </ac:spMkLst>
          </pc:spChg>
          <pc:spChg chg="mod">
            <ac:chgData name="Grace, Morgan (Brisbane)" userId="221d5f7b-4a46-4bd5-bdf1-698d3a91c208" providerId="ADAL" clId="{D90324C1-6CE4-4C28-B886-AED0B666B37F}" dt="2024-06-06T05:13:56.597" v="43060" actId="947"/>
            <ac:spMkLst>
              <pc:docMk/>
              <pc:sldMasterMk cId="941904229" sldId="2147484241"/>
              <pc:sldLayoutMk cId="586985778" sldId="2147484266"/>
              <ac:spMk id="126" creationId="{2A6F9CF2-A4E0-9A71-B67F-155EED213DCB}"/>
            </ac:spMkLst>
          </pc:spChg>
          <pc:spChg chg="mod">
            <ac:chgData name="Grace, Morgan (Brisbane)" userId="221d5f7b-4a46-4bd5-bdf1-698d3a91c208" providerId="ADAL" clId="{D90324C1-6CE4-4C28-B886-AED0B666B37F}" dt="2024-06-06T05:13:56.650" v="43130" actId="947"/>
            <ac:spMkLst>
              <pc:docMk/>
              <pc:sldMasterMk cId="941904229" sldId="2147484241"/>
              <pc:sldLayoutMk cId="586985778" sldId="2147484266"/>
              <ac:spMk id="127" creationId="{30A2FFF5-AD4D-5D97-8859-12026EBD8BFD}"/>
            </ac:spMkLst>
          </pc:spChg>
          <pc:spChg chg="mod">
            <ac:chgData name="Grace, Morgan (Brisbane)" userId="221d5f7b-4a46-4bd5-bdf1-698d3a91c208" providerId="ADAL" clId="{D90324C1-6CE4-4C28-B886-AED0B666B37F}" dt="2024-06-06T05:13:56.650" v="43128" actId="947"/>
            <ac:spMkLst>
              <pc:docMk/>
              <pc:sldMasterMk cId="941904229" sldId="2147484241"/>
              <pc:sldLayoutMk cId="586985778" sldId="2147484266"/>
              <ac:spMk id="128" creationId="{9745D2E8-4F28-112E-BA3D-7CEA9718EAE3}"/>
            </ac:spMkLst>
          </pc:spChg>
          <pc:spChg chg="mod">
            <ac:chgData name="Grace, Morgan (Brisbane)" userId="221d5f7b-4a46-4bd5-bdf1-698d3a91c208" providerId="ADAL" clId="{D90324C1-6CE4-4C28-B886-AED0B666B37F}" dt="2024-06-06T05:13:56.650" v="43126" actId="947"/>
            <ac:spMkLst>
              <pc:docMk/>
              <pc:sldMasterMk cId="941904229" sldId="2147484241"/>
              <pc:sldLayoutMk cId="586985778" sldId="2147484266"/>
              <ac:spMk id="129" creationId="{00F01EC0-1DE4-934F-BFE6-01C64AF07808}"/>
            </ac:spMkLst>
          </pc:spChg>
          <pc:spChg chg="mod">
            <ac:chgData name="Grace, Morgan (Brisbane)" userId="221d5f7b-4a46-4bd5-bdf1-698d3a91c208" providerId="ADAL" clId="{D90324C1-6CE4-4C28-B886-AED0B666B37F}" dt="2024-06-06T05:13:56.650" v="43124" actId="947"/>
            <ac:spMkLst>
              <pc:docMk/>
              <pc:sldMasterMk cId="941904229" sldId="2147484241"/>
              <pc:sldLayoutMk cId="586985778" sldId="2147484266"/>
              <ac:spMk id="130" creationId="{7FC8622D-9506-7340-CA5D-3780A721C8E9}"/>
            </ac:spMkLst>
          </pc:spChg>
          <pc:spChg chg="mod">
            <ac:chgData name="Grace, Morgan (Brisbane)" userId="221d5f7b-4a46-4bd5-bdf1-698d3a91c208" providerId="ADAL" clId="{D90324C1-6CE4-4C28-B886-AED0B666B37F}" dt="2024-06-06T05:13:56.634" v="43122" actId="947"/>
            <ac:spMkLst>
              <pc:docMk/>
              <pc:sldMasterMk cId="941904229" sldId="2147484241"/>
              <pc:sldLayoutMk cId="586985778" sldId="2147484266"/>
              <ac:spMk id="131" creationId="{370A55E3-8BB7-CBA3-9281-A3F583477079}"/>
            </ac:spMkLst>
          </pc:spChg>
          <pc:spChg chg="mod">
            <ac:chgData name="Grace, Morgan (Brisbane)" userId="221d5f7b-4a46-4bd5-bdf1-698d3a91c208" providerId="ADAL" clId="{D90324C1-6CE4-4C28-B886-AED0B666B37F}" dt="2024-06-06T05:13:56.634" v="43120" actId="947"/>
            <ac:spMkLst>
              <pc:docMk/>
              <pc:sldMasterMk cId="941904229" sldId="2147484241"/>
              <pc:sldLayoutMk cId="586985778" sldId="2147484266"/>
              <ac:spMk id="132" creationId="{1729B4EE-C4E1-4470-61B5-F7B26BA8407A}"/>
            </ac:spMkLst>
          </pc:spChg>
          <pc:spChg chg="mod">
            <ac:chgData name="Grace, Morgan (Brisbane)" userId="221d5f7b-4a46-4bd5-bdf1-698d3a91c208" providerId="ADAL" clId="{D90324C1-6CE4-4C28-B886-AED0B666B37F}" dt="2024-06-06T05:13:56.634" v="43118" actId="947"/>
            <ac:spMkLst>
              <pc:docMk/>
              <pc:sldMasterMk cId="941904229" sldId="2147484241"/>
              <pc:sldLayoutMk cId="586985778" sldId="2147484266"/>
              <ac:spMk id="133" creationId="{433DA238-480F-8D8D-46DD-6C06A341DB45}"/>
            </ac:spMkLst>
          </pc:spChg>
          <pc:spChg chg="mod">
            <ac:chgData name="Grace, Morgan (Brisbane)" userId="221d5f7b-4a46-4bd5-bdf1-698d3a91c208" providerId="ADAL" clId="{D90324C1-6CE4-4C28-B886-AED0B666B37F}" dt="2024-06-06T05:13:56.634" v="43116" actId="947"/>
            <ac:spMkLst>
              <pc:docMk/>
              <pc:sldMasterMk cId="941904229" sldId="2147484241"/>
              <pc:sldLayoutMk cId="586985778" sldId="2147484266"/>
              <ac:spMk id="134" creationId="{DEA9644D-7417-2780-2B60-E939165A074E}"/>
            </ac:spMkLst>
          </pc:spChg>
          <pc:spChg chg="mod">
            <ac:chgData name="Grace, Morgan (Brisbane)" userId="221d5f7b-4a46-4bd5-bdf1-698d3a91c208" providerId="ADAL" clId="{D90324C1-6CE4-4C28-B886-AED0B666B37F}" dt="2024-06-06T05:13:56.634" v="43114" actId="947"/>
            <ac:spMkLst>
              <pc:docMk/>
              <pc:sldMasterMk cId="941904229" sldId="2147484241"/>
              <pc:sldLayoutMk cId="586985778" sldId="2147484266"/>
              <ac:spMk id="135" creationId="{2C83919B-B05B-0D4C-F676-AE110C0D2A53}"/>
            </ac:spMkLst>
          </pc:spChg>
          <pc:spChg chg="mod">
            <ac:chgData name="Grace, Morgan (Brisbane)" userId="221d5f7b-4a46-4bd5-bdf1-698d3a91c208" providerId="ADAL" clId="{D90324C1-6CE4-4C28-B886-AED0B666B37F}" dt="2024-06-06T05:13:56.666" v="43142" actId="947"/>
            <ac:spMkLst>
              <pc:docMk/>
              <pc:sldMasterMk cId="941904229" sldId="2147484241"/>
              <pc:sldLayoutMk cId="586985778" sldId="2147484266"/>
              <ac:spMk id="136" creationId="{116585D2-33AB-93DC-F7E3-658B5C9088E6}"/>
            </ac:spMkLst>
          </pc:spChg>
          <pc:spChg chg="mod">
            <ac:chgData name="Grace, Morgan (Brisbane)" userId="221d5f7b-4a46-4bd5-bdf1-698d3a91c208" providerId="ADAL" clId="{D90324C1-6CE4-4C28-B886-AED0B666B37F}" dt="2024-06-06T05:13:56.650" v="43140" actId="947"/>
            <ac:spMkLst>
              <pc:docMk/>
              <pc:sldMasterMk cId="941904229" sldId="2147484241"/>
              <pc:sldLayoutMk cId="586985778" sldId="2147484266"/>
              <ac:spMk id="137" creationId="{B82CE324-0660-51D2-D95D-D74C3155386A}"/>
            </ac:spMkLst>
          </pc:spChg>
          <pc:spChg chg="mod">
            <ac:chgData name="Grace, Morgan (Brisbane)" userId="221d5f7b-4a46-4bd5-bdf1-698d3a91c208" providerId="ADAL" clId="{D90324C1-6CE4-4C28-B886-AED0B666B37F}" dt="2024-06-06T05:13:56.650" v="43138" actId="947"/>
            <ac:spMkLst>
              <pc:docMk/>
              <pc:sldMasterMk cId="941904229" sldId="2147484241"/>
              <pc:sldLayoutMk cId="586985778" sldId="2147484266"/>
              <ac:spMk id="138" creationId="{EC899A46-FF19-BF84-95D0-E9D21C133AC2}"/>
            </ac:spMkLst>
          </pc:spChg>
          <pc:spChg chg="mod">
            <ac:chgData name="Grace, Morgan (Brisbane)" userId="221d5f7b-4a46-4bd5-bdf1-698d3a91c208" providerId="ADAL" clId="{D90324C1-6CE4-4C28-B886-AED0B666B37F}" dt="2024-06-06T05:13:56.650" v="43136" actId="947"/>
            <ac:spMkLst>
              <pc:docMk/>
              <pc:sldMasterMk cId="941904229" sldId="2147484241"/>
              <pc:sldLayoutMk cId="586985778" sldId="2147484266"/>
              <ac:spMk id="139" creationId="{97F3CB09-0662-C778-7E13-8AC6F9219EF5}"/>
            </ac:spMkLst>
          </pc:spChg>
          <pc:spChg chg="mod">
            <ac:chgData name="Grace, Morgan (Brisbane)" userId="221d5f7b-4a46-4bd5-bdf1-698d3a91c208" providerId="ADAL" clId="{D90324C1-6CE4-4C28-B886-AED0B666B37F}" dt="2024-06-06T05:13:56.650" v="43134" actId="947"/>
            <ac:spMkLst>
              <pc:docMk/>
              <pc:sldMasterMk cId="941904229" sldId="2147484241"/>
              <pc:sldLayoutMk cId="586985778" sldId="2147484266"/>
              <ac:spMk id="140" creationId="{CA33178C-4390-13B7-5A19-3B584F75E8B2}"/>
            </ac:spMkLst>
          </pc:spChg>
          <pc:spChg chg="mod">
            <ac:chgData name="Grace, Morgan (Brisbane)" userId="221d5f7b-4a46-4bd5-bdf1-698d3a91c208" providerId="ADAL" clId="{D90324C1-6CE4-4C28-B886-AED0B666B37F}" dt="2024-06-06T05:13:56.650" v="43132" actId="947"/>
            <ac:spMkLst>
              <pc:docMk/>
              <pc:sldMasterMk cId="941904229" sldId="2147484241"/>
              <pc:sldLayoutMk cId="586985778" sldId="2147484266"/>
              <ac:spMk id="141" creationId="{626B7EF9-7003-8B4E-9F70-43E3BD25D567}"/>
            </ac:spMkLst>
          </pc:spChg>
        </pc:sldLayoutChg>
        <pc:sldLayoutChg chg="modSp mod">
          <pc:chgData name="Grace, Morgan (Brisbane)" userId="221d5f7b-4a46-4bd5-bdf1-698d3a91c208" providerId="ADAL" clId="{D90324C1-6CE4-4C28-B886-AED0B666B37F}" dt="2024-06-06T05:14:01.532" v="46176"/>
          <pc:sldLayoutMkLst>
            <pc:docMk/>
            <pc:sldMasterMk cId="941904229" sldId="2147484241"/>
            <pc:sldLayoutMk cId="3976612708" sldId="2147484267"/>
          </pc:sldLayoutMkLst>
          <pc:spChg chg="mod">
            <ac:chgData name="Grace, Morgan (Brisbane)" userId="221d5f7b-4a46-4bd5-bdf1-698d3a91c208" providerId="ADAL" clId="{D90324C1-6CE4-4C28-B886-AED0B666B37F}" dt="2024-06-06T05:13:57.012" v="43527" actId="947"/>
            <ac:spMkLst>
              <pc:docMk/>
              <pc:sldMasterMk cId="941904229" sldId="2147484241"/>
              <pc:sldLayoutMk cId="3976612708" sldId="2147484267"/>
              <ac:spMk id="5" creationId="{55533499-4F7E-C8EC-3E02-A4B068E76A5D}"/>
            </ac:spMkLst>
          </pc:spChg>
          <pc:spChg chg="mod">
            <ac:chgData name="Grace, Morgan (Brisbane)" userId="221d5f7b-4a46-4bd5-bdf1-698d3a91c208" providerId="ADAL" clId="{D90324C1-6CE4-4C28-B886-AED0B666B37F}" dt="2024-06-06T05:13:57.014" v="43529" actId="947"/>
            <ac:spMkLst>
              <pc:docMk/>
              <pc:sldMasterMk cId="941904229" sldId="2147484241"/>
              <pc:sldLayoutMk cId="3976612708" sldId="2147484267"/>
              <ac:spMk id="6" creationId="{FF1B5EF7-895D-8702-2EAB-B8BBF8ED57A0}"/>
            </ac:spMkLst>
          </pc:spChg>
          <pc:spChg chg="mod">
            <ac:chgData name="Grace, Morgan (Brisbane)" userId="221d5f7b-4a46-4bd5-bdf1-698d3a91c208" providerId="ADAL" clId="{D90324C1-6CE4-4C28-B886-AED0B666B37F}" dt="2024-06-06T05:13:57.016" v="43531" actId="947"/>
            <ac:spMkLst>
              <pc:docMk/>
              <pc:sldMasterMk cId="941904229" sldId="2147484241"/>
              <pc:sldLayoutMk cId="3976612708" sldId="2147484267"/>
              <ac:spMk id="7" creationId="{6DC4ED7A-2132-0595-A564-64EF46762F1C}"/>
            </ac:spMkLst>
          </pc:spChg>
          <pc:graphicFrameChg chg="mod ord modVis replST">
            <ac:chgData name="Grace, Morgan (Brisbane)" userId="221d5f7b-4a46-4bd5-bdf1-698d3a91c208" providerId="ADAL" clId="{D90324C1-6CE4-4C28-B886-AED0B666B37F}" dt="2024-06-06T05:14:01.532" v="46176"/>
            <ac:graphicFrameMkLst>
              <pc:docMk/>
              <pc:sldMasterMk cId="941904229" sldId="2147484241"/>
              <pc:sldLayoutMk cId="3976612708" sldId="2147484267"/>
              <ac:graphicFrameMk id="2" creationId="{1FA00BD6-1402-ED9A-953E-DA22D34ECFE1}"/>
            </ac:graphicFrameMkLst>
          </pc:graphicFrameChg>
        </pc:sldLayoutChg>
      </pc:sldMasterChg>
      <pc:sldMasterChg chg="delSp modSp mod modSldLayout">
        <pc:chgData name="Grace, Morgan (Brisbane)" userId="221d5f7b-4a46-4bd5-bdf1-698d3a91c208" providerId="ADAL" clId="{D90324C1-6CE4-4C28-B886-AED0B666B37F}" dt="2024-06-06T05:14:01.229" v="46066"/>
        <pc:sldMasterMkLst>
          <pc:docMk/>
          <pc:sldMasterMk cId="1350480125" sldId="2147484279"/>
        </pc:sldMasterMkLst>
        <pc:spChg chg="mod">
          <ac:chgData name="Grace, Morgan (Brisbane)" userId="221d5f7b-4a46-4bd5-bdf1-698d3a91c208" providerId="ADAL" clId="{D90324C1-6CE4-4C28-B886-AED0B666B37F}" dt="2024-06-06T05:13:59.219" v="44933" actId="948"/>
          <ac:spMkLst>
            <pc:docMk/>
            <pc:sldMasterMk cId="1350480125" sldId="2147484279"/>
            <ac:spMk id="2" creationId="{106F217F-D8E3-0146-D631-EC38566A36EF}"/>
          </ac:spMkLst>
        </pc:spChg>
        <pc:spChg chg="del mod modVis">
          <ac:chgData name="Grace, Morgan (Brisbane)" userId="221d5f7b-4a46-4bd5-bdf1-698d3a91c208" providerId="ADAL" clId="{D90324C1-6CE4-4C28-B886-AED0B666B37F}" dt="2024-06-06T05:14:01.157" v="46037" actId="478"/>
          <ac:spMkLst>
            <pc:docMk/>
            <pc:sldMasterMk cId="1350480125" sldId="2147484279"/>
            <ac:spMk id="3" creationId="{60563FB1-7BEC-DE3B-85F4-A51FD9971B5E}"/>
          </ac:spMkLst>
        </pc:spChg>
        <pc:spChg chg="mod">
          <ac:chgData name="Grace, Morgan (Brisbane)" userId="221d5f7b-4a46-4bd5-bdf1-698d3a91c208" providerId="ADAL" clId="{D90324C1-6CE4-4C28-B886-AED0B666B37F}" dt="2024-06-06T05:13:55.927" v="42496" actId="790"/>
          <ac:spMkLst>
            <pc:docMk/>
            <pc:sldMasterMk cId="1350480125" sldId="2147484279"/>
            <ac:spMk id="4" creationId="{3C98C8E9-53A9-E726-DFE9-07714F5557F9}"/>
          </ac:spMkLst>
        </pc:spChg>
        <pc:spChg chg="mod">
          <ac:chgData name="Grace, Morgan (Brisbane)" userId="221d5f7b-4a46-4bd5-bdf1-698d3a91c208" providerId="ADAL" clId="{D90324C1-6CE4-4C28-B886-AED0B666B37F}" dt="2024-06-06T05:13:55.933" v="42497" actId="790"/>
          <ac:spMkLst>
            <pc:docMk/>
            <pc:sldMasterMk cId="1350480125" sldId="2147484279"/>
            <ac:spMk id="6" creationId="{87DF0065-1E85-3CAE-AFF2-1B24507DE8EE}"/>
          </ac:spMkLst>
        </pc:spChg>
        <pc:spChg chg="mod">
          <ac:chgData name="Grace, Morgan (Brisbane)" userId="221d5f7b-4a46-4bd5-bdf1-698d3a91c208" providerId="ADAL" clId="{D90324C1-6CE4-4C28-B886-AED0B666B37F}" dt="2024-06-06T05:13:55.927" v="42495" actId="790"/>
          <ac:spMkLst>
            <pc:docMk/>
            <pc:sldMasterMk cId="1350480125" sldId="2147484279"/>
            <ac:spMk id="8" creationId="{05AC2582-4AF7-82C5-5AFC-CAEBC21F3E32}"/>
          </ac:spMkLst>
        </pc:spChg>
        <pc:graphicFrameChg chg="mod">
          <ac:chgData name="Grace, Morgan (Brisbane)" userId="221d5f7b-4a46-4bd5-bdf1-698d3a91c208" providerId="ADAL" clId="{D90324C1-6CE4-4C28-B886-AED0B666B37F}" dt="2024-06-06T05:14:01.157" v="46038" actId="1076"/>
          <ac:graphicFrameMkLst>
            <pc:docMk/>
            <pc:sldMasterMk cId="1350480125" sldId="2147484279"/>
            <ac:graphicFrameMk id="5" creationId="{9A6DD98B-710C-1FAB-C5CB-CB11ED554C5D}"/>
          </ac:graphicFrameMkLst>
        </pc:graphicFrameChg>
        <pc:sldLayoutChg chg="modSp mod">
          <pc:chgData name="Grace, Morgan (Brisbane)" userId="221d5f7b-4a46-4bd5-bdf1-698d3a91c208" providerId="ADAL" clId="{D90324C1-6CE4-4C28-B886-AED0B666B37F}" dt="2024-06-06T05:14:01.172" v="46045"/>
          <pc:sldLayoutMkLst>
            <pc:docMk/>
            <pc:sldMasterMk cId="1350480125" sldId="2147484279"/>
            <pc:sldLayoutMk cId="1301399932" sldId="2147484280"/>
          </pc:sldLayoutMkLst>
          <pc:spChg chg="mod">
            <ac:chgData name="Grace, Morgan (Brisbane)" userId="221d5f7b-4a46-4bd5-bdf1-698d3a91c208" providerId="ADAL" clId="{D90324C1-6CE4-4C28-B886-AED0B666B37F}" dt="2024-06-06T05:13:55.949" v="42504" actId="790"/>
            <ac:spMkLst>
              <pc:docMk/>
              <pc:sldMasterMk cId="1350480125" sldId="2147484279"/>
              <pc:sldLayoutMk cId="1301399932" sldId="2147484280"/>
              <ac:spMk id="2" creationId="{31941BD8-4C3D-2812-CB70-9C55E17A56B7}"/>
            </ac:spMkLst>
          </pc:spChg>
          <pc:spChg chg="mod">
            <ac:chgData name="Grace, Morgan (Brisbane)" userId="221d5f7b-4a46-4bd5-bdf1-698d3a91c208" providerId="ADAL" clId="{D90324C1-6CE4-4C28-B886-AED0B666B37F}" dt="2024-06-06T05:13:55.965" v="42515" actId="947"/>
            <ac:spMkLst>
              <pc:docMk/>
              <pc:sldMasterMk cId="1350480125" sldId="2147484279"/>
              <pc:sldLayoutMk cId="1301399932" sldId="2147484280"/>
              <ac:spMk id="3" creationId="{65C7AE13-A304-0D0C-7A5B-FFD4D5808F51}"/>
            </ac:spMkLst>
          </pc:spChg>
          <pc:spChg chg="mod">
            <ac:chgData name="Grace, Morgan (Brisbane)" userId="221d5f7b-4a46-4bd5-bdf1-698d3a91c208" providerId="ADAL" clId="{D90324C1-6CE4-4C28-B886-AED0B666B37F}" dt="2024-06-06T05:13:55.933" v="42501" actId="790"/>
            <ac:spMkLst>
              <pc:docMk/>
              <pc:sldMasterMk cId="1350480125" sldId="2147484279"/>
              <pc:sldLayoutMk cId="1301399932" sldId="2147484280"/>
              <ac:spMk id="5" creationId="{7453970C-EFF6-9509-6689-282030A969FE}"/>
            </ac:spMkLst>
          </pc:spChg>
          <pc:spChg chg="mod">
            <ac:chgData name="Grace, Morgan (Brisbane)" userId="221d5f7b-4a46-4bd5-bdf1-698d3a91c208" providerId="ADAL" clId="{D90324C1-6CE4-4C28-B886-AED0B666B37F}" dt="2024-06-06T05:13:55.949" v="42513" actId="790"/>
            <ac:spMkLst>
              <pc:docMk/>
              <pc:sldMasterMk cId="1350480125" sldId="2147484279"/>
              <pc:sldLayoutMk cId="1301399932" sldId="2147484280"/>
              <ac:spMk id="7" creationId="{DA120274-7E7E-CFB2-A366-3E7FBE077974}"/>
            </ac:spMkLst>
          </pc:spChg>
          <pc:spChg chg="mod">
            <ac:chgData name="Grace, Morgan (Brisbane)" userId="221d5f7b-4a46-4bd5-bdf1-698d3a91c208" providerId="ADAL" clId="{D90324C1-6CE4-4C28-B886-AED0B666B37F}" dt="2024-06-06T05:13:55.949" v="42506" actId="947"/>
            <ac:spMkLst>
              <pc:docMk/>
              <pc:sldMasterMk cId="1350480125" sldId="2147484279"/>
              <pc:sldLayoutMk cId="1301399932" sldId="2147484280"/>
              <ac:spMk id="8" creationId="{BA8CAFB2-6FED-ED9E-759B-94EC706D6A1F}"/>
            </ac:spMkLst>
          </pc:spChg>
          <pc:spChg chg="mod">
            <ac:chgData name="Grace, Morgan (Brisbane)" userId="221d5f7b-4a46-4bd5-bdf1-698d3a91c208" providerId="ADAL" clId="{D90324C1-6CE4-4C28-B886-AED0B666B37F}" dt="2024-06-06T05:13:55.933" v="42499" actId="947"/>
            <ac:spMkLst>
              <pc:docMk/>
              <pc:sldMasterMk cId="1350480125" sldId="2147484279"/>
              <pc:sldLayoutMk cId="1301399932" sldId="2147484280"/>
              <ac:spMk id="9" creationId="{03ED8CDE-4456-C24D-1B05-5BF55526DC24}"/>
            </ac:spMkLst>
          </pc:spChg>
          <pc:spChg chg="mod">
            <ac:chgData name="Grace, Morgan (Brisbane)" userId="221d5f7b-4a46-4bd5-bdf1-698d3a91c208" providerId="ADAL" clId="{D90324C1-6CE4-4C28-B886-AED0B666B37F}" dt="2024-06-06T05:13:55.949" v="42508" actId="947"/>
            <ac:spMkLst>
              <pc:docMk/>
              <pc:sldMasterMk cId="1350480125" sldId="2147484279"/>
              <pc:sldLayoutMk cId="1301399932" sldId="2147484280"/>
              <ac:spMk id="10" creationId="{05C10780-A062-119A-29E8-9E476D30B5A5}"/>
            </ac:spMkLst>
          </pc:spChg>
          <pc:spChg chg="mod">
            <ac:chgData name="Grace, Morgan (Brisbane)" userId="221d5f7b-4a46-4bd5-bdf1-698d3a91c208" providerId="ADAL" clId="{D90324C1-6CE4-4C28-B886-AED0B666B37F}" dt="2024-06-06T05:13:55.949" v="42510" actId="947"/>
            <ac:spMkLst>
              <pc:docMk/>
              <pc:sldMasterMk cId="1350480125" sldId="2147484279"/>
              <pc:sldLayoutMk cId="1301399932" sldId="2147484280"/>
              <ac:spMk id="11" creationId="{B2DE3CFE-C5DA-177A-B044-AD94FC4D8BEF}"/>
            </ac:spMkLst>
          </pc:spChg>
          <pc:spChg chg="mod">
            <ac:chgData name="Grace, Morgan (Brisbane)" userId="221d5f7b-4a46-4bd5-bdf1-698d3a91c208" providerId="ADAL" clId="{D90324C1-6CE4-4C28-B886-AED0B666B37F}" dt="2024-06-06T05:13:55.933" v="42500" actId="790"/>
            <ac:spMkLst>
              <pc:docMk/>
              <pc:sldMasterMk cId="1350480125" sldId="2147484279"/>
              <pc:sldLayoutMk cId="1301399932" sldId="2147484280"/>
              <ac:spMk id="13" creationId="{AB1C54EE-D881-987B-0473-A56D971245A8}"/>
            </ac:spMkLst>
          </pc:spChg>
          <pc:spChg chg="mod">
            <ac:chgData name="Grace, Morgan (Brisbane)" userId="221d5f7b-4a46-4bd5-bdf1-698d3a91c208" providerId="ADAL" clId="{D90324C1-6CE4-4C28-B886-AED0B666B37F}" dt="2024-06-06T05:13:55.949" v="42512" actId="947"/>
            <ac:spMkLst>
              <pc:docMk/>
              <pc:sldMasterMk cId="1350480125" sldId="2147484279"/>
              <pc:sldLayoutMk cId="1301399932" sldId="2147484280"/>
              <ac:spMk id="17" creationId="{9177EAAC-84C6-7BCA-B54A-54EB0912A085}"/>
            </ac:spMkLst>
          </pc:spChg>
          <pc:spChg chg="mod">
            <ac:chgData name="Grace, Morgan (Brisbane)" userId="221d5f7b-4a46-4bd5-bdf1-698d3a91c208" providerId="ADAL" clId="{D90324C1-6CE4-4C28-B886-AED0B666B37F}" dt="2024-06-06T05:13:55.949" v="42502" actId="790"/>
            <ac:spMkLst>
              <pc:docMk/>
              <pc:sldMasterMk cId="1350480125" sldId="2147484279"/>
              <pc:sldLayoutMk cId="1301399932" sldId="2147484280"/>
              <ac:spMk id="24" creationId="{DBE9AF18-B5AF-B3BB-ED96-3C435E032E97}"/>
            </ac:spMkLst>
          </pc:spChg>
          <pc:spChg chg="mod">
            <ac:chgData name="Grace, Morgan (Brisbane)" userId="221d5f7b-4a46-4bd5-bdf1-698d3a91c208" providerId="ADAL" clId="{D90324C1-6CE4-4C28-B886-AED0B666B37F}" dt="2024-06-06T05:13:55.949" v="42503" actId="790"/>
            <ac:spMkLst>
              <pc:docMk/>
              <pc:sldMasterMk cId="1350480125" sldId="2147484279"/>
              <pc:sldLayoutMk cId="1301399932" sldId="2147484280"/>
              <ac:spMk id="26" creationId="{F9433C2C-1869-725F-E118-22097EE81424}"/>
            </ac:spMkLst>
          </pc:spChg>
          <pc:graphicFrameChg chg="mod ord modVis replST">
            <ac:chgData name="Grace, Morgan (Brisbane)" userId="221d5f7b-4a46-4bd5-bdf1-698d3a91c208" providerId="ADAL" clId="{D90324C1-6CE4-4C28-B886-AED0B666B37F}" dt="2024-06-06T05:14:01.172" v="46045"/>
            <ac:graphicFrameMkLst>
              <pc:docMk/>
              <pc:sldMasterMk cId="1350480125" sldId="2147484279"/>
              <pc:sldLayoutMk cId="1301399932" sldId="2147484280"/>
              <ac:graphicFrameMk id="4" creationId="{AB8E4A7D-9440-82BF-63C5-D7F4C3B97525}"/>
            </ac:graphicFrameMkLst>
          </pc:graphicFrameChg>
        </pc:sldLayoutChg>
        <pc:sldLayoutChg chg="modSp mod">
          <pc:chgData name="Grace, Morgan (Brisbane)" userId="221d5f7b-4a46-4bd5-bdf1-698d3a91c208" providerId="ADAL" clId="{D90324C1-6CE4-4C28-B886-AED0B666B37F}" dt="2024-06-06T05:14:01.214" v="46059"/>
          <pc:sldLayoutMkLst>
            <pc:docMk/>
            <pc:sldMasterMk cId="1350480125" sldId="2147484279"/>
            <pc:sldLayoutMk cId="3851822251" sldId="2147484281"/>
          </pc:sldLayoutMkLst>
          <pc:spChg chg="mod">
            <ac:chgData name="Grace, Morgan (Brisbane)" userId="221d5f7b-4a46-4bd5-bdf1-698d3a91c208" providerId="ADAL" clId="{D90324C1-6CE4-4C28-B886-AED0B666B37F}" dt="2024-06-06T05:13:56.017" v="42538" actId="947"/>
            <ac:spMkLst>
              <pc:docMk/>
              <pc:sldMasterMk cId="1350480125" sldId="2147484279"/>
              <pc:sldLayoutMk cId="3851822251" sldId="2147484281"/>
              <ac:spMk id="2" creationId="{E1BBF1B0-4050-40FF-C8CC-6886ED008079}"/>
            </ac:spMkLst>
          </pc:spChg>
          <pc:spChg chg="mod">
            <ac:chgData name="Grace, Morgan (Brisbane)" userId="221d5f7b-4a46-4bd5-bdf1-698d3a91c208" providerId="ADAL" clId="{D90324C1-6CE4-4C28-B886-AED0B666B37F}" dt="2024-06-06T05:13:56.019" v="42540" actId="947"/>
            <ac:spMkLst>
              <pc:docMk/>
              <pc:sldMasterMk cId="1350480125" sldId="2147484279"/>
              <pc:sldLayoutMk cId="3851822251" sldId="2147484281"/>
              <ac:spMk id="3" creationId="{9E2C2DC1-397A-8153-F26D-00D863EF128B}"/>
            </ac:spMkLst>
          </pc:spChg>
          <pc:spChg chg="mod">
            <ac:chgData name="Grace, Morgan (Brisbane)" userId="221d5f7b-4a46-4bd5-bdf1-698d3a91c208" providerId="ADAL" clId="{D90324C1-6CE4-4C28-B886-AED0B666B37F}" dt="2024-06-06T05:13:56.020" v="42542" actId="947"/>
            <ac:spMkLst>
              <pc:docMk/>
              <pc:sldMasterMk cId="1350480125" sldId="2147484279"/>
              <pc:sldLayoutMk cId="3851822251" sldId="2147484281"/>
              <ac:spMk id="4" creationId="{E8640E10-56F6-27DF-4DD8-D4302FBB1E3C}"/>
            </ac:spMkLst>
          </pc:spChg>
          <pc:spChg chg="mod">
            <ac:chgData name="Grace, Morgan (Brisbane)" userId="221d5f7b-4a46-4bd5-bdf1-698d3a91c208" providerId="ADAL" clId="{D90324C1-6CE4-4C28-B886-AED0B666B37F}" dt="2024-06-06T05:13:56.006" v="42533" actId="790"/>
            <ac:spMkLst>
              <pc:docMk/>
              <pc:sldMasterMk cId="1350480125" sldId="2147484279"/>
              <pc:sldLayoutMk cId="3851822251" sldId="2147484281"/>
              <ac:spMk id="5" creationId="{7453970C-EFF6-9509-6689-282030A969FE}"/>
            </ac:spMkLst>
          </pc:spChg>
          <pc:spChg chg="mod">
            <ac:chgData name="Grace, Morgan (Brisbane)" userId="221d5f7b-4a46-4bd5-bdf1-698d3a91c208" providerId="ADAL" clId="{D90324C1-6CE4-4C28-B886-AED0B666B37F}" dt="2024-06-06T05:13:56.022" v="42544" actId="947"/>
            <ac:spMkLst>
              <pc:docMk/>
              <pc:sldMasterMk cId="1350480125" sldId="2147484279"/>
              <pc:sldLayoutMk cId="3851822251" sldId="2147484281"/>
              <ac:spMk id="6" creationId="{3875EC69-DF80-1BAC-7D4B-954CEE9D268D}"/>
            </ac:spMkLst>
          </pc:spChg>
          <pc:spChg chg="mod">
            <ac:chgData name="Grace, Morgan (Brisbane)" userId="221d5f7b-4a46-4bd5-bdf1-698d3a91c208" providerId="ADAL" clId="{D90324C1-6CE4-4C28-B886-AED0B666B37F}" dt="2024-06-06T05:13:56.015" v="42536" actId="790"/>
            <ac:spMkLst>
              <pc:docMk/>
              <pc:sldMasterMk cId="1350480125" sldId="2147484279"/>
              <pc:sldLayoutMk cId="3851822251" sldId="2147484281"/>
              <ac:spMk id="7" creationId="{4256DA45-19CB-EF40-3F79-8F0C72635487}"/>
            </ac:spMkLst>
          </pc:spChg>
          <pc:spChg chg="mod">
            <ac:chgData name="Grace, Morgan (Brisbane)" userId="221d5f7b-4a46-4bd5-bdf1-698d3a91c208" providerId="ADAL" clId="{D90324C1-6CE4-4C28-B886-AED0B666B37F}" dt="2024-06-06T05:13:56.011" v="42535" actId="790"/>
            <ac:spMkLst>
              <pc:docMk/>
              <pc:sldMasterMk cId="1350480125" sldId="2147484279"/>
              <pc:sldLayoutMk cId="3851822251" sldId="2147484281"/>
              <ac:spMk id="8" creationId="{B056EFAB-3F73-E646-8B8E-11E6A9AAEFD3}"/>
            </ac:spMkLst>
          </pc:spChg>
          <pc:spChg chg="mod">
            <ac:chgData name="Grace, Morgan (Brisbane)" userId="221d5f7b-4a46-4bd5-bdf1-698d3a91c208" providerId="ADAL" clId="{D90324C1-6CE4-4C28-B886-AED0B666B37F}" dt="2024-06-06T05:13:56.003" v="42531" actId="947"/>
            <ac:spMkLst>
              <pc:docMk/>
              <pc:sldMasterMk cId="1350480125" sldId="2147484279"/>
              <pc:sldLayoutMk cId="3851822251" sldId="2147484281"/>
              <ac:spMk id="10" creationId="{EAF2AF0B-CE98-8D25-03CE-DE35AC0F15EC}"/>
            </ac:spMkLst>
          </pc:spChg>
          <pc:spChg chg="mod">
            <ac:chgData name="Grace, Morgan (Brisbane)" userId="221d5f7b-4a46-4bd5-bdf1-698d3a91c208" providerId="ADAL" clId="{D90324C1-6CE4-4C28-B886-AED0B666B37F}" dt="2024-06-06T05:13:56.003" v="42532" actId="790"/>
            <ac:spMkLst>
              <pc:docMk/>
              <pc:sldMasterMk cId="1350480125" sldId="2147484279"/>
              <pc:sldLayoutMk cId="3851822251" sldId="2147484281"/>
              <ac:spMk id="11" creationId="{B9AF7697-9BC3-6C35-C124-9A456072E1F0}"/>
            </ac:spMkLst>
          </pc:spChg>
          <pc:spChg chg="mod">
            <ac:chgData name="Grace, Morgan (Brisbane)" userId="221d5f7b-4a46-4bd5-bdf1-698d3a91c208" providerId="ADAL" clId="{D90324C1-6CE4-4C28-B886-AED0B666B37F}" dt="2024-06-06T05:13:56.009" v="42534" actId="790"/>
            <ac:spMkLst>
              <pc:docMk/>
              <pc:sldMasterMk cId="1350480125" sldId="2147484279"/>
              <pc:sldLayoutMk cId="3851822251" sldId="2147484281"/>
              <ac:spMk id="24" creationId="{DBE9AF18-B5AF-B3BB-ED96-3C435E032E97}"/>
            </ac:spMkLst>
          </pc:spChg>
          <pc:graphicFrameChg chg="mod ord modVis replST">
            <ac:chgData name="Grace, Morgan (Brisbane)" userId="221d5f7b-4a46-4bd5-bdf1-698d3a91c208" providerId="ADAL" clId="{D90324C1-6CE4-4C28-B886-AED0B666B37F}" dt="2024-06-06T05:14:01.214" v="46059"/>
            <ac:graphicFrameMkLst>
              <pc:docMk/>
              <pc:sldMasterMk cId="1350480125" sldId="2147484279"/>
              <pc:sldLayoutMk cId="3851822251" sldId="2147484281"/>
              <ac:graphicFrameMk id="9" creationId="{8AB0F9CF-6924-A72E-3390-A693FD387502}"/>
            </ac:graphicFrameMkLst>
          </pc:graphicFrameChg>
        </pc:sldLayoutChg>
        <pc:sldLayoutChg chg="modSp mod">
          <pc:chgData name="Grace, Morgan (Brisbane)" userId="221d5f7b-4a46-4bd5-bdf1-698d3a91c208" providerId="ADAL" clId="{D90324C1-6CE4-4C28-B886-AED0B666B37F}" dt="2024-06-06T05:14:01.188" v="46052"/>
          <pc:sldLayoutMkLst>
            <pc:docMk/>
            <pc:sldMasterMk cId="1350480125" sldId="2147484279"/>
            <pc:sldLayoutMk cId="1906201002" sldId="2147484282"/>
          </pc:sldLayoutMkLst>
          <pc:spChg chg="mod">
            <ac:chgData name="Grace, Morgan (Brisbane)" userId="221d5f7b-4a46-4bd5-bdf1-698d3a91c208" providerId="ADAL" clId="{D90324C1-6CE4-4C28-B886-AED0B666B37F}" dt="2024-06-06T05:13:55.980" v="42525" actId="790"/>
            <ac:spMkLst>
              <pc:docMk/>
              <pc:sldMasterMk cId="1350480125" sldId="2147484279"/>
              <pc:sldLayoutMk cId="1906201002" sldId="2147484282"/>
              <ac:spMk id="2" creationId="{31941BD8-4C3D-2812-CB70-9C55E17A56B7}"/>
            </ac:spMkLst>
          </pc:spChg>
          <pc:spChg chg="mod">
            <ac:chgData name="Grace, Morgan (Brisbane)" userId="221d5f7b-4a46-4bd5-bdf1-698d3a91c208" providerId="ADAL" clId="{D90324C1-6CE4-4C28-B886-AED0B666B37F}" dt="2024-06-06T05:13:55.980" v="42526" actId="790"/>
            <ac:spMkLst>
              <pc:docMk/>
              <pc:sldMasterMk cId="1350480125" sldId="2147484279"/>
              <pc:sldLayoutMk cId="1906201002" sldId="2147484282"/>
              <ac:spMk id="3" creationId="{55683940-9CFE-2353-791B-871450AB39E2}"/>
            </ac:spMkLst>
          </pc:spChg>
          <pc:spChg chg="mod">
            <ac:chgData name="Grace, Morgan (Brisbane)" userId="221d5f7b-4a46-4bd5-bdf1-698d3a91c208" providerId="ADAL" clId="{D90324C1-6CE4-4C28-B886-AED0B666B37F}" dt="2024-06-06T05:13:55.980" v="42529" actId="947"/>
            <ac:spMkLst>
              <pc:docMk/>
              <pc:sldMasterMk cId="1350480125" sldId="2147484279"/>
              <pc:sldLayoutMk cId="1906201002" sldId="2147484282"/>
              <ac:spMk id="4" creationId="{BCC4A179-14E7-E384-209D-7F2227B311B0}"/>
            </ac:spMkLst>
          </pc:spChg>
          <pc:spChg chg="mod">
            <ac:chgData name="Grace, Morgan (Brisbane)" userId="221d5f7b-4a46-4bd5-bdf1-698d3a91c208" providerId="ADAL" clId="{D90324C1-6CE4-4C28-B886-AED0B666B37F}" dt="2024-06-06T05:13:55.965" v="42519" actId="790"/>
            <ac:spMkLst>
              <pc:docMk/>
              <pc:sldMasterMk cId="1350480125" sldId="2147484279"/>
              <pc:sldLayoutMk cId="1906201002" sldId="2147484282"/>
              <ac:spMk id="5" creationId="{7453970C-EFF6-9509-6689-282030A969FE}"/>
            </ac:spMkLst>
          </pc:spChg>
          <pc:spChg chg="mod">
            <ac:chgData name="Grace, Morgan (Brisbane)" userId="221d5f7b-4a46-4bd5-bdf1-698d3a91c208" providerId="ADAL" clId="{D90324C1-6CE4-4C28-B886-AED0B666B37F}" dt="2024-06-06T05:13:55.980" v="42527" actId="790"/>
            <ac:spMkLst>
              <pc:docMk/>
              <pc:sldMasterMk cId="1350480125" sldId="2147484279"/>
              <pc:sldLayoutMk cId="1906201002" sldId="2147484282"/>
              <ac:spMk id="7" creationId="{09D2A1C8-68A9-3718-F327-F1375222CF30}"/>
            </ac:spMkLst>
          </pc:spChg>
          <pc:spChg chg="mod">
            <ac:chgData name="Grace, Morgan (Brisbane)" userId="221d5f7b-4a46-4bd5-bdf1-698d3a91c208" providerId="ADAL" clId="{D90324C1-6CE4-4C28-B886-AED0B666B37F}" dt="2024-06-06T05:13:55.965" v="42517" actId="947"/>
            <ac:spMkLst>
              <pc:docMk/>
              <pc:sldMasterMk cId="1350480125" sldId="2147484279"/>
              <pc:sldLayoutMk cId="1906201002" sldId="2147484282"/>
              <ac:spMk id="9" creationId="{03ED8CDE-4456-C24D-1B05-5BF55526DC24}"/>
            </ac:spMkLst>
          </pc:spChg>
          <pc:spChg chg="mod">
            <ac:chgData name="Grace, Morgan (Brisbane)" userId="221d5f7b-4a46-4bd5-bdf1-698d3a91c208" providerId="ADAL" clId="{D90324C1-6CE4-4C28-B886-AED0B666B37F}" dt="2024-06-06T05:13:55.965" v="42518" actId="790"/>
            <ac:spMkLst>
              <pc:docMk/>
              <pc:sldMasterMk cId="1350480125" sldId="2147484279"/>
              <pc:sldLayoutMk cId="1906201002" sldId="2147484282"/>
              <ac:spMk id="13" creationId="{AB1C54EE-D881-987B-0473-A56D971245A8}"/>
            </ac:spMkLst>
          </pc:spChg>
          <pc:spChg chg="mod">
            <ac:chgData name="Grace, Morgan (Brisbane)" userId="221d5f7b-4a46-4bd5-bdf1-698d3a91c208" providerId="ADAL" clId="{D90324C1-6CE4-4C28-B886-AED0B666B37F}" dt="2024-06-06T05:13:55.980" v="42520" actId="790"/>
            <ac:spMkLst>
              <pc:docMk/>
              <pc:sldMasterMk cId="1350480125" sldId="2147484279"/>
              <pc:sldLayoutMk cId="1906201002" sldId="2147484282"/>
              <ac:spMk id="20" creationId="{7BDD5BA7-766D-2EFE-E250-BC83530BAB4B}"/>
            </ac:spMkLst>
          </pc:spChg>
          <pc:spChg chg="mod">
            <ac:chgData name="Grace, Morgan (Brisbane)" userId="221d5f7b-4a46-4bd5-bdf1-698d3a91c208" providerId="ADAL" clId="{D90324C1-6CE4-4C28-B886-AED0B666B37F}" dt="2024-06-06T05:13:55.980" v="42521" actId="790"/>
            <ac:spMkLst>
              <pc:docMk/>
              <pc:sldMasterMk cId="1350480125" sldId="2147484279"/>
              <pc:sldLayoutMk cId="1906201002" sldId="2147484282"/>
              <ac:spMk id="21" creationId="{3C45C592-FB38-EF4D-453F-FA4DD885B979}"/>
            </ac:spMkLst>
          </pc:spChg>
          <pc:spChg chg="mod">
            <ac:chgData name="Grace, Morgan (Brisbane)" userId="221d5f7b-4a46-4bd5-bdf1-698d3a91c208" providerId="ADAL" clId="{D90324C1-6CE4-4C28-B886-AED0B666B37F}" dt="2024-06-06T05:13:55.980" v="42522" actId="790"/>
            <ac:spMkLst>
              <pc:docMk/>
              <pc:sldMasterMk cId="1350480125" sldId="2147484279"/>
              <pc:sldLayoutMk cId="1906201002" sldId="2147484282"/>
              <ac:spMk id="24" creationId="{DBE9AF18-B5AF-B3BB-ED96-3C435E032E97}"/>
            </ac:spMkLst>
          </pc:spChg>
          <pc:spChg chg="mod">
            <ac:chgData name="Grace, Morgan (Brisbane)" userId="221d5f7b-4a46-4bd5-bdf1-698d3a91c208" providerId="ADAL" clId="{D90324C1-6CE4-4C28-B886-AED0B666B37F}" dt="2024-06-06T05:13:55.980" v="42523" actId="790"/>
            <ac:spMkLst>
              <pc:docMk/>
              <pc:sldMasterMk cId="1350480125" sldId="2147484279"/>
              <pc:sldLayoutMk cId="1906201002" sldId="2147484282"/>
              <ac:spMk id="25" creationId="{3961679E-0762-0B7F-6078-28025D03BE33}"/>
            </ac:spMkLst>
          </pc:spChg>
          <pc:spChg chg="mod">
            <ac:chgData name="Grace, Morgan (Brisbane)" userId="221d5f7b-4a46-4bd5-bdf1-698d3a91c208" providerId="ADAL" clId="{D90324C1-6CE4-4C28-B886-AED0B666B37F}" dt="2024-06-06T05:13:55.980" v="42524" actId="790"/>
            <ac:spMkLst>
              <pc:docMk/>
              <pc:sldMasterMk cId="1350480125" sldId="2147484279"/>
              <pc:sldLayoutMk cId="1906201002" sldId="2147484282"/>
              <ac:spMk id="26" creationId="{F9433C2C-1869-725F-E118-22097EE81424}"/>
            </ac:spMkLst>
          </pc:spChg>
          <pc:graphicFrameChg chg="mod ord modVis replST">
            <ac:chgData name="Grace, Morgan (Brisbane)" userId="221d5f7b-4a46-4bd5-bdf1-698d3a91c208" providerId="ADAL" clId="{D90324C1-6CE4-4C28-B886-AED0B666B37F}" dt="2024-06-06T05:14:01.188" v="46052"/>
            <ac:graphicFrameMkLst>
              <pc:docMk/>
              <pc:sldMasterMk cId="1350480125" sldId="2147484279"/>
              <pc:sldLayoutMk cId="1906201002" sldId="2147484282"/>
              <ac:graphicFrameMk id="6" creationId="{ACFCDDB0-2C79-A70E-2FCF-9125E30793D8}"/>
            </ac:graphicFrameMkLst>
          </pc:graphicFrameChg>
        </pc:sldLayoutChg>
        <pc:sldLayoutChg chg="modSp mod">
          <pc:chgData name="Grace, Morgan (Brisbane)" userId="221d5f7b-4a46-4bd5-bdf1-698d3a91c208" providerId="ADAL" clId="{D90324C1-6CE4-4C28-B886-AED0B666B37F}" dt="2024-06-06T05:14:01.229" v="46066"/>
          <pc:sldLayoutMkLst>
            <pc:docMk/>
            <pc:sldMasterMk cId="1350480125" sldId="2147484279"/>
            <pc:sldLayoutMk cId="1025563244" sldId="2147484283"/>
          </pc:sldLayoutMkLst>
          <pc:spChg chg="mod">
            <ac:chgData name="Grace, Morgan (Brisbane)" userId="221d5f7b-4a46-4bd5-bdf1-698d3a91c208" providerId="ADAL" clId="{D90324C1-6CE4-4C28-B886-AED0B666B37F}" dt="2024-06-06T05:13:56.030" v="42548" actId="790"/>
            <ac:spMkLst>
              <pc:docMk/>
              <pc:sldMasterMk cId="1350480125" sldId="2147484279"/>
              <pc:sldLayoutMk cId="1025563244" sldId="2147484283"/>
              <ac:spMk id="5" creationId="{7453970C-EFF6-9509-6689-282030A969FE}"/>
            </ac:spMkLst>
          </pc:spChg>
          <pc:spChg chg="mod">
            <ac:chgData name="Grace, Morgan (Brisbane)" userId="221d5f7b-4a46-4bd5-bdf1-698d3a91c208" providerId="ADAL" clId="{D90324C1-6CE4-4C28-B886-AED0B666B37F}" dt="2024-06-06T05:13:56.034" v="42554" actId="790"/>
            <ac:spMkLst>
              <pc:docMk/>
              <pc:sldMasterMk cId="1350480125" sldId="2147484279"/>
              <pc:sldLayoutMk cId="1025563244" sldId="2147484283"/>
              <ac:spMk id="7" creationId="{4256DA45-19CB-EF40-3F79-8F0C72635487}"/>
            </ac:spMkLst>
          </pc:spChg>
          <pc:spChg chg="mod">
            <ac:chgData name="Grace, Morgan (Brisbane)" userId="221d5f7b-4a46-4bd5-bdf1-698d3a91c208" providerId="ADAL" clId="{D90324C1-6CE4-4C28-B886-AED0B666B37F}" dt="2024-06-06T05:13:56.034" v="42553" actId="790"/>
            <ac:spMkLst>
              <pc:docMk/>
              <pc:sldMasterMk cId="1350480125" sldId="2147484279"/>
              <pc:sldLayoutMk cId="1025563244" sldId="2147484283"/>
              <ac:spMk id="8" creationId="{B056EFAB-3F73-E646-8B8E-11E6A9AAEFD3}"/>
            </ac:spMkLst>
          </pc:spChg>
          <pc:spChg chg="mod">
            <ac:chgData name="Grace, Morgan (Brisbane)" userId="221d5f7b-4a46-4bd5-bdf1-698d3a91c208" providerId="ADAL" clId="{D90324C1-6CE4-4C28-B886-AED0B666B37F}" dt="2024-06-06T05:13:56.034" v="42552" actId="947"/>
            <ac:spMkLst>
              <pc:docMk/>
              <pc:sldMasterMk cId="1350480125" sldId="2147484279"/>
              <pc:sldLayoutMk cId="1025563244" sldId="2147484283"/>
              <ac:spMk id="9" creationId="{90CF5F46-7F26-0789-5874-A28F0D3D6EFF}"/>
            </ac:spMkLst>
          </pc:spChg>
          <pc:spChg chg="mod">
            <ac:chgData name="Grace, Morgan (Brisbane)" userId="221d5f7b-4a46-4bd5-bdf1-698d3a91c208" providerId="ADAL" clId="{D90324C1-6CE4-4C28-B886-AED0B666B37F}" dt="2024-06-06T05:13:56.029" v="42546" actId="947"/>
            <ac:spMkLst>
              <pc:docMk/>
              <pc:sldMasterMk cId="1350480125" sldId="2147484279"/>
              <pc:sldLayoutMk cId="1025563244" sldId="2147484283"/>
              <ac:spMk id="10" creationId="{EAF2AF0B-CE98-8D25-03CE-DE35AC0F15EC}"/>
            </ac:spMkLst>
          </pc:spChg>
          <pc:spChg chg="mod">
            <ac:chgData name="Grace, Morgan (Brisbane)" userId="221d5f7b-4a46-4bd5-bdf1-698d3a91c208" providerId="ADAL" clId="{D90324C1-6CE4-4C28-B886-AED0B666B37F}" dt="2024-06-06T05:13:56.030" v="42547" actId="790"/>
            <ac:spMkLst>
              <pc:docMk/>
              <pc:sldMasterMk cId="1350480125" sldId="2147484279"/>
              <pc:sldLayoutMk cId="1025563244" sldId="2147484283"/>
              <ac:spMk id="11" creationId="{B9AF7697-9BC3-6C35-C124-9A456072E1F0}"/>
            </ac:spMkLst>
          </pc:spChg>
          <pc:spChg chg="mod">
            <ac:chgData name="Grace, Morgan (Brisbane)" userId="221d5f7b-4a46-4bd5-bdf1-698d3a91c208" providerId="ADAL" clId="{D90324C1-6CE4-4C28-B886-AED0B666B37F}" dt="2024-06-06T05:13:56.034" v="42555" actId="790"/>
            <ac:spMkLst>
              <pc:docMk/>
              <pc:sldMasterMk cId="1350480125" sldId="2147484279"/>
              <pc:sldLayoutMk cId="1025563244" sldId="2147484283"/>
              <ac:spMk id="12" creationId="{8D05E6A8-5E19-C605-F7EE-AE356252266B}"/>
            </ac:spMkLst>
          </pc:spChg>
          <pc:spChg chg="mod">
            <ac:chgData name="Grace, Morgan (Brisbane)" userId="221d5f7b-4a46-4bd5-bdf1-698d3a91c208" providerId="ADAL" clId="{D90324C1-6CE4-4C28-B886-AED0B666B37F}" dt="2024-06-06T05:13:56.034" v="42556" actId="790"/>
            <ac:spMkLst>
              <pc:docMk/>
              <pc:sldMasterMk cId="1350480125" sldId="2147484279"/>
              <pc:sldLayoutMk cId="1025563244" sldId="2147484283"/>
              <ac:spMk id="13" creationId="{5E7B4ED6-8E36-510C-B298-B586A53B007B}"/>
            </ac:spMkLst>
          </pc:spChg>
          <pc:spChg chg="mod">
            <ac:chgData name="Grace, Morgan (Brisbane)" userId="221d5f7b-4a46-4bd5-bdf1-698d3a91c208" providerId="ADAL" clId="{D90324C1-6CE4-4C28-B886-AED0B666B37F}" dt="2024-06-06T05:13:56.034" v="42549" actId="790"/>
            <ac:spMkLst>
              <pc:docMk/>
              <pc:sldMasterMk cId="1350480125" sldId="2147484279"/>
              <pc:sldLayoutMk cId="1025563244" sldId="2147484283"/>
              <ac:spMk id="24" creationId="{DBE9AF18-B5AF-B3BB-ED96-3C435E032E97}"/>
            </ac:spMkLst>
          </pc:spChg>
          <pc:spChg chg="mod">
            <ac:chgData name="Grace, Morgan (Brisbane)" userId="221d5f7b-4a46-4bd5-bdf1-698d3a91c208" providerId="ADAL" clId="{D90324C1-6CE4-4C28-B886-AED0B666B37F}" dt="2024-06-06T05:13:56.034" v="42550" actId="790"/>
            <ac:spMkLst>
              <pc:docMk/>
              <pc:sldMasterMk cId="1350480125" sldId="2147484279"/>
              <pc:sldLayoutMk cId="1025563244" sldId="2147484283"/>
              <ac:spMk id="25" creationId="{3961679E-0762-0B7F-6078-28025D03BE33}"/>
            </ac:spMkLst>
          </pc:spChg>
          <pc:graphicFrameChg chg="mod ord modVis replST">
            <ac:chgData name="Grace, Morgan (Brisbane)" userId="221d5f7b-4a46-4bd5-bdf1-698d3a91c208" providerId="ADAL" clId="{D90324C1-6CE4-4C28-B886-AED0B666B37F}" dt="2024-06-06T05:14:01.229" v="46066"/>
            <ac:graphicFrameMkLst>
              <pc:docMk/>
              <pc:sldMasterMk cId="1350480125" sldId="2147484279"/>
              <pc:sldLayoutMk cId="1025563244" sldId="2147484283"/>
              <ac:graphicFrameMk id="2" creationId="{D9EA0C5F-446E-39F3-21EC-18ED46A2F410}"/>
            </ac:graphicFrameMkLst>
          </pc:graphicFrameChg>
        </pc:sldLayoutChg>
      </pc:sldMasterChg>
    </pc:docChg>
  </pc:docChgLst>
  <pc:docChgLst>
    <pc:chgData name="Grace, Morgan (Brisbane)" userId="221d5f7b-4a46-4bd5-bdf1-698d3a91c208" providerId="ADAL" clId="{0F17E103-5B43-4653-B68E-0742D106494B}"/>
    <pc:docChg chg="undo custSel addSld delSld modSld sldOrd">
      <pc:chgData name="Grace, Morgan (Brisbane)" userId="221d5f7b-4a46-4bd5-bdf1-698d3a91c208" providerId="ADAL" clId="{0F17E103-5B43-4653-B68E-0742D106494B}" dt="2024-06-04T01:10:26.772" v="2174"/>
      <pc:docMkLst>
        <pc:docMk/>
      </pc:docMkLst>
      <pc:sldChg chg="del">
        <pc:chgData name="Grace, Morgan (Brisbane)" userId="221d5f7b-4a46-4bd5-bdf1-698d3a91c208" providerId="ADAL" clId="{0F17E103-5B43-4653-B68E-0742D106494B}" dt="2024-06-04T00:46:50.489" v="2070" actId="2696"/>
        <pc:sldMkLst>
          <pc:docMk/>
          <pc:sldMk cId="442301474" sldId="552"/>
        </pc:sldMkLst>
      </pc:sldChg>
      <pc:sldChg chg="addSp delSp modSp mod modClrScheme chgLayout">
        <pc:chgData name="Grace, Morgan (Brisbane)" userId="221d5f7b-4a46-4bd5-bdf1-698d3a91c208" providerId="ADAL" clId="{0F17E103-5B43-4653-B68E-0742D106494B}" dt="2024-06-04T00:39:20.320" v="1028" actId="20577"/>
        <pc:sldMkLst>
          <pc:docMk/>
          <pc:sldMk cId="3171304320" sldId="582"/>
        </pc:sldMkLst>
        <pc:spChg chg="mod ord">
          <ac:chgData name="Grace, Morgan (Brisbane)" userId="221d5f7b-4a46-4bd5-bdf1-698d3a91c208" providerId="ADAL" clId="{0F17E103-5B43-4653-B68E-0742D106494B}" dt="2024-06-03T23:56:23.852" v="209" actId="948"/>
          <ac:spMkLst>
            <pc:docMk/>
            <pc:sldMk cId="3171304320" sldId="582"/>
            <ac:spMk id="2" creationId="{6B9375FE-E847-C2F7-D7D7-7C652E61BD59}"/>
          </ac:spMkLst>
        </pc:spChg>
        <pc:spChg chg="add del mod ord">
          <ac:chgData name="Grace, Morgan (Brisbane)" userId="221d5f7b-4a46-4bd5-bdf1-698d3a91c208" providerId="ADAL" clId="{0F17E103-5B43-4653-B68E-0742D106494B}" dt="2024-06-03T23:53:48.901" v="31"/>
          <ac:spMkLst>
            <pc:docMk/>
            <pc:sldMk cId="3171304320" sldId="582"/>
            <ac:spMk id="3" creationId="{31F4BF72-CFD4-40B4-A21E-5E5C07950DE7}"/>
          </ac:spMkLst>
        </pc:spChg>
        <pc:spChg chg="mod ord">
          <ac:chgData name="Grace, Morgan (Brisbane)" userId="221d5f7b-4a46-4bd5-bdf1-698d3a91c208" providerId="ADAL" clId="{0F17E103-5B43-4653-B68E-0742D106494B}" dt="2024-06-04T00:39:20.320" v="1028" actId="20577"/>
          <ac:spMkLst>
            <pc:docMk/>
            <pc:sldMk cId="3171304320" sldId="582"/>
            <ac:spMk id="4" creationId="{201651E9-4C4F-2F5A-3EBC-7474D9C28D9C}"/>
          </ac:spMkLst>
        </pc:spChg>
        <pc:spChg chg="mod ord">
          <ac:chgData name="Grace, Morgan (Brisbane)" userId="221d5f7b-4a46-4bd5-bdf1-698d3a91c208" providerId="ADAL" clId="{0F17E103-5B43-4653-B68E-0742D106494B}" dt="2024-06-03T23:56:06.792" v="177" actId="20577"/>
          <ac:spMkLst>
            <pc:docMk/>
            <pc:sldMk cId="3171304320" sldId="582"/>
            <ac:spMk id="5" creationId="{7EB741D6-BED6-B16C-54EF-53C8EE60F038}"/>
          </ac:spMkLst>
        </pc:spChg>
        <pc:spChg chg="mod ord">
          <ac:chgData name="Grace, Morgan (Brisbane)" userId="221d5f7b-4a46-4bd5-bdf1-698d3a91c208" providerId="ADAL" clId="{0F17E103-5B43-4653-B68E-0742D106494B}" dt="2024-06-03T23:55:52.981" v="143" actId="27636"/>
          <ac:spMkLst>
            <pc:docMk/>
            <pc:sldMk cId="3171304320" sldId="582"/>
            <ac:spMk id="6" creationId="{5D0327DE-99F9-9F61-4273-8B7B31E16EE9}"/>
          </ac:spMkLst>
        </pc:spChg>
        <pc:spChg chg="add del mod ord">
          <ac:chgData name="Grace, Morgan (Brisbane)" userId="221d5f7b-4a46-4bd5-bdf1-698d3a91c208" providerId="ADAL" clId="{0F17E103-5B43-4653-B68E-0742D106494B}" dt="2024-06-03T23:53:48.901" v="31"/>
          <ac:spMkLst>
            <pc:docMk/>
            <pc:sldMk cId="3171304320" sldId="582"/>
            <ac:spMk id="7" creationId="{175FF661-74E4-4942-A8B2-92F81AD2B9BC}"/>
          </ac:spMkLst>
        </pc:spChg>
        <pc:spChg chg="add del mod ord">
          <ac:chgData name="Grace, Morgan (Brisbane)" userId="221d5f7b-4a46-4bd5-bdf1-698d3a91c208" providerId="ADAL" clId="{0F17E103-5B43-4653-B68E-0742D106494B}" dt="2024-06-03T23:53:48.901" v="31"/>
          <ac:spMkLst>
            <pc:docMk/>
            <pc:sldMk cId="3171304320" sldId="582"/>
            <ac:spMk id="9" creationId="{D9069411-7D1C-494F-A073-BCF535E955BC}"/>
          </ac:spMkLst>
        </pc:spChg>
        <pc:spChg chg="add del mod modVis">
          <ac:chgData name="Grace, Morgan (Brisbane)" userId="221d5f7b-4a46-4bd5-bdf1-698d3a91c208" providerId="ADAL" clId="{0F17E103-5B43-4653-B68E-0742D106494B}" dt="2024-06-03T23:53:36.587" v="26"/>
          <ac:spMkLst>
            <pc:docMk/>
            <pc:sldMk cId="3171304320" sldId="582"/>
            <ac:spMk id="10" creationId="{05A16845-234D-4D54-8BD1-A4BB9B2D77BC}"/>
          </ac:spMkLst>
        </pc:spChg>
        <pc:spChg chg="add del mod ord">
          <ac:chgData name="Grace, Morgan (Brisbane)" userId="221d5f7b-4a46-4bd5-bdf1-698d3a91c208" providerId="ADAL" clId="{0F17E103-5B43-4653-B68E-0742D106494B}" dt="2024-06-03T23:54:07.935" v="60"/>
          <ac:spMkLst>
            <pc:docMk/>
            <pc:sldMk cId="3171304320" sldId="582"/>
            <ac:spMk id="11" creationId="{07BD9698-B8C1-43DB-842B-B19CBF9C2DFF}"/>
          </ac:spMkLst>
        </pc:spChg>
        <pc:spChg chg="add del mod ord">
          <ac:chgData name="Grace, Morgan (Brisbane)" userId="221d5f7b-4a46-4bd5-bdf1-698d3a91c208" providerId="ADAL" clId="{0F17E103-5B43-4653-B68E-0742D106494B}" dt="2024-06-03T23:54:07.935" v="60"/>
          <ac:spMkLst>
            <pc:docMk/>
            <pc:sldMk cId="3171304320" sldId="582"/>
            <ac:spMk id="12" creationId="{3154613D-1D82-4059-AE52-39413AA294EB}"/>
          </ac:spMkLst>
        </pc:spChg>
        <pc:spChg chg="add del mod ord">
          <ac:chgData name="Grace, Morgan (Brisbane)" userId="221d5f7b-4a46-4bd5-bdf1-698d3a91c208" providerId="ADAL" clId="{0F17E103-5B43-4653-B68E-0742D106494B}" dt="2024-06-03T23:54:07.935" v="60"/>
          <ac:spMkLst>
            <pc:docMk/>
            <pc:sldMk cId="3171304320" sldId="582"/>
            <ac:spMk id="13" creationId="{4022246D-B6BC-42BD-BFB1-3F97A03EAA71}"/>
          </ac:spMkLst>
        </pc:spChg>
        <pc:spChg chg="add del mod modVis">
          <ac:chgData name="Grace, Morgan (Brisbane)" userId="221d5f7b-4a46-4bd5-bdf1-698d3a91c208" providerId="ADAL" clId="{0F17E103-5B43-4653-B68E-0742D106494B}" dt="2024-06-03T23:53:49.461" v="56"/>
          <ac:spMkLst>
            <pc:docMk/>
            <pc:sldMk cId="3171304320" sldId="582"/>
            <ac:spMk id="14" creationId="{384BC62A-E964-44F4-AE60-95FF7B12676E}"/>
          </ac:spMkLst>
        </pc:spChg>
        <pc:spChg chg="add mod ord">
          <ac:chgData name="Grace, Morgan (Brisbane)" userId="221d5f7b-4a46-4bd5-bdf1-698d3a91c208" providerId="ADAL" clId="{0F17E103-5B43-4653-B68E-0742D106494B}" dt="2024-06-03T23:56:00.334" v="149" actId="1076"/>
          <ac:spMkLst>
            <pc:docMk/>
            <pc:sldMk cId="3171304320" sldId="582"/>
            <ac:spMk id="15" creationId="{DB7F81A7-1040-42D8-845D-EC77EA617233}"/>
          </ac:spMkLst>
        </pc:spChg>
        <pc:spChg chg="add mod ord">
          <ac:chgData name="Grace, Morgan (Brisbane)" userId="221d5f7b-4a46-4bd5-bdf1-698d3a91c208" providerId="ADAL" clId="{0F17E103-5B43-4653-B68E-0742D106494B}" dt="2024-06-03T23:54:26.921" v="71" actId="27636"/>
          <ac:spMkLst>
            <pc:docMk/>
            <pc:sldMk cId="3171304320" sldId="582"/>
            <ac:spMk id="16" creationId="{599E6CC7-3D96-442C-9CB0-B533663FF48F}"/>
          </ac:spMkLst>
        </pc:spChg>
        <pc:spChg chg="add del mod modVis">
          <ac:chgData name="Grace, Morgan (Brisbane)" userId="221d5f7b-4a46-4bd5-bdf1-698d3a91c208" providerId="ADAL" clId="{0F17E103-5B43-4653-B68E-0742D106494B}" dt="2024-06-03T23:56:21.605" v="205"/>
          <ac:spMkLst>
            <pc:docMk/>
            <pc:sldMk cId="3171304320" sldId="582"/>
            <ac:spMk id="17" creationId="{1C6DBE51-AF3F-49C4-A98F-EB0B1893FA2E}"/>
          </ac:spMkLst>
        </pc:spChg>
        <pc:spChg chg="add del mod modVis">
          <ac:chgData name="Grace, Morgan (Brisbane)" userId="221d5f7b-4a46-4bd5-bdf1-698d3a91c208" providerId="ADAL" clId="{0F17E103-5B43-4653-B68E-0742D106494B}" dt="2024-06-03T23:56:23.867" v="231"/>
          <ac:spMkLst>
            <pc:docMk/>
            <pc:sldMk cId="3171304320" sldId="582"/>
            <ac:spMk id="18" creationId="{9E192F1D-3221-4F70-B534-D6CCA76FC29D}"/>
          </ac:spMkLst>
        </pc:spChg>
        <pc:spChg chg="del mod ord">
          <ac:chgData name="Grace, Morgan (Brisbane)" userId="221d5f7b-4a46-4bd5-bdf1-698d3a91c208" providerId="ADAL" clId="{0F17E103-5B43-4653-B68E-0742D106494B}" dt="2024-06-03T23:53:35.913" v="1"/>
          <ac:spMkLst>
            <pc:docMk/>
            <pc:sldMk cId="3171304320" sldId="582"/>
            <ac:spMk id="27" creationId="{33C9AE11-8D70-7A7A-03A0-6F272B0D1A02}"/>
          </ac:spMkLst>
        </pc:spChg>
        <pc:spChg chg="del mod ord">
          <ac:chgData name="Grace, Morgan (Brisbane)" userId="221d5f7b-4a46-4bd5-bdf1-698d3a91c208" providerId="ADAL" clId="{0F17E103-5B43-4653-B68E-0742D106494B}" dt="2024-06-03T23:53:35.913" v="1"/>
          <ac:spMkLst>
            <pc:docMk/>
            <pc:sldMk cId="3171304320" sldId="582"/>
            <ac:spMk id="28" creationId="{1E56FB2D-5BAB-881C-D76C-A21F1CE4BE8C}"/>
          </ac:spMkLst>
        </pc:spChg>
        <pc:graphicFrameChg chg="mod">
          <ac:chgData name="Grace, Morgan (Brisbane)" userId="221d5f7b-4a46-4bd5-bdf1-698d3a91c208" providerId="ADAL" clId="{0F17E103-5B43-4653-B68E-0742D106494B}" dt="2024-06-03T23:56:23.867" v="233"/>
          <ac:graphicFrameMkLst>
            <pc:docMk/>
            <pc:sldMk cId="3171304320" sldId="582"/>
            <ac:graphicFrameMk id="8" creationId="{2D743A74-39FB-E97F-782D-56CCA5874912}"/>
          </ac:graphicFrameMkLst>
        </pc:graphicFrameChg>
        <pc:picChg chg="add mod">
          <ac:chgData name="Grace, Morgan (Brisbane)" userId="221d5f7b-4a46-4bd5-bdf1-698d3a91c208" providerId="ADAL" clId="{0F17E103-5B43-4653-B68E-0742D106494B}" dt="2024-06-03T23:59:08.205" v="312" actId="1035"/>
          <ac:picMkLst>
            <pc:docMk/>
            <pc:sldMk cId="3171304320" sldId="582"/>
            <ac:picMk id="20" creationId="{4AEF9619-4B32-46AB-BC00-3B8975E37B0E}"/>
          </ac:picMkLst>
        </pc:picChg>
        <pc:picChg chg="mod">
          <ac:chgData name="Grace, Morgan (Brisbane)" userId="221d5f7b-4a46-4bd5-bdf1-698d3a91c208" providerId="ADAL" clId="{0F17E103-5B43-4653-B68E-0742D106494B}" dt="2024-06-03T23:59:04.952" v="308" actId="1076"/>
          <ac:picMkLst>
            <pc:docMk/>
            <pc:sldMk cId="3171304320" sldId="582"/>
            <ac:picMk id="26" creationId="{F4B9DCCD-94EC-77A0-EEDC-40B06BED43A0}"/>
          </ac:picMkLst>
        </pc:picChg>
        <pc:picChg chg="del mod">
          <ac:chgData name="Grace, Morgan (Brisbane)" userId="221d5f7b-4a46-4bd5-bdf1-698d3a91c208" providerId="ADAL" clId="{0F17E103-5B43-4653-B68E-0742D106494B}" dt="2024-06-03T23:56:38.608" v="234" actId="478"/>
          <ac:picMkLst>
            <pc:docMk/>
            <pc:sldMk cId="3171304320" sldId="582"/>
            <ac:picMk id="1026" creationId="{E43F3728-2480-75D4-84B3-71885AB465E8}"/>
          </ac:picMkLst>
        </pc:picChg>
      </pc:sldChg>
      <pc:sldChg chg="modSp mod ord">
        <pc:chgData name="Grace, Morgan (Brisbane)" userId="221d5f7b-4a46-4bd5-bdf1-698d3a91c208" providerId="ADAL" clId="{0F17E103-5B43-4653-B68E-0742D106494B}" dt="2024-06-04T00:46:46.394" v="2069"/>
        <pc:sldMkLst>
          <pc:docMk/>
          <pc:sldMk cId="662374443" sldId="595"/>
        </pc:sldMkLst>
        <pc:spChg chg="mod">
          <ac:chgData name="Grace, Morgan (Brisbane)" userId="221d5f7b-4a46-4bd5-bdf1-698d3a91c208" providerId="ADAL" clId="{0F17E103-5B43-4653-B68E-0742D106494B}" dt="2024-06-04T00:08:53.963" v="340" actId="20577"/>
          <ac:spMkLst>
            <pc:docMk/>
            <pc:sldMk cId="662374443" sldId="595"/>
            <ac:spMk id="5" creationId="{0142F281-C287-C1A4-0C20-F7509EFE8DDA}"/>
          </ac:spMkLst>
        </pc:spChg>
      </pc:sldChg>
      <pc:sldChg chg="addSp delSp modSp new add mod modClrScheme chgLayout">
        <pc:chgData name="Grace, Morgan (Brisbane)" userId="221d5f7b-4a46-4bd5-bdf1-698d3a91c208" providerId="ADAL" clId="{0F17E103-5B43-4653-B68E-0742D106494B}" dt="2024-06-04T01:09:35.039" v="2165"/>
        <pc:sldMkLst>
          <pc:docMk/>
          <pc:sldMk cId="3270237152" sldId="600"/>
        </pc:sldMkLst>
        <pc:spChg chg="mod ord">
          <ac:chgData name="Grace, Morgan (Brisbane)" userId="221d5f7b-4a46-4bd5-bdf1-698d3a91c208" providerId="ADAL" clId="{0F17E103-5B43-4653-B68E-0742D106494B}" dt="2024-06-04T00:47:08.992" v="2074"/>
          <ac:spMkLst>
            <pc:docMk/>
            <pc:sldMk cId="3270237152" sldId="600"/>
            <ac:spMk id="2" creationId="{C1E0C783-C1A7-4C16-8161-C0B0A65BA529}"/>
          </ac:spMkLst>
        </pc:spChg>
        <pc:spChg chg="mod ord">
          <ac:chgData name="Grace, Morgan (Brisbane)" userId="221d5f7b-4a46-4bd5-bdf1-698d3a91c208" providerId="ADAL" clId="{0F17E103-5B43-4653-B68E-0742D106494B}" dt="2024-06-04T00:47:08.992" v="2074"/>
          <ac:spMkLst>
            <pc:docMk/>
            <pc:sldMk cId="3270237152" sldId="600"/>
            <ac:spMk id="3" creationId="{1A3BA682-1A11-452A-ACA1-03662AF854B9}"/>
          </ac:spMkLst>
        </pc:spChg>
        <pc:spChg chg="add del mod ord">
          <ac:chgData name="Grace, Morgan (Brisbane)" userId="221d5f7b-4a46-4bd5-bdf1-698d3a91c208" providerId="ADAL" clId="{0F17E103-5B43-4653-B68E-0742D106494B}" dt="2024-06-04T01:07:34.109" v="2125" actId="20577"/>
          <ac:spMkLst>
            <pc:docMk/>
            <pc:sldMk cId="3270237152" sldId="600"/>
            <ac:spMk id="4" creationId="{52A6BA5E-4D24-4550-B96C-1B272D6DCEEF}"/>
          </ac:spMkLst>
        </pc:spChg>
        <pc:spChg chg="add del mod">
          <ac:chgData name="Grace, Morgan (Brisbane)" userId="221d5f7b-4a46-4bd5-bdf1-698d3a91c208" providerId="ADAL" clId="{0F17E103-5B43-4653-B68E-0742D106494B}" dt="2024-06-04T00:39:40.557" v="1057"/>
          <ac:spMkLst>
            <pc:docMk/>
            <pc:sldMk cId="3270237152" sldId="600"/>
            <ac:spMk id="6" creationId="{A6DD0CBF-37DE-4728-A0A3-CC1CA82192FE}"/>
          </ac:spMkLst>
        </pc:spChg>
        <pc:spChg chg="add del">
          <ac:chgData name="Grace, Morgan (Brisbane)" userId="221d5f7b-4a46-4bd5-bdf1-698d3a91c208" providerId="ADAL" clId="{0F17E103-5B43-4653-B68E-0742D106494B}" dt="2024-06-04T00:40:07.449" v="1088"/>
          <ac:spMkLst>
            <pc:docMk/>
            <pc:sldMk cId="3270237152" sldId="600"/>
            <ac:spMk id="7" creationId="{BE1D66AB-D1F0-4666-BFBF-6DFF79FD16F0}"/>
          </ac:spMkLst>
        </pc:spChg>
        <pc:spChg chg="add del mod modVis">
          <ac:chgData name="Grace, Morgan (Brisbane)" userId="221d5f7b-4a46-4bd5-bdf1-698d3a91c208" providerId="ADAL" clId="{0F17E103-5B43-4653-B68E-0742D106494B}" dt="2024-06-04T00:44:51.708" v="1970"/>
          <ac:spMkLst>
            <pc:docMk/>
            <pc:sldMk cId="3270237152" sldId="600"/>
            <ac:spMk id="8" creationId="{EA64AE33-60EF-4559-82F3-AA2340E7FC5A}"/>
          </ac:spMkLst>
        </pc:spChg>
        <pc:spChg chg="add del mod modVis">
          <ac:chgData name="Grace, Morgan (Brisbane)" userId="221d5f7b-4a46-4bd5-bdf1-698d3a91c208" providerId="ADAL" clId="{0F17E103-5B43-4653-B68E-0742D106494B}" dt="2024-06-04T00:44:55.924" v="2013"/>
          <ac:spMkLst>
            <pc:docMk/>
            <pc:sldMk cId="3270237152" sldId="600"/>
            <ac:spMk id="9" creationId="{663FFD9E-12CA-44FB-AB3C-47A2DC15C614}"/>
          </ac:spMkLst>
        </pc:spChg>
        <pc:spChg chg="add mod ord">
          <ac:chgData name="Grace, Morgan (Brisbane)" userId="221d5f7b-4a46-4bd5-bdf1-698d3a91c208" providerId="ADAL" clId="{0F17E103-5B43-4653-B68E-0742D106494B}" dt="2024-06-04T01:09:35.039" v="2165"/>
          <ac:spMkLst>
            <pc:docMk/>
            <pc:sldMk cId="3270237152" sldId="600"/>
            <ac:spMk id="10" creationId="{894A4056-DBC9-4E7D-81C3-E61D596AC1C4}"/>
          </ac:spMkLst>
        </pc:spChg>
        <pc:graphicFrameChg chg="add mod ord modVis">
          <ac:chgData name="Grace, Morgan (Brisbane)" userId="221d5f7b-4a46-4bd5-bdf1-698d3a91c208" providerId="ADAL" clId="{0F17E103-5B43-4653-B68E-0742D106494B}" dt="2024-06-04T00:44:55.924" v="2015"/>
          <ac:graphicFrameMkLst>
            <pc:docMk/>
            <pc:sldMk cId="3270237152" sldId="600"/>
            <ac:graphicFrameMk id="5" creationId="{30D3245C-2F72-44F6-97CC-31945DE6D65A}"/>
          </ac:graphicFrameMkLst>
        </pc:graphicFrameChg>
      </pc:sldChg>
      <pc:sldChg chg="addSp delSp modSp add mod modClrScheme chgLayout">
        <pc:chgData name="Grace, Morgan (Brisbane)" userId="221d5f7b-4a46-4bd5-bdf1-698d3a91c208" providerId="ADAL" clId="{0F17E103-5B43-4653-B68E-0742D106494B}" dt="2024-06-04T00:47:15.684" v="2076"/>
        <pc:sldMkLst>
          <pc:docMk/>
          <pc:sldMk cId="60787988" sldId="601"/>
        </pc:sldMkLst>
        <pc:spChg chg="mod ord">
          <ac:chgData name="Grace, Morgan (Brisbane)" userId="221d5f7b-4a46-4bd5-bdf1-698d3a91c208" providerId="ADAL" clId="{0F17E103-5B43-4653-B68E-0742D106494B}" dt="2024-06-04T00:47:15.684" v="2076"/>
          <ac:spMkLst>
            <pc:docMk/>
            <pc:sldMk cId="60787988" sldId="601"/>
            <ac:spMk id="2" creationId="{C1E0C783-C1A7-4C16-8161-C0B0A65BA529}"/>
          </ac:spMkLst>
        </pc:spChg>
        <pc:spChg chg="mod ord">
          <ac:chgData name="Grace, Morgan (Brisbane)" userId="221d5f7b-4a46-4bd5-bdf1-698d3a91c208" providerId="ADAL" clId="{0F17E103-5B43-4653-B68E-0742D106494B}" dt="2024-06-04T00:47:15.684" v="2076"/>
          <ac:spMkLst>
            <pc:docMk/>
            <pc:sldMk cId="60787988" sldId="601"/>
            <ac:spMk id="3" creationId="{1A3BA682-1A11-452A-ACA1-03662AF854B9}"/>
          </ac:spMkLst>
        </pc:spChg>
        <pc:spChg chg="mod ord">
          <ac:chgData name="Grace, Morgan (Brisbane)" userId="221d5f7b-4a46-4bd5-bdf1-698d3a91c208" providerId="ADAL" clId="{0F17E103-5B43-4653-B68E-0742D106494B}" dt="2024-06-04T00:47:15.684" v="2076"/>
          <ac:spMkLst>
            <pc:docMk/>
            <pc:sldMk cId="60787988" sldId="601"/>
            <ac:spMk id="4" creationId="{52A6BA5E-4D24-4550-B96C-1B272D6DCEEF}"/>
          </ac:spMkLst>
        </pc:spChg>
        <pc:spChg chg="add del mod modVis">
          <ac:chgData name="Grace, Morgan (Brisbane)" userId="221d5f7b-4a46-4bd5-bdf1-698d3a91c208" providerId="ADAL" clId="{0F17E103-5B43-4653-B68E-0742D106494B}" dt="2024-06-04T00:40:19.284" v="1119"/>
          <ac:spMkLst>
            <pc:docMk/>
            <pc:sldMk cId="60787988" sldId="601"/>
            <ac:spMk id="5" creationId="{D2B21845-64D3-4E3D-87AC-4085905E62C3}"/>
          </ac:spMkLst>
        </pc:spChg>
        <pc:spChg chg="add del mod modVis">
          <ac:chgData name="Grace, Morgan (Brisbane)" userId="221d5f7b-4a46-4bd5-bdf1-698d3a91c208" providerId="ADAL" clId="{0F17E103-5B43-4653-B68E-0742D106494B}" dt="2024-06-04T00:40:22.810" v="1178"/>
          <ac:spMkLst>
            <pc:docMk/>
            <pc:sldMk cId="60787988" sldId="601"/>
            <ac:spMk id="7" creationId="{7D7A6FE5-5E59-4B1A-AAB5-4AC2E35C7CF9}"/>
          </ac:spMkLst>
        </pc:spChg>
        <pc:spChg chg="add mod ord">
          <ac:chgData name="Grace, Morgan (Brisbane)" userId="221d5f7b-4a46-4bd5-bdf1-698d3a91c208" providerId="ADAL" clId="{0F17E103-5B43-4653-B68E-0742D106494B}" dt="2024-06-04T00:47:15.684" v="2076"/>
          <ac:spMkLst>
            <pc:docMk/>
            <pc:sldMk cId="60787988" sldId="601"/>
            <ac:spMk id="8" creationId="{3C576A7B-B586-4568-B7CA-79A83E25F3D4}"/>
          </ac:spMkLst>
        </pc:spChg>
        <pc:graphicFrameChg chg="add mod ord modVis">
          <ac:chgData name="Grace, Morgan (Brisbane)" userId="221d5f7b-4a46-4bd5-bdf1-698d3a91c208" providerId="ADAL" clId="{0F17E103-5B43-4653-B68E-0742D106494B}" dt="2024-06-04T00:40:22.810" v="1180"/>
          <ac:graphicFrameMkLst>
            <pc:docMk/>
            <pc:sldMk cId="60787988" sldId="601"/>
            <ac:graphicFrameMk id="6" creationId="{D920DEBB-19BC-488A-BB33-BC51770E3AF5}"/>
          </ac:graphicFrameMkLst>
        </pc:graphicFrameChg>
      </pc:sldChg>
      <pc:sldChg chg="addSp delSp modSp add mod modClrScheme chgLayout">
        <pc:chgData name="Grace, Morgan (Brisbane)" userId="221d5f7b-4a46-4bd5-bdf1-698d3a91c208" providerId="ADAL" clId="{0F17E103-5B43-4653-B68E-0742D106494B}" dt="2024-06-04T01:09:42.108" v="2166"/>
        <pc:sldMkLst>
          <pc:docMk/>
          <pc:sldMk cId="2973225441" sldId="602"/>
        </pc:sldMkLst>
        <pc:spChg chg="mod ord">
          <ac:chgData name="Grace, Morgan (Brisbane)" userId="221d5f7b-4a46-4bd5-bdf1-698d3a91c208" providerId="ADAL" clId="{0F17E103-5B43-4653-B68E-0742D106494B}" dt="2024-06-04T00:47:15.684" v="2076"/>
          <ac:spMkLst>
            <pc:docMk/>
            <pc:sldMk cId="2973225441" sldId="602"/>
            <ac:spMk id="2" creationId="{C1E0C783-C1A7-4C16-8161-C0B0A65BA529}"/>
          </ac:spMkLst>
        </pc:spChg>
        <pc:spChg chg="mod ord">
          <ac:chgData name="Grace, Morgan (Brisbane)" userId="221d5f7b-4a46-4bd5-bdf1-698d3a91c208" providerId="ADAL" clId="{0F17E103-5B43-4653-B68E-0742D106494B}" dt="2024-06-04T00:47:15.684" v="2076"/>
          <ac:spMkLst>
            <pc:docMk/>
            <pc:sldMk cId="2973225441" sldId="602"/>
            <ac:spMk id="3" creationId="{1A3BA682-1A11-452A-ACA1-03662AF854B9}"/>
          </ac:spMkLst>
        </pc:spChg>
        <pc:spChg chg="mod ord">
          <ac:chgData name="Grace, Morgan (Brisbane)" userId="221d5f7b-4a46-4bd5-bdf1-698d3a91c208" providerId="ADAL" clId="{0F17E103-5B43-4653-B68E-0742D106494B}" dt="2024-06-04T00:47:15.684" v="2076"/>
          <ac:spMkLst>
            <pc:docMk/>
            <pc:sldMk cId="2973225441" sldId="602"/>
            <ac:spMk id="4" creationId="{52A6BA5E-4D24-4550-B96C-1B272D6DCEEF}"/>
          </ac:spMkLst>
        </pc:spChg>
        <pc:spChg chg="add del mod modVis">
          <ac:chgData name="Grace, Morgan (Brisbane)" userId="221d5f7b-4a46-4bd5-bdf1-698d3a91c208" providerId="ADAL" clId="{0F17E103-5B43-4653-B68E-0742D106494B}" dt="2024-06-04T00:41:06.753" v="1235"/>
          <ac:spMkLst>
            <pc:docMk/>
            <pc:sldMk cId="2973225441" sldId="602"/>
            <ac:spMk id="5" creationId="{D1FDA7BC-C6FD-4581-9A09-FC83ADC0D97D}"/>
          </ac:spMkLst>
        </pc:spChg>
        <pc:spChg chg="add del mod modVis">
          <ac:chgData name="Grace, Morgan (Brisbane)" userId="221d5f7b-4a46-4bd5-bdf1-698d3a91c208" providerId="ADAL" clId="{0F17E103-5B43-4653-B68E-0742D106494B}" dt="2024-06-04T00:41:09.394" v="1287"/>
          <ac:spMkLst>
            <pc:docMk/>
            <pc:sldMk cId="2973225441" sldId="602"/>
            <ac:spMk id="7" creationId="{9D99D37A-019E-4D0E-9660-A08AFE1DF35D}"/>
          </ac:spMkLst>
        </pc:spChg>
        <pc:spChg chg="add mod ord">
          <ac:chgData name="Grace, Morgan (Brisbane)" userId="221d5f7b-4a46-4bd5-bdf1-698d3a91c208" providerId="ADAL" clId="{0F17E103-5B43-4653-B68E-0742D106494B}" dt="2024-06-04T01:09:42.108" v="2166"/>
          <ac:spMkLst>
            <pc:docMk/>
            <pc:sldMk cId="2973225441" sldId="602"/>
            <ac:spMk id="8" creationId="{12DEDA01-48D4-4AEC-A281-9F119E4DDA7C}"/>
          </ac:spMkLst>
        </pc:spChg>
        <pc:graphicFrameChg chg="add mod ord modVis">
          <ac:chgData name="Grace, Morgan (Brisbane)" userId="221d5f7b-4a46-4bd5-bdf1-698d3a91c208" providerId="ADAL" clId="{0F17E103-5B43-4653-B68E-0742D106494B}" dt="2024-06-04T00:41:09.395" v="1289"/>
          <ac:graphicFrameMkLst>
            <pc:docMk/>
            <pc:sldMk cId="2973225441" sldId="602"/>
            <ac:graphicFrameMk id="6" creationId="{CF0DE03F-4A9E-4211-865E-9C5ABC9CB821}"/>
          </ac:graphicFrameMkLst>
        </pc:graphicFrameChg>
      </pc:sldChg>
      <pc:sldChg chg="addSp delSp modSp add mod modClrScheme chgLayout">
        <pc:chgData name="Grace, Morgan (Brisbane)" userId="221d5f7b-4a46-4bd5-bdf1-698d3a91c208" providerId="ADAL" clId="{0F17E103-5B43-4653-B68E-0742D106494B}" dt="2024-06-04T01:09:48.556" v="2167"/>
        <pc:sldMkLst>
          <pc:docMk/>
          <pc:sldMk cId="1544571019" sldId="603"/>
        </pc:sldMkLst>
        <pc:spChg chg="mod ord">
          <ac:chgData name="Grace, Morgan (Brisbane)" userId="221d5f7b-4a46-4bd5-bdf1-698d3a91c208" providerId="ADAL" clId="{0F17E103-5B43-4653-B68E-0742D106494B}" dt="2024-06-04T00:47:15.684" v="2076"/>
          <ac:spMkLst>
            <pc:docMk/>
            <pc:sldMk cId="1544571019" sldId="603"/>
            <ac:spMk id="2" creationId="{C1E0C783-C1A7-4C16-8161-C0B0A65BA529}"/>
          </ac:spMkLst>
        </pc:spChg>
        <pc:spChg chg="mod ord">
          <ac:chgData name="Grace, Morgan (Brisbane)" userId="221d5f7b-4a46-4bd5-bdf1-698d3a91c208" providerId="ADAL" clId="{0F17E103-5B43-4653-B68E-0742D106494B}" dt="2024-06-04T00:47:15.684" v="2076"/>
          <ac:spMkLst>
            <pc:docMk/>
            <pc:sldMk cId="1544571019" sldId="603"/>
            <ac:spMk id="3" creationId="{1A3BA682-1A11-452A-ACA1-03662AF854B9}"/>
          </ac:spMkLst>
        </pc:spChg>
        <pc:spChg chg="mod ord">
          <ac:chgData name="Grace, Morgan (Brisbane)" userId="221d5f7b-4a46-4bd5-bdf1-698d3a91c208" providerId="ADAL" clId="{0F17E103-5B43-4653-B68E-0742D106494B}" dt="2024-06-04T00:47:15.684" v="2076"/>
          <ac:spMkLst>
            <pc:docMk/>
            <pc:sldMk cId="1544571019" sldId="603"/>
            <ac:spMk id="4" creationId="{52A6BA5E-4D24-4550-B96C-1B272D6DCEEF}"/>
          </ac:spMkLst>
        </pc:spChg>
        <pc:spChg chg="add del mod modVis">
          <ac:chgData name="Grace, Morgan (Brisbane)" userId="221d5f7b-4a46-4bd5-bdf1-698d3a91c208" providerId="ADAL" clId="{0F17E103-5B43-4653-B68E-0742D106494B}" dt="2024-06-04T00:41:28.213" v="1355"/>
          <ac:spMkLst>
            <pc:docMk/>
            <pc:sldMk cId="1544571019" sldId="603"/>
            <ac:spMk id="6" creationId="{DFC91559-9F17-4B66-81C8-D938B9971D7A}"/>
          </ac:spMkLst>
        </pc:spChg>
        <pc:spChg chg="add mod ord">
          <ac:chgData name="Grace, Morgan (Brisbane)" userId="221d5f7b-4a46-4bd5-bdf1-698d3a91c208" providerId="ADAL" clId="{0F17E103-5B43-4653-B68E-0742D106494B}" dt="2024-06-04T01:09:48.556" v="2167"/>
          <ac:spMkLst>
            <pc:docMk/>
            <pc:sldMk cId="1544571019" sldId="603"/>
            <ac:spMk id="7" creationId="{78C30762-5DD3-40AF-97FB-8EE9816DB0FD}"/>
          </ac:spMkLst>
        </pc:spChg>
        <pc:graphicFrameChg chg="add mod ord modVis">
          <ac:chgData name="Grace, Morgan (Brisbane)" userId="221d5f7b-4a46-4bd5-bdf1-698d3a91c208" providerId="ADAL" clId="{0F17E103-5B43-4653-B68E-0742D106494B}" dt="2024-06-04T00:41:28.213" v="1357"/>
          <ac:graphicFrameMkLst>
            <pc:docMk/>
            <pc:sldMk cId="1544571019" sldId="603"/>
            <ac:graphicFrameMk id="5" creationId="{825AFD8B-E08C-4ACB-B3A9-30EE1C0E2D08}"/>
          </ac:graphicFrameMkLst>
        </pc:graphicFrameChg>
      </pc:sldChg>
      <pc:sldChg chg="addSp delSp modSp add mod modClrScheme chgLayout">
        <pc:chgData name="Grace, Morgan (Brisbane)" userId="221d5f7b-4a46-4bd5-bdf1-698d3a91c208" providerId="ADAL" clId="{0F17E103-5B43-4653-B68E-0742D106494B}" dt="2024-06-04T01:09:53.994" v="2168"/>
        <pc:sldMkLst>
          <pc:docMk/>
          <pc:sldMk cId="3640700558" sldId="604"/>
        </pc:sldMkLst>
        <pc:spChg chg="mod ord">
          <ac:chgData name="Grace, Morgan (Brisbane)" userId="221d5f7b-4a46-4bd5-bdf1-698d3a91c208" providerId="ADAL" clId="{0F17E103-5B43-4653-B68E-0742D106494B}" dt="2024-06-04T00:47:15.684" v="2076"/>
          <ac:spMkLst>
            <pc:docMk/>
            <pc:sldMk cId="3640700558" sldId="604"/>
            <ac:spMk id="2" creationId="{C1E0C783-C1A7-4C16-8161-C0B0A65BA529}"/>
          </ac:spMkLst>
        </pc:spChg>
        <pc:spChg chg="mod ord">
          <ac:chgData name="Grace, Morgan (Brisbane)" userId="221d5f7b-4a46-4bd5-bdf1-698d3a91c208" providerId="ADAL" clId="{0F17E103-5B43-4653-B68E-0742D106494B}" dt="2024-06-04T00:47:15.684" v="2076"/>
          <ac:spMkLst>
            <pc:docMk/>
            <pc:sldMk cId="3640700558" sldId="604"/>
            <ac:spMk id="3" creationId="{1A3BA682-1A11-452A-ACA1-03662AF854B9}"/>
          </ac:spMkLst>
        </pc:spChg>
        <pc:spChg chg="mod ord">
          <ac:chgData name="Grace, Morgan (Brisbane)" userId="221d5f7b-4a46-4bd5-bdf1-698d3a91c208" providerId="ADAL" clId="{0F17E103-5B43-4653-B68E-0742D106494B}" dt="2024-06-04T00:47:15.684" v="2076"/>
          <ac:spMkLst>
            <pc:docMk/>
            <pc:sldMk cId="3640700558" sldId="604"/>
            <ac:spMk id="4" creationId="{52A6BA5E-4D24-4550-B96C-1B272D6DCEEF}"/>
          </ac:spMkLst>
        </pc:spChg>
        <pc:spChg chg="add del mod modVis">
          <ac:chgData name="Grace, Morgan (Brisbane)" userId="221d5f7b-4a46-4bd5-bdf1-698d3a91c208" providerId="ADAL" clId="{0F17E103-5B43-4653-B68E-0742D106494B}" dt="2024-06-04T00:41:41.439" v="1392"/>
          <ac:spMkLst>
            <pc:docMk/>
            <pc:sldMk cId="3640700558" sldId="604"/>
            <ac:spMk id="5" creationId="{34AB6669-A84D-424E-BFB1-9C6E52AA15E3}"/>
          </ac:spMkLst>
        </pc:spChg>
        <pc:spChg chg="add del mod modVis">
          <ac:chgData name="Grace, Morgan (Brisbane)" userId="221d5f7b-4a46-4bd5-bdf1-698d3a91c208" providerId="ADAL" clId="{0F17E103-5B43-4653-B68E-0742D106494B}" dt="2024-06-04T00:41:47.003" v="1465"/>
          <ac:spMkLst>
            <pc:docMk/>
            <pc:sldMk cId="3640700558" sldId="604"/>
            <ac:spMk id="7" creationId="{3A2685C9-EA90-444A-B141-85FA70DAE2FA}"/>
          </ac:spMkLst>
        </pc:spChg>
        <pc:spChg chg="add mod ord">
          <ac:chgData name="Grace, Morgan (Brisbane)" userId="221d5f7b-4a46-4bd5-bdf1-698d3a91c208" providerId="ADAL" clId="{0F17E103-5B43-4653-B68E-0742D106494B}" dt="2024-06-04T01:09:53.994" v="2168"/>
          <ac:spMkLst>
            <pc:docMk/>
            <pc:sldMk cId="3640700558" sldId="604"/>
            <ac:spMk id="8" creationId="{FC3C61F0-1536-423B-9577-CCEFD0123D94}"/>
          </ac:spMkLst>
        </pc:spChg>
        <pc:graphicFrameChg chg="add mod ord modVis">
          <ac:chgData name="Grace, Morgan (Brisbane)" userId="221d5f7b-4a46-4bd5-bdf1-698d3a91c208" providerId="ADAL" clId="{0F17E103-5B43-4653-B68E-0742D106494B}" dt="2024-06-04T00:41:47.003" v="1467"/>
          <ac:graphicFrameMkLst>
            <pc:docMk/>
            <pc:sldMk cId="3640700558" sldId="604"/>
            <ac:graphicFrameMk id="6" creationId="{44A1C16C-2003-47F1-BAF1-138B351CAA9C}"/>
          </ac:graphicFrameMkLst>
        </pc:graphicFrameChg>
      </pc:sldChg>
      <pc:sldChg chg="addSp delSp modSp add mod modClrScheme chgLayout">
        <pc:chgData name="Grace, Morgan (Brisbane)" userId="221d5f7b-4a46-4bd5-bdf1-698d3a91c208" providerId="ADAL" clId="{0F17E103-5B43-4653-B68E-0742D106494B}" dt="2024-06-04T01:10:05.758" v="2171"/>
        <pc:sldMkLst>
          <pc:docMk/>
          <pc:sldMk cId="2196723608" sldId="605"/>
        </pc:sldMkLst>
        <pc:spChg chg="mod ord">
          <ac:chgData name="Grace, Morgan (Brisbane)" userId="221d5f7b-4a46-4bd5-bdf1-698d3a91c208" providerId="ADAL" clId="{0F17E103-5B43-4653-B68E-0742D106494B}" dt="2024-06-04T00:47:15.684" v="2076"/>
          <ac:spMkLst>
            <pc:docMk/>
            <pc:sldMk cId="2196723608" sldId="605"/>
            <ac:spMk id="2" creationId="{C1E0C783-C1A7-4C16-8161-C0B0A65BA529}"/>
          </ac:spMkLst>
        </pc:spChg>
        <pc:spChg chg="mod ord">
          <ac:chgData name="Grace, Morgan (Brisbane)" userId="221d5f7b-4a46-4bd5-bdf1-698d3a91c208" providerId="ADAL" clId="{0F17E103-5B43-4653-B68E-0742D106494B}" dt="2024-06-04T00:47:15.684" v="2076"/>
          <ac:spMkLst>
            <pc:docMk/>
            <pc:sldMk cId="2196723608" sldId="605"/>
            <ac:spMk id="3" creationId="{1A3BA682-1A11-452A-ACA1-03662AF854B9}"/>
          </ac:spMkLst>
        </pc:spChg>
        <pc:spChg chg="add del mod ord">
          <ac:chgData name="Grace, Morgan (Brisbane)" userId="221d5f7b-4a46-4bd5-bdf1-698d3a91c208" providerId="ADAL" clId="{0F17E103-5B43-4653-B68E-0742D106494B}" dt="2024-06-04T00:47:15.684" v="2076"/>
          <ac:spMkLst>
            <pc:docMk/>
            <pc:sldMk cId="2196723608" sldId="605"/>
            <ac:spMk id="4" creationId="{52A6BA5E-4D24-4550-B96C-1B272D6DCEEF}"/>
          </ac:spMkLst>
        </pc:spChg>
        <pc:spChg chg="add del mod modVis">
          <ac:chgData name="Grace, Morgan (Brisbane)" userId="221d5f7b-4a46-4bd5-bdf1-698d3a91c208" providerId="ADAL" clId="{0F17E103-5B43-4653-B68E-0742D106494B}" dt="2024-06-04T00:42:04.882" v="1514"/>
          <ac:spMkLst>
            <pc:docMk/>
            <pc:sldMk cId="2196723608" sldId="605"/>
            <ac:spMk id="5" creationId="{CB7BA616-1A3F-4B48-8E0E-B46D7B1C16BC}"/>
          </ac:spMkLst>
        </pc:spChg>
        <pc:spChg chg="add del mod modVis">
          <ac:chgData name="Grace, Morgan (Brisbane)" userId="221d5f7b-4a46-4bd5-bdf1-698d3a91c208" providerId="ADAL" clId="{0F17E103-5B43-4653-B68E-0742D106494B}" dt="2024-06-04T00:42:05.763" v="1554"/>
          <ac:spMkLst>
            <pc:docMk/>
            <pc:sldMk cId="2196723608" sldId="605"/>
            <ac:spMk id="7" creationId="{DFD579DC-5187-4C30-B5B5-2CE513CAA5FB}"/>
          </ac:spMkLst>
        </pc:spChg>
        <pc:spChg chg="add del mod modVis">
          <ac:chgData name="Grace, Morgan (Brisbane)" userId="221d5f7b-4a46-4bd5-bdf1-698d3a91c208" providerId="ADAL" clId="{0F17E103-5B43-4653-B68E-0742D106494B}" dt="2024-06-04T00:42:08.008" v="1595"/>
          <ac:spMkLst>
            <pc:docMk/>
            <pc:sldMk cId="2196723608" sldId="605"/>
            <ac:spMk id="8" creationId="{34631DBB-1184-43F6-A1EB-A01B48A71048}"/>
          </ac:spMkLst>
        </pc:spChg>
        <pc:spChg chg="add del mod modVis">
          <ac:chgData name="Grace, Morgan (Brisbane)" userId="221d5f7b-4a46-4bd5-bdf1-698d3a91c208" providerId="ADAL" clId="{0F17E103-5B43-4653-B68E-0742D106494B}" dt="2024-06-04T00:42:08.572" v="1621"/>
          <ac:spMkLst>
            <pc:docMk/>
            <pc:sldMk cId="2196723608" sldId="605"/>
            <ac:spMk id="9" creationId="{D6F13C3B-1D76-4777-8278-812747F084BF}"/>
          </ac:spMkLst>
        </pc:spChg>
        <pc:spChg chg="add del mod modVis">
          <ac:chgData name="Grace, Morgan (Brisbane)" userId="221d5f7b-4a46-4bd5-bdf1-698d3a91c208" providerId="ADAL" clId="{0F17E103-5B43-4653-B68E-0742D106494B}" dt="2024-06-04T00:42:12.864" v="1667"/>
          <ac:spMkLst>
            <pc:docMk/>
            <pc:sldMk cId="2196723608" sldId="605"/>
            <ac:spMk id="10" creationId="{806B1D36-8BCB-4139-A23C-FA4917B468C6}"/>
          </ac:spMkLst>
        </pc:spChg>
        <pc:spChg chg="add del mod modVis">
          <ac:chgData name="Grace, Morgan (Brisbane)" userId="221d5f7b-4a46-4bd5-bdf1-698d3a91c208" providerId="ADAL" clId="{0F17E103-5B43-4653-B68E-0742D106494B}" dt="2024-06-04T00:42:14.550" v="1699"/>
          <ac:spMkLst>
            <pc:docMk/>
            <pc:sldMk cId="2196723608" sldId="605"/>
            <ac:spMk id="11" creationId="{A038CCDD-1651-4546-A878-12B0CFBED08B}"/>
          </ac:spMkLst>
        </pc:spChg>
        <pc:spChg chg="add del mod">
          <ac:chgData name="Grace, Morgan (Brisbane)" userId="221d5f7b-4a46-4bd5-bdf1-698d3a91c208" providerId="ADAL" clId="{0F17E103-5B43-4653-B68E-0742D106494B}" dt="2024-06-04T00:42:21.389" v="1703"/>
          <ac:spMkLst>
            <pc:docMk/>
            <pc:sldMk cId="2196723608" sldId="605"/>
            <ac:spMk id="12" creationId="{1AAE99BE-35FD-4228-A972-1688F0E79ACA}"/>
          </ac:spMkLst>
        </pc:spChg>
        <pc:spChg chg="add del mod modVis">
          <ac:chgData name="Grace, Morgan (Brisbane)" userId="221d5f7b-4a46-4bd5-bdf1-698d3a91c208" providerId="ADAL" clId="{0F17E103-5B43-4653-B68E-0742D106494B}" dt="2024-06-04T00:45:31.137" v="2039"/>
          <ac:spMkLst>
            <pc:docMk/>
            <pc:sldMk cId="2196723608" sldId="605"/>
            <ac:spMk id="13" creationId="{5B001C2B-656B-4CC5-AB41-0B56C2CEAB91}"/>
          </ac:spMkLst>
        </pc:spChg>
        <pc:spChg chg="add mod ord">
          <ac:chgData name="Grace, Morgan (Brisbane)" userId="221d5f7b-4a46-4bd5-bdf1-698d3a91c208" providerId="ADAL" clId="{0F17E103-5B43-4653-B68E-0742D106494B}" dt="2024-06-04T01:10:05.758" v="2171"/>
          <ac:spMkLst>
            <pc:docMk/>
            <pc:sldMk cId="2196723608" sldId="605"/>
            <ac:spMk id="14" creationId="{0E6DE341-191D-4A77-A2CC-1FED7A4A1047}"/>
          </ac:spMkLst>
        </pc:spChg>
        <pc:graphicFrameChg chg="add mod ord modVis">
          <ac:chgData name="Grace, Morgan (Brisbane)" userId="221d5f7b-4a46-4bd5-bdf1-698d3a91c208" providerId="ADAL" clId="{0F17E103-5B43-4653-B68E-0742D106494B}" dt="2024-06-04T00:45:31.153" v="2041"/>
          <ac:graphicFrameMkLst>
            <pc:docMk/>
            <pc:sldMk cId="2196723608" sldId="605"/>
            <ac:graphicFrameMk id="6" creationId="{C3D55862-B143-4E9B-B3C7-9527C1E53B1D}"/>
          </ac:graphicFrameMkLst>
        </pc:graphicFrameChg>
      </pc:sldChg>
      <pc:sldChg chg="addSp delSp modSp new add del mod">
        <pc:chgData name="Grace, Morgan (Brisbane)" userId="221d5f7b-4a46-4bd5-bdf1-698d3a91c208" providerId="ADAL" clId="{0F17E103-5B43-4653-B68E-0742D106494B}" dt="2024-06-04T00:39:01.826" v="1026" actId="2696"/>
        <pc:sldMkLst>
          <pc:docMk/>
          <pc:sldMk cId="3895640450" sldId="606"/>
        </pc:sldMkLst>
        <pc:spChg chg="del mod">
          <ac:chgData name="Grace, Morgan (Brisbane)" userId="221d5f7b-4a46-4bd5-bdf1-698d3a91c208" providerId="ADAL" clId="{0F17E103-5B43-4653-B68E-0742D106494B}" dt="2024-06-04T00:36:31.412" v="671" actId="21"/>
          <ac:spMkLst>
            <pc:docMk/>
            <pc:sldMk cId="3895640450" sldId="606"/>
            <ac:spMk id="2" creationId="{01B578D7-B5F1-449A-B03F-8800892071BD}"/>
          </ac:spMkLst>
        </pc:spChg>
        <pc:spChg chg="add mod">
          <ac:chgData name="Grace, Morgan (Brisbane)" userId="221d5f7b-4a46-4bd5-bdf1-698d3a91c208" providerId="ADAL" clId="{0F17E103-5B43-4653-B68E-0742D106494B}" dt="2024-06-04T00:36:31.412" v="671" actId="21"/>
          <ac:spMkLst>
            <pc:docMk/>
            <pc:sldMk cId="3895640450" sldId="606"/>
            <ac:spMk id="10" creationId="{CBFC734A-7561-4F07-BA46-CD21DF21A6F6}"/>
          </ac:spMkLst>
        </pc:spChg>
      </pc:sldChg>
      <pc:sldChg chg="new add del">
        <pc:chgData name="Grace, Morgan (Brisbane)" userId="221d5f7b-4a46-4bd5-bdf1-698d3a91c208" providerId="ADAL" clId="{0F17E103-5B43-4653-B68E-0742D106494B}" dt="2024-06-04T00:36:14.656" v="667" actId="2696"/>
        <pc:sldMkLst>
          <pc:docMk/>
          <pc:sldMk cId="1341441598" sldId="607"/>
        </pc:sldMkLst>
      </pc:sldChg>
      <pc:sldChg chg="new add del">
        <pc:chgData name="Grace, Morgan (Brisbane)" userId="221d5f7b-4a46-4bd5-bdf1-698d3a91c208" providerId="ADAL" clId="{0F17E103-5B43-4653-B68E-0742D106494B}" dt="2024-06-04T00:36:28.147" v="670" actId="47"/>
        <pc:sldMkLst>
          <pc:docMk/>
          <pc:sldMk cId="1256880465" sldId="608"/>
        </pc:sldMkLst>
      </pc:sldChg>
      <pc:sldChg chg="addSp modSp new add mod">
        <pc:chgData name="Grace, Morgan (Brisbane)" userId="221d5f7b-4a46-4bd5-bdf1-698d3a91c208" providerId="ADAL" clId="{0F17E103-5B43-4653-B68E-0742D106494B}" dt="2024-06-04T00:38:58.101" v="1025" actId="1076"/>
        <pc:sldMkLst>
          <pc:docMk/>
          <pc:sldMk cId="3603461109" sldId="609"/>
        </pc:sldMkLst>
        <pc:spChg chg="add mod">
          <ac:chgData name="Grace, Morgan (Brisbane)" userId="221d5f7b-4a46-4bd5-bdf1-698d3a91c208" providerId="ADAL" clId="{0F17E103-5B43-4653-B68E-0742D106494B}" dt="2024-06-04T00:38:58.101" v="1025" actId="1076"/>
          <ac:spMkLst>
            <pc:docMk/>
            <pc:sldMk cId="3603461109" sldId="609"/>
            <ac:spMk id="2" creationId="{1A97E502-F5A0-4C30-8C2C-00D665647210}"/>
          </ac:spMkLst>
        </pc:spChg>
      </pc:sldChg>
      <pc:sldChg chg="addSp delSp modSp add mod modClrScheme chgLayout">
        <pc:chgData name="Grace, Morgan (Brisbane)" userId="221d5f7b-4a46-4bd5-bdf1-698d3a91c208" providerId="ADAL" clId="{0F17E103-5B43-4653-B68E-0742D106494B}" dt="2024-06-04T01:10:15.216" v="2172"/>
        <pc:sldMkLst>
          <pc:docMk/>
          <pc:sldMk cId="456822617" sldId="610"/>
        </pc:sldMkLst>
        <pc:spChg chg="mod ord">
          <ac:chgData name="Grace, Morgan (Brisbane)" userId="221d5f7b-4a46-4bd5-bdf1-698d3a91c208" providerId="ADAL" clId="{0F17E103-5B43-4653-B68E-0742D106494B}" dt="2024-06-04T00:47:15.684" v="2076"/>
          <ac:spMkLst>
            <pc:docMk/>
            <pc:sldMk cId="456822617" sldId="610"/>
            <ac:spMk id="2" creationId="{C1E0C783-C1A7-4C16-8161-C0B0A65BA529}"/>
          </ac:spMkLst>
        </pc:spChg>
        <pc:spChg chg="mod ord">
          <ac:chgData name="Grace, Morgan (Brisbane)" userId="221d5f7b-4a46-4bd5-bdf1-698d3a91c208" providerId="ADAL" clId="{0F17E103-5B43-4653-B68E-0742D106494B}" dt="2024-06-04T00:47:15.684" v="2076"/>
          <ac:spMkLst>
            <pc:docMk/>
            <pc:sldMk cId="456822617" sldId="610"/>
            <ac:spMk id="3" creationId="{1A3BA682-1A11-452A-ACA1-03662AF854B9}"/>
          </ac:spMkLst>
        </pc:spChg>
        <pc:spChg chg="mod ord">
          <ac:chgData name="Grace, Morgan (Brisbane)" userId="221d5f7b-4a46-4bd5-bdf1-698d3a91c208" providerId="ADAL" clId="{0F17E103-5B43-4653-B68E-0742D106494B}" dt="2024-06-04T00:47:15.684" v="2076"/>
          <ac:spMkLst>
            <pc:docMk/>
            <pc:sldMk cId="456822617" sldId="610"/>
            <ac:spMk id="4" creationId="{52A6BA5E-4D24-4550-B96C-1B272D6DCEEF}"/>
          </ac:spMkLst>
        </pc:spChg>
        <pc:spChg chg="add del mod modVis">
          <ac:chgData name="Grace, Morgan (Brisbane)" userId="221d5f7b-4a46-4bd5-bdf1-698d3a91c208" providerId="ADAL" clId="{0F17E103-5B43-4653-B68E-0742D106494B}" dt="2024-06-04T00:42:34.416" v="1733"/>
          <ac:spMkLst>
            <pc:docMk/>
            <pc:sldMk cId="456822617" sldId="610"/>
            <ac:spMk id="5" creationId="{2A5B1ED5-B269-4470-BC64-7BE3F6FEC6C2}"/>
          </ac:spMkLst>
        </pc:spChg>
        <pc:spChg chg="add del mod modVis">
          <ac:chgData name="Grace, Morgan (Brisbane)" userId="221d5f7b-4a46-4bd5-bdf1-698d3a91c208" providerId="ADAL" clId="{0F17E103-5B43-4653-B68E-0742D106494B}" dt="2024-06-04T00:42:37.907" v="1765"/>
          <ac:spMkLst>
            <pc:docMk/>
            <pc:sldMk cId="456822617" sldId="610"/>
            <ac:spMk id="7" creationId="{B88364F9-3A1F-406B-B99F-C21BBCF324FD}"/>
          </ac:spMkLst>
        </pc:spChg>
        <pc:spChg chg="add del mod modVis">
          <ac:chgData name="Grace, Morgan (Brisbane)" userId="221d5f7b-4a46-4bd5-bdf1-698d3a91c208" providerId="ADAL" clId="{0F17E103-5B43-4653-B68E-0742D106494B}" dt="2024-06-04T00:42:38.976" v="1796"/>
          <ac:spMkLst>
            <pc:docMk/>
            <pc:sldMk cId="456822617" sldId="610"/>
            <ac:spMk id="8" creationId="{392709EB-A180-4341-9732-5F90E47264DE}"/>
          </ac:spMkLst>
        </pc:spChg>
        <pc:spChg chg="add del mod modVis">
          <ac:chgData name="Grace, Morgan (Brisbane)" userId="221d5f7b-4a46-4bd5-bdf1-698d3a91c208" providerId="ADAL" clId="{0F17E103-5B43-4653-B68E-0742D106494B}" dt="2024-06-04T00:42:42.146" v="1830"/>
          <ac:spMkLst>
            <pc:docMk/>
            <pc:sldMk cId="456822617" sldId="610"/>
            <ac:spMk id="9" creationId="{FB1342AA-0062-46C4-828F-440C7B8C3DA6}"/>
          </ac:spMkLst>
        </pc:spChg>
        <pc:spChg chg="add del mod modVis">
          <ac:chgData name="Grace, Morgan (Brisbane)" userId="221d5f7b-4a46-4bd5-bdf1-698d3a91c208" providerId="ADAL" clId="{0F17E103-5B43-4653-B68E-0742D106494B}" dt="2024-06-04T00:45:38.920" v="2065"/>
          <ac:spMkLst>
            <pc:docMk/>
            <pc:sldMk cId="456822617" sldId="610"/>
            <ac:spMk id="10" creationId="{B2D699E7-E523-458F-A081-876F47DCD0C2}"/>
          </ac:spMkLst>
        </pc:spChg>
        <pc:spChg chg="add mod ord">
          <ac:chgData name="Grace, Morgan (Brisbane)" userId="221d5f7b-4a46-4bd5-bdf1-698d3a91c208" providerId="ADAL" clId="{0F17E103-5B43-4653-B68E-0742D106494B}" dt="2024-06-04T01:10:15.216" v="2172"/>
          <ac:spMkLst>
            <pc:docMk/>
            <pc:sldMk cId="456822617" sldId="610"/>
            <ac:spMk id="11" creationId="{31DE6FC6-5491-46B6-AFE7-26E4A9AEFE73}"/>
          </ac:spMkLst>
        </pc:spChg>
        <pc:graphicFrameChg chg="mod">
          <ac:chgData name="Grace, Morgan (Brisbane)" userId="221d5f7b-4a46-4bd5-bdf1-698d3a91c208" providerId="ADAL" clId="{0F17E103-5B43-4653-B68E-0742D106494B}" dt="2024-06-04T00:45:38.920" v="2067"/>
          <ac:graphicFrameMkLst>
            <pc:docMk/>
            <pc:sldMk cId="456822617" sldId="610"/>
            <ac:graphicFrameMk id="6" creationId="{C3D55862-B143-4E9B-B3C7-9527C1E53B1D}"/>
          </ac:graphicFrameMkLst>
        </pc:graphicFrameChg>
      </pc:sldChg>
      <pc:sldChg chg="addSp delSp modSp add del mod modClrScheme chgLayout">
        <pc:chgData name="Grace, Morgan (Brisbane)" userId="221d5f7b-4a46-4bd5-bdf1-698d3a91c208" providerId="ADAL" clId="{0F17E103-5B43-4653-B68E-0742D106494B}" dt="2024-06-04T01:10:24.700" v="2173" actId="2696"/>
        <pc:sldMkLst>
          <pc:docMk/>
          <pc:sldMk cId="2829377973" sldId="611"/>
        </pc:sldMkLst>
        <pc:spChg chg="mod ord">
          <ac:chgData name="Grace, Morgan (Brisbane)" userId="221d5f7b-4a46-4bd5-bdf1-698d3a91c208" providerId="ADAL" clId="{0F17E103-5B43-4653-B68E-0742D106494B}" dt="2024-06-04T00:47:15.684" v="2076"/>
          <ac:spMkLst>
            <pc:docMk/>
            <pc:sldMk cId="2829377973" sldId="611"/>
            <ac:spMk id="2" creationId="{C1E0C783-C1A7-4C16-8161-C0B0A65BA529}"/>
          </ac:spMkLst>
        </pc:spChg>
        <pc:spChg chg="mod ord">
          <ac:chgData name="Grace, Morgan (Brisbane)" userId="221d5f7b-4a46-4bd5-bdf1-698d3a91c208" providerId="ADAL" clId="{0F17E103-5B43-4653-B68E-0742D106494B}" dt="2024-06-04T00:47:15.684" v="2076"/>
          <ac:spMkLst>
            <pc:docMk/>
            <pc:sldMk cId="2829377973" sldId="611"/>
            <ac:spMk id="3" creationId="{1A3BA682-1A11-452A-ACA1-03662AF854B9}"/>
          </ac:spMkLst>
        </pc:spChg>
        <pc:spChg chg="mod ord">
          <ac:chgData name="Grace, Morgan (Brisbane)" userId="221d5f7b-4a46-4bd5-bdf1-698d3a91c208" providerId="ADAL" clId="{0F17E103-5B43-4653-B68E-0742D106494B}" dt="2024-06-04T00:47:15.684" v="2076"/>
          <ac:spMkLst>
            <pc:docMk/>
            <pc:sldMk cId="2829377973" sldId="611"/>
            <ac:spMk id="4" creationId="{52A6BA5E-4D24-4550-B96C-1B272D6DCEEF}"/>
          </ac:spMkLst>
        </pc:spChg>
        <pc:spChg chg="add del mod modVis">
          <ac:chgData name="Grace, Morgan (Brisbane)" userId="221d5f7b-4a46-4bd5-bdf1-698d3a91c208" providerId="ADAL" clId="{0F17E103-5B43-4653-B68E-0742D106494B}" dt="2024-06-04T00:43:10.022" v="1869"/>
          <ac:spMkLst>
            <pc:docMk/>
            <pc:sldMk cId="2829377973" sldId="611"/>
            <ac:spMk id="5" creationId="{BBBF0226-8F17-498C-8E5D-53422F5B5E9E}"/>
          </ac:spMkLst>
        </pc:spChg>
        <pc:spChg chg="add del mod modVis">
          <ac:chgData name="Grace, Morgan (Brisbane)" userId="221d5f7b-4a46-4bd5-bdf1-698d3a91c208" providerId="ADAL" clId="{0F17E103-5B43-4653-B68E-0742D106494B}" dt="2024-06-04T00:43:11.310" v="1900"/>
          <ac:spMkLst>
            <pc:docMk/>
            <pc:sldMk cId="2829377973" sldId="611"/>
            <ac:spMk id="7" creationId="{7102AB5D-E2AA-4364-8936-B52FFAF9B1B3}"/>
          </ac:spMkLst>
        </pc:spChg>
        <pc:spChg chg="add mod ord">
          <ac:chgData name="Grace, Morgan (Brisbane)" userId="221d5f7b-4a46-4bd5-bdf1-698d3a91c208" providerId="ADAL" clId="{0F17E103-5B43-4653-B68E-0742D106494B}" dt="2024-06-04T00:47:15.684" v="2076"/>
          <ac:spMkLst>
            <pc:docMk/>
            <pc:sldMk cId="2829377973" sldId="611"/>
            <ac:spMk id="8" creationId="{E0F27A74-B446-4A8E-A7E6-170AD94E9E6C}"/>
          </ac:spMkLst>
        </pc:spChg>
        <pc:graphicFrameChg chg="mod">
          <ac:chgData name="Grace, Morgan (Brisbane)" userId="221d5f7b-4a46-4bd5-bdf1-698d3a91c208" providerId="ADAL" clId="{0F17E103-5B43-4653-B68E-0742D106494B}" dt="2024-06-04T00:43:11.310" v="1902"/>
          <ac:graphicFrameMkLst>
            <pc:docMk/>
            <pc:sldMk cId="2829377973" sldId="611"/>
            <ac:graphicFrameMk id="6" creationId="{C3D55862-B143-4E9B-B3C7-9527C1E53B1D}"/>
          </ac:graphicFrameMkLst>
        </pc:graphicFrameChg>
      </pc:sldChg>
      <pc:sldChg chg="addSp modSp add mod modClrScheme chgLayout">
        <pc:chgData name="Grace, Morgan (Brisbane)" userId="221d5f7b-4a46-4bd5-bdf1-698d3a91c208" providerId="ADAL" clId="{0F17E103-5B43-4653-B68E-0742D106494B}" dt="2024-06-04T01:10:26.772" v="2174"/>
        <pc:sldMkLst>
          <pc:docMk/>
          <pc:sldMk cId="3911953156" sldId="612"/>
        </pc:sldMkLst>
        <pc:spChg chg="mod ord">
          <ac:chgData name="Grace, Morgan (Brisbane)" userId="221d5f7b-4a46-4bd5-bdf1-698d3a91c208" providerId="ADAL" clId="{0F17E103-5B43-4653-B68E-0742D106494B}" dt="2024-06-04T00:47:15.684" v="2076"/>
          <ac:spMkLst>
            <pc:docMk/>
            <pc:sldMk cId="3911953156" sldId="612"/>
            <ac:spMk id="2" creationId="{C1E0C783-C1A7-4C16-8161-C0B0A65BA529}"/>
          </ac:spMkLst>
        </pc:spChg>
        <pc:spChg chg="mod ord">
          <ac:chgData name="Grace, Morgan (Brisbane)" userId="221d5f7b-4a46-4bd5-bdf1-698d3a91c208" providerId="ADAL" clId="{0F17E103-5B43-4653-B68E-0742D106494B}" dt="2024-06-04T00:47:15.684" v="2076"/>
          <ac:spMkLst>
            <pc:docMk/>
            <pc:sldMk cId="3911953156" sldId="612"/>
            <ac:spMk id="3" creationId="{1A3BA682-1A11-452A-ACA1-03662AF854B9}"/>
          </ac:spMkLst>
        </pc:spChg>
        <pc:spChg chg="mod ord">
          <ac:chgData name="Grace, Morgan (Brisbane)" userId="221d5f7b-4a46-4bd5-bdf1-698d3a91c208" providerId="ADAL" clId="{0F17E103-5B43-4653-B68E-0742D106494B}" dt="2024-06-04T00:47:15.684" v="2076"/>
          <ac:spMkLst>
            <pc:docMk/>
            <pc:sldMk cId="3911953156" sldId="612"/>
            <ac:spMk id="4" creationId="{52A6BA5E-4D24-4550-B96C-1B272D6DCEEF}"/>
          </ac:spMkLst>
        </pc:spChg>
        <pc:spChg chg="add mod ord">
          <ac:chgData name="Grace, Morgan (Brisbane)" userId="221d5f7b-4a46-4bd5-bdf1-698d3a91c208" providerId="ADAL" clId="{0F17E103-5B43-4653-B68E-0742D106494B}" dt="2024-06-04T01:10:26.772" v="2174"/>
          <ac:spMkLst>
            <pc:docMk/>
            <pc:sldMk cId="3911953156" sldId="612"/>
            <ac:spMk id="5" creationId="{EA413029-F132-443B-9A7A-223228B9CB78}"/>
          </ac:spMkLst>
        </pc:spChg>
        <pc:graphicFrameChg chg="mod">
          <ac:chgData name="Grace, Morgan (Brisbane)" userId="221d5f7b-4a46-4bd5-bdf1-698d3a91c208" providerId="ADAL" clId="{0F17E103-5B43-4653-B68E-0742D106494B}" dt="2024-06-04T00:43:33.730" v="1929"/>
          <ac:graphicFrameMkLst>
            <pc:docMk/>
            <pc:sldMk cId="3911953156" sldId="612"/>
            <ac:graphicFrameMk id="6" creationId="{C3D55862-B143-4E9B-B3C7-9527C1E53B1D}"/>
          </ac:graphicFrameMkLst>
        </pc:graphicFrameChg>
      </pc:sldChg>
      <pc:sldChg chg="addSp modSp new add mod">
        <pc:chgData name="Grace, Morgan (Brisbane)" userId="221d5f7b-4a46-4bd5-bdf1-698d3a91c208" providerId="ADAL" clId="{0F17E103-5B43-4653-B68E-0742D106494B}" dt="2024-06-04T01:09:21.083" v="2164" actId="20577"/>
        <pc:sldMkLst>
          <pc:docMk/>
          <pc:sldMk cId="3752179608" sldId="613"/>
        </pc:sldMkLst>
        <pc:spChg chg="mod">
          <ac:chgData name="Grace, Morgan (Brisbane)" userId="221d5f7b-4a46-4bd5-bdf1-698d3a91c208" providerId="ADAL" clId="{0F17E103-5B43-4653-B68E-0742D106494B}" dt="2024-06-04T01:09:14.796" v="2158" actId="948"/>
          <ac:spMkLst>
            <pc:docMk/>
            <pc:sldMk cId="3752179608" sldId="613"/>
            <ac:spMk id="2" creationId="{05124F91-D094-4CDE-ABE9-E2FD235FEF00}"/>
          </ac:spMkLst>
        </pc:spChg>
        <pc:spChg chg="mod">
          <ac:chgData name="Grace, Morgan (Brisbane)" userId="221d5f7b-4a46-4bd5-bdf1-698d3a91c208" providerId="ADAL" clId="{0F17E103-5B43-4653-B68E-0742D106494B}" dt="2024-06-04T01:09:21.083" v="2164" actId="20577"/>
          <ac:spMkLst>
            <pc:docMk/>
            <pc:sldMk cId="3752179608" sldId="613"/>
            <ac:spMk id="4" creationId="{8ED34369-8CB8-4B88-95E0-9F71B7441F2F}"/>
          </ac:spMkLst>
        </pc:spChg>
        <pc:graphicFrameChg chg="add mod ord modVis">
          <ac:chgData name="Grace, Morgan (Brisbane)" userId="221d5f7b-4a46-4bd5-bdf1-698d3a91c208" providerId="ADAL" clId="{0F17E103-5B43-4653-B68E-0742D106494B}" dt="2024-06-04T01:09:14.800" v="2160"/>
          <ac:graphicFrameMkLst>
            <pc:docMk/>
            <pc:sldMk cId="3752179608" sldId="613"/>
            <ac:graphicFrameMk id="5" creationId="{87AF52D3-BAC1-4140-BE9F-40B710E59282}"/>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844720496894408E-2"/>
          <c:y val="9.7256857855361589E-2"/>
          <c:w val="0.91829909221213568"/>
          <c:h val="0.80548628428927682"/>
        </c:manualLayout>
      </c:layout>
      <c:barChart>
        <c:barDir val="bar"/>
        <c:grouping val="stacked"/>
        <c:varyColors val="0"/>
        <c:ser>
          <c:idx val="0"/>
          <c:order val="0"/>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A4C-4C2E-A5EE-94F3A4C560D8}"/>
              </c:ext>
            </c:extLst>
          </c:dPt>
          <c:dPt>
            <c:idx val="2"/>
            <c:invertIfNegative val="0"/>
            <c:bubble3D val="0"/>
            <c:spPr>
              <a:solidFill>
                <a:schemeClr val="accent3"/>
              </a:solidFill>
              <a:ln>
                <a:noFill/>
              </a:ln>
            </c:spPr>
            <c:extLst>
              <c:ext xmlns:c16="http://schemas.microsoft.com/office/drawing/2014/chart" uri="{C3380CC4-5D6E-409C-BE32-E72D297353CC}">
                <c16:uniqueId val="{00000001-6A4C-4C2E-A5EE-94F3A4C560D8}"/>
              </c:ext>
            </c:extLst>
          </c:dPt>
          <c:dPt>
            <c:idx val="4"/>
            <c:invertIfNegative val="0"/>
            <c:bubble3D val="0"/>
            <c:spPr>
              <a:solidFill>
                <a:schemeClr val="accent1"/>
              </a:solidFill>
              <a:ln>
                <a:noFill/>
              </a:ln>
            </c:spPr>
            <c:extLst>
              <c:ext xmlns:c16="http://schemas.microsoft.com/office/drawing/2014/chart" uri="{C3380CC4-5D6E-409C-BE32-E72D297353CC}">
                <c16:uniqueId val="{00000002-6A4C-4C2E-A5EE-94F3A4C560D8}"/>
              </c:ext>
            </c:extLst>
          </c:dPt>
          <c:dLbls>
            <c:dLbl>
              <c:idx val="0"/>
              <c:layout>
                <c:manualLayout>
                  <c:x val="0.48638318203535597"/>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4C-4C2E-A5EE-94F3A4C560D8}"/>
                </c:ext>
              </c:extLst>
            </c:dLbl>
            <c:dLbl>
              <c:idx val="1"/>
              <c:layout>
                <c:manualLayout>
                  <c:x val="0.36789297658862874"/>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4C-4C2E-A5EE-94F3A4C560D8}"/>
                </c:ext>
              </c:extLst>
            </c:dLbl>
            <c:dLbl>
              <c:idx val="2"/>
              <c:layout>
                <c:manualLayout>
                  <c:x val="0"/>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4C-4C2E-A5EE-94F3A4C560D8}"/>
                </c:ext>
              </c:extLst>
            </c:dLbl>
            <c:dLbl>
              <c:idx val="3"/>
              <c:layout>
                <c:manualLayout>
                  <c:x val="0.1939799331103679"/>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4C-4C2E-A5EE-94F3A4C560D8}"/>
                </c:ext>
              </c:extLst>
            </c:dLbl>
            <c:dLbl>
              <c:idx val="4"/>
              <c:layout>
                <c:manualLayout>
                  <c:x val="0.12135690396559962"/>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4C-4C2E-A5EE-94F3A4C560D8}"/>
                </c:ext>
              </c:extLst>
            </c:dLbl>
            <c:dLbl>
              <c:idx val="5"/>
              <c:layout>
                <c:manualLayout>
                  <c:x val="5.3511705685618728E-2"/>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4C-4C2E-A5EE-94F3A4C560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94</c:v>
                </c:pt>
                <c:pt idx="1">
                  <c:v>142.30000000000001</c:v>
                </c:pt>
                <c:pt idx="2">
                  <c:v>45.6</c:v>
                </c:pt>
                <c:pt idx="3">
                  <c:v>70.8</c:v>
                </c:pt>
                <c:pt idx="4">
                  <c:v>39</c:v>
                </c:pt>
                <c:pt idx="5">
                  <c:v>9.6999999999999993</c:v>
                </c:pt>
              </c:numCache>
            </c:numRef>
          </c:val>
          <c:extLst>
            <c:ext xmlns:c16="http://schemas.microsoft.com/office/drawing/2014/chart" uri="{C3380CC4-5D6E-409C-BE32-E72D297353CC}">
              <c16:uniqueId val="{00000006-6A4C-4C2E-A5EE-94F3A4C560D8}"/>
            </c:ext>
          </c:extLst>
        </c:ser>
        <c:ser>
          <c:idx val="1"/>
          <c:order val="1"/>
          <c:spPr>
            <a:solidFill>
              <a:schemeClr val="accent4"/>
            </a:solidFill>
            <a:ln>
              <a:noFill/>
            </a:ln>
          </c:spPr>
          <c:invertIfNegative val="0"/>
          <c:dLbls>
            <c:dLbl>
              <c:idx val="2"/>
              <c:layout>
                <c:manualLayout>
                  <c:x val="-4.7778308647873863E-4"/>
                  <c:y val="-2.4937655860349127E-3"/>
                </c:manualLayout>
              </c:layout>
              <c:numFmt formatCode="#,##0;&quot;-&quot;#,##0" sourceLinked="0"/>
              <c:spPr>
                <a:noFill/>
                <a:ln>
                  <a:noFill/>
                </a:ln>
              </c:spPr>
              <c:txPr>
                <a:bodyPr wrap="none"/>
                <a:lstStyle/>
                <a:p>
                  <a:pPr>
                    <a:defRPr sz="800" kern="1200">
                      <a:solidFill>
                        <a:schemeClr val="bg1"/>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4C-4C2E-A5EE-94F3A4C560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2">
                  <c:v>36.70000000000001</c:v>
                </c:pt>
              </c:numCache>
            </c:numRef>
          </c:val>
          <c:extLst>
            <c:ext xmlns:c16="http://schemas.microsoft.com/office/drawing/2014/chart" uri="{C3380CC4-5D6E-409C-BE32-E72D297353CC}">
              <c16:uniqueId val="{00000008-6A4C-4C2E-A5EE-94F3A4C560D8}"/>
            </c:ext>
          </c:extLst>
        </c:ser>
        <c:ser>
          <c:idx val="2"/>
          <c:order val="2"/>
          <c:spPr>
            <a:solidFill>
              <a:schemeClr val="accent5"/>
            </a:solidFill>
            <a:ln>
              <a:noFill/>
            </a:ln>
          </c:spPr>
          <c:invertIfNegative val="0"/>
          <c:dLbls>
            <c:dLbl>
              <c:idx val="2"/>
              <c:layout>
                <c:manualLayout>
                  <c:x val="0"/>
                  <c:y val="-2.4937655860349127E-3"/>
                </c:manualLayout>
              </c:layout>
              <c:numFmt formatCode="#,##0;&quot;-&quot;#,##0" sourceLinked="0"/>
              <c:spPr>
                <a:noFill/>
                <a:ln>
                  <a:noFill/>
                </a:ln>
              </c:spPr>
              <c:txPr>
                <a:bodyPr wrap="none"/>
                <a:lstStyle/>
                <a:p>
                  <a:pPr>
                    <a:defRPr sz="800" kern="1200">
                      <a:solidFill>
                        <a:schemeClr val="bg1"/>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4C-4C2E-A5EE-94F3A4C560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2">
                  <c:v>41.8</c:v>
                </c:pt>
              </c:numCache>
            </c:numRef>
          </c:val>
          <c:extLst>
            <c:ext xmlns:c16="http://schemas.microsoft.com/office/drawing/2014/chart" uri="{C3380CC4-5D6E-409C-BE32-E72D297353CC}">
              <c16:uniqueId val="{0000000A-6A4C-4C2E-A5EE-94F3A4C560D8}"/>
            </c:ext>
          </c:extLst>
        </c:ser>
        <c:ser>
          <c:idx val="3"/>
          <c:order val="3"/>
          <c:spPr>
            <a:solidFill>
              <a:schemeClr val="accent6"/>
            </a:solidFill>
            <a:ln>
              <a:noFill/>
            </a:ln>
          </c:spPr>
          <c:invertIfNegative val="0"/>
          <c:dLbls>
            <c:dLbl>
              <c:idx val="2"/>
              <c:layout>
                <c:manualLayout>
                  <c:x val="0"/>
                  <c:y val="-2.4937655860349127E-3"/>
                </c:manualLayout>
              </c:layout>
              <c:numFmt formatCode="#,##0;&quot;-&quot;#,##0" sourceLinked="0"/>
              <c:spPr>
                <a:noFill/>
                <a:ln>
                  <a:noFill/>
                </a:ln>
              </c:spPr>
              <c:txPr>
                <a:bodyPr wrap="none"/>
                <a:lstStyle/>
                <a:p>
                  <a:pPr>
                    <a:defRPr sz="8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4C-4C2E-A5EE-94F3A4C560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2">
                  <c:v>9.2000000000000028</c:v>
                </c:pt>
              </c:numCache>
            </c:numRef>
          </c:val>
          <c:extLst>
            <c:ext xmlns:c16="http://schemas.microsoft.com/office/drawing/2014/chart" uri="{C3380CC4-5D6E-409C-BE32-E72D297353CC}">
              <c16:uniqueId val="{0000000C-6A4C-4C2E-A5EE-94F3A4C560D8}"/>
            </c:ext>
          </c:extLst>
        </c:ser>
        <c:dLbls>
          <c:showLegendKey val="0"/>
          <c:showVal val="0"/>
          <c:showCatName val="0"/>
          <c:showSerName val="0"/>
          <c:showPercent val="0"/>
          <c:showBubbleSize val="0"/>
        </c:dLbls>
        <c:gapWidth val="80"/>
        <c:overlap val="100"/>
        <c:axId val="1906006160"/>
        <c:axId val="1"/>
      </c:barChart>
      <c:catAx>
        <c:axId val="190600616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t"/>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90600616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33534743202417"/>
          <c:y val="0.12555720653789004"/>
          <c:w val="0.76132930513595165"/>
          <c:h val="0.74888558692421991"/>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DCE2-4633-BF6C-C7D401F59F1B}"/>
              </c:ext>
            </c:extLst>
          </c:dPt>
          <c:dPt>
            <c:idx val="1"/>
            <c:bubble3D val="0"/>
            <c:spPr>
              <a:solidFill>
                <a:schemeClr val="accent2"/>
              </a:solidFill>
              <a:ln>
                <a:noFill/>
              </a:ln>
            </c:spPr>
            <c:extLst>
              <c:ext xmlns:c16="http://schemas.microsoft.com/office/drawing/2014/chart" uri="{C3380CC4-5D6E-409C-BE32-E72D297353CC}">
                <c16:uniqueId val="{00000001-DCE2-4633-BF6C-C7D401F59F1B}"/>
              </c:ext>
            </c:extLst>
          </c:dPt>
          <c:dPt>
            <c:idx val="2"/>
            <c:bubble3D val="0"/>
            <c:spPr>
              <a:solidFill>
                <a:schemeClr val="accent3"/>
              </a:solidFill>
              <a:ln>
                <a:noFill/>
              </a:ln>
            </c:spPr>
            <c:extLst>
              <c:ext xmlns:c16="http://schemas.microsoft.com/office/drawing/2014/chart" uri="{C3380CC4-5D6E-409C-BE32-E72D297353CC}">
                <c16:uniqueId val="{00000002-DCE2-4633-BF6C-C7D401F59F1B}"/>
              </c:ext>
            </c:extLst>
          </c:dPt>
          <c:dPt>
            <c:idx val="3"/>
            <c:bubble3D val="0"/>
            <c:spPr>
              <a:solidFill>
                <a:schemeClr val="accent4"/>
              </a:solidFill>
              <a:ln>
                <a:noFill/>
              </a:ln>
            </c:spPr>
            <c:extLst>
              <c:ext xmlns:c16="http://schemas.microsoft.com/office/drawing/2014/chart" uri="{C3380CC4-5D6E-409C-BE32-E72D297353CC}">
                <c16:uniqueId val="{00000003-DCE2-4633-BF6C-C7D401F59F1B}"/>
              </c:ext>
            </c:extLst>
          </c:dPt>
          <c:dLbls>
            <c:dLbl>
              <c:idx val="0"/>
              <c:layout>
                <c:manualLayout>
                  <c:x val="1.7371601208459216E-2"/>
                  <c:y val="1.7087667161961365E-2"/>
                </c:manualLayout>
              </c:layout>
              <c:numFmt formatCode="#,##0&quot;%&quot;;&quot;-&quot;#,##0&quot;%&quot;" sourceLinked="0"/>
              <c:spPr>
                <a:noFill/>
                <a:ln>
                  <a:noFill/>
                </a:ln>
              </c:spPr>
              <c:txPr>
                <a:bodyPr wrap="none"/>
                <a:lstStyle/>
                <a:p>
                  <a:pPr>
                    <a:defRPr sz="800" kern="1200">
                      <a:solidFill>
                        <a:schemeClr val="bg1"/>
                      </a:solidFill>
                      <a:latin typeface="+mn-lt"/>
                      <a:ea typeface="Verdana"/>
                      <a:cs typeface="Verdana"/>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E2-4633-BF6C-C7D401F59F1B}"/>
                </c:ext>
              </c:extLst>
            </c:dLbl>
            <c:dLbl>
              <c:idx val="1"/>
              <c:layout>
                <c:manualLayout>
                  <c:x val="-4.3806646525679761E-2"/>
                  <c:y val="0"/>
                </c:manualLayout>
              </c:layout>
              <c:numFmt formatCode="#,##0&quot;%&quot;;&quot;-&quot;#,##0&quot;%&quot;" sourceLinked="0"/>
              <c:spPr>
                <a:noFill/>
                <a:ln>
                  <a:noFill/>
                </a:ln>
              </c:spPr>
              <c:txPr>
                <a:bodyPr wrap="none"/>
                <a:lstStyle/>
                <a:p>
                  <a:pPr>
                    <a:defRPr sz="800" kern="1200">
                      <a:solidFill>
                        <a:schemeClr val="bg1"/>
                      </a:solidFill>
                      <a:latin typeface="+mn-lt"/>
                      <a:ea typeface="Verdana"/>
                      <a:cs typeface="Verdana"/>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E2-4633-BF6C-C7D401F59F1B}"/>
                </c:ext>
              </c:extLst>
            </c:dLbl>
            <c:dLbl>
              <c:idx val="3"/>
              <c:layout>
                <c:manualLayout>
                  <c:x val="-1.5105740181268883E-2"/>
                  <c:y val="-2.0802377414561663E-2"/>
                </c:manualLayout>
              </c:layout>
              <c:numFmt formatCode="#,##0&quot;%&quot;;&quot;-&quot;#,##0&quot;%&quot;" sourceLinked="0"/>
              <c:spPr>
                <a:noFill/>
                <a:ln>
                  <a:noFill/>
                </a:ln>
              </c:spPr>
              <c:txPr>
                <a:bodyPr wrap="none"/>
                <a:lstStyle/>
                <a:p>
                  <a:pPr>
                    <a:defRPr sz="800" kern="1200">
                      <a:solidFill>
                        <a:schemeClr val="bg1"/>
                      </a:solidFill>
                      <a:latin typeface="+mn-lt"/>
                      <a:ea typeface="Verdana"/>
                      <a:cs typeface="Verdana"/>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E2-4633-BF6C-C7D401F59F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73.2</c:v>
                </c:pt>
                <c:pt idx="1">
                  <c:v>5.2</c:v>
                </c:pt>
                <c:pt idx="2">
                  <c:v>3.2</c:v>
                </c:pt>
                <c:pt idx="3">
                  <c:v>18.399999999999999</c:v>
                </c:pt>
              </c:numCache>
            </c:numRef>
          </c:val>
          <c:extLst>
            <c:ext xmlns:c16="http://schemas.microsoft.com/office/drawing/2014/chart" uri="{C3380CC4-5D6E-409C-BE32-E72D297353CC}">
              <c16:uniqueId val="{00000004-DCE2-4633-BF6C-C7D401F59F1B}"/>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4.710144927536232E-2"/>
          <c:w val="0.85926928281461434"/>
          <c:h val="0.90579710144927539"/>
        </c:manualLayout>
      </c:layout>
      <c:barChart>
        <c:barDir val="col"/>
        <c:grouping val="stacked"/>
        <c:varyColors val="0"/>
        <c:ser>
          <c:idx val="0"/>
          <c:order val="0"/>
          <c:spPr>
            <a:solidFill>
              <a:srgbClr val="8F0717"/>
            </a:solidFill>
            <a:ln>
              <a:noFill/>
            </a:ln>
          </c:spPr>
          <c:invertIfNegative val="0"/>
          <c:val>
            <c:numRef>
              <c:f>Sheet1!$A$1</c:f>
              <c:numCache>
                <c:formatCode>General</c:formatCode>
                <c:ptCount val="1"/>
                <c:pt idx="0">
                  <c:v>5.8</c:v>
                </c:pt>
              </c:numCache>
            </c:numRef>
          </c:val>
          <c:extLst>
            <c:ext xmlns:c16="http://schemas.microsoft.com/office/drawing/2014/chart" uri="{C3380CC4-5D6E-409C-BE32-E72D297353CC}">
              <c16:uniqueId val="{00000000-762C-4647-9F53-996C5B6AD7CA}"/>
            </c:ext>
          </c:extLst>
        </c:ser>
        <c:ser>
          <c:idx val="1"/>
          <c:order val="1"/>
          <c:spPr>
            <a:solidFill>
              <a:srgbClr val="D60B22"/>
            </a:solidFill>
            <a:ln>
              <a:noFill/>
            </a:ln>
          </c:spPr>
          <c:invertIfNegative val="0"/>
          <c:val>
            <c:numRef>
              <c:f>Sheet1!$A$2</c:f>
              <c:numCache>
                <c:formatCode>General</c:formatCode>
                <c:ptCount val="1"/>
                <c:pt idx="0">
                  <c:v>7.8</c:v>
                </c:pt>
              </c:numCache>
            </c:numRef>
          </c:val>
          <c:extLst>
            <c:ext xmlns:c16="http://schemas.microsoft.com/office/drawing/2014/chart" uri="{C3380CC4-5D6E-409C-BE32-E72D297353CC}">
              <c16:uniqueId val="{00000001-762C-4647-9F53-996C5B6AD7CA}"/>
            </c:ext>
          </c:extLst>
        </c:ser>
        <c:ser>
          <c:idx val="2"/>
          <c:order val="2"/>
          <c:spPr>
            <a:solidFill>
              <a:schemeClr val="accent1"/>
            </a:solidFill>
            <a:ln>
              <a:noFill/>
            </a:ln>
          </c:spPr>
          <c:invertIfNegative val="0"/>
          <c:val>
            <c:numRef>
              <c:f>Sheet1!$A$3</c:f>
              <c:numCache>
                <c:formatCode>General</c:formatCode>
                <c:ptCount val="1"/>
                <c:pt idx="0">
                  <c:v>1.6999999999999993</c:v>
                </c:pt>
              </c:numCache>
            </c:numRef>
          </c:val>
          <c:extLst>
            <c:ext xmlns:c16="http://schemas.microsoft.com/office/drawing/2014/chart" uri="{C3380CC4-5D6E-409C-BE32-E72D297353CC}">
              <c16:uniqueId val="{00000002-762C-4647-9F53-996C5B6AD7CA}"/>
            </c:ext>
          </c:extLst>
        </c:ser>
        <c:ser>
          <c:idx val="3"/>
          <c:order val="3"/>
          <c:spPr>
            <a:solidFill>
              <a:srgbClr val="F88895"/>
            </a:solidFill>
            <a:ln>
              <a:noFill/>
            </a:ln>
          </c:spPr>
          <c:invertIfNegative val="0"/>
          <c:val>
            <c:numRef>
              <c:f>Sheet1!$A$4</c:f>
              <c:numCache>
                <c:formatCode>General</c:formatCode>
                <c:ptCount val="1"/>
                <c:pt idx="0">
                  <c:v>24.200000000000003</c:v>
                </c:pt>
              </c:numCache>
            </c:numRef>
          </c:val>
          <c:extLst>
            <c:ext xmlns:c16="http://schemas.microsoft.com/office/drawing/2014/chart" uri="{C3380CC4-5D6E-409C-BE32-E72D297353CC}">
              <c16:uniqueId val="{00000003-762C-4647-9F53-996C5B6AD7CA}"/>
            </c:ext>
          </c:extLst>
        </c:ser>
        <c:ser>
          <c:idx val="4"/>
          <c:order val="4"/>
          <c:spPr>
            <a:solidFill>
              <a:srgbClr val="FAB0B8"/>
            </a:solidFill>
            <a:ln>
              <a:noFill/>
            </a:ln>
          </c:spPr>
          <c:invertIfNegative val="0"/>
          <c:val>
            <c:numRef>
              <c:f>Sheet1!$A$5</c:f>
              <c:numCache>
                <c:formatCode>General</c:formatCode>
                <c:ptCount val="1"/>
                <c:pt idx="0">
                  <c:v>17.5</c:v>
                </c:pt>
              </c:numCache>
            </c:numRef>
          </c:val>
          <c:extLst>
            <c:ext xmlns:c16="http://schemas.microsoft.com/office/drawing/2014/chart" uri="{C3380CC4-5D6E-409C-BE32-E72D297353CC}">
              <c16:uniqueId val="{00000004-762C-4647-9F53-996C5B6AD7CA}"/>
            </c:ext>
          </c:extLst>
        </c:ser>
        <c:ser>
          <c:idx val="5"/>
          <c:order val="5"/>
          <c:spPr>
            <a:solidFill>
              <a:srgbClr val="FCD7DB"/>
            </a:solidFill>
            <a:ln>
              <a:noFill/>
            </a:ln>
          </c:spPr>
          <c:invertIfNegative val="0"/>
          <c:val>
            <c:numRef>
              <c:f>Sheet1!$A$6</c:f>
              <c:numCache>
                <c:formatCode>General</c:formatCode>
                <c:ptCount val="1"/>
                <c:pt idx="0">
                  <c:v>16.200000000000003</c:v>
                </c:pt>
              </c:numCache>
            </c:numRef>
          </c:val>
          <c:extLst>
            <c:ext xmlns:c16="http://schemas.microsoft.com/office/drawing/2014/chart" uri="{C3380CC4-5D6E-409C-BE32-E72D297353CC}">
              <c16:uniqueId val="{00000005-762C-4647-9F53-996C5B6AD7CA}"/>
            </c:ext>
          </c:extLst>
        </c:ser>
        <c:dLbls>
          <c:showLegendKey val="0"/>
          <c:showVal val="0"/>
          <c:showCatName val="0"/>
          <c:showSerName val="0"/>
          <c:showPercent val="0"/>
          <c:showBubbleSize val="0"/>
        </c:dLbls>
        <c:gapWidth val="80"/>
        <c:overlap val="100"/>
        <c:axId val="993128312"/>
        <c:axId val="1"/>
      </c:barChart>
      <c:catAx>
        <c:axId val="993128312"/>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73.2"/>
          <c:min val="0"/>
        </c:scaling>
        <c:delete val="1"/>
        <c:axPos val="l"/>
        <c:numFmt formatCode="General" sourceLinked="1"/>
        <c:majorTickMark val="out"/>
        <c:minorTickMark val="none"/>
        <c:tickLblPos val="nextTo"/>
        <c:crossAx val="99312831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2436974789916"/>
          <c:y val="0.10248447204968944"/>
          <c:w val="0.87175739861161861"/>
          <c:h val="0.80931677018633541"/>
        </c:manualLayout>
      </c:layout>
      <c:barChart>
        <c:barDir val="col"/>
        <c:grouping val="clustered"/>
        <c:varyColors val="0"/>
        <c:ser>
          <c:idx val="0"/>
          <c:order val="0"/>
          <c:spPr>
            <a:solidFill>
              <a:schemeClr val="accent1"/>
            </a:solidFill>
            <a:ln>
              <a:noFill/>
            </a:ln>
          </c:spPr>
          <c:invertIfNegative val="0"/>
          <c:dLbls>
            <c:dLbl>
              <c:idx val="0"/>
              <c:layout>
                <c:manualLayout>
                  <c:x val="0"/>
                  <c:y val="-0.43167701863354035"/>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1D-4B12-B57F-624BD478B8AC}"/>
                </c:ext>
              </c:extLst>
            </c:dLbl>
            <c:dLbl>
              <c:idx val="1"/>
              <c:layout>
                <c:manualLayout>
                  <c:x val="0"/>
                  <c:y val="-0.43354037267080747"/>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1D-4B12-B57F-624BD478B8AC}"/>
                </c:ext>
              </c:extLst>
            </c:dLbl>
            <c:dLbl>
              <c:idx val="2"/>
              <c:layout>
                <c:manualLayout>
                  <c:x val="0"/>
                  <c:y val="-0.42111801242236024"/>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1D-4B12-B57F-624BD478B8AC}"/>
                </c:ext>
              </c:extLst>
            </c:dLbl>
            <c:dLbl>
              <c:idx val="3"/>
              <c:layout>
                <c:manualLayout>
                  <c:x val="0"/>
                  <c:y val="-0.40683229813664595"/>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1D-4B12-B57F-624BD478B8AC}"/>
                </c:ext>
              </c:extLst>
            </c:dLbl>
            <c:dLbl>
              <c:idx val="4"/>
              <c:layout>
                <c:manualLayout>
                  <c:x val="0"/>
                  <c:y val="-0.40124223602484471"/>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1D-4B12-B57F-624BD478B8AC}"/>
                </c:ext>
              </c:extLst>
            </c:dLbl>
            <c:dLbl>
              <c:idx val="5"/>
              <c:layout>
                <c:manualLayout>
                  <c:x val="0"/>
                  <c:y val="-0.39751552795031053"/>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1D-4B12-B57F-624BD478B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36.3</c:v>
                </c:pt>
                <c:pt idx="1">
                  <c:v>337.6</c:v>
                </c:pt>
                <c:pt idx="2">
                  <c:v>327.5</c:v>
                </c:pt>
                <c:pt idx="3">
                  <c:v>315.10000000000002</c:v>
                </c:pt>
                <c:pt idx="4">
                  <c:v>309.89999999999998</c:v>
                </c:pt>
                <c:pt idx="5">
                  <c:v>307.10000000000002</c:v>
                </c:pt>
              </c:numCache>
            </c:numRef>
          </c:val>
          <c:extLst>
            <c:ext xmlns:c16="http://schemas.microsoft.com/office/drawing/2014/chart" uri="{C3380CC4-5D6E-409C-BE32-E72D297353CC}">
              <c16:uniqueId val="{00000006-5A1D-4B12-B57F-624BD478B8AC}"/>
            </c:ext>
          </c:extLst>
        </c:ser>
        <c:ser>
          <c:idx val="1"/>
          <c:order val="1"/>
          <c:spPr>
            <a:solidFill>
              <a:schemeClr val="accent2"/>
            </a:solidFill>
            <a:ln>
              <a:noFill/>
            </a:ln>
          </c:spPr>
          <c:invertIfNegative val="0"/>
          <c:dLbls>
            <c:dLbl>
              <c:idx val="0"/>
              <c:layout>
                <c:manualLayout>
                  <c:x val="0"/>
                  <c:y val="-0.14285714285714285"/>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1D-4B12-B57F-624BD478B8AC}"/>
                </c:ext>
              </c:extLst>
            </c:dLbl>
            <c:dLbl>
              <c:idx val="1"/>
              <c:layout>
                <c:manualLayout>
                  <c:x val="0"/>
                  <c:y val="-0.14472049689440994"/>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1D-4B12-B57F-624BD478B8AC}"/>
                </c:ext>
              </c:extLst>
            </c:dLbl>
            <c:dLbl>
              <c:idx val="2"/>
              <c:layout>
                <c:manualLayout>
                  <c:x val="0"/>
                  <c:y val="-0.14285714285714285"/>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A1D-4B12-B57F-624BD478B8AC}"/>
                </c:ext>
              </c:extLst>
            </c:dLbl>
            <c:dLbl>
              <c:idx val="3"/>
              <c:layout>
                <c:manualLayout>
                  <c:x val="0"/>
                  <c:y val="-0.14099378881987579"/>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A1D-4B12-B57F-624BD478B8AC}"/>
                </c:ext>
              </c:extLst>
            </c:dLbl>
            <c:dLbl>
              <c:idx val="4"/>
              <c:layout>
                <c:manualLayout>
                  <c:x val="0"/>
                  <c:y val="-0.13975155279503104"/>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A1D-4B12-B57F-624BD478B8AC}"/>
                </c:ext>
              </c:extLst>
            </c:dLbl>
            <c:dLbl>
              <c:idx val="5"/>
              <c:layout>
                <c:manualLayout>
                  <c:x val="0"/>
                  <c:y val="-0.13043478260869565"/>
                </c:manualLayout>
              </c:layout>
              <c:numFmt formatCode="#,##0;&quot;-&quot;#,##0" sourceLinked="0"/>
              <c:spPr>
                <a:noFill/>
                <a:ln>
                  <a:noFill/>
                </a:ln>
              </c:spPr>
              <c:txPr>
                <a:bodyPr wrap="none"/>
                <a:lstStyle/>
                <a:p>
                  <a:pPr>
                    <a:defRPr sz="1000" kern="1200">
                      <a:solidFill>
                        <a:schemeClr val="tx2"/>
                      </a:solidFill>
                      <a:latin typeface="+mn-lt"/>
                      <a:ea typeface="Verdana"/>
                      <a:cs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A1D-4B12-B57F-624BD478B8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86.4</c:v>
                </c:pt>
                <c:pt idx="1">
                  <c:v>88</c:v>
                </c:pt>
                <c:pt idx="2">
                  <c:v>86.1</c:v>
                </c:pt>
                <c:pt idx="3">
                  <c:v>84.5</c:v>
                </c:pt>
                <c:pt idx="4">
                  <c:v>83.7</c:v>
                </c:pt>
                <c:pt idx="5">
                  <c:v>75.400000000000006</c:v>
                </c:pt>
              </c:numCache>
            </c:numRef>
          </c:val>
          <c:extLst>
            <c:ext xmlns:c16="http://schemas.microsoft.com/office/drawing/2014/chart" uri="{C3380CC4-5D6E-409C-BE32-E72D297353CC}">
              <c16:uniqueId val="{0000000D-5A1D-4B12-B57F-624BD478B8AC}"/>
            </c:ext>
          </c:extLst>
        </c:ser>
        <c:dLbls>
          <c:showLegendKey val="0"/>
          <c:showVal val="0"/>
          <c:showCatName val="0"/>
          <c:showSerName val="0"/>
          <c:showPercent val="0"/>
          <c:showBubbleSize val="0"/>
        </c:dLbls>
        <c:gapWidth val="80"/>
        <c:axId val="2136041840"/>
        <c:axId val="1"/>
      </c:barChart>
      <c:catAx>
        <c:axId val="2136041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2"/>
                </a:solidFill>
                <a:latin typeface="+mn-lt"/>
                <a:ea typeface="Verdana"/>
                <a:cs typeface="Verdana"/>
              </a:defRPr>
            </a:pPr>
            <a:endParaRPr lang="en-US"/>
          </a:p>
        </c:txPr>
        <c:crossAx val="2136041840"/>
        <c:crosses val="min"/>
        <c:crossBetween val="between"/>
        <c:majorUnit val="50"/>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25C91B-5A63-40E9-B760-6957F7487EE2}"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AU"/>
        </a:p>
      </dgm:t>
    </dgm:pt>
    <dgm:pt modelId="{34449B9F-EB79-4D44-936F-45105B68FE92}">
      <dgm:prSet phldrT="[Text]" custT="1"/>
      <dgm:spPr/>
      <dgm:t>
        <a:bodyPr/>
        <a:lstStyle/>
        <a:p>
          <a:r>
            <a:rPr lang="en-AU" sz="1100" dirty="0"/>
            <a:t>Reduce system pressures where network allows to marginally reduce system leakage</a:t>
          </a:r>
        </a:p>
      </dgm:t>
    </dgm:pt>
    <dgm:pt modelId="{303893DC-4B89-4A0D-9486-94E638413A77}" type="parTrans" cxnId="{DF8D2819-8850-4B5A-8C56-436B4A2EE38A}">
      <dgm:prSet/>
      <dgm:spPr/>
      <dgm:t>
        <a:bodyPr/>
        <a:lstStyle/>
        <a:p>
          <a:endParaRPr lang="en-AU"/>
        </a:p>
      </dgm:t>
    </dgm:pt>
    <dgm:pt modelId="{50DC8D0A-37CE-4159-B7E7-A2D19FDF4245}" type="sibTrans" cxnId="{DF8D2819-8850-4B5A-8C56-436B4A2EE38A}">
      <dgm:prSet/>
      <dgm:spPr/>
      <dgm:t>
        <a:bodyPr/>
        <a:lstStyle/>
        <a:p>
          <a:endParaRPr lang="en-AU"/>
        </a:p>
      </dgm:t>
    </dgm:pt>
    <dgm:pt modelId="{62F9C1CA-18F4-4335-95F5-0E3F99CEED0F}">
      <dgm:prSet phldrT="[Text]" custT="1"/>
      <dgm:spPr/>
      <dgm:t>
        <a:bodyPr/>
        <a:lstStyle/>
        <a:p>
          <a:r>
            <a:rPr lang="en-AU" sz="1100" dirty="0"/>
            <a:t>Reduce/ eliminate emissions by revising blowdown and venting procedures</a:t>
          </a:r>
        </a:p>
      </dgm:t>
    </dgm:pt>
    <dgm:pt modelId="{CA402A89-58E0-4A17-BEBC-D0D841EB6790}" type="parTrans" cxnId="{E963670A-9354-48A6-98FE-2BF542686D42}">
      <dgm:prSet/>
      <dgm:spPr/>
      <dgm:t>
        <a:bodyPr/>
        <a:lstStyle/>
        <a:p>
          <a:endParaRPr lang="en-AU"/>
        </a:p>
      </dgm:t>
    </dgm:pt>
    <dgm:pt modelId="{8560DE0F-74F4-47F4-AA74-CD9926F893D8}" type="sibTrans" cxnId="{E963670A-9354-48A6-98FE-2BF542686D42}">
      <dgm:prSet/>
      <dgm:spPr/>
      <dgm:t>
        <a:bodyPr/>
        <a:lstStyle/>
        <a:p>
          <a:endParaRPr lang="en-AU"/>
        </a:p>
      </dgm:t>
    </dgm:pt>
    <dgm:pt modelId="{2C755A2E-243B-4ED5-AEC6-7871992A3134}">
      <dgm:prSet phldrT="[Text]" custT="1"/>
      <dgm:spPr/>
      <dgm:t>
        <a:bodyPr/>
        <a:lstStyle/>
        <a:p>
          <a:r>
            <a:rPr lang="en-AU" sz="1100" dirty="0"/>
            <a:t>Identify devices that are designed to intermittently/ continuously emit gas and replace or eliminate option</a:t>
          </a:r>
        </a:p>
      </dgm:t>
    </dgm:pt>
    <dgm:pt modelId="{5BF93DA1-2323-43AD-BFC1-CA9CC305E9EE}" type="parTrans" cxnId="{D8A87226-D7B7-499F-B5B3-5DB387B3591E}">
      <dgm:prSet/>
      <dgm:spPr/>
      <dgm:t>
        <a:bodyPr/>
        <a:lstStyle/>
        <a:p>
          <a:endParaRPr lang="en-AU"/>
        </a:p>
      </dgm:t>
    </dgm:pt>
    <dgm:pt modelId="{07D4C352-85CC-40B5-82E7-62AAA5FFC309}" type="sibTrans" cxnId="{D8A87226-D7B7-499F-B5B3-5DB387B3591E}">
      <dgm:prSet/>
      <dgm:spPr/>
      <dgm:t>
        <a:bodyPr/>
        <a:lstStyle/>
        <a:p>
          <a:endParaRPr lang="en-AU"/>
        </a:p>
      </dgm:t>
    </dgm:pt>
    <dgm:pt modelId="{4CA89174-CA58-4B76-8211-F96692CB46EB}">
      <dgm:prSet phldrT="[Text]" custT="1"/>
      <dgm:spPr/>
      <dgm:t>
        <a:bodyPr/>
        <a:lstStyle/>
        <a:p>
          <a:r>
            <a:rPr lang="en-AU" sz="1100" dirty="0"/>
            <a:t>Ensure proper methane destruction when flaring</a:t>
          </a:r>
        </a:p>
      </dgm:t>
    </dgm:pt>
    <dgm:pt modelId="{8DF5C34F-ADD8-4D0B-AD0B-D5BD9E0464A4}" type="parTrans" cxnId="{7BC4024C-4914-4AC3-B0B7-1BE5C4D22DB2}">
      <dgm:prSet/>
      <dgm:spPr/>
      <dgm:t>
        <a:bodyPr/>
        <a:lstStyle/>
        <a:p>
          <a:endParaRPr lang="en-AU"/>
        </a:p>
      </dgm:t>
    </dgm:pt>
    <dgm:pt modelId="{C86334B3-F9F1-4356-85D4-FA4256A623B2}" type="sibTrans" cxnId="{7BC4024C-4914-4AC3-B0B7-1BE5C4D22DB2}">
      <dgm:prSet/>
      <dgm:spPr/>
      <dgm:t>
        <a:bodyPr/>
        <a:lstStyle/>
        <a:p>
          <a:endParaRPr lang="en-AU"/>
        </a:p>
      </dgm:t>
    </dgm:pt>
    <dgm:pt modelId="{73B90740-EC5C-4EF2-8B20-6673494193D6}">
      <dgm:prSet phldrT="[Text]" custT="1"/>
      <dgm:spPr/>
      <dgm:t>
        <a:bodyPr/>
        <a:lstStyle/>
        <a:p>
          <a:r>
            <a:rPr lang="en-AU" sz="1100" dirty="0"/>
            <a:t>Mobile flaring during planned blowdowns</a:t>
          </a:r>
        </a:p>
      </dgm:t>
    </dgm:pt>
    <dgm:pt modelId="{E027452C-D539-406B-9594-496D0C1AD802}" type="parTrans" cxnId="{FB7A6F84-09B5-4DA0-9F55-6EE41322F913}">
      <dgm:prSet/>
      <dgm:spPr/>
      <dgm:t>
        <a:bodyPr/>
        <a:lstStyle/>
        <a:p>
          <a:endParaRPr lang="en-AU"/>
        </a:p>
      </dgm:t>
    </dgm:pt>
    <dgm:pt modelId="{5AF3A9B7-12D7-41BF-8C66-65289616C5D7}" type="sibTrans" cxnId="{FB7A6F84-09B5-4DA0-9F55-6EE41322F913}">
      <dgm:prSet/>
      <dgm:spPr/>
      <dgm:t>
        <a:bodyPr/>
        <a:lstStyle/>
        <a:p>
          <a:endParaRPr lang="en-AU"/>
        </a:p>
      </dgm:t>
    </dgm:pt>
    <dgm:pt modelId="{04CF9BA9-2E54-47A2-9FD3-40C548D0AA10}">
      <dgm:prSet custT="1"/>
      <dgm:spPr/>
      <dgm:t>
        <a:bodyPr/>
        <a:lstStyle/>
        <a:p>
          <a:r>
            <a:rPr lang="en-AU" sz="1100" dirty="0"/>
            <a:t>Organise a purchase agreement for renewable gas (e.g., biomethane, H2 blend)</a:t>
          </a:r>
        </a:p>
      </dgm:t>
    </dgm:pt>
    <dgm:pt modelId="{6FB90B31-B579-4FFF-B039-3A8E69358C6A}" type="parTrans" cxnId="{BFB833AD-501E-442A-8C22-143EF273CB63}">
      <dgm:prSet/>
      <dgm:spPr/>
      <dgm:t>
        <a:bodyPr/>
        <a:lstStyle/>
        <a:p>
          <a:endParaRPr lang="en-AU"/>
        </a:p>
      </dgm:t>
    </dgm:pt>
    <dgm:pt modelId="{D20F64F6-2A7C-4C02-898C-0E6CCEDCB0B3}" type="sibTrans" cxnId="{BFB833AD-501E-442A-8C22-143EF273CB63}">
      <dgm:prSet/>
      <dgm:spPr/>
      <dgm:t>
        <a:bodyPr/>
        <a:lstStyle/>
        <a:p>
          <a:endParaRPr lang="en-AU"/>
        </a:p>
      </dgm:t>
    </dgm:pt>
    <dgm:pt modelId="{DE137409-88DB-407C-BFD8-14455274F080}">
      <dgm:prSet custT="1"/>
      <dgm:spPr/>
      <dgm:t>
        <a:bodyPr/>
        <a:lstStyle/>
        <a:p>
          <a:r>
            <a:rPr lang="en-AU" sz="1100" dirty="0"/>
            <a:t>Capture vented gases and recompress or use to generate electricity</a:t>
          </a:r>
        </a:p>
      </dgm:t>
    </dgm:pt>
    <dgm:pt modelId="{098897DB-9734-498F-BF68-A080049BDE43}" type="parTrans" cxnId="{223C9FD8-81FE-4F67-AA65-2BBBEF1437E5}">
      <dgm:prSet/>
      <dgm:spPr/>
      <dgm:t>
        <a:bodyPr/>
        <a:lstStyle/>
        <a:p>
          <a:endParaRPr lang="en-AU"/>
        </a:p>
      </dgm:t>
    </dgm:pt>
    <dgm:pt modelId="{FDB4F299-4E42-4420-850B-945452AED5D7}" type="sibTrans" cxnId="{223C9FD8-81FE-4F67-AA65-2BBBEF1437E5}">
      <dgm:prSet/>
      <dgm:spPr/>
      <dgm:t>
        <a:bodyPr/>
        <a:lstStyle/>
        <a:p>
          <a:endParaRPr lang="en-AU"/>
        </a:p>
      </dgm:t>
    </dgm:pt>
    <dgm:pt modelId="{3C8B19D0-0955-4C7A-A56F-946815EC7D23}">
      <dgm:prSet custT="1"/>
      <dgm:spPr/>
      <dgm:t>
        <a:bodyPr/>
        <a:lstStyle/>
        <a:p>
          <a:r>
            <a:rPr lang="en-AU" sz="1100" dirty="0"/>
            <a:t>Optimise maintenance approach to eliminate unnecessary work that would cause gas leakage</a:t>
          </a:r>
        </a:p>
      </dgm:t>
    </dgm:pt>
    <dgm:pt modelId="{6E7B3133-3522-411D-8C2B-1008CE7C9EE7}" type="parTrans" cxnId="{ED57018D-316B-4EED-8C47-A9F71F15A0E0}">
      <dgm:prSet/>
      <dgm:spPr/>
      <dgm:t>
        <a:bodyPr/>
        <a:lstStyle/>
        <a:p>
          <a:endParaRPr lang="en-AU"/>
        </a:p>
      </dgm:t>
    </dgm:pt>
    <dgm:pt modelId="{91424DC4-21BE-482C-91B2-10C5FAF7CF1F}" type="sibTrans" cxnId="{ED57018D-316B-4EED-8C47-A9F71F15A0E0}">
      <dgm:prSet/>
      <dgm:spPr/>
      <dgm:t>
        <a:bodyPr/>
        <a:lstStyle/>
        <a:p>
          <a:endParaRPr lang="en-AU"/>
        </a:p>
      </dgm:t>
    </dgm:pt>
    <dgm:pt modelId="{E4E7940F-75F9-482A-900A-84CF76D62F42}">
      <dgm:prSet custT="1"/>
      <dgm:spPr/>
      <dgm:t>
        <a:bodyPr/>
        <a:lstStyle/>
        <a:p>
          <a:r>
            <a:rPr lang="en-AU" sz="1100"/>
            <a:t>Initiate regular Leakage Detection and Repair (LDAR) program (transition from hours-based to risk-based maintenance)</a:t>
          </a:r>
          <a:endParaRPr lang="en-AU" sz="1100" dirty="0"/>
        </a:p>
      </dgm:t>
    </dgm:pt>
    <dgm:pt modelId="{9E40C5B0-B641-40D1-9124-93D11EDA6188}" type="parTrans" cxnId="{0625730D-C4AD-4209-BBB9-C0235EDB4904}">
      <dgm:prSet/>
      <dgm:spPr/>
      <dgm:t>
        <a:bodyPr/>
        <a:lstStyle/>
        <a:p>
          <a:endParaRPr lang="en-AU"/>
        </a:p>
      </dgm:t>
    </dgm:pt>
    <dgm:pt modelId="{58BADF28-59AD-4C80-8991-C0CDADECF7F6}" type="sibTrans" cxnId="{0625730D-C4AD-4209-BBB9-C0235EDB4904}">
      <dgm:prSet/>
      <dgm:spPr/>
      <dgm:t>
        <a:bodyPr/>
        <a:lstStyle/>
        <a:p>
          <a:endParaRPr lang="en-AU"/>
        </a:p>
      </dgm:t>
    </dgm:pt>
    <dgm:pt modelId="{34F8EF3A-E5B1-45E3-B44C-6974F33091B0}" type="pres">
      <dgm:prSet presAssocID="{8E25C91B-5A63-40E9-B760-6957F7487EE2}" presName="diagram" presStyleCnt="0">
        <dgm:presLayoutVars>
          <dgm:dir/>
          <dgm:resizeHandles val="exact"/>
        </dgm:presLayoutVars>
      </dgm:prSet>
      <dgm:spPr/>
    </dgm:pt>
    <dgm:pt modelId="{B9C4D754-3B69-459C-9F96-A4A4CDADDF77}" type="pres">
      <dgm:prSet presAssocID="{34449B9F-EB79-4D44-936F-45105B68FE92}" presName="node" presStyleLbl="node1" presStyleIdx="0" presStyleCnt="9" custScaleX="129329">
        <dgm:presLayoutVars>
          <dgm:bulletEnabled val="1"/>
        </dgm:presLayoutVars>
      </dgm:prSet>
      <dgm:spPr>
        <a:prstGeom prst="roundRect">
          <a:avLst/>
        </a:prstGeom>
      </dgm:spPr>
    </dgm:pt>
    <dgm:pt modelId="{948100A2-C0EC-4601-A71E-81A7B27D1838}" type="pres">
      <dgm:prSet presAssocID="{50DC8D0A-37CE-4159-B7E7-A2D19FDF4245}" presName="sibTrans" presStyleCnt="0"/>
      <dgm:spPr/>
    </dgm:pt>
    <dgm:pt modelId="{F2309B79-074E-4C04-A521-35F7F8A87864}" type="pres">
      <dgm:prSet presAssocID="{62F9C1CA-18F4-4335-95F5-0E3F99CEED0F}" presName="node" presStyleLbl="node1" presStyleIdx="1" presStyleCnt="9" custScaleX="129329">
        <dgm:presLayoutVars>
          <dgm:bulletEnabled val="1"/>
        </dgm:presLayoutVars>
      </dgm:prSet>
      <dgm:spPr>
        <a:prstGeom prst="roundRect">
          <a:avLst/>
        </a:prstGeom>
      </dgm:spPr>
    </dgm:pt>
    <dgm:pt modelId="{2A09DDCB-78D6-40BC-80C0-E3373B805842}" type="pres">
      <dgm:prSet presAssocID="{8560DE0F-74F4-47F4-AA74-CD9926F893D8}" presName="sibTrans" presStyleCnt="0"/>
      <dgm:spPr/>
    </dgm:pt>
    <dgm:pt modelId="{0CB53555-60EF-4554-889B-8FFDA622129F}" type="pres">
      <dgm:prSet presAssocID="{E4E7940F-75F9-482A-900A-84CF76D62F42}" presName="node" presStyleLbl="node1" presStyleIdx="2" presStyleCnt="9" custScaleX="129329">
        <dgm:presLayoutVars>
          <dgm:bulletEnabled val="1"/>
        </dgm:presLayoutVars>
      </dgm:prSet>
      <dgm:spPr>
        <a:prstGeom prst="roundRect">
          <a:avLst/>
        </a:prstGeom>
      </dgm:spPr>
    </dgm:pt>
    <dgm:pt modelId="{8B2FA23A-BD79-42A7-9FAC-6A3B8183B018}" type="pres">
      <dgm:prSet presAssocID="{58BADF28-59AD-4C80-8991-C0CDADECF7F6}" presName="sibTrans" presStyleCnt="0"/>
      <dgm:spPr/>
    </dgm:pt>
    <dgm:pt modelId="{2B11059C-3C65-492E-9D6F-9C379ADC4A5A}" type="pres">
      <dgm:prSet presAssocID="{2C755A2E-243B-4ED5-AEC6-7871992A3134}" presName="node" presStyleLbl="node1" presStyleIdx="3" presStyleCnt="9" custScaleX="129329">
        <dgm:presLayoutVars>
          <dgm:bulletEnabled val="1"/>
        </dgm:presLayoutVars>
      </dgm:prSet>
      <dgm:spPr>
        <a:prstGeom prst="roundRect">
          <a:avLst/>
        </a:prstGeom>
      </dgm:spPr>
    </dgm:pt>
    <dgm:pt modelId="{8265442B-414E-407E-BFA7-9C2108958F56}" type="pres">
      <dgm:prSet presAssocID="{07D4C352-85CC-40B5-82E7-62AAA5FFC309}" presName="sibTrans" presStyleCnt="0"/>
      <dgm:spPr/>
    </dgm:pt>
    <dgm:pt modelId="{69AB919C-A2F3-41DD-ACAF-AE357E681E84}" type="pres">
      <dgm:prSet presAssocID="{4CA89174-CA58-4B76-8211-F96692CB46EB}" presName="node" presStyleLbl="node1" presStyleIdx="4" presStyleCnt="9" custScaleX="129329">
        <dgm:presLayoutVars>
          <dgm:bulletEnabled val="1"/>
        </dgm:presLayoutVars>
      </dgm:prSet>
      <dgm:spPr>
        <a:prstGeom prst="roundRect">
          <a:avLst/>
        </a:prstGeom>
      </dgm:spPr>
    </dgm:pt>
    <dgm:pt modelId="{ED78A2B1-D37C-436C-B81A-26DC3890B743}" type="pres">
      <dgm:prSet presAssocID="{C86334B3-F9F1-4356-85D4-FA4256A623B2}" presName="sibTrans" presStyleCnt="0"/>
      <dgm:spPr/>
    </dgm:pt>
    <dgm:pt modelId="{E02213FF-EAEC-461A-8D8A-11E0C495DC2C}" type="pres">
      <dgm:prSet presAssocID="{73B90740-EC5C-4EF2-8B20-6673494193D6}" presName="node" presStyleLbl="node1" presStyleIdx="5" presStyleCnt="9" custScaleX="129329">
        <dgm:presLayoutVars>
          <dgm:bulletEnabled val="1"/>
        </dgm:presLayoutVars>
      </dgm:prSet>
      <dgm:spPr>
        <a:prstGeom prst="roundRect">
          <a:avLst/>
        </a:prstGeom>
      </dgm:spPr>
    </dgm:pt>
    <dgm:pt modelId="{9DE234B8-A564-4EB3-8E7C-14E50EE23845}" type="pres">
      <dgm:prSet presAssocID="{5AF3A9B7-12D7-41BF-8C66-65289616C5D7}" presName="sibTrans" presStyleCnt="0"/>
      <dgm:spPr/>
    </dgm:pt>
    <dgm:pt modelId="{E04FF7D1-40EA-4E59-A361-350083F4582D}" type="pres">
      <dgm:prSet presAssocID="{04CF9BA9-2E54-47A2-9FD3-40C548D0AA10}" presName="node" presStyleLbl="node1" presStyleIdx="6" presStyleCnt="9" custScaleX="129329">
        <dgm:presLayoutVars>
          <dgm:bulletEnabled val="1"/>
        </dgm:presLayoutVars>
      </dgm:prSet>
      <dgm:spPr>
        <a:prstGeom prst="roundRect">
          <a:avLst/>
        </a:prstGeom>
      </dgm:spPr>
    </dgm:pt>
    <dgm:pt modelId="{A46536E0-97B0-4779-9705-860861DB6DE6}" type="pres">
      <dgm:prSet presAssocID="{D20F64F6-2A7C-4C02-898C-0E6CCEDCB0B3}" presName="sibTrans" presStyleCnt="0"/>
      <dgm:spPr/>
    </dgm:pt>
    <dgm:pt modelId="{C1E8A5AD-4EEF-4274-9E8F-306C229A5091}" type="pres">
      <dgm:prSet presAssocID="{DE137409-88DB-407C-BFD8-14455274F080}" presName="node" presStyleLbl="node1" presStyleIdx="7" presStyleCnt="9" custScaleX="129329">
        <dgm:presLayoutVars>
          <dgm:bulletEnabled val="1"/>
        </dgm:presLayoutVars>
      </dgm:prSet>
      <dgm:spPr>
        <a:prstGeom prst="roundRect">
          <a:avLst/>
        </a:prstGeom>
      </dgm:spPr>
    </dgm:pt>
    <dgm:pt modelId="{5CB34F0F-1FF7-4CD3-AA7E-FB0C93A9605E}" type="pres">
      <dgm:prSet presAssocID="{FDB4F299-4E42-4420-850B-945452AED5D7}" presName="sibTrans" presStyleCnt="0"/>
      <dgm:spPr/>
    </dgm:pt>
    <dgm:pt modelId="{C968F899-6AB8-4B30-813E-6A1647A48B2F}" type="pres">
      <dgm:prSet presAssocID="{3C8B19D0-0955-4C7A-A56F-946815EC7D23}" presName="node" presStyleLbl="node1" presStyleIdx="8" presStyleCnt="9" custScaleX="129329">
        <dgm:presLayoutVars>
          <dgm:bulletEnabled val="1"/>
        </dgm:presLayoutVars>
      </dgm:prSet>
      <dgm:spPr>
        <a:prstGeom prst="roundRect">
          <a:avLst/>
        </a:prstGeom>
      </dgm:spPr>
    </dgm:pt>
  </dgm:ptLst>
  <dgm:cxnLst>
    <dgm:cxn modelId="{8BAB5200-3655-4EC3-A489-245C807039D7}" type="presOf" srcId="{34449B9F-EB79-4D44-936F-45105B68FE92}" destId="{B9C4D754-3B69-459C-9F96-A4A4CDADDF77}" srcOrd="0" destOrd="0" presId="urn:microsoft.com/office/officeart/2005/8/layout/default"/>
    <dgm:cxn modelId="{E963670A-9354-48A6-98FE-2BF542686D42}" srcId="{8E25C91B-5A63-40E9-B760-6957F7487EE2}" destId="{62F9C1CA-18F4-4335-95F5-0E3F99CEED0F}" srcOrd="1" destOrd="0" parTransId="{CA402A89-58E0-4A17-BEBC-D0D841EB6790}" sibTransId="{8560DE0F-74F4-47F4-AA74-CD9926F893D8}"/>
    <dgm:cxn modelId="{0625730D-C4AD-4209-BBB9-C0235EDB4904}" srcId="{8E25C91B-5A63-40E9-B760-6957F7487EE2}" destId="{E4E7940F-75F9-482A-900A-84CF76D62F42}" srcOrd="2" destOrd="0" parTransId="{9E40C5B0-B641-40D1-9124-93D11EDA6188}" sibTransId="{58BADF28-59AD-4C80-8991-C0CDADECF7F6}"/>
    <dgm:cxn modelId="{5FBAF013-A192-450F-918C-8D50FA58347F}" type="presOf" srcId="{4CA89174-CA58-4B76-8211-F96692CB46EB}" destId="{69AB919C-A2F3-41DD-ACAF-AE357E681E84}" srcOrd="0" destOrd="0" presId="urn:microsoft.com/office/officeart/2005/8/layout/default"/>
    <dgm:cxn modelId="{67BDD014-F520-4A3A-9C53-D537CBAC81C7}" type="presOf" srcId="{2C755A2E-243B-4ED5-AEC6-7871992A3134}" destId="{2B11059C-3C65-492E-9D6F-9C379ADC4A5A}" srcOrd="0" destOrd="0" presId="urn:microsoft.com/office/officeart/2005/8/layout/default"/>
    <dgm:cxn modelId="{DF8D2819-8850-4B5A-8C56-436B4A2EE38A}" srcId="{8E25C91B-5A63-40E9-B760-6957F7487EE2}" destId="{34449B9F-EB79-4D44-936F-45105B68FE92}" srcOrd="0" destOrd="0" parTransId="{303893DC-4B89-4A0D-9486-94E638413A77}" sibTransId="{50DC8D0A-37CE-4159-B7E7-A2D19FDF4245}"/>
    <dgm:cxn modelId="{D8A87226-D7B7-499F-B5B3-5DB387B3591E}" srcId="{8E25C91B-5A63-40E9-B760-6957F7487EE2}" destId="{2C755A2E-243B-4ED5-AEC6-7871992A3134}" srcOrd="3" destOrd="0" parTransId="{5BF93DA1-2323-43AD-BFC1-CA9CC305E9EE}" sibTransId="{07D4C352-85CC-40B5-82E7-62AAA5FFC309}"/>
    <dgm:cxn modelId="{04B35A45-391B-4619-B9A8-2755F9212AAA}" type="presOf" srcId="{62F9C1CA-18F4-4335-95F5-0E3F99CEED0F}" destId="{F2309B79-074E-4C04-A521-35F7F8A87864}" srcOrd="0" destOrd="0" presId="urn:microsoft.com/office/officeart/2005/8/layout/default"/>
    <dgm:cxn modelId="{7BC4024C-4914-4AC3-B0B7-1BE5C4D22DB2}" srcId="{8E25C91B-5A63-40E9-B760-6957F7487EE2}" destId="{4CA89174-CA58-4B76-8211-F96692CB46EB}" srcOrd="4" destOrd="0" parTransId="{8DF5C34F-ADD8-4D0B-AD0B-D5BD9E0464A4}" sibTransId="{C86334B3-F9F1-4356-85D4-FA4256A623B2}"/>
    <dgm:cxn modelId="{FB7A6F84-09B5-4DA0-9F55-6EE41322F913}" srcId="{8E25C91B-5A63-40E9-B760-6957F7487EE2}" destId="{73B90740-EC5C-4EF2-8B20-6673494193D6}" srcOrd="5" destOrd="0" parTransId="{E027452C-D539-406B-9594-496D0C1AD802}" sibTransId="{5AF3A9B7-12D7-41BF-8C66-65289616C5D7}"/>
    <dgm:cxn modelId="{ED57018D-316B-4EED-8C47-A9F71F15A0E0}" srcId="{8E25C91B-5A63-40E9-B760-6957F7487EE2}" destId="{3C8B19D0-0955-4C7A-A56F-946815EC7D23}" srcOrd="8" destOrd="0" parTransId="{6E7B3133-3522-411D-8C2B-1008CE7C9EE7}" sibTransId="{91424DC4-21BE-482C-91B2-10C5FAF7CF1F}"/>
    <dgm:cxn modelId="{BFB833AD-501E-442A-8C22-143EF273CB63}" srcId="{8E25C91B-5A63-40E9-B760-6957F7487EE2}" destId="{04CF9BA9-2E54-47A2-9FD3-40C548D0AA10}" srcOrd="6" destOrd="0" parTransId="{6FB90B31-B579-4FFF-B039-3A8E69358C6A}" sibTransId="{D20F64F6-2A7C-4C02-898C-0E6CCEDCB0B3}"/>
    <dgm:cxn modelId="{406824B7-238E-4999-AF28-721FD9564073}" type="presOf" srcId="{8E25C91B-5A63-40E9-B760-6957F7487EE2}" destId="{34F8EF3A-E5B1-45E3-B44C-6974F33091B0}" srcOrd="0" destOrd="0" presId="urn:microsoft.com/office/officeart/2005/8/layout/default"/>
    <dgm:cxn modelId="{9F56A0BF-619A-4AEB-9AE6-B3531ABCF53C}" type="presOf" srcId="{73B90740-EC5C-4EF2-8B20-6673494193D6}" destId="{E02213FF-EAEC-461A-8D8A-11E0C495DC2C}" srcOrd="0" destOrd="0" presId="urn:microsoft.com/office/officeart/2005/8/layout/default"/>
    <dgm:cxn modelId="{7E3B18C7-344F-42BB-A2D0-0AED8FCAC885}" type="presOf" srcId="{DE137409-88DB-407C-BFD8-14455274F080}" destId="{C1E8A5AD-4EEF-4274-9E8F-306C229A5091}" srcOrd="0" destOrd="0" presId="urn:microsoft.com/office/officeart/2005/8/layout/default"/>
    <dgm:cxn modelId="{223C9FD8-81FE-4F67-AA65-2BBBEF1437E5}" srcId="{8E25C91B-5A63-40E9-B760-6957F7487EE2}" destId="{DE137409-88DB-407C-BFD8-14455274F080}" srcOrd="7" destOrd="0" parTransId="{098897DB-9734-498F-BF68-A080049BDE43}" sibTransId="{FDB4F299-4E42-4420-850B-945452AED5D7}"/>
    <dgm:cxn modelId="{69B9FFD9-4301-4464-96E6-6E5D26BFAD61}" type="presOf" srcId="{04CF9BA9-2E54-47A2-9FD3-40C548D0AA10}" destId="{E04FF7D1-40EA-4E59-A361-350083F4582D}" srcOrd="0" destOrd="0" presId="urn:microsoft.com/office/officeart/2005/8/layout/default"/>
    <dgm:cxn modelId="{FB1A23E7-DD36-490B-8A94-C64870E13F4D}" type="presOf" srcId="{3C8B19D0-0955-4C7A-A56F-946815EC7D23}" destId="{C968F899-6AB8-4B30-813E-6A1647A48B2F}" srcOrd="0" destOrd="0" presId="urn:microsoft.com/office/officeart/2005/8/layout/default"/>
    <dgm:cxn modelId="{622961F0-9E9B-4BF9-83FF-10B0CFF13F47}" type="presOf" srcId="{E4E7940F-75F9-482A-900A-84CF76D62F42}" destId="{0CB53555-60EF-4554-889B-8FFDA622129F}" srcOrd="0" destOrd="0" presId="urn:microsoft.com/office/officeart/2005/8/layout/default"/>
    <dgm:cxn modelId="{8B6C4FD5-9FF0-428C-B9D0-7A2956599E9E}" type="presParOf" srcId="{34F8EF3A-E5B1-45E3-B44C-6974F33091B0}" destId="{B9C4D754-3B69-459C-9F96-A4A4CDADDF77}" srcOrd="0" destOrd="0" presId="urn:microsoft.com/office/officeart/2005/8/layout/default"/>
    <dgm:cxn modelId="{B52BBAD7-BB27-45A2-A40C-B266602E0E6A}" type="presParOf" srcId="{34F8EF3A-E5B1-45E3-B44C-6974F33091B0}" destId="{948100A2-C0EC-4601-A71E-81A7B27D1838}" srcOrd="1" destOrd="0" presId="urn:microsoft.com/office/officeart/2005/8/layout/default"/>
    <dgm:cxn modelId="{D59B9183-9B28-439A-BF5D-80F87652C42F}" type="presParOf" srcId="{34F8EF3A-E5B1-45E3-B44C-6974F33091B0}" destId="{F2309B79-074E-4C04-A521-35F7F8A87864}" srcOrd="2" destOrd="0" presId="urn:microsoft.com/office/officeart/2005/8/layout/default"/>
    <dgm:cxn modelId="{40E03FD6-A03C-46C6-870D-81B770C393A0}" type="presParOf" srcId="{34F8EF3A-E5B1-45E3-B44C-6974F33091B0}" destId="{2A09DDCB-78D6-40BC-80C0-E3373B805842}" srcOrd="3" destOrd="0" presId="urn:microsoft.com/office/officeart/2005/8/layout/default"/>
    <dgm:cxn modelId="{61B6ED63-5633-4537-88B1-0F074EFA86BB}" type="presParOf" srcId="{34F8EF3A-E5B1-45E3-B44C-6974F33091B0}" destId="{0CB53555-60EF-4554-889B-8FFDA622129F}" srcOrd="4" destOrd="0" presId="urn:microsoft.com/office/officeart/2005/8/layout/default"/>
    <dgm:cxn modelId="{01AB516B-9F3B-40D6-BE84-09A4558ACAD9}" type="presParOf" srcId="{34F8EF3A-E5B1-45E3-B44C-6974F33091B0}" destId="{8B2FA23A-BD79-42A7-9FAC-6A3B8183B018}" srcOrd="5" destOrd="0" presId="urn:microsoft.com/office/officeart/2005/8/layout/default"/>
    <dgm:cxn modelId="{68A3E4F5-EA19-4779-AC8B-A79F1CD6E87C}" type="presParOf" srcId="{34F8EF3A-E5B1-45E3-B44C-6974F33091B0}" destId="{2B11059C-3C65-492E-9D6F-9C379ADC4A5A}" srcOrd="6" destOrd="0" presId="urn:microsoft.com/office/officeart/2005/8/layout/default"/>
    <dgm:cxn modelId="{F03246EB-CE74-4267-A411-AE57306AE4E7}" type="presParOf" srcId="{34F8EF3A-E5B1-45E3-B44C-6974F33091B0}" destId="{8265442B-414E-407E-BFA7-9C2108958F56}" srcOrd="7" destOrd="0" presId="urn:microsoft.com/office/officeart/2005/8/layout/default"/>
    <dgm:cxn modelId="{AC7C2526-9201-41E8-9C0B-AF4DEE722BB3}" type="presParOf" srcId="{34F8EF3A-E5B1-45E3-B44C-6974F33091B0}" destId="{69AB919C-A2F3-41DD-ACAF-AE357E681E84}" srcOrd="8" destOrd="0" presId="urn:microsoft.com/office/officeart/2005/8/layout/default"/>
    <dgm:cxn modelId="{56AE6CD6-5406-4821-BA90-1ABFFBE6BB0F}" type="presParOf" srcId="{34F8EF3A-E5B1-45E3-B44C-6974F33091B0}" destId="{ED78A2B1-D37C-436C-B81A-26DC3890B743}" srcOrd="9" destOrd="0" presId="urn:microsoft.com/office/officeart/2005/8/layout/default"/>
    <dgm:cxn modelId="{6721DFF2-DA52-4DCC-9632-0B1F7083577C}" type="presParOf" srcId="{34F8EF3A-E5B1-45E3-B44C-6974F33091B0}" destId="{E02213FF-EAEC-461A-8D8A-11E0C495DC2C}" srcOrd="10" destOrd="0" presId="urn:microsoft.com/office/officeart/2005/8/layout/default"/>
    <dgm:cxn modelId="{F0DBE6C3-8CAF-468B-B9BD-8EB40659CA91}" type="presParOf" srcId="{34F8EF3A-E5B1-45E3-B44C-6974F33091B0}" destId="{9DE234B8-A564-4EB3-8E7C-14E50EE23845}" srcOrd="11" destOrd="0" presId="urn:microsoft.com/office/officeart/2005/8/layout/default"/>
    <dgm:cxn modelId="{4A29A899-085F-4263-A35F-0209AB5DB755}" type="presParOf" srcId="{34F8EF3A-E5B1-45E3-B44C-6974F33091B0}" destId="{E04FF7D1-40EA-4E59-A361-350083F4582D}" srcOrd="12" destOrd="0" presId="urn:microsoft.com/office/officeart/2005/8/layout/default"/>
    <dgm:cxn modelId="{7A28F1FB-35FE-4073-8BE8-DA21EB17E6E4}" type="presParOf" srcId="{34F8EF3A-E5B1-45E3-B44C-6974F33091B0}" destId="{A46536E0-97B0-4779-9705-860861DB6DE6}" srcOrd="13" destOrd="0" presId="urn:microsoft.com/office/officeart/2005/8/layout/default"/>
    <dgm:cxn modelId="{C4B36DFA-9A81-41D4-A5F1-FA61DD8A8DC0}" type="presParOf" srcId="{34F8EF3A-E5B1-45E3-B44C-6974F33091B0}" destId="{C1E8A5AD-4EEF-4274-9E8F-306C229A5091}" srcOrd="14" destOrd="0" presId="urn:microsoft.com/office/officeart/2005/8/layout/default"/>
    <dgm:cxn modelId="{24A14EC4-94EC-405D-BF34-4FEE65680EB4}" type="presParOf" srcId="{34F8EF3A-E5B1-45E3-B44C-6974F33091B0}" destId="{5CB34F0F-1FF7-4CD3-AA7E-FB0C93A9605E}" srcOrd="15" destOrd="0" presId="urn:microsoft.com/office/officeart/2005/8/layout/default"/>
    <dgm:cxn modelId="{7ACF081C-5D1A-4E6F-88F3-DC1980544381}" type="presParOf" srcId="{34F8EF3A-E5B1-45E3-B44C-6974F33091B0}" destId="{C968F899-6AB8-4B30-813E-6A1647A48B2F}" srcOrd="1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C4D754-3B69-459C-9F96-A4A4CDADDF77}">
      <dsp:nvSpPr>
        <dsp:cNvPr id="0" name=""/>
        <dsp:cNvSpPr/>
      </dsp:nvSpPr>
      <dsp:spPr>
        <a:xfrm>
          <a:off x="328206" y="794"/>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Reduce system pressures where network allows to marginally reduce system leakage</a:t>
          </a:r>
        </a:p>
      </dsp:txBody>
      <dsp:txXfrm>
        <a:off x="377903" y="50491"/>
        <a:ext cx="2094970" cy="918644"/>
      </dsp:txXfrm>
    </dsp:sp>
    <dsp:sp modelId="{F2309B79-074E-4C04-A521-35F7F8A87864}">
      <dsp:nvSpPr>
        <dsp:cNvPr id="0" name=""/>
        <dsp:cNvSpPr/>
      </dsp:nvSpPr>
      <dsp:spPr>
        <a:xfrm>
          <a:off x="2692243" y="794"/>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Reduce/ eliminate emissions by revising blowdown and venting procedures</a:t>
          </a:r>
        </a:p>
      </dsp:txBody>
      <dsp:txXfrm>
        <a:off x="2741940" y="50491"/>
        <a:ext cx="2094970" cy="918644"/>
      </dsp:txXfrm>
    </dsp:sp>
    <dsp:sp modelId="{0CB53555-60EF-4554-889B-8FFDA622129F}">
      <dsp:nvSpPr>
        <dsp:cNvPr id="0" name=""/>
        <dsp:cNvSpPr/>
      </dsp:nvSpPr>
      <dsp:spPr>
        <a:xfrm>
          <a:off x="5056280" y="794"/>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a:t>Initiate regular Leakage Detection and Repair (LDAR) program (transition from hours-based to risk-based maintenance)</a:t>
          </a:r>
          <a:endParaRPr lang="en-AU" sz="1100" kern="1200" dirty="0"/>
        </a:p>
      </dsp:txBody>
      <dsp:txXfrm>
        <a:off x="5105977" y="50491"/>
        <a:ext cx="2094970" cy="918644"/>
      </dsp:txXfrm>
    </dsp:sp>
    <dsp:sp modelId="{2B11059C-3C65-492E-9D6F-9C379ADC4A5A}">
      <dsp:nvSpPr>
        <dsp:cNvPr id="0" name=""/>
        <dsp:cNvSpPr/>
      </dsp:nvSpPr>
      <dsp:spPr>
        <a:xfrm>
          <a:off x="328206" y="1188505"/>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Identify devices that are designed to intermittently/ continuously emit gas and replace or eliminate option</a:t>
          </a:r>
        </a:p>
      </dsp:txBody>
      <dsp:txXfrm>
        <a:off x="377903" y="1238202"/>
        <a:ext cx="2094970" cy="918644"/>
      </dsp:txXfrm>
    </dsp:sp>
    <dsp:sp modelId="{69AB919C-A2F3-41DD-ACAF-AE357E681E84}">
      <dsp:nvSpPr>
        <dsp:cNvPr id="0" name=""/>
        <dsp:cNvSpPr/>
      </dsp:nvSpPr>
      <dsp:spPr>
        <a:xfrm>
          <a:off x="2692243" y="1188505"/>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Ensure proper methane destruction when flaring</a:t>
          </a:r>
        </a:p>
      </dsp:txBody>
      <dsp:txXfrm>
        <a:off x="2741940" y="1238202"/>
        <a:ext cx="2094970" cy="918644"/>
      </dsp:txXfrm>
    </dsp:sp>
    <dsp:sp modelId="{E02213FF-EAEC-461A-8D8A-11E0C495DC2C}">
      <dsp:nvSpPr>
        <dsp:cNvPr id="0" name=""/>
        <dsp:cNvSpPr/>
      </dsp:nvSpPr>
      <dsp:spPr>
        <a:xfrm>
          <a:off x="5056280" y="1188505"/>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Mobile flaring during planned blowdowns</a:t>
          </a:r>
        </a:p>
      </dsp:txBody>
      <dsp:txXfrm>
        <a:off x="5105977" y="1238202"/>
        <a:ext cx="2094970" cy="918644"/>
      </dsp:txXfrm>
    </dsp:sp>
    <dsp:sp modelId="{E04FF7D1-40EA-4E59-A361-350083F4582D}">
      <dsp:nvSpPr>
        <dsp:cNvPr id="0" name=""/>
        <dsp:cNvSpPr/>
      </dsp:nvSpPr>
      <dsp:spPr>
        <a:xfrm>
          <a:off x="328206" y="2376216"/>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Organise a purchase agreement for renewable gas (e.g., biomethane, H2 blend)</a:t>
          </a:r>
        </a:p>
      </dsp:txBody>
      <dsp:txXfrm>
        <a:off x="377903" y="2425913"/>
        <a:ext cx="2094970" cy="918644"/>
      </dsp:txXfrm>
    </dsp:sp>
    <dsp:sp modelId="{C1E8A5AD-4EEF-4274-9E8F-306C229A5091}">
      <dsp:nvSpPr>
        <dsp:cNvPr id="0" name=""/>
        <dsp:cNvSpPr/>
      </dsp:nvSpPr>
      <dsp:spPr>
        <a:xfrm>
          <a:off x="2692243" y="2376216"/>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Capture vented gases and recompress or use to generate electricity</a:t>
          </a:r>
        </a:p>
      </dsp:txBody>
      <dsp:txXfrm>
        <a:off x="2741940" y="2425913"/>
        <a:ext cx="2094970" cy="918644"/>
      </dsp:txXfrm>
    </dsp:sp>
    <dsp:sp modelId="{C968F899-6AB8-4B30-813E-6A1647A48B2F}">
      <dsp:nvSpPr>
        <dsp:cNvPr id="0" name=""/>
        <dsp:cNvSpPr/>
      </dsp:nvSpPr>
      <dsp:spPr>
        <a:xfrm>
          <a:off x="5056280" y="2376216"/>
          <a:ext cx="2194364" cy="10180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AU" sz="1100" kern="1200" dirty="0"/>
            <a:t>Optimise maintenance approach to eliminate unnecessary work that would cause gas leakage</a:t>
          </a:r>
        </a:p>
      </dsp:txBody>
      <dsp:txXfrm>
        <a:off x="5105977" y="2425913"/>
        <a:ext cx="2094970" cy="91864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0DD23D5-8DFD-5030-390C-8EA2FA8A41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1816F325-239D-C508-7615-1A44351BF40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C82F8-254D-4EAB-BD3D-1EB148A229BA}" type="datetimeFigureOut">
              <a:rPr lang="en-AU" smtClean="0"/>
              <a:t>25/06/2024</a:t>
            </a:fld>
            <a:endParaRPr lang="en-AU"/>
          </a:p>
        </p:txBody>
      </p:sp>
      <p:sp>
        <p:nvSpPr>
          <p:cNvPr id="4" name="Footer Placeholder 3">
            <a:extLst>
              <a:ext uri="{FF2B5EF4-FFF2-40B4-BE49-F238E27FC236}">
                <a16:creationId xmlns:a16="http://schemas.microsoft.com/office/drawing/2014/main" id="{07CBA31E-FDC0-CFAE-1907-3CBF9BD67D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F15349DF-896D-B6CD-BCB4-F72371718B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87EE91-CF16-469D-A7E2-038F0A2415E9}" type="slidenum">
              <a:rPr lang="en-AU" smtClean="0"/>
              <a:t>‹#›</a:t>
            </a:fld>
            <a:endParaRPr lang="en-AU"/>
          </a:p>
        </p:txBody>
      </p:sp>
    </p:spTree>
    <p:extLst>
      <p:ext uri="{BB962C8B-B14F-4D97-AF65-F5344CB8AC3E}">
        <p14:creationId xmlns:p14="http://schemas.microsoft.com/office/powerpoint/2010/main" val="362730287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4664A63B-90DC-CE49-A706-CCA2F0AEA678}" type="datetimeFigureOut">
              <a:rPr lang="en-AU" smtClean="0"/>
              <a:pPr/>
              <a:t>25/06/2024</a:t>
            </a:fld>
            <a:endParaRPr lang="en-AU"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C1764215-E8C2-E244-ABC0-F097A38AE7E2}" type="slidenum">
              <a:rPr lang="en-AU" smtClean="0"/>
              <a:pPr/>
              <a:t>‹#›</a:t>
            </a:fld>
            <a:endParaRPr lang="en-AU" dirty="0"/>
          </a:p>
        </p:txBody>
      </p:sp>
    </p:spTree>
    <p:extLst>
      <p:ext uri="{BB962C8B-B14F-4D97-AF65-F5344CB8AC3E}">
        <p14:creationId xmlns:p14="http://schemas.microsoft.com/office/powerpoint/2010/main" val="35502238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1764215-E8C2-E244-ABC0-F097A38AE7E2}" type="slidenum">
              <a:rPr lang="en-AU" smtClean="0"/>
              <a:pPr/>
              <a:t>1</a:t>
            </a:fld>
            <a:endParaRPr lang="en-AU" dirty="0"/>
          </a:p>
        </p:txBody>
      </p:sp>
    </p:spTree>
    <p:extLst>
      <p:ext uri="{BB962C8B-B14F-4D97-AF65-F5344CB8AC3E}">
        <p14:creationId xmlns:p14="http://schemas.microsoft.com/office/powerpoint/2010/main" val="2644262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Brief overview of greenhouse gas emissions and their impact on the environment.</a:t>
            </a:r>
          </a:p>
          <a:p>
            <a:r>
              <a:rPr lang="en-AU" dirty="0"/>
              <a:t>Introduction to the focus on methane (CH4) emissions from gas pipelines.</a:t>
            </a:r>
          </a:p>
          <a:p>
            <a:endParaRPr lang="en-AU" dirty="0"/>
          </a:p>
          <a:p>
            <a:r>
              <a:rPr lang="en-AU" dirty="0"/>
              <a:t>- GWP change over time: to </a:t>
            </a:r>
            <a:r>
              <a:rPr lang="en-AU" b="0" i="0" dirty="0">
                <a:solidFill>
                  <a:srgbClr val="292929"/>
                </a:solidFill>
                <a:effectLst/>
                <a:latin typeface="Rubik"/>
              </a:rPr>
              <a:t>account for changes in radiative properties, atmospheric lifetimes, and indirect contributions of the different gases.</a:t>
            </a:r>
          </a:p>
          <a:p>
            <a:r>
              <a:rPr lang="en-AU" b="0" i="0" dirty="0">
                <a:solidFill>
                  <a:srgbClr val="292929"/>
                </a:solidFill>
                <a:effectLst/>
                <a:latin typeface="Rubik"/>
              </a:rPr>
              <a:t>- Difference between non-fossil origin and fossil origin: </a:t>
            </a:r>
          </a:p>
          <a:p>
            <a:r>
              <a:rPr lang="en-AU" b="0" i="0" dirty="0">
                <a:solidFill>
                  <a:srgbClr val="292929"/>
                </a:solidFill>
                <a:effectLst/>
                <a:latin typeface="Rubik"/>
              </a:rPr>
              <a:t>- CH4 lifetime: 12 years; CO2 lifetime: centuries (hard to quantify because it’s cycled between the atmosphere, oceans and land biosphere)</a:t>
            </a:r>
          </a:p>
          <a:p>
            <a:endParaRPr lang="en-AU" dirty="0"/>
          </a:p>
          <a:p>
            <a:endParaRPr lang="en-AU" dirty="0"/>
          </a:p>
          <a:p>
            <a:pPr marL="228600" indent="-228600">
              <a:buAutoNum type="arabicPeriod"/>
            </a:pPr>
            <a:r>
              <a:rPr lang="en-AU" dirty="0"/>
              <a:t>https://www.dcceew.gov.au/climate-change/emissions-reduction/net-zero</a:t>
            </a:r>
          </a:p>
          <a:p>
            <a:pPr marL="228600" indent="-228600">
              <a:buAutoNum type="arabicPeriod"/>
            </a:pPr>
            <a:r>
              <a:rPr lang="en-AU" dirty="0"/>
              <a:t>https://erce.energy/erceipccsixthassessment/</a:t>
            </a:r>
          </a:p>
          <a:p>
            <a:pPr marL="228600" indent="-228600">
              <a:buAutoNum type="arabicPeriod"/>
            </a:pPr>
            <a:r>
              <a:rPr lang="en-AU" dirty="0"/>
              <a:t>https://www.iea.org/data-and-statistics/charts/sources-of-methane-emissions-2022-3</a:t>
            </a:r>
          </a:p>
        </p:txBody>
      </p:sp>
      <p:sp>
        <p:nvSpPr>
          <p:cNvPr id="4" name="Slide Number Placeholder 3"/>
          <p:cNvSpPr>
            <a:spLocks noGrp="1"/>
          </p:cNvSpPr>
          <p:nvPr>
            <p:ph type="sldNum" sz="quarter" idx="5"/>
          </p:nvPr>
        </p:nvSpPr>
        <p:spPr/>
        <p:txBody>
          <a:bodyPr/>
          <a:lstStyle/>
          <a:p>
            <a:fld id="{C1764215-E8C2-E244-ABC0-F097A38AE7E2}" type="slidenum">
              <a:rPr lang="en-AU" smtClean="0"/>
              <a:pPr/>
              <a:t>2</a:t>
            </a:fld>
            <a:endParaRPr lang="en-AU" dirty="0"/>
          </a:p>
        </p:txBody>
      </p:sp>
    </p:spTree>
    <p:extLst>
      <p:ext uri="{BB962C8B-B14F-4D97-AF65-F5344CB8AC3E}">
        <p14:creationId xmlns:p14="http://schemas.microsoft.com/office/powerpoint/2010/main" val="138226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AU" dirty="0"/>
              <a:t>https://ourworldindata.org/ghg-emissions-by-sector</a:t>
            </a:r>
          </a:p>
          <a:p>
            <a:pPr marL="228600" indent="-228600">
              <a:buAutoNum type="arabicPeriod"/>
            </a:pPr>
            <a:r>
              <a:rPr lang="en-AU" dirty="0"/>
              <a:t>https://www.iea.org/reports/the-oil-and-gas-industry-in-net-zero-transitions/executive-summary</a:t>
            </a:r>
          </a:p>
          <a:p>
            <a:pPr marL="228600" indent="-228600">
              <a:buAutoNum type="arabicPeriod"/>
            </a:pPr>
            <a:r>
              <a:rPr lang="en-AU" dirty="0"/>
              <a:t>https://www.iea.org/energy-system/fossil-fuels/methane-abatement</a:t>
            </a:r>
          </a:p>
          <a:p>
            <a:pPr marL="228600" indent="-228600">
              <a:buAutoNum type="arabicPeriod"/>
            </a:pPr>
            <a:r>
              <a:rPr lang="en-AU" dirty="0"/>
              <a:t>https://www.iea.org/data-and-statistics/data-tools/greenhouse-gas-emissions-from-energy-data-explorer</a:t>
            </a:r>
          </a:p>
          <a:p>
            <a:pPr marL="228600" indent="-228600">
              <a:buAutoNum type="arabicPeriod"/>
            </a:pPr>
            <a:endParaRPr lang="en-AU" dirty="0"/>
          </a:p>
        </p:txBody>
      </p:sp>
      <p:sp>
        <p:nvSpPr>
          <p:cNvPr id="4" name="Slide Number Placeholder 3"/>
          <p:cNvSpPr>
            <a:spLocks noGrp="1"/>
          </p:cNvSpPr>
          <p:nvPr>
            <p:ph type="sldNum" sz="quarter" idx="5"/>
          </p:nvPr>
        </p:nvSpPr>
        <p:spPr/>
        <p:txBody>
          <a:bodyPr/>
          <a:lstStyle/>
          <a:p>
            <a:fld id="{C1764215-E8C2-E244-ABC0-F097A38AE7E2}" type="slidenum">
              <a:rPr lang="en-AU" smtClean="0"/>
              <a:pPr/>
              <a:t>3</a:t>
            </a:fld>
            <a:endParaRPr lang="en-AU" dirty="0"/>
          </a:p>
        </p:txBody>
      </p:sp>
    </p:spTree>
    <p:extLst>
      <p:ext uri="{BB962C8B-B14F-4D97-AF65-F5344CB8AC3E}">
        <p14:creationId xmlns:p14="http://schemas.microsoft.com/office/powerpoint/2010/main" val="900165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AU" dirty="0" err="1"/>
              <a:t>jh</a:t>
            </a:r>
            <a:endParaRPr lang="en-AU" dirty="0"/>
          </a:p>
          <a:p>
            <a:pPr marL="228600" indent="-228600">
              <a:buAutoNum type="arabicPeriod"/>
            </a:pPr>
            <a:r>
              <a:rPr lang="en-AU" dirty="0"/>
              <a:t>https://cer.gov.au/markets/reports-and-data/nger-reporting-data-and-registers/2022-23-published-data-highlights</a:t>
            </a:r>
          </a:p>
          <a:p>
            <a:pPr marL="228600" indent="-228600">
              <a:buAutoNum type="arabicPeriod"/>
            </a:pPr>
            <a:endParaRPr lang="en-AU" dirty="0"/>
          </a:p>
        </p:txBody>
      </p:sp>
      <p:sp>
        <p:nvSpPr>
          <p:cNvPr id="4" name="Slide Number Placeholder 3"/>
          <p:cNvSpPr>
            <a:spLocks noGrp="1"/>
          </p:cNvSpPr>
          <p:nvPr>
            <p:ph type="sldNum" sz="quarter" idx="5"/>
          </p:nvPr>
        </p:nvSpPr>
        <p:spPr/>
        <p:txBody>
          <a:bodyPr/>
          <a:lstStyle/>
          <a:p>
            <a:fld id="{C1764215-E8C2-E244-ABC0-F097A38AE7E2}" type="slidenum">
              <a:rPr lang="en-AU" smtClean="0"/>
              <a:pPr/>
              <a:t>4</a:t>
            </a:fld>
            <a:endParaRPr lang="en-AU" dirty="0"/>
          </a:p>
        </p:txBody>
      </p:sp>
    </p:spTree>
    <p:extLst>
      <p:ext uri="{BB962C8B-B14F-4D97-AF65-F5344CB8AC3E}">
        <p14:creationId xmlns:p14="http://schemas.microsoft.com/office/powerpoint/2010/main" val="16662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2"/>
                </a:solidFill>
              </a:rPr>
              <a:t>The Safeguard Mechanism is a key component of Australia's policy framework to manage emissions from large industrial facilities, including gas pipelines. It sets baseline emission limits for facilities to ensure emissions do not exceed historical levels. Facilities exceeding their baseline can be required to purchase carbon credits to offset excess emissions.</a:t>
            </a:r>
          </a:p>
          <a:p>
            <a:endParaRPr lang="en-AU" dirty="0">
              <a:highlight>
                <a:srgbClr val="FFFF00"/>
              </a:highlight>
            </a:endParaRPr>
          </a:p>
          <a:p>
            <a:r>
              <a:rPr lang="en-AU" dirty="0">
                <a:highlight>
                  <a:srgbClr val="FFFF00"/>
                </a:highlight>
              </a:rPr>
              <a:t>219 facilities covers: transport, mining, manufacturing, transport, oil, gas and waste sectors (produces ~30% of Australia’s GHG emissions)</a:t>
            </a:r>
          </a:p>
          <a:p>
            <a:pPr marL="0" marR="0" lvl="0" indent="0" algn="l" defTabSz="914400" eaLnBrk="1" fontAlgn="auto" latinLnBrk="0" hangingPunct="1">
              <a:lnSpc>
                <a:spcPct val="100000"/>
              </a:lnSpc>
              <a:spcBef>
                <a:spcPts val="0"/>
              </a:spcBef>
              <a:spcAft>
                <a:spcPts val="0"/>
              </a:spcAft>
              <a:buClrTx/>
              <a:buSzTx/>
              <a:buFontTx/>
              <a:buNone/>
              <a:tabLst/>
              <a:defRPr/>
            </a:pPr>
            <a:r>
              <a:rPr lang="en-AU" sz="1200" dirty="0"/>
              <a:t>Threshold for 2020-2030 emissions: provides more than 200 Mt of abatement by 2030.</a:t>
            </a:r>
          </a:p>
          <a:p>
            <a:pPr marL="0" marR="0" lvl="0" indent="0" algn="l" defTabSz="914400" eaLnBrk="1" fontAlgn="auto" latinLnBrk="0" hangingPunct="1">
              <a:lnSpc>
                <a:spcPct val="100000"/>
              </a:lnSpc>
              <a:spcBef>
                <a:spcPts val="0"/>
              </a:spcBef>
              <a:spcAft>
                <a:spcPts val="0"/>
              </a:spcAft>
              <a:buClrTx/>
              <a:buSzTx/>
              <a:buFontTx/>
              <a:buNone/>
              <a:tabLst/>
              <a:defRPr/>
            </a:pPr>
            <a:endParaRPr lang="en-AU" sz="1200" dirty="0">
              <a:highlight>
                <a:srgbClr val="FFFF00"/>
              </a:highlight>
            </a:endParaRPr>
          </a:p>
          <a:p>
            <a:pPr marL="0" marR="0" lvl="0" indent="0" algn="l" defTabSz="914400" eaLnBrk="1" fontAlgn="auto" latinLnBrk="0" hangingPunct="1">
              <a:lnSpc>
                <a:spcPct val="100000"/>
              </a:lnSpc>
              <a:spcBef>
                <a:spcPts val="0"/>
              </a:spcBef>
              <a:spcAft>
                <a:spcPts val="0"/>
              </a:spcAft>
              <a:buClrTx/>
              <a:buSzTx/>
              <a:buFontTx/>
              <a:buNone/>
              <a:tabLst/>
              <a:defRPr/>
            </a:pPr>
            <a:r>
              <a:rPr lang="en-AU" sz="1200" dirty="0">
                <a:highlight>
                  <a:srgbClr val="FFFF00"/>
                </a:highlight>
              </a:rPr>
              <a:t>There is a fourth method, which is direct measurement of emissions from the source, however this is not available as a current MD</a:t>
            </a:r>
            <a:endParaRPr lang="en-AU" dirty="0">
              <a:highlight>
                <a:srgbClr val="FFFF00"/>
              </a:highlight>
            </a:endParaRPr>
          </a:p>
          <a:p>
            <a:endParaRPr lang="en-AU" dirty="0"/>
          </a:p>
          <a:p>
            <a:r>
              <a:rPr lang="en-AU" dirty="0"/>
              <a:t>1. https://www.dcceew.gov.au/sites/default/files/documents/safeguard-mechanism-reforms-factsheet.pdf</a:t>
            </a:r>
          </a:p>
        </p:txBody>
      </p:sp>
      <p:sp>
        <p:nvSpPr>
          <p:cNvPr id="4" name="Slide Number Placeholder 3"/>
          <p:cNvSpPr>
            <a:spLocks noGrp="1"/>
          </p:cNvSpPr>
          <p:nvPr>
            <p:ph type="sldNum" sz="quarter" idx="5"/>
          </p:nvPr>
        </p:nvSpPr>
        <p:spPr/>
        <p:txBody>
          <a:bodyPr/>
          <a:lstStyle/>
          <a:p>
            <a:fld id="{C1764215-E8C2-E244-ABC0-F097A38AE7E2}" type="slidenum">
              <a:rPr lang="en-AU" smtClean="0"/>
              <a:pPr/>
              <a:t>5</a:t>
            </a:fld>
            <a:endParaRPr lang="en-AU" dirty="0"/>
          </a:p>
        </p:txBody>
      </p:sp>
    </p:spTree>
    <p:extLst>
      <p:ext uri="{BB962C8B-B14F-4D97-AF65-F5344CB8AC3E}">
        <p14:creationId xmlns:p14="http://schemas.microsoft.com/office/powerpoint/2010/main" val="3164854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AU" dirty="0"/>
              <a:t>How much CH4 (%) is released during flaring / jet fires?</a:t>
            </a:r>
          </a:p>
          <a:p>
            <a:endParaRPr lang="en-AU" dirty="0"/>
          </a:p>
        </p:txBody>
      </p:sp>
      <p:sp>
        <p:nvSpPr>
          <p:cNvPr id="4" name="Slide Number Placeholder 3"/>
          <p:cNvSpPr>
            <a:spLocks noGrp="1"/>
          </p:cNvSpPr>
          <p:nvPr>
            <p:ph type="sldNum" sz="quarter" idx="5"/>
          </p:nvPr>
        </p:nvSpPr>
        <p:spPr/>
        <p:txBody>
          <a:bodyPr/>
          <a:lstStyle/>
          <a:p>
            <a:fld id="{C1764215-E8C2-E244-ABC0-F097A38AE7E2}" type="slidenum">
              <a:rPr lang="en-AU" smtClean="0"/>
              <a:pPr/>
              <a:t>7</a:t>
            </a:fld>
            <a:endParaRPr lang="en-AU" dirty="0"/>
          </a:p>
        </p:txBody>
      </p:sp>
    </p:spTree>
    <p:extLst>
      <p:ext uri="{BB962C8B-B14F-4D97-AF65-F5344CB8AC3E}">
        <p14:creationId xmlns:p14="http://schemas.microsoft.com/office/powerpoint/2010/main" val="1492605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Australia faces significant challenges in reducing greenhouse gas emissions, particularly methane from gas pipelines. Through robust legislation, commitments to international agreements, and the implementation of the Safeguard Mechanism, Australia aims to mitigate climate impacts. By focusing on improved monitoring, maintenance, and adopting emerging technologies, the country can achieve substantial emissions reductions in both gas and hydrogen pipeline systems, contributing to global climate goals.</a:t>
            </a:r>
          </a:p>
          <a:p>
            <a:endParaRPr lang="en-AU" b="1" dirty="0"/>
          </a:p>
        </p:txBody>
      </p:sp>
      <p:sp>
        <p:nvSpPr>
          <p:cNvPr id="4" name="Slide Number Placeholder 3"/>
          <p:cNvSpPr>
            <a:spLocks noGrp="1"/>
          </p:cNvSpPr>
          <p:nvPr>
            <p:ph type="sldNum" sz="quarter" idx="5"/>
          </p:nvPr>
        </p:nvSpPr>
        <p:spPr/>
        <p:txBody>
          <a:bodyPr/>
          <a:lstStyle/>
          <a:p>
            <a:fld id="{C1764215-E8C2-E244-ABC0-F097A38AE7E2}" type="slidenum">
              <a:rPr lang="en-AU" smtClean="0"/>
              <a:pPr/>
              <a:t>8</a:t>
            </a:fld>
            <a:endParaRPr lang="en-AU" dirty="0"/>
          </a:p>
        </p:txBody>
      </p:sp>
    </p:spTree>
    <p:extLst>
      <p:ext uri="{BB962C8B-B14F-4D97-AF65-F5344CB8AC3E}">
        <p14:creationId xmlns:p14="http://schemas.microsoft.com/office/powerpoint/2010/main" val="2978474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1764215-E8C2-E244-ABC0-F097A38AE7E2}" type="slidenum">
              <a:rPr lang="en-AU" smtClean="0"/>
              <a:pPr/>
              <a:t>9</a:t>
            </a:fld>
            <a:endParaRPr lang="en-AU" dirty="0"/>
          </a:p>
        </p:txBody>
      </p:sp>
    </p:spTree>
    <p:extLst>
      <p:ext uri="{BB962C8B-B14F-4D97-AF65-F5344CB8AC3E}">
        <p14:creationId xmlns:p14="http://schemas.microsoft.com/office/powerpoint/2010/main" val="1733188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jpe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13.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5" Type="http://schemas.openxmlformats.org/officeDocument/2006/relationships/image" Target="../media/image13.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oleObject" Target="../embeddings/oleObject38.bin"/><Relationship Id="rId7" Type="http://schemas.openxmlformats.org/officeDocument/2006/relationships/image" Target="../media/image19.png"/><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0.xml"/><Relationship Id="rId5" Type="http://schemas.openxmlformats.org/officeDocument/2006/relationships/image" Target="../media/image21.png"/><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1.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49.xml"/><Relationship Id="rId5" Type="http://schemas.openxmlformats.org/officeDocument/2006/relationships/image" Target="../media/image23.jpeg"/><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24.jpeg"/><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2.xml"/><Relationship Id="rId5" Type="http://schemas.openxmlformats.org/officeDocument/2006/relationships/image" Target="../media/image27.emf"/><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30.svg"/><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53.bin"/><Relationship Id="rId7" Type="http://schemas.openxmlformats.org/officeDocument/2006/relationships/image" Target="../media/image29.png"/><Relationship Id="rId2" Type="http://schemas.openxmlformats.org/officeDocument/2006/relationships/slideMaster" Target="../slideMasters/slideMaster5.xml"/><Relationship Id="rId1" Type="http://schemas.openxmlformats.org/officeDocument/2006/relationships/tags" Target="../tags/tag54.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6.bin"/><Relationship Id="rId7" Type="http://schemas.openxmlformats.org/officeDocument/2006/relationships/image" Target="../media/image37.png"/><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7.bin"/><Relationship Id="rId7" Type="http://schemas.openxmlformats.org/officeDocument/2006/relationships/image" Target="../media/image30.svg"/><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29.png"/><Relationship Id="rId5" Type="http://schemas.openxmlformats.org/officeDocument/2006/relationships/image" Target="../media/image38.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60.xml"/><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61.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6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2.bin"/><Relationship Id="rId7" Type="http://schemas.openxmlformats.org/officeDocument/2006/relationships/image" Target="../media/image40.svg"/><Relationship Id="rId2" Type="http://schemas.openxmlformats.org/officeDocument/2006/relationships/slideMaster" Target="../slideMasters/slideMaster6.xml"/><Relationship Id="rId1" Type="http://schemas.openxmlformats.org/officeDocument/2006/relationships/tags" Target="../tags/tag63.xml"/><Relationship Id="rId6" Type="http://schemas.openxmlformats.org/officeDocument/2006/relationships/image" Target="../media/image39.png"/><Relationship Id="rId5" Type="http://schemas.openxmlformats.org/officeDocument/2006/relationships/image" Target="../media/image41.png"/><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65.xml"/><Relationship Id="rId6" Type="http://schemas.openxmlformats.org/officeDocument/2006/relationships/image" Target="../media/image42.svg"/><Relationship Id="rId5" Type="http://schemas.openxmlformats.org/officeDocument/2006/relationships/image" Target="../media/image11.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7.xml"/><Relationship Id="rId1" Type="http://schemas.openxmlformats.org/officeDocument/2006/relationships/tags" Target="../tags/tag66.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7.xml"/><Relationship Id="rId1" Type="http://schemas.openxmlformats.org/officeDocument/2006/relationships/tags" Target="../tags/tag67.xml"/><Relationship Id="rId6" Type="http://schemas.openxmlformats.org/officeDocument/2006/relationships/image" Target="../media/image45.png"/><Relationship Id="rId5" Type="http://schemas.openxmlformats.org/officeDocument/2006/relationships/hyperlink" Target="http://www.worley.com/" TargetMode="External"/><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7.xml"/><Relationship Id="rId1" Type="http://schemas.openxmlformats.org/officeDocument/2006/relationships/tags" Target="../tags/tag68.xml"/><Relationship Id="rId5" Type="http://schemas.openxmlformats.org/officeDocument/2006/relationships/image" Target="../media/image45.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jpe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9.jpe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0.svg"/><Relationship Id="rId5" Type="http://schemas.openxmlformats.org/officeDocument/2006/relationships/image" Target="../media/image5.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388EF1-C053-DA31-E743-3AEDAD9BDF0B}"/>
              </a:ext>
            </a:extLst>
          </p:cNvPr>
          <p:cNvGraphicFramePr>
            <a:graphicFrameLocks noChangeAspect="1"/>
          </p:cNvGraphicFramePr>
          <p:nvPr userDrawn="1">
            <p:custDataLst>
              <p:tags r:id="rId1"/>
            </p:custDataLst>
            <p:extLst>
              <p:ext uri="{D42A27DB-BD31-4B8C-83A1-F6EECF244321}">
                <p14:modId xmlns:p14="http://schemas.microsoft.com/office/powerpoint/2010/main" val="228609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7D388EF1-C053-DA31-E743-3AEDAD9BDF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red lake with a black surface&#10;&#10;Description automatically generated">
            <a:extLst>
              <a:ext uri="{FF2B5EF4-FFF2-40B4-BE49-F238E27FC236}">
                <a16:creationId xmlns:a16="http://schemas.microsoft.com/office/drawing/2014/main" id="{6DD9CBB2-0CD8-2303-A507-2ED6151179D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Title Placeholder 1">
            <a:extLst>
              <a:ext uri="{FF2B5EF4-FFF2-40B4-BE49-F238E27FC236}">
                <a16:creationId xmlns:a16="http://schemas.microsoft.com/office/drawing/2014/main" id="{04935328-5165-4BEA-58F2-DFB9A3D2CC52}"/>
              </a:ext>
            </a:extLst>
          </p:cNvPr>
          <p:cNvSpPr>
            <a:spLocks noGrp="1"/>
          </p:cNvSpPr>
          <p:nvPr>
            <p:ph type="title" hasCustomPrompt="1"/>
          </p:nvPr>
        </p:nvSpPr>
        <p:spPr>
          <a:xfrm>
            <a:off x="893234" y="1323235"/>
            <a:ext cx="4818592" cy="1892036"/>
          </a:xfrm>
          <a:prstGeom prst="rect">
            <a:avLst/>
          </a:prstGeom>
        </p:spPr>
        <p:txBody>
          <a:bodyPr vert="horz" lIns="0" tIns="0" rIns="0" bIns="0" rtlCol="0" anchor="b">
            <a:noAutofit/>
          </a:bodyPr>
          <a:lstStyle>
            <a:lvl1pPr rtl="0">
              <a:lnSpc>
                <a:spcPct val="90000"/>
              </a:lnSpc>
              <a:defRPr sz="4800">
                <a:solidFill>
                  <a:schemeClr val="bg1"/>
                </a:solidFill>
                <a:latin typeface="+mj-lt"/>
              </a:defRPr>
            </a:lvl1pPr>
          </a:lstStyle>
          <a:p>
            <a:r>
              <a:rPr lang="en-AU"/>
              <a:t>Presentation Heading</a:t>
            </a:r>
            <a:endParaRPr lang="en-AU" dirty="0"/>
          </a:p>
        </p:txBody>
      </p:sp>
      <p:sp>
        <p:nvSpPr>
          <p:cNvPr id="17" name="Text Placeholder 15">
            <a:extLst>
              <a:ext uri="{FF2B5EF4-FFF2-40B4-BE49-F238E27FC236}">
                <a16:creationId xmlns:a16="http://schemas.microsoft.com/office/drawing/2014/main" id="{58C64552-3CC2-033A-D0B2-40559B174871}"/>
              </a:ext>
            </a:extLst>
          </p:cNvPr>
          <p:cNvSpPr>
            <a:spLocks noGrp="1"/>
          </p:cNvSpPr>
          <p:nvPr>
            <p:ph type="body" sz="quarter" idx="11" hasCustomPrompt="1"/>
          </p:nvPr>
        </p:nvSpPr>
        <p:spPr>
          <a:xfrm>
            <a:off x="893233" y="5336098"/>
            <a:ext cx="4288367" cy="163314"/>
          </a:xfrm>
          <a:prstGeom prst="rect">
            <a:avLst/>
          </a:prstGeom>
        </p:spPr>
        <p:txBody>
          <a:bodyPr anchor="ctr"/>
          <a:lstStyle>
            <a:lvl1pPr rtl="0">
              <a:defRPr b="1" spc="100" baseline="0">
                <a:solidFill>
                  <a:schemeClr val="bg1"/>
                </a:solidFill>
              </a:defRPr>
            </a:lvl1pPr>
            <a:lvl2pPr>
              <a:lnSpc>
                <a:spcPct val="100000"/>
              </a:lnSpc>
              <a:defRPr lang="en-US" sz="1333" b="1" kern="0" spc="4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ATION NAME</a:t>
            </a:r>
            <a:endParaRPr lang="en-AU" dirty="0"/>
          </a:p>
        </p:txBody>
      </p:sp>
      <p:sp>
        <p:nvSpPr>
          <p:cNvPr id="18" name="Text Placeholder 15">
            <a:extLst>
              <a:ext uri="{FF2B5EF4-FFF2-40B4-BE49-F238E27FC236}">
                <a16:creationId xmlns:a16="http://schemas.microsoft.com/office/drawing/2014/main" id="{49723328-F83F-E36F-A23C-C63BA0452F08}"/>
              </a:ext>
            </a:extLst>
          </p:cNvPr>
          <p:cNvSpPr>
            <a:spLocks noGrp="1"/>
          </p:cNvSpPr>
          <p:nvPr>
            <p:ph type="body" sz="quarter" idx="12" hasCustomPrompt="1"/>
          </p:nvPr>
        </p:nvSpPr>
        <p:spPr>
          <a:xfrm>
            <a:off x="893233" y="5567667"/>
            <a:ext cx="4288367" cy="163314"/>
          </a:xfrm>
          <a:prstGeom prst="rect">
            <a:avLst/>
          </a:prstGeom>
        </p:spPr>
        <p:txBody>
          <a:bodyPr anchor="ctr"/>
          <a:lstStyle>
            <a:lvl1pPr rtl="0">
              <a:defRPr b="0" spc="100" baseline="0">
                <a:solidFill>
                  <a:schemeClr val="bg1"/>
                </a:solidFill>
              </a:defRPr>
            </a:lvl1pPr>
            <a:lvl2pPr>
              <a:lnSpc>
                <a:spcPct val="100000"/>
              </a:lnSpc>
              <a:defRPr lang="en-US" sz="1333" b="0" kern="0" spc="4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ER</a:t>
            </a:r>
            <a:endParaRPr lang="en-AU" dirty="0"/>
          </a:p>
        </p:txBody>
      </p:sp>
      <p:sp>
        <p:nvSpPr>
          <p:cNvPr id="19" name="Text Placeholder 15">
            <a:extLst>
              <a:ext uri="{FF2B5EF4-FFF2-40B4-BE49-F238E27FC236}">
                <a16:creationId xmlns:a16="http://schemas.microsoft.com/office/drawing/2014/main" id="{10F85AFF-0099-B004-10E7-3264A4FAD960}"/>
              </a:ext>
            </a:extLst>
          </p:cNvPr>
          <p:cNvSpPr>
            <a:spLocks noGrp="1"/>
          </p:cNvSpPr>
          <p:nvPr>
            <p:ph type="body" sz="quarter" idx="13" hasCustomPrompt="1"/>
          </p:nvPr>
        </p:nvSpPr>
        <p:spPr>
          <a:xfrm>
            <a:off x="893233" y="5799236"/>
            <a:ext cx="4288367" cy="163314"/>
          </a:xfrm>
          <a:prstGeom prst="rect">
            <a:avLst/>
          </a:prstGeom>
        </p:spPr>
        <p:txBody>
          <a:bodyPr anchor="ctr"/>
          <a:lstStyle>
            <a:lvl1pPr rtl="0">
              <a:defRPr sz="1000">
                <a:solidFill>
                  <a:schemeClr val="bg1"/>
                </a:solidFill>
              </a:defRPr>
            </a:lvl1pPr>
            <a:lvl2pPr marL="0" algn="l" defTabSz="292093" rtl="0" eaLnBrk="1" latinLnBrk="0" hangingPunct="1">
              <a:lnSpc>
                <a:spcPct val="90000"/>
              </a:lnSpc>
              <a:defRPr lang="en-US" sz="1000" b="0" kern="0" spc="0" dirty="0" smtClean="0">
                <a:solidFill>
                  <a:schemeClr val="bg1"/>
                </a:solidFill>
                <a:latin typeface="Verdana" panose="020B0604030504040204" pitchFamily="34" charset="0"/>
                <a:ea typeface="Verdana" panose="020B0604030504040204" pitchFamily="34" charset="0"/>
                <a:cs typeface="Verdana" panose="020B0604030504040204" pitchFamily="34" charset="0"/>
                <a:sym typeface="TeX Gyre Adventor"/>
              </a:defRPr>
            </a:lvl2pPr>
            <a:lvl3pPr marL="0" indent="0">
              <a:buNone/>
              <a:defRPr/>
            </a:lvl3pPr>
          </a:lstStyle>
          <a:p>
            <a:pPr lvl="0"/>
            <a:r>
              <a:rPr lang="en-AU"/>
              <a:t>DD MONTH YYYY</a:t>
            </a:r>
            <a:endParaRPr lang="en-AU" dirty="0"/>
          </a:p>
        </p:txBody>
      </p:sp>
      <p:sp>
        <p:nvSpPr>
          <p:cNvPr id="21" name="Text Placeholder 20">
            <a:extLst>
              <a:ext uri="{FF2B5EF4-FFF2-40B4-BE49-F238E27FC236}">
                <a16:creationId xmlns:a16="http://schemas.microsoft.com/office/drawing/2014/main" id="{4FCEAD4B-3D9E-1FE1-F7EA-4DF4F676AA75}"/>
              </a:ext>
            </a:extLst>
          </p:cNvPr>
          <p:cNvSpPr>
            <a:spLocks noGrp="1"/>
          </p:cNvSpPr>
          <p:nvPr>
            <p:ph type="body" sz="quarter" idx="14" hasCustomPrompt="1"/>
          </p:nvPr>
        </p:nvSpPr>
        <p:spPr>
          <a:xfrm>
            <a:off x="893233" y="3800475"/>
            <a:ext cx="4288367" cy="1341438"/>
          </a:xfrm>
          <a:prstGeom prst="rect">
            <a:avLst/>
          </a:prstGeom>
        </p:spPr>
        <p:txBody>
          <a:bodyPr>
            <a:normAutofit/>
          </a:bodyPr>
          <a:lstStyle>
            <a:lvl1pPr rtl="0">
              <a:lnSpc>
                <a:spcPct val="100000"/>
              </a:lnSpc>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000">
                <a:solidFill>
                  <a:schemeClr val="bg1"/>
                </a:solidFill>
              </a:defRPr>
            </a:lvl5pPr>
          </a:lstStyle>
          <a:p>
            <a:pPr lvl="0"/>
            <a:r>
              <a:rPr lang="en-AU"/>
              <a:t>Subtitle</a:t>
            </a:r>
            <a:endParaRPr lang="en-AU" dirty="0"/>
          </a:p>
        </p:txBody>
      </p:sp>
      <p:sp>
        <p:nvSpPr>
          <p:cNvPr id="25" name="Text Placeholder 23">
            <a:extLst>
              <a:ext uri="{FF2B5EF4-FFF2-40B4-BE49-F238E27FC236}">
                <a16:creationId xmlns:a16="http://schemas.microsoft.com/office/drawing/2014/main" id="{06FF9D0B-79EE-D560-2F78-5A8EA1CAC3B6}"/>
              </a:ext>
            </a:extLst>
          </p:cNvPr>
          <p:cNvSpPr>
            <a:spLocks noGrp="1"/>
          </p:cNvSpPr>
          <p:nvPr>
            <p:ph type="body" sz="quarter" idx="15" hasCustomPrompt="1"/>
          </p:nvPr>
        </p:nvSpPr>
        <p:spPr>
          <a:xfrm>
            <a:off x="893233" y="3429000"/>
            <a:ext cx="1009988" cy="129745"/>
          </a:xfrm>
          <a:prstGeom prst="rect">
            <a:avLst/>
          </a:prstGeom>
          <a:solidFill>
            <a:schemeClr val="accent2"/>
          </a:solidFill>
        </p:spPr>
        <p:txBody>
          <a:bodyPr/>
          <a:lstStyle>
            <a:lvl1pPr rtl="0">
              <a:defRPr sz="800">
                <a:noFill/>
              </a:defRPr>
            </a:lvl1pPr>
          </a:lstStyle>
          <a:p>
            <a:pPr lvl="0"/>
            <a:r>
              <a:rPr lang="en-AU"/>
              <a:t>.</a:t>
            </a:r>
            <a:endParaRPr lang="en-AU" dirty="0"/>
          </a:p>
        </p:txBody>
      </p:sp>
      <p:grpSp>
        <p:nvGrpSpPr>
          <p:cNvPr id="59" name="Group 58">
            <a:extLst>
              <a:ext uri="{FF2B5EF4-FFF2-40B4-BE49-F238E27FC236}">
                <a16:creationId xmlns:a16="http://schemas.microsoft.com/office/drawing/2014/main" id="{AB4F19CD-EA6C-C34B-5565-35869619C2CB}"/>
              </a:ext>
            </a:extLst>
          </p:cNvPr>
          <p:cNvGrpSpPr/>
          <p:nvPr userDrawn="1"/>
        </p:nvGrpSpPr>
        <p:grpSpPr>
          <a:xfrm>
            <a:off x="8837890" y="5392616"/>
            <a:ext cx="2467878" cy="576705"/>
            <a:chOff x="3230032" y="2757677"/>
            <a:chExt cx="5712037" cy="1334815"/>
          </a:xfrm>
        </p:grpSpPr>
        <p:grpSp>
          <p:nvGrpSpPr>
            <p:cNvPr id="60" name="Graphic 3">
              <a:extLst>
                <a:ext uri="{FF2B5EF4-FFF2-40B4-BE49-F238E27FC236}">
                  <a16:creationId xmlns:a16="http://schemas.microsoft.com/office/drawing/2014/main" id="{323619F4-D6CC-8D0B-18F1-F6DC5EE341F2}"/>
                </a:ext>
              </a:extLst>
            </p:cNvPr>
            <p:cNvGrpSpPr/>
            <p:nvPr/>
          </p:nvGrpSpPr>
          <p:grpSpPr>
            <a:xfrm>
              <a:off x="4764309" y="2832258"/>
              <a:ext cx="4177760" cy="1188624"/>
              <a:chOff x="4764309" y="2832258"/>
              <a:chExt cx="4177760" cy="1188624"/>
            </a:xfrm>
            <a:solidFill>
              <a:srgbClr val="FFFFFF"/>
            </a:solidFill>
          </p:grpSpPr>
          <p:sp>
            <p:nvSpPr>
              <p:cNvPr id="99" name="Freeform: Shape 98">
                <a:extLst>
                  <a:ext uri="{FF2B5EF4-FFF2-40B4-BE49-F238E27FC236}">
                    <a16:creationId xmlns:a16="http://schemas.microsoft.com/office/drawing/2014/main" id="{09AC0592-F4CF-506B-A754-3323CA77D1C0}"/>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FFFFFF"/>
              </a:solidFill>
              <a:ln w="9525" cap="flat">
                <a:noFill/>
                <a:prstDash val="solid"/>
                <a:miter/>
              </a:ln>
            </p:spPr>
            <p:txBody>
              <a:bodyPr rtlCol="0" anchor="ctr"/>
              <a:lstStyle/>
              <a:p>
                <a:pPr rtl="0"/>
                <a:endParaRPr lang="en-AU" dirty="0"/>
              </a:p>
            </p:txBody>
          </p:sp>
          <p:sp>
            <p:nvSpPr>
              <p:cNvPr id="100" name="Freeform: Shape 99">
                <a:extLst>
                  <a:ext uri="{FF2B5EF4-FFF2-40B4-BE49-F238E27FC236}">
                    <a16:creationId xmlns:a16="http://schemas.microsoft.com/office/drawing/2014/main" id="{07202E2A-3873-B09D-4D53-F43ABDB01ED5}"/>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FFFFFF"/>
              </a:solidFill>
              <a:ln w="9525" cap="flat">
                <a:noFill/>
                <a:prstDash val="solid"/>
                <a:miter/>
              </a:ln>
            </p:spPr>
            <p:txBody>
              <a:bodyPr rtlCol="0" anchor="ctr"/>
              <a:lstStyle/>
              <a:p>
                <a:pPr rtl="0"/>
                <a:endParaRPr lang="en-AU" dirty="0"/>
              </a:p>
            </p:txBody>
          </p:sp>
          <p:sp>
            <p:nvSpPr>
              <p:cNvPr id="101" name="Freeform: Shape 100">
                <a:extLst>
                  <a:ext uri="{FF2B5EF4-FFF2-40B4-BE49-F238E27FC236}">
                    <a16:creationId xmlns:a16="http://schemas.microsoft.com/office/drawing/2014/main" id="{A1C64B76-3857-407B-0CF2-9682C0A91BAB}"/>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FFFFFF"/>
              </a:solidFill>
              <a:ln w="9525" cap="flat">
                <a:noFill/>
                <a:prstDash val="solid"/>
                <a:miter/>
              </a:ln>
            </p:spPr>
            <p:txBody>
              <a:bodyPr rtlCol="0" anchor="ctr"/>
              <a:lstStyle/>
              <a:p>
                <a:pPr rtl="0"/>
                <a:endParaRPr lang="en-AU" dirty="0"/>
              </a:p>
            </p:txBody>
          </p:sp>
          <p:sp>
            <p:nvSpPr>
              <p:cNvPr id="102" name="Freeform: Shape 101">
                <a:extLst>
                  <a:ext uri="{FF2B5EF4-FFF2-40B4-BE49-F238E27FC236}">
                    <a16:creationId xmlns:a16="http://schemas.microsoft.com/office/drawing/2014/main" id="{5DCBAB91-EBA4-5B9E-9F6F-191D78DD6FAE}"/>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FFFFFF"/>
              </a:solidFill>
              <a:ln w="9525" cap="flat">
                <a:noFill/>
                <a:prstDash val="solid"/>
                <a:miter/>
              </a:ln>
            </p:spPr>
            <p:txBody>
              <a:bodyPr rtlCol="0" anchor="ctr"/>
              <a:lstStyle/>
              <a:p>
                <a:pPr rtl="0"/>
                <a:endParaRPr lang="en-AU" dirty="0"/>
              </a:p>
            </p:txBody>
          </p:sp>
          <p:sp>
            <p:nvSpPr>
              <p:cNvPr id="103" name="Freeform: Shape 102">
                <a:extLst>
                  <a:ext uri="{FF2B5EF4-FFF2-40B4-BE49-F238E27FC236}">
                    <a16:creationId xmlns:a16="http://schemas.microsoft.com/office/drawing/2014/main" id="{CABB67F2-C469-D610-75C8-13AAFED5DC10}"/>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FFFFFF"/>
              </a:solidFill>
              <a:ln w="9525" cap="flat">
                <a:noFill/>
                <a:prstDash val="solid"/>
                <a:miter/>
              </a:ln>
            </p:spPr>
            <p:txBody>
              <a:bodyPr rtlCol="0" anchor="ctr"/>
              <a:lstStyle/>
              <a:p>
                <a:pPr rtl="0"/>
                <a:endParaRPr lang="en-AU" dirty="0"/>
              </a:p>
            </p:txBody>
          </p:sp>
          <p:sp>
            <p:nvSpPr>
              <p:cNvPr id="104" name="Freeform: Shape 103">
                <a:extLst>
                  <a:ext uri="{FF2B5EF4-FFF2-40B4-BE49-F238E27FC236}">
                    <a16:creationId xmlns:a16="http://schemas.microsoft.com/office/drawing/2014/main" id="{53C3EF4E-4070-474A-2077-DD14B6773E77}"/>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FFFFFF"/>
              </a:solidFill>
              <a:ln w="9525" cap="flat">
                <a:noFill/>
                <a:prstDash val="solid"/>
                <a:miter/>
              </a:ln>
            </p:spPr>
            <p:txBody>
              <a:bodyPr rtlCol="0" anchor="ctr"/>
              <a:lstStyle/>
              <a:p>
                <a:pPr rtl="0"/>
                <a:endParaRPr lang="en-AU" dirty="0"/>
              </a:p>
            </p:txBody>
          </p:sp>
        </p:grpSp>
        <p:grpSp>
          <p:nvGrpSpPr>
            <p:cNvPr id="61" name="Graphic 3">
              <a:extLst>
                <a:ext uri="{FF2B5EF4-FFF2-40B4-BE49-F238E27FC236}">
                  <a16:creationId xmlns:a16="http://schemas.microsoft.com/office/drawing/2014/main" id="{CDEB85F1-76BF-643F-3BDC-6C28DF2686C7}"/>
                </a:ext>
              </a:extLst>
            </p:cNvPr>
            <p:cNvGrpSpPr/>
            <p:nvPr/>
          </p:nvGrpSpPr>
          <p:grpSpPr>
            <a:xfrm>
              <a:off x="3230032" y="2757677"/>
              <a:ext cx="1336243" cy="1334815"/>
              <a:chOff x="3230032" y="2757677"/>
              <a:chExt cx="1336243" cy="1334815"/>
            </a:xfrm>
          </p:grpSpPr>
          <p:sp>
            <p:nvSpPr>
              <p:cNvPr id="90" name="Freeform: Shape 89">
                <a:extLst>
                  <a:ext uri="{FF2B5EF4-FFF2-40B4-BE49-F238E27FC236}">
                    <a16:creationId xmlns:a16="http://schemas.microsoft.com/office/drawing/2014/main" id="{5A721BBD-E01B-BE04-735F-9C4DB9BB880B}"/>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A98498F4-D4DA-8C3A-587E-0E5FAC09AE21}"/>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E8B9DED5-6CB2-8717-C71E-0D4F29B4FAEF}"/>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15BF3525-F6B2-F40B-270C-EA581BFBEAC2}"/>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628F32D8-5D48-FEF2-A093-87DDDC8EDC2F}"/>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95" name="Freeform: Shape 94">
                <a:extLst>
                  <a:ext uri="{FF2B5EF4-FFF2-40B4-BE49-F238E27FC236}">
                    <a16:creationId xmlns:a16="http://schemas.microsoft.com/office/drawing/2014/main" id="{69D197FB-2E13-D222-497E-643BD53320EE}"/>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96" name="Freeform: Shape 95">
                <a:extLst>
                  <a:ext uri="{FF2B5EF4-FFF2-40B4-BE49-F238E27FC236}">
                    <a16:creationId xmlns:a16="http://schemas.microsoft.com/office/drawing/2014/main" id="{C0E29149-03B9-A108-D1F0-03C7C8D8040A}"/>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97" name="Freeform: Shape 96">
                <a:extLst>
                  <a:ext uri="{FF2B5EF4-FFF2-40B4-BE49-F238E27FC236}">
                    <a16:creationId xmlns:a16="http://schemas.microsoft.com/office/drawing/2014/main" id="{04A97BF7-A6C4-3823-B5A4-A2EBB3AD9EF2}"/>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98" name="Freeform: Shape 97">
                <a:extLst>
                  <a:ext uri="{FF2B5EF4-FFF2-40B4-BE49-F238E27FC236}">
                    <a16:creationId xmlns:a16="http://schemas.microsoft.com/office/drawing/2014/main" id="{DD2FB2E4-AB13-2E9E-FCF7-F4CAFEB84E2A}"/>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62" name="Graphic 3">
              <a:extLst>
                <a:ext uri="{FF2B5EF4-FFF2-40B4-BE49-F238E27FC236}">
                  <a16:creationId xmlns:a16="http://schemas.microsoft.com/office/drawing/2014/main" id="{44DBB3F9-8E39-688A-C91F-BC212C9B3B66}"/>
                </a:ext>
              </a:extLst>
            </p:cNvPr>
            <p:cNvGrpSpPr/>
            <p:nvPr/>
          </p:nvGrpSpPr>
          <p:grpSpPr>
            <a:xfrm>
              <a:off x="4765071" y="3903725"/>
              <a:ext cx="3369468" cy="119443"/>
              <a:chOff x="4765071" y="3903725"/>
              <a:chExt cx="3369468" cy="119443"/>
            </a:xfrm>
            <a:solidFill>
              <a:srgbClr val="FFFFFF"/>
            </a:solidFill>
          </p:grpSpPr>
          <p:sp>
            <p:nvSpPr>
              <p:cNvPr id="63" name="Freeform: Shape 62">
                <a:extLst>
                  <a:ext uri="{FF2B5EF4-FFF2-40B4-BE49-F238E27FC236}">
                    <a16:creationId xmlns:a16="http://schemas.microsoft.com/office/drawing/2014/main" id="{97150034-37F2-29F3-57CA-AA2AE5547658}"/>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FFFFFF"/>
              </a:solid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B7401D2C-A9BA-4231-1F1C-8DAD9282CF96}"/>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4496FBC8-4D19-3AFE-DC88-F2BBFB7DDC1E}"/>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24A03F2A-FCB5-D6BF-CBF6-C92A873D3BAF}"/>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4644C45C-E6B1-E599-C7CF-99F4991B3E4B}"/>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FFFFFF"/>
              </a:solid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C9C7213D-84E0-2687-7F0E-E8C2105A6D78}"/>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1C6DE4A6-AAD3-255B-D3B7-7324CE78D78E}"/>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FFFFFF"/>
              </a:solid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6E113DBC-208B-9B42-AB32-DB8528CA9F0C}"/>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BAB87FB9-B5FC-7F38-4FB1-F3F6B73A99C4}"/>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D6102E3F-5561-C149-E23F-081155FF55FA}"/>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53E84CE0-39E0-D367-F42E-2AF2BA5E9605}"/>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DF9CBE72-AA0D-3C46-BCAD-244FBEE16CBB}"/>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FFFFFF"/>
              </a:solid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7B09F69C-3275-B716-DE7E-1D18CE1EB43C}"/>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187C8A10-BCE4-B913-995B-512D383CBB42}"/>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FFFFFF"/>
              </a:solid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EC7E9F71-676D-9C89-F4F1-2B3D8C9714E1}"/>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3FE377E6-EFDB-32B0-8A7D-EE0B80BF0F4B}"/>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A372BABA-926E-ED9B-4DA1-571CC13CA4DE}"/>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EE949030-72DE-E2DD-32B8-4F57B4585148}"/>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FFFFFF"/>
              </a:solidFill>
              <a:ln w="9525" cap="flat">
                <a:noFill/>
                <a:prstDash val="solid"/>
                <a:miter/>
              </a:ln>
            </p:spPr>
            <p:txBody>
              <a:bodyPr rtlCol="0" anchor="ctr"/>
              <a:lstStyle/>
              <a:p>
                <a:pPr rtl="0"/>
                <a:endParaRPr lang="en-AU" dirty="0"/>
              </a:p>
            </p:txBody>
          </p:sp>
          <p:sp>
            <p:nvSpPr>
              <p:cNvPr id="81" name="Freeform: Shape 80">
                <a:extLst>
                  <a:ext uri="{FF2B5EF4-FFF2-40B4-BE49-F238E27FC236}">
                    <a16:creationId xmlns:a16="http://schemas.microsoft.com/office/drawing/2014/main" id="{F42931E5-3D6D-77D1-D490-C18CDF415A7B}"/>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FFFFFF"/>
              </a:solid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D8320F2B-E145-FF6F-58E6-E8F5E536C914}"/>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DC105AF8-6584-7B47-4C73-D3AFFCCAF010}"/>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99CC4347-EF78-8278-067D-3F81F73323BD}"/>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FFFFFF"/>
              </a:solid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D7637253-B15F-9C1E-4E7B-AAD92FEF1022}"/>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FFFFFF"/>
              </a:solidFill>
              <a:ln w="9525"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CCDED543-DCE3-27DC-C9E9-D4F2A28848E9}"/>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A7A65AA0-F37D-6E9E-2AC2-67FBF07D72CC}"/>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4F4C0843-3582-E694-4C90-9E498A8BF75F}"/>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E51C777E-E5B0-EC80-669F-36BEDE592F7D}"/>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270245906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C - Agenda 4">
    <p:bg>
      <p:bgPr>
        <a:solidFill>
          <a:schemeClr val="bg2"/>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BD0474C-611C-007E-457F-6DC07B0B66D0}"/>
              </a:ext>
            </a:extLst>
          </p:cNvPr>
          <p:cNvGraphicFramePr>
            <a:graphicFrameLocks noChangeAspect="1"/>
          </p:cNvGraphicFramePr>
          <p:nvPr userDrawn="1">
            <p:custDataLst>
              <p:tags r:id="rId1"/>
            </p:custDataLst>
            <p:extLst>
              <p:ext uri="{D42A27DB-BD31-4B8C-83A1-F6EECF244321}">
                <p14:modId xmlns:p14="http://schemas.microsoft.com/office/powerpoint/2010/main" val="267053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think-cell data - do not delete" hidden="1">
                        <a:extLst>
                          <a:ext uri="{FF2B5EF4-FFF2-40B4-BE49-F238E27FC236}">
                            <a16:creationId xmlns:a16="http://schemas.microsoft.com/office/drawing/2014/main" id="{9BD0474C-611C-007E-457F-6DC07B0B6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FD284967-8154-7767-C50F-77FB7E28CE8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r="22205" b="23665"/>
          <a:stretch>
            <a:fillRect/>
          </a:stretch>
        </p:blipFill>
        <p:spPr>
          <a:xfrm rot="15495248">
            <a:off x="6367212" y="-1014241"/>
            <a:ext cx="5931683" cy="6510589"/>
          </a:xfrm>
          <a:custGeom>
            <a:avLst/>
            <a:gdLst>
              <a:gd name="connsiteX0" fmla="*/ 5931683 w 5931683"/>
              <a:gd name="connsiteY0" fmla="*/ 0 h 6510589"/>
              <a:gd name="connsiteX1" fmla="*/ 4577968 w 5931683"/>
              <a:gd name="connsiteY1" fmla="*/ 6510589 h 6510589"/>
              <a:gd name="connsiteX2" fmla="*/ 0 w 5931683"/>
              <a:gd name="connsiteY2" fmla="*/ 5558715 h 6510589"/>
              <a:gd name="connsiteX3" fmla="*/ 0 w 5931683"/>
              <a:gd name="connsiteY3" fmla="*/ 1110528 h 6510589"/>
              <a:gd name="connsiteX4" fmla="*/ 230907 w 5931683"/>
              <a:gd name="connsiteY4" fmla="*/ 0 h 6510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1683" h="6510589">
                <a:moveTo>
                  <a:pt x="5931683" y="0"/>
                </a:moveTo>
                <a:lnTo>
                  <a:pt x="4577968" y="6510589"/>
                </a:lnTo>
                <a:lnTo>
                  <a:pt x="0" y="5558715"/>
                </a:lnTo>
                <a:lnTo>
                  <a:pt x="0" y="1110528"/>
                </a:lnTo>
                <a:lnTo>
                  <a:pt x="230907" y="0"/>
                </a:lnTo>
                <a:close/>
              </a:path>
            </a:pathLst>
          </a:custGeom>
        </p:spPr>
      </p:pic>
      <p:sp>
        <p:nvSpPr>
          <p:cNvPr id="3" name="Rectangle 2">
            <a:extLst>
              <a:ext uri="{FF2B5EF4-FFF2-40B4-BE49-F238E27FC236}">
                <a16:creationId xmlns:a16="http://schemas.microsoft.com/office/drawing/2014/main" id="{CE261453-65DE-5C03-2D50-6A0E11C8A96F}"/>
              </a:ext>
            </a:extLst>
          </p:cNvPr>
          <p:cNvSpPr/>
          <p:nvPr userDrawn="1"/>
        </p:nvSpPr>
        <p:spPr>
          <a:xfrm>
            <a:off x="9550400" y="873126"/>
            <a:ext cx="1744663" cy="5092700"/>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FFFFFF"/>
              </a:solidFill>
              <a:latin typeface="Helvetica Light"/>
              <a:sym typeface="Helvetica Light"/>
            </a:endParaRPr>
          </a:p>
        </p:txBody>
      </p:sp>
      <p:sp>
        <p:nvSpPr>
          <p:cNvPr id="5" name="Rectangle 4">
            <a:extLst>
              <a:ext uri="{FF2B5EF4-FFF2-40B4-BE49-F238E27FC236}">
                <a16:creationId xmlns:a16="http://schemas.microsoft.com/office/drawing/2014/main" id="{790C84A9-2086-535D-D560-39A5128AC6A3}"/>
              </a:ext>
            </a:extLst>
          </p:cNvPr>
          <p:cNvSpPr/>
          <p:nvPr userDrawn="1"/>
        </p:nvSpPr>
        <p:spPr>
          <a:xfrm>
            <a:off x="4349749" y="873126"/>
            <a:ext cx="1744663" cy="5092700"/>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FFFFFF"/>
              </a:solidFill>
              <a:latin typeface="Helvetica Light"/>
              <a:sym typeface="Helvetica Light"/>
            </a:endParaRPr>
          </a:p>
        </p:txBody>
      </p:sp>
      <p:sp>
        <p:nvSpPr>
          <p:cNvPr id="6" name="Title Placeholder 1">
            <a:extLst>
              <a:ext uri="{FF2B5EF4-FFF2-40B4-BE49-F238E27FC236}">
                <a16:creationId xmlns:a16="http://schemas.microsoft.com/office/drawing/2014/main" id="{709EBA50-6B47-E419-8143-54E777F7EE9E}"/>
              </a:ext>
            </a:extLst>
          </p:cNvPr>
          <p:cNvSpPr>
            <a:spLocks noGrp="1"/>
          </p:cNvSpPr>
          <p:nvPr>
            <p:ph type="title" hasCustomPrompt="1"/>
          </p:nvPr>
        </p:nvSpPr>
        <p:spPr>
          <a:xfrm>
            <a:off x="893234" y="873125"/>
            <a:ext cx="3316458" cy="383410"/>
          </a:xfrm>
          <a:prstGeom prst="rect">
            <a:avLst/>
          </a:prstGeom>
        </p:spPr>
        <p:txBody>
          <a:bodyPr vert="horz" lIns="0" tIns="0" rIns="0" bIns="0" rtlCol="0" anchor="t">
            <a:noAutofit/>
          </a:bodyPr>
          <a:lstStyle>
            <a:lvl1pPr rtl="0">
              <a:lnSpc>
                <a:spcPct val="80000"/>
              </a:lnSpc>
              <a:defRPr sz="2800">
                <a:solidFill>
                  <a:schemeClr val="tx2"/>
                </a:solidFill>
              </a:defRPr>
            </a:lvl1pPr>
          </a:lstStyle>
          <a:p>
            <a:r>
              <a:rPr lang="en-AU"/>
              <a:t>Heading goes here</a:t>
            </a:r>
            <a:endParaRPr lang="en-AU" dirty="0"/>
          </a:p>
        </p:txBody>
      </p:sp>
      <p:sp>
        <p:nvSpPr>
          <p:cNvPr id="4" name="Footer Placeholder 7">
            <a:extLst>
              <a:ext uri="{FF2B5EF4-FFF2-40B4-BE49-F238E27FC236}">
                <a16:creationId xmlns:a16="http://schemas.microsoft.com/office/drawing/2014/main" id="{4E65C3FD-D104-54D7-9F54-6CBFF6992536}"/>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7" name="Text Placeholder 6">
            <a:extLst>
              <a:ext uri="{FF2B5EF4-FFF2-40B4-BE49-F238E27FC236}">
                <a16:creationId xmlns:a16="http://schemas.microsoft.com/office/drawing/2014/main" id="{5DCFB33E-233F-4A57-B50F-1FA7727BB291}"/>
              </a:ext>
            </a:extLst>
          </p:cNvPr>
          <p:cNvSpPr>
            <a:spLocks noGrp="1"/>
          </p:cNvSpPr>
          <p:nvPr>
            <p:ph type="body" sz="quarter" idx="10"/>
          </p:nvPr>
        </p:nvSpPr>
        <p:spPr>
          <a:xfrm>
            <a:off x="889000" y="2129660"/>
            <a:ext cx="4578784" cy="2862322"/>
          </a:xfrm>
          <a:prstGeom prst="rect">
            <a:avLst/>
          </a:prstGeom>
        </p:spPr>
        <p:txBody>
          <a:bodyPr>
            <a:normAutofit/>
          </a:bodyPr>
          <a:lstStyle>
            <a:lvl1pPr marL="171450" indent="-171450" rtl="0">
              <a:lnSpc>
                <a:spcPct val="150000"/>
              </a:lnSpc>
              <a:spcAft>
                <a:spcPts val="800"/>
              </a:spcAft>
              <a:buFont typeface="Arial" panose="020B0604020202020204" pitchFamily="34" charset="0"/>
              <a:buChar char="•"/>
              <a:defRPr sz="1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Click to edit Master text styles</a:t>
            </a:r>
            <a:endParaRPr lang="en-AU" dirty="0"/>
          </a:p>
        </p:txBody>
      </p:sp>
      <p:sp>
        <p:nvSpPr>
          <p:cNvPr id="8" name="Text Placeholder 6">
            <a:extLst>
              <a:ext uri="{FF2B5EF4-FFF2-40B4-BE49-F238E27FC236}">
                <a16:creationId xmlns:a16="http://schemas.microsoft.com/office/drawing/2014/main" id="{2DB9F89C-FB2F-6309-65B8-22F9A14D6EA4}"/>
              </a:ext>
            </a:extLst>
          </p:cNvPr>
          <p:cNvSpPr>
            <a:spLocks noGrp="1"/>
          </p:cNvSpPr>
          <p:nvPr>
            <p:ph type="body" sz="quarter" idx="11"/>
          </p:nvPr>
        </p:nvSpPr>
        <p:spPr>
          <a:xfrm>
            <a:off x="6312736" y="2129660"/>
            <a:ext cx="4578784" cy="2862322"/>
          </a:xfrm>
          <a:prstGeom prst="rect">
            <a:avLst/>
          </a:prstGeom>
        </p:spPr>
        <p:txBody>
          <a:bodyPr>
            <a:normAutofit/>
          </a:bodyPr>
          <a:lstStyle>
            <a:lvl1pPr marL="171450" indent="-171450" rtl="0">
              <a:lnSpc>
                <a:spcPct val="150000"/>
              </a:lnSpc>
              <a:spcAft>
                <a:spcPts val="800"/>
              </a:spcAft>
              <a:buFont typeface="Arial" panose="020B0604020202020204" pitchFamily="34" charset="0"/>
              <a:buChar char="•"/>
              <a:defRPr sz="1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Click to edit Master text styles</a:t>
            </a:r>
            <a:endParaRPr lang="en-AU" dirty="0"/>
          </a:p>
        </p:txBody>
      </p:sp>
      <p:sp>
        <p:nvSpPr>
          <p:cNvPr id="2" name="Slide Number Placeholder 3">
            <a:extLst>
              <a:ext uri="{FF2B5EF4-FFF2-40B4-BE49-F238E27FC236}">
                <a16:creationId xmlns:a16="http://schemas.microsoft.com/office/drawing/2014/main" id="{69165E1F-103E-EEAF-BB66-786826D3F9DE}"/>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24668866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owerPoint Tip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8D8714-D683-0899-76B6-9F7D46EDF974}"/>
              </a:ext>
            </a:extLst>
          </p:cNvPr>
          <p:cNvGraphicFramePr>
            <a:graphicFrameLocks noChangeAspect="1"/>
          </p:cNvGraphicFramePr>
          <p:nvPr userDrawn="1">
            <p:custDataLst>
              <p:tags r:id="rId1"/>
            </p:custDataLst>
            <p:extLst>
              <p:ext uri="{D42A27DB-BD31-4B8C-83A1-F6EECF244321}">
                <p14:modId xmlns:p14="http://schemas.microsoft.com/office/powerpoint/2010/main" val="288097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578D8714-D683-0899-76B6-9F7D46EDF9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9CD3F39-8A76-A459-1CF4-78B59E79FC03}"/>
              </a:ext>
            </a:extLst>
          </p:cNvPr>
          <p:cNvSpPr/>
          <p:nvPr userDrawn="1"/>
        </p:nvSpPr>
        <p:spPr>
          <a:xfrm>
            <a:off x="0" y="3251876"/>
            <a:ext cx="12192000" cy="360612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PowerPoint Tips</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72727774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afety_Moment Fixed Heading 1">
    <p:bg>
      <p:bgPr>
        <a:solidFill>
          <a:schemeClr val="tx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8E4A7D-9440-82BF-63C5-D7F4C3B97525}"/>
              </a:ext>
            </a:extLst>
          </p:cNvPr>
          <p:cNvGraphicFramePr>
            <a:graphicFrameLocks noChangeAspect="1"/>
          </p:cNvGraphicFramePr>
          <p:nvPr userDrawn="1">
            <p:custDataLst>
              <p:tags r:id="rId1"/>
            </p:custDataLst>
            <p:extLst>
              <p:ext uri="{D42A27DB-BD31-4B8C-83A1-F6EECF244321}">
                <p14:modId xmlns:p14="http://schemas.microsoft.com/office/powerpoint/2010/main" val="46022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AB8E4A7D-9440-82BF-63C5-D7F4C3B975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3ED8CDE-4456-C24D-1B05-5BF55526DC24}"/>
              </a:ext>
            </a:extLst>
          </p:cNvPr>
          <p:cNvSpPr/>
          <p:nvPr userDrawn="1"/>
        </p:nvSpPr>
        <p:spPr>
          <a:xfrm>
            <a:off x="1" y="0"/>
            <a:ext cx="4345516"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13" name="Picture Placeholder 12">
            <a:extLst>
              <a:ext uri="{FF2B5EF4-FFF2-40B4-BE49-F238E27FC236}">
                <a16:creationId xmlns:a16="http://schemas.microsoft.com/office/drawing/2014/main" id="{AB1C54EE-D881-987B-0473-A56D971245A8}"/>
              </a:ext>
            </a:extLst>
          </p:cNvPr>
          <p:cNvSpPr>
            <a:spLocks noGrp="1"/>
          </p:cNvSpPr>
          <p:nvPr>
            <p:ph type="pic" sz="quarter" idx="15" hasCustomPrompt="1"/>
          </p:nvPr>
        </p:nvSpPr>
        <p:spPr>
          <a:xfrm>
            <a:off x="7823201" y="0"/>
            <a:ext cx="4368799" cy="6858000"/>
          </a:xfrm>
          <a:custGeom>
            <a:avLst/>
            <a:gdLst>
              <a:gd name="connsiteX0" fmla="*/ 1 w 4349749"/>
              <a:gd name="connsiteY0" fmla="*/ 891118 h 6858000"/>
              <a:gd name="connsiteX1" fmla="*/ 1 w 4349749"/>
              <a:gd name="connsiteY1" fmla="*/ 1695450 h 6858000"/>
              <a:gd name="connsiteX2" fmla="*/ 629475 w 4349749"/>
              <a:gd name="connsiteY2" fmla="*/ 1293284 h 6858000"/>
              <a:gd name="connsiteX3" fmla="*/ 0 w 4349749"/>
              <a:gd name="connsiteY3" fmla="*/ 0 h 6858000"/>
              <a:gd name="connsiteX4" fmla="*/ 4349749 w 4349749"/>
              <a:gd name="connsiteY4" fmla="*/ 0 h 6858000"/>
              <a:gd name="connsiteX5" fmla="*/ 4349749 w 4349749"/>
              <a:gd name="connsiteY5" fmla="*/ 6858000 h 6858000"/>
              <a:gd name="connsiteX6" fmla="*/ 0 w 43497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9749" h="6858000">
                <a:moveTo>
                  <a:pt x="1" y="891118"/>
                </a:moveTo>
                <a:lnTo>
                  <a:pt x="1" y="1695450"/>
                </a:lnTo>
                <a:lnTo>
                  <a:pt x="629475" y="1293284"/>
                </a:lnTo>
                <a:close/>
                <a:moveTo>
                  <a:pt x="0" y="0"/>
                </a:moveTo>
                <a:lnTo>
                  <a:pt x="4349749" y="0"/>
                </a:lnTo>
                <a:lnTo>
                  <a:pt x="4349749" y="6858000"/>
                </a:lnTo>
                <a:lnTo>
                  <a:pt x="0" y="6858000"/>
                </a:lnTo>
                <a:close/>
              </a:path>
            </a:pathLst>
          </a:custGeom>
          <a:solidFill>
            <a:schemeClr val="bg1">
              <a:lumMod val="85000"/>
            </a:schemeClr>
          </a:solidFill>
        </p:spPr>
        <p:txBody>
          <a:bodyPr wrap="square" tIns="1224000" anchor="ctr">
            <a:noAutofit/>
          </a:bodyPr>
          <a:lstStyle>
            <a:lvl1pPr algn="ctr" rtl="0">
              <a:lnSpc>
                <a:spcPct val="100000"/>
              </a:lnSpc>
              <a:defRPr sz="1400"/>
            </a:lvl1pPr>
          </a:lstStyle>
          <a:p>
            <a:r>
              <a:rPr lang="en-AU"/>
              <a:t>Drag an image from outside</a:t>
            </a:r>
            <a:br>
              <a:rPr lang="en-AU"/>
            </a:br>
            <a:r>
              <a:rPr lang="en-AU"/>
              <a:t>of PowerPoint into this container</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4" name="Text Placeholder 20">
            <a:extLst>
              <a:ext uri="{FF2B5EF4-FFF2-40B4-BE49-F238E27FC236}">
                <a16:creationId xmlns:a16="http://schemas.microsoft.com/office/drawing/2014/main" id="{DBE9AF18-B5AF-B3BB-ED96-3C435E032E97}"/>
              </a:ext>
            </a:extLst>
          </p:cNvPr>
          <p:cNvSpPr>
            <a:spLocks noGrp="1"/>
          </p:cNvSpPr>
          <p:nvPr>
            <p:ph type="body" sz="quarter" idx="24" hasCustomPrompt="1"/>
          </p:nvPr>
        </p:nvSpPr>
        <p:spPr>
          <a:xfrm>
            <a:off x="4759760" y="1956625"/>
            <a:ext cx="2672481" cy="2937493"/>
          </a:xfrm>
          <a:prstGeom prst="rect">
            <a:avLst/>
          </a:prstGeom>
        </p:spPr>
        <p:txBody>
          <a:bodyPr/>
          <a:lstStyle>
            <a:lvl1pPr marL="171450" indent="-171450" algn="l" rtl="0">
              <a:lnSpc>
                <a:spcPct val="120000"/>
              </a:lnSpc>
              <a:spcAft>
                <a:spcPts val="600"/>
              </a:spcAft>
              <a:buClr>
                <a:schemeClr val="accent1"/>
              </a:buClr>
              <a:buFont typeface="Arial" panose="020B0604020202020204" pitchFamily="34" charset="0"/>
              <a:buChar char="•"/>
              <a:defRPr sz="1200">
                <a:solidFill>
                  <a:schemeClr val="bg1"/>
                </a:solidFill>
                <a:latin typeface="+mn-lt"/>
              </a:defRPr>
            </a:lvl1pPr>
            <a:lvl2pPr>
              <a:defRPr sz="1200">
                <a:solidFill>
                  <a:schemeClr val="bg1"/>
                </a:solidFill>
              </a:defRPr>
            </a:lvl2pPr>
            <a:lvl3pPr>
              <a:lnSpc>
                <a:spcPct val="130000"/>
              </a:lnSpc>
              <a:defRPr sz="1200">
                <a:solidFill>
                  <a:schemeClr val="bg1"/>
                </a:solidFill>
              </a:defRPr>
            </a:lvl3pPr>
            <a:lvl4pPr>
              <a:defRPr sz="1200">
                <a:solidFill>
                  <a:schemeClr val="bg1"/>
                </a:solidFill>
              </a:defRPr>
            </a:lvl4pPr>
            <a:lvl5pPr>
              <a:defRPr>
                <a:solidFill>
                  <a:schemeClr val="bg1"/>
                </a:solidFill>
              </a:defRPr>
            </a:lvl5pPr>
          </a:lstStyle>
          <a:p>
            <a:pPr lvl="0"/>
            <a:r>
              <a:rPr lang="en-AU"/>
              <a:t>Lorem ipsum dolor sit amet, consectetur adipiscing elit, sed do eiusmod tempor incididunt</a:t>
            </a:r>
          </a:p>
          <a:p>
            <a:pPr lvl="0"/>
            <a:r>
              <a:rPr lang="en-AU"/>
              <a:t>Ut labore et dolore magna aliqua. Ut enim ad minim veniam, quis nostrud exercitation ullamco laboris nisi ut aliquip ex ea commodo</a:t>
            </a:r>
            <a:endParaRPr lang="en-AU" dirty="0"/>
          </a:p>
        </p:txBody>
      </p:sp>
      <p:sp>
        <p:nvSpPr>
          <p:cNvPr id="26" name="Text Placeholder 20">
            <a:extLst>
              <a:ext uri="{FF2B5EF4-FFF2-40B4-BE49-F238E27FC236}">
                <a16:creationId xmlns:a16="http://schemas.microsoft.com/office/drawing/2014/main" id="{F9433C2C-1869-725F-E118-22097EE81424}"/>
              </a:ext>
            </a:extLst>
          </p:cNvPr>
          <p:cNvSpPr>
            <a:spLocks noGrp="1"/>
          </p:cNvSpPr>
          <p:nvPr>
            <p:ph type="body" sz="quarter" idx="26" hasCustomPrompt="1"/>
          </p:nvPr>
        </p:nvSpPr>
        <p:spPr>
          <a:xfrm>
            <a:off x="4759760" y="5465618"/>
            <a:ext cx="2672481" cy="500207"/>
          </a:xfrm>
          <a:prstGeom prst="rect">
            <a:avLst/>
          </a:prstGeom>
        </p:spPr>
        <p:txBody>
          <a:bodyPr anchor="t"/>
          <a:lstStyle>
            <a:lvl1pPr marL="171450" indent="-171450" algn="l" rtl="0">
              <a:lnSpc>
                <a:spcPct val="120000"/>
              </a:lnSpc>
              <a:spcAft>
                <a:spcPts val="600"/>
              </a:spcAft>
              <a:buFont typeface="Arial" panose="020B0604020202020204" pitchFamily="34" charset="0"/>
              <a:buChar char="•"/>
              <a:defRPr sz="1000">
                <a:solidFill>
                  <a:schemeClr val="bg1"/>
                </a:solidFill>
                <a:latin typeface="+mn-lt"/>
              </a:defRPr>
            </a:lvl1pPr>
          </a:lstStyle>
          <a:p>
            <a:pPr lvl="0"/>
            <a:r>
              <a:rPr lang="en-AU"/>
              <a:t>Website</a:t>
            </a:r>
            <a:endParaRPr lang="en-AU" dirty="0"/>
          </a:p>
        </p:txBody>
      </p:sp>
      <p:sp>
        <p:nvSpPr>
          <p:cNvPr id="2" name="Slide Number Placeholder 3">
            <a:extLst>
              <a:ext uri="{FF2B5EF4-FFF2-40B4-BE49-F238E27FC236}">
                <a16:creationId xmlns:a16="http://schemas.microsoft.com/office/drawing/2014/main" id="{31941BD8-4C3D-2812-CB70-9C55E17A56B7}"/>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8" name="Title Placeholder 1">
            <a:extLst>
              <a:ext uri="{FF2B5EF4-FFF2-40B4-BE49-F238E27FC236}">
                <a16:creationId xmlns:a16="http://schemas.microsoft.com/office/drawing/2014/main" id="{BA8CAFB2-6FED-ED9E-759B-94EC706D6A1F}"/>
              </a:ext>
            </a:extLst>
          </p:cNvPr>
          <p:cNvSpPr txBox="1">
            <a:spLocks/>
          </p:cNvSpPr>
          <p:nvPr userDrawn="1"/>
        </p:nvSpPr>
        <p:spPr>
          <a:xfrm>
            <a:off x="4759759" y="5130637"/>
            <a:ext cx="2009447" cy="20965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4800" b="1" kern="1200" dirty="0">
                <a:solidFill>
                  <a:schemeClr val="bg1"/>
                </a:solidFill>
                <a:latin typeface="+mj-lt"/>
                <a:ea typeface="Verdana" panose="020B0604030504040204" pitchFamily="34" charset="0"/>
                <a:cs typeface="Verdana" panose="020B0604030504040204" pitchFamily="34" charset="0"/>
              </a:defRPr>
            </a:lvl1pPr>
          </a:lstStyle>
          <a:p>
            <a:pPr rtl="0"/>
            <a:r>
              <a:rPr lang="en-AU" sz="1200" dirty="0"/>
              <a:t>REFERENCES</a:t>
            </a:r>
          </a:p>
        </p:txBody>
      </p:sp>
      <p:sp>
        <p:nvSpPr>
          <p:cNvPr id="10" name="Title Placeholder 1">
            <a:extLst>
              <a:ext uri="{FF2B5EF4-FFF2-40B4-BE49-F238E27FC236}">
                <a16:creationId xmlns:a16="http://schemas.microsoft.com/office/drawing/2014/main" id="{05C10780-A062-119A-29E8-9E476D30B5A5}"/>
              </a:ext>
            </a:extLst>
          </p:cNvPr>
          <p:cNvSpPr txBox="1">
            <a:spLocks/>
          </p:cNvSpPr>
          <p:nvPr userDrawn="1"/>
        </p:nvSpPr>
        <p:spPr>
          <a:xfrm>
            <a:off x="892172" y="1611440"/>
            <a:ext cx="3112311" cy="2096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800" b="1" kern="1200" dirty="0">
                <a:solidFill>
                  <a:schemeClr val="tx2"/>
                </a:solidFill>
                <a:latin typeface="+mj-lt"/>
                <a:ea typeface="Verdana" panose="020B0604030504040204" pitchFamily="34" charset="0"/>
                <a:cs typeface="Verdana" panose="020B0604030504040204" pitchFamily="34" charset="0"/>
              </a:defRPr>
            </a:lvl1pPr>
          </a:lstStyle>
          <a:p>
            <a:pPr rtl="0"/>
            <a:r>
              <a:rPr lang="en-AU" sz="1200" dirty="0">
                <a:solidFill>
                  <a:schemeClr val="tx2"/>
                </a:solidFill>
              </a:rPr>
              <a:t>SUMMARY</a:t>
            </a:r>
          </a:p>
        </p:txBody>
      </p:sp>
      <p:sp>
        <p:nvSpPr>
          <p:cNvPr id="11" name="Title Placeholder 1">
            <a:extLst>
              <a:ext uri="{FF2B5EF4-FFF2-40B4-BE49-F238E27FC236}">
                <a16:creationId xmlns:a16="http://schemas.microsoft.com/office/drawing/2014/main" id="{B2DE3CFE-C5DA-177A-B044-AD94FC4D8BEF}"/>
              </a:ext>
            </a:extLst>
          </p:cNvPr>
          <p:cNvSpPr txBox="1">
            <a:spLocks/>
          </p:cNvSpPr>
          <p:nvPr userDrawn="1"/>
        </p:nvSpPr>
        <p:spPr>
          <a:xfrm>
            <a:off x="4759758" y="1574700"/>
            <a:ext cx="2009447" cy="20965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4800" b="1" kern="1200" dirty="0">
                <a:solidFill>
                  <a:schemeClr val="bg1"/>
                </a:solidFill>
                <a:latin typeface="+mj-lt"/>
                <a:ea typeface="Verdana" panose="020B0604030504040204" pitchFamily="34" charset="0"/>
                <a:cs typeface="Verdana" panose="020B0604030504040204" pitchFamily="34" charset="0"/>
              </a:defRPr>
            </a:lvl1pPr>
          </a:lstStyle>
          <a:p>
            <a:pPr rtl="0"/>
            <a:r>
              <a:rPr lang="en-AU" sz="1200" dirty="0"/>
              <a:t>INSIGHTS &amp; LEARNING</a:t>
            </a:r>
          </a:p>
        </p:txBody>
      </p:sp>
      <p:sp>
        <p:nvSpPr>
          <p:cNvPr id="17" name="Title Placeholder 1">
            <a:extLst>
              <a:ext uri="{FF2B5EF4-FFF2-40B4-BE49-F238E27FC236}">
                <a16:creationId xmlns:a16="http://schemas.microsoft.com/office/drawing/2014/main" id="{9177EAAC-84C6-7BCA-B54A-54EB0912A085}"/>
              </a:ext>
            </a:extLst>
          </p:cNvPr>
          <p:cNvSpPr txBox="1">
            <a:spLocks/>
          </p:cNvSpPr>
          <p:nvPr userDrawn="1"/>
        </p:nvSpPr>
        <p:spPr>
          <a:xfrm>
            <a:off x="889001" y="823451"/>
            <a:ext cx="3115482" cy="424562"/>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2800" b="1" kern="1200" dirty="0">
                <a:solidFill>
                  <a:schemeClr val="tx2"/>
                </a:solidFill>
                <a:latin typeface="+mj-lt"/>
                <a:ea typeface="Verdana" panose="020B0604030504040204" pitchFamily="34" charset="0"/>
                <a:cs typeface="Verdana" panose="020B0604030504040204" pitchFamily="34" charset="0"/>
              </a:defRPr>
            </a:lvl1pPr>
          </a:lstStyle>
          <a:p>
            <a:pPr rtl="0"/>
            <a:r>
              <a:rPr lang="en-AU" sz="2800" dirty="0">
                <a:solidFill>
                  <a:schemeClr val="tx2"/>
                </a:solidFill>
              </a:rPr>
              <a:t>Safety Moment</a:t>
            </a:r>
          </a:p>
        </p:txBody>
      </p:sp>
      <p:sp>
        <p:nvSpPr>
          <p:cNvPr id="7" name="Text Placeholder 3">
            <a:extLst>
              <a:ext uri="{FF2B5EF4-FFF2-40B4-BE49-F238E27FC236}">
                <a16:creationId xmlns:a16="http://schemas.microsoft.com/office/drawing/2014/main" id="{DA120274-7E7E-CFB2-A366-3E7FBE077974}"/>
              </a:ext>
            </a:extLst>
          </p:cNvPr>
          <p:cNvSpPr>
            <a:spLocks noGrp="1"/>
          </p:cNvSpPr>
          <p:nvPr>
            <p:ph type="body" sz="quarter" idx="27" hasCustomPrompt="1"/>
          </p:nvPr>
        </p:nvSpPr>
        <p:spPr>
          <a:xfrm>
            <a:off x="889000" y="1956625"/>
            <a:ext cx="3112311" cy="4008437"/>
          </a:xfrm>
          <a:prstGeom prst="rect">
            <a:avLst/>
          </a:prstGeom>
        </p:spPr>
        <p:txBody>
          <a:bodyPr>
            <a:normAutofit/>
          </a:bodyPr>
          <a:lstStyle>
            <a:lvl1pPr rtl="0">
              <a:spcAft>
                <a:spcPts val="600"/>
              </a:spcAft>
              <a:defRPr sz="1200"/>
            </a:lvl1pPr>
            <a:lvl2pPr>
              <a:lnSpc>
                <a:spcPct val="120000"/>
              </a:lnSpc>
              <a:defRPr sz="1200"/>
            </a:lvl2pPr>
            <a:lvl3pPr>
              <a:defRPr sz="1200"/>
            </a:lvl3pPr>
            <a:lvl4pPr>
              <a:defRPr sz="1200"/>
            </a:lvl4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3" name="Rectangle 2">
            <a:extLst>
              <a:ext uri="{FF2B5EF4-FFF2-40B4-BE49-F238E27FC236}">
                <a16:creationId xmlns:a16="http://schemas.microsoft.com/office/drawing/2014/main" id="{65C7AE13-A304-0D0C-7A5B-FFD4D5808F51}"/>
              </a:ext>
            </a:extLst>
          </p:cNvPr>
          <p:cNvSpPr/>
          <p:nvPr userDrawn="1"/>
        </p:nvSpPr>
        <p:spPr>
          <a:xfrm>
            <a:off x="9855199" y="-530051"/>
            <a:ext cx="2336801" cy="50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AU" sz="1100"/>
              <a:t>This layout has fixed headings</a:t>
            </a:r>
            <a:endParaRPr lang="en-AU" sz="1100" dirty="0"/>
          </a:p>
        </p:txBody>
      </p:sp>
    </p:spTree>
    <p:extLst>
      <p:ext uri="{BB962C8B-B14F-4D97-AF65-F5344CB8AC3E}">
        <p14:creationId xmlns:p14="http://schemas.microsoft.com/office/powerpoint/2010/main" val="13013999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fety_Moment Fixed Heading 2">
    <p:bg>
      <p:bgPr>
        <a:solidFill>
          <a:schemeClr val="accent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AB0F9CF-6924-A72E-3390-A693FD387502}"/>
              </a:ext>
            </a:extLst>
          </p:cNvPr>
          <p:cNvGraphicFramePr>
            <a:graphicFrameLocks noChangeAspect="1"/>
          </p:cNvGraphicFramePr>
          <p:nvPr userDrawn="1">
            <p:custDataLst>
              <p:tags r:id="rId1"/>
            </p:custDataLst>
            <p:extLst>
              <p:ext uri="{D42A27DB-BD31-4B8C-83A1-F6EECF244321}">
                <p14:modId xmlns:p14="http://schemas.microsoft.com/office/powerpoint/2010/main" val="77873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think-cell data - do not delete" hidden="1">
                        <a:extLst>
                          <a:ext uri="{FF2B5EF4-FFF2-40B4-BE49-F238E27FC236}">
                            <a16:creationId xmlns:a16="http://schemas.microsoft.com/office/drawing/2014/main" id="{8AB0F9CF-6924-A72E-3390-A693FD387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AF2AF0B-CE98-8D25-03CE-DE35AC0F15EC}"/>
              </a:ext>
            </a:extLst>
          </p:cNvPr>
          <p:cNvSpPr/>
          <p:nvPr userDrawn="1"/>
        </p:nvSpPr>
        <p:spPr>
          <a:xfrm>
            <a:off x="1" y="0"/>
            <a:ext cx="4345516"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11" name="Picture Placeholder 10">
            <a:extLst>
              <a:ext uri="{FF2B5EF4-FFF2-40B4-BE49-F238E27FC236}">
                <a16:creationId xmlns:a16="http://schemas.microsoft.com/office/drawing/2014/main" id="{B9AF7697-9BC3-6C35-C124-9A456072E1F0}"/>
              </a:ext>
            </a:extLst>
          </p:cNvPr>
          <p:cNvSpPr>
            <a:spLocks noGrp="1"/>
          </p:cNvSpPr>
          <p:nvPr>
            <p:ph type="pic" sz="quarter" idx="15" hasCustomPrompt="1"/>
          </p:nvPr>
        </p:nvSpPr>
        <p:spPr>
          <a:xfrm>
            <a:off x="4345516" y="0"/>
            <a:ext cx="3477685" cy="6857999"/>
          </a:xfrm>
          <a:custGeom>
            <a:avLst/>
            <a:gdLst>
              <a:gd name="connsiteX0" fmla="*/ 3477685 w 3477685"/>
              <a:gd name="connsiteY0" fmla="*/ 891118 h 6857999"/>
              <a:gd name="connsiteX1" fmla="*/ 2848210 w 3477685"/>
              <a:gd name="connsiteY1" fmla="*/ 1293284 h 6857999"/>
              <a:gd name="connsiteX2" fmla="*/ 3477685 w 3477685"/>
              <a:gd name="connsiteY2" fmla="*/ 1695450 h 6857999"/>
              <a:gd name="connsiteX3" fmla="*/ 0 w 3477685"/>
              <a:gd name="connsiteY3" fmla="*/ 0 h 6857999"/>
              <a:gd name="connsiteX4" fmla="*/ 3477685 w 3477685"/>
              <a:gd name="connsiteY4" fmla="*/ 0 h 6857999"/>
              <a:gd name="connsiteX5" fmla="*/ 3477685 w 3477685"/>
              <a:gd name="connsiteY5" fmla="*/ 6857999 h 6857999"/>
              <a:gd name="connsiteX6" fmla="*/ 0 w 3477685"/>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7685" h="6857999">
                <a:moveTo>
                  <a:pt x="3477685" y="891118"/>
                </a:moveTo>
                <a:lnTo>
                  <a:pt x="2848210" y="1293284"/>
                </a:lnTo>
                <a:lnTo>
                  <a:pt x="3477685" y="1695450"/>
                </a:lnTo>
                <a:close/>
                <a:moveTo>
                  <a:pt x="0" y="0"/>
                </a:moveTo>
                <a:lnTo>
                  <a:pt x="3477685" y="0"/>
                </a:lnTo>
                <a:lnTo>
                  <a:pt x="3477685" y="6857999"/>
                </a:lnTo>
                <a:lnTo>
                  <a:pt x="0" y="6857999"/>
                </a:lnTo>
                <a:close/>
              </a:path>
            </a:pathLst>
          </a:custGeom>
          <a:solidFill>
            <a:schemeClr val="bg1">
              <a:lumMod val="85000"/>
            </a:schemeClr>
          </a:solidFill>
        </p:spPr>
        <p:txBody>
          <a:bodyPr wrap="square" tIns="1224000" anchor="ctr">
            <a:noAutofit/>
          </a:bodyPr>
          <a:lstStyle>
            <a:lvl1pPr algn="ctr" rtl="0">
              <a:lnSpc>
                <a:spcPct val="100000"/>
              </a:lnSpc>
              <a:defRPr sz="1400"/>
            </a:lvl1pPr>
          </a:lstStyle>
          <a:p>
            <a:r>
              <a:rPr lang="en-AU"/>
              <a:t>Drag an image from outside</a:t>
            </a:r>
            <a:br>
              <a:rPr lang="en-AU"/>
            </a:br>
            <a:r>
              <a:rPr lang="en-AU"/>
              <a:t>of PowerPoint into this container</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4" name="Text Placeholder 20">
            <a:extLst>
              <a:ext uri="{FF2B5EF4-FFF2-40B4-BE49-F238E27FC236}">
                <a16:creationId xmlns:a16="http://schemas.microsoft.com/office/drawing/2014/main" id="{DBE9AF18-B5AF-B3BB-ED96-3C435E032E97}"/>
              </a:ext>
            </a:extLst>
          </p:cNvPr>
          <p:cNvSpPr>
            <a:spLocks noGrp="1"/>
          </p:cNvSpPr>
          <p:nvPr>
            <p:ph type="body" sz="quarter" idx="24" hasCustomPrompt="1"/>
          </p:nvPr>
        </p:nvSpPr>
        <p:spPr>
          <a:xfrm>
            <a:off x="8273144" y="1956625"/>
            <a:ext cx="3021919" cy="3713583"/>
          </a:xfrm>
          <a:prstGeom prst="rect">
            <a:avLst/>
          </a:prstGeom>
        </p:spPr>
        <p:txBody>
          <a:bodyPr/>
          <a:lstStyle>
            <a:lvl1pPr marL="171450" indent="-171450" algn="l" rtl="0">
              <a:lnSpc>
                <a:spcPct val="120000"/>
              </a:lnSpc>
              <a:spcAft>
                <a:spcPts val="600"/>
              </a:spcAft>
              <a:buClr>
                <a:schemeClr val="accent2"/>
              </a:buClr>
              <a:buFont typeface="Arial" panose="020B0604020202020204" pitchFamily="34" charset="0"/>
              <a:buChar char="•"/>
              <a:defRPr sz="1200">
                <a:solidFill>
                  <a:schemeClr val="bg1"/>
                </a:solidFill>
                <a:latin typeface="+mn-lt"/>
              </a:defRPr>
            </a:lvl1pPr>
            <a:lvl2pPr>
              <a:buClr>
                <a:schemeClr val="bg1"/>
              </a:buClr>
              <a:defRPr sz="1200">
                <a:solidFill>
                  <a:schemeClr val="bg1"/>
                </a:solidFill>
              </a:defRPr>
            </a:lvl2pPr>
            <a:lvl3pPr>
              <a:lnSpc>
                <a:spcPct val="130000"/>
              </a:lnSpc>
              <a:buClr>
                <a:schemeClr val="accent2"/>
              </a:buClr>
              <a:defRPr sz="1200">
                <a:solidFill>
                  <a:schemeClr val="bg1"/>
                </a:solidFill>
              </a:defRPr>
            </a:lvl3pPr>
            <a:lvl4pPr>
              <a:defRPr sz="1200">
                <a:solidFill>
                  <a:schemeClr val="bg1"/>
                </a:solidFill>
              </a:defRPr>
            </a:lvl4pPr>
            <a:lvl5pPr>
              <a:defRPr>
                <a:solidFill>
                  <a:schemeClr val="bg1"/>
                </a:solidFill>
              </a:defRPr>
            </a:lvl5pPr>
          </a:lstStyle>
          <a:p>
            <a:pPr lvl="0"/>
            <a:r>
              <a:rPr lang="en-AU"/>
              <a:t>Lorem ipsum dolor sit amet, consectetur adipiscing elit, sed do eiusmod tempor incididunt </a:t>
            </a:r>
          </a:p>
          <a:p>
            <a:pPr lvl="0"/>
            <a:r>
              <a:rPr lang="en-AU"/>
              <a:t>Ut labore et dolore magna aliqua. Ut enim ad minim veniam, quis nostrud exercitation ullamco laboris nisi ut aliquip ex ea commodo</a:t>
            </a:r>
          </a:p>
          <a:p>
            <a:pPr lvl="0"/>
            <a:r>
              <a:rPr lang="en-AU"/>
              <a:t>Lorem ipsum dolor sit amet, consectetur adipiscing elit, sed do eiusmod tempor incididunt </a:t>
            </a:r>
          </a:p>
          <a:p>
            <a:pPr lvl="0"/>
            <a:r>
              <a:rPr lang="en-AU"/>
              <a:t>Ut labore et dolore magna aliqua. Ut enim ad minim.</a:t>
            </a:r>
            <a:endParaRPr lang="en-AU" dirty="0"/>
          </a:p>
        </p:txBody>
      </p:sp>
      <p:sp>
        <p:nvSpPr>
          <p:cNvPr id="8" name="Slide Number Placeholder 3">
            <a:extLst>
              <a:ext uri="{FF2B5EF4-FFF2-40B4-BE49-F238E27FC236}">
                <a16:creationId xmlns:a16="http://schemas.microsoft.com/office/drawing/2014/main" id="{B056EFAB-3F73-E646-8B8E-11E6A9AAEFD3}"/>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7" name="Text Placeholder 20">
            <a:extLst>
              <a:ext uri="{FF2B5EF4-FFF2-40B4-BE49-F238E27FC236}">
                <a16:creationId xmlns:a16="http://schemas.microsoft.com/office/drawing/2014/main" id="{4256DA45-19CB-EF40-3F79-8F0C72635487}"/>
              </a:ext>
            </a:extLst>
          </p:cNvPr>
          <p:cNvSpPr>
            <a:spLocks noGrp="1"/>
          </p:cNvSpPr>
          <p:nvPr>
            <p:ph type="body" sz="quarter" idx="14" hasCustomPrompt="1"/>
          </p:nvPr>
        </p:nvSpPr>
        <p:spPr>
          <a:xfrm>
            <a:off x="889000" y="1956625"/>
            <a:ext cx="3112311" cy="4009200"/>
          </a:xfrm>
          <a:prstGeom prst="rect">
            <a:avLst/>
          </a:prstGeom>
        </p:spPr>
        <p:txBody>
          <a:bodyPr>
            <a:normAutofit/>
          </a:bodyPr>
          <a:lstStyle>
            <a:lvl1pPr algn="l" rtl="0">
              <a:lnSpc>
                <a:spcPct val="120000"/>
              </a:lnSpc>
              <a:spcAft>
                <a:spcPts val="600"/>
              </a:spcAft>
              <a:defRPr sz="1200">
                <a:solidFill>
                  <a:schemeClr val="tx2"/>
                </a:solidFill>
                <a:latin typeface="+mn-lt"/>
              </a:defRPr>
            </a:lvl1pPr>
            <a:lvl2pPr>
              <a:defRPr sz="1200"/>
            </a:lvl2pPr>
            <a:lvl3pPr>
              <a:defRPr sz="1200"/>
            </a:lvl3pPr>
            <a:lvl4pPr>
              <a:defRPr sz="1200"/>
            </a:lvl4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2" name="Rectangle 1">
            <a:extLst>
              <a:ext uri="{FF2B5EF4-FFF2-40B4-BE49-F238E27FC236}">
                <a16:creationId xmlns:a16="http://schemas.microsoft.com/office/drawing/2014/main" id="{E1BBF1B0-4050-40FF-C8CC-6886ED008079}"/>
              </a:ext>
            </a:extLst>
          </p:cNvPr>
          <p:cNvSpPr/>
          <p:nvPr userDrawn="1"/>
        </p:nvSpPr>
        <p:spPr>
          <a:xfrm>
            <a:off x="9855199" y="-530051"/>
            <a:ext cx="2336801" cy="50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AU" sz="1100"/>
              <a:t>This layout has fixed headings</a:t>
            </a:r>
            <a:endParaRPr lang="en-AU" sz="1100" dirty="0"/>
          </a:p>
        </p:txBody>
      </p:sp>
      <p:sp>
        <p:nvSpPr>
          <p:cNvPr id="3" name="Title Placeholder 1">
            <a:extLst>
              <a:ext uri="{FF2B5EF4-FFF2-40B4-BE49-F238E27FC236}">
                <a16:creationId xmlns:a16="http://schemas.microsoft.com/office/drawing/2014/main" id="{9E2C2DC1-397A-8153-F26D-00D863EF128B}"/>
              </a:ext>
            </a:extLst>
          </p:cNvPr>
          <p:cNvSpPr txBox="1">
            <a:spLocks/>
          </p:cNvSpPr>
          <p:nvPr userDrawn="1"/>
        </p:nvSpPr>
        <p:spPr>
          <a:xfrm>
            <a:off x="892172" y="1611440"/>
            <a:ext cx="3112311" cy="2096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800" b="1" kern="1200" dirty="0">
                <a:solidFill>
                  <a:schemeClr val="tx2"/>
                </a:solidFill>
                <a:latin typeface="+mj-lt"/>
                <a:ea typeface="Verdana" panose="020B0604030504040204" pitchFamily="34" charset="0"/>
                <a:cs typeface="Verdana" panose="020B0604030504040204" pitchFamily="34" charset="0"/>
              </a:defRPr>
            </a:lvl1pPr>
          </a:lstStyle>
          <a:p>
            <a:pPr rtl="0"/>
            <a:r>
              <a:rPr lang="en-AU" sz="1200" dirty="0">
                <a:solidFill>
                  <a:schemeClr val="tx2"/>
                </a:solidFill>
              </a:rPr>
              <a:t>SUMMARY</a:t>
            </a:r>
          </a:p>
        </p:txBody>
      </p:sp>
      <p:sp>
        <p:nvSpPr>
          <p:cNvPr id="4" name="Title Placeholder 1">
            <a:extLst>
              <a:ext uri="{FF2B5EF4-FFF2-40B4-BE49-F238E27FC236}">
                <a16:creationId xmlns:a16="http://schemas.microsoft.com/office/drawing/2014/main" id="{E8640E10-56F6-27DF-4DD8-D4302FBB1E3C}"/>
              </a:ext>
            </a:extLst>
          </p:cNvPr>
          <p:cNvSpPr txBox="1">
            <a:spLocks/>
          </p:cNvSpPr>
          <p:nvPr userDrawn="1"/>
        </p:nvSpPr>
        <p:spPr>
          <a:xfrm>
            <a:off x="889000" y="869750"/>
            <a:ext cx="3115483" cy="42456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800" b="1" kern="1200" dirty="0">
                <a:solidFill>
                  <a:schemeClr val="tx2"/>
                </a:solidFill>
                <a:latin typeface="+mj-lt"/>
                <a:ea typeface="Verdana" panose="020B0604030504040204" pitchFamily="34" charset="0"/>
                <a:cs typeface="Verdana" panose="020B0604030504040204" pitchFamily="34" charset="0"/>
              </a:defRPr>
            </a:lvl1pPr>
          </a:lstStyle>
          <a:p>
            <a:pPr rtl="0"/>
            <a:r>
              <a:rPr lang="en-AU" sz="2800" dirty="0">
                <a:solidFill>
                  <a:schemeClr val="tx2"/>
                </a:solidFill>
              </a:rPr>
              <a:t>Safety Moment</a:t>
            </a:r>
          </a:p>
        </p:txBody>
      </p:sp>
      <p:sp>
        <p:nvSpPr>
          <p:cNvPr id="6" name="Title Placeholder 1">
            <a:extLst>
              <a:ext uri="{FF2B5EF4-FFF2-40B4-BE49-F238E27FC236}">
                <a16:creationId xmlns:a16="http://schemas.microsoft.com/office/drawing/2014/main" id="{3875EC69-DF80-1BAC-7D4B-954CEE9D268D}"/>
              </a:ext>
            </a:extLst>
          </p:cNvPr>
          <p:cNvSpPr txBox="1">
            <a:spLocks/>
          </p:cNvSpPr>
          <p:nvPr userDrawn="1"/>
        </p:nvSpPr>
        <p:spPr>
          <a:xfrm>
            <a:off x="8271452" y="1577946"/>
            <a:ext cx="2009447" cy="20965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US" sz="4800" b="1" kern="1200" dirty="0">
                <a:solidFill>
                  <a:schemeClr val="bg1"/>
                </a:solidFill>
                <a:latin typeface="+mj-lt"/>
                <a:ea typeface="Verdana" panose="020B0604030504040204" pitchFamily="34" charset="0"/>
                <a:cs typeface="Verdana" panose="020B0604030504040204" pitchFamily="34" charset="0"/>
              </a:defRPr>
            </a:lvl1pPr>
          </a:lstStyle>
          <a:p>
            <a:pPr rtl="0"/>
            <a:r>
              <a:rPr lang="en-AU" sz="1200" dirty="0"/>
              <a:t>INSIGHTS &amp; LEARNING</a:t>
            </a:r>
          </a:p>
        </p:txBody>
      </p:sp>
    </p:spTree>
    <p:extLst>
      <p:ext uri="{BB962C8B-B14F-4D97-AF65-F5344CB8AC3E}">
        <p14:creationId xmlns:p14="http://schemas.microsoft.com/office/powerpoint/2010/main" val="385182225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fety_Moment Editable Heading 1">
    <p:bg>
      <p:bgPr>
        <a:solidFill>
          <a:schemeClr val="tx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FCDDB0-2C79-A70E-2FCF-9125E30793D8}"/>
              </a:ext>
            </a:extLst>
          </p:cNvPr>
          <p:cNvGraphicFramePr>
            <a:graphicFrameLocks noChangeAspect="1"/>
          </p:cNvGraphicFramePr>
          <p:nvPr userDrawn="1">
            <p:custDataLst>
              <p:tags r:id="rId1"/>
            </p:custDataLst>
            <p:extLst>
              <p:ext uri="{D42A27DB-BD31-4B8C-83A1-F6EECF244321}">
                <p14:modId xmlns:p14="http://schemas.microsoft.com/office/powerpoint/2010/main" val="330229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ACFCDDB0-2C79-A70E-2FCF-9125E3079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3ED8CDE-4456-C24D-1B05-5BF55526DC24}"/>
              </a:ext>
            </a:extLst>
          </p:cNvPr>
          <p:cNvSpPr/>
          <p:nvPr userDrawn="1"/>
        </p:nvSpPr>
        <p:spPr>
          <a:xfrm>
            <a:off x="1" y="0"/>
            <a:ext cx="4345516"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13" name="Picture Placeholder 12">
            <a:extLst>
              <a:ext uri="{FF2B5EF4-FFF2-40B4-BE49-F238E27FC236}">
                <a16:creationId xmlns:a16="http://schemas.microsoft.com/office/drawing/2014/main" id="{AB1C54EE-D881-987B-0473-A56D971245A8}"/>
              </a:ext>
            </a:extLst>
          </p:cNvPr>
          <p:cNvSpPr>
            <a:spLocks noGrp="1"/>
          </p:cNvSpPr>
          <p:nvPr>
            <p:ph type="pic" sz="quarter" idx="15" hasCustomPrompt="1"/>
          </p:nvPr>
        </p:nvSpPr>
        <p:spPr>
          <a:xfrm>
            <a:off x="7823201" y="0"/>
            <a:ext cx="4368799" cy="6858000"/>
          </a:xfrm>
          <a:custGeom>
            <a:avLst/>
            <a:gdLst>
              <a:gd name="connsiteX0" fmla="*/ 1 w 4349749"/>
              <a:gd name="connsiteY0" fmla="*/ 891118 h 6858000"/>
              <a:gd name="connsiteX1" fmla="*/ 1 w 4349749"/>
              <a:gd name="connsiteY1" fmla="*/ 1695450 h 6858000"/>
              <a:gd name="connsiteX2" fmla="*/ 629475 w 4349749"/>
              <a:gd name="connsiteY2" fmla="*/ 1293284 h 6858000"/>
              <a:gd name="connsiteX3" fmla="*/ 0 w 4349749"/>
              <a:gd name="connsiteY3" fmla="*/ 0 h 6858000"/>
              <a:gd name="connsiteX4" fmla="*/ 4349749 w 4349749"/>
              <a:gd name="connsiteY4" fmla="*/ 0 h 6858000"/>
              <a:gd name="connsiteX5" fmla="*/ 4349749 w 4349749"/>
              <a:gd name="connsiteY5" fmla="*/ 6858000 h 6858000"/>
              <a:gd name="connsiteX6" fmla="*/ 0 w 43497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9749" h="6858000">
                <a:moveTo>
                  <a:pt x="1" y="891118"/>
                </a:moveTo>
                <a:lnTo>
                  <a:pt x="1" y="1695450"/>
                </a:lnTo>
                <a:lnTo>
                  <a:pt x="629475" y="1293284"/>
                </a:lnTo>
                <a:close/>
                <a:moveTo>
                  <a:pt x="0" y="0"/>
                </a:moveTo>
                <a:lnTo>
                  <a:pt x="4349749" y="0"/>
                </a:lnTo>
                <a:lnTo>
                  <a:pt x="4349749" y="6858000"/>
                </a:lnTo>
                <a:lnTo>
                  <a:pt x="0" y="6858000"/>
                </a:lnTo>
                <a:close/>
              </a:path>
            </a:pathLst>
          </a:custGeom>
          <a:solidFill>
            <a:schemeClr val="bg1">
              <a:lumMod val="85000"/>
            </a:schemeClr>
          </a:solidFill>
        </p:spPr>
        <p:txBody>
          <a:bodyPr wrap="square" tIns="1224000" anchor="ctr">
            <a:noAutofit/>
          </a:bodyPr>
          <a:lstStyle>
            <a:lvl1pPr algn="ctr" rtl="0">
              <a:lnSpc>
                <a:spcPct val="100000"/>
              </a:lnSpc>
              <a:defRPr sz="1400"/>
            </a:lvl1pPr>
          </a:lstStyle>
          <a:p>
            <a:r>
              <a:rPr lang="en-AU"/>
              <a:t>Drag an image from outside</a:t>
            </a:r>
            <a:br>
              <a:rPr lang="en-AU"/>
            </a:br>
            <a:r>
              <a:rPr lang="en-AU"/>
              <a:t>of PowerPoint into this container</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0" name="Text Placeholder 20">
            <a:extLst>
              <a:ext uri="{FF2B5EF4-FFF2-40B4-BE49-F238E27FC236}">
                <a16:creationId xmlns:a16="http://schemas.microsoft.com/office/drawing/2014/main" id="{7BDD5BA7-766D-2EFE-E250-BC83530BAB4B}"/>
              </a:ext>
            </a:extLst>
          </p:cNvPr>
          <p:cNvSpPr>
            <a:spLocks noGrp="1"/>
          </p:cNvSpPr>
          <p:nvPr>
            <p:ph type="body" sz="quarter" idx="14" hasCustomPrompt="1"/>
          </p:nvPr>
        </p:nvSpPr>
        <p:spPr>
          <a:xfrm>
            <a:off x="889000" y="1956625"/>
            <a:ext cx="3114000" cy="4009200"/>
          </a:xfrm>
          <a:prstGeom prst="rect">
            <a:avLst/>
          </a:prstGeom>
        </p:spPr>
        <p:txBody>
          <a:bodyPr>
            <a:normAutofit/>
          </a:bodyPr>
          <a:lstStyle>
            <a:lvl1pPr algn="l" rtl="0">
              <a:lnSpc>
                <a:spcPct val="120000"/>
              </a:lnSpc>
              <a:spcAft>
                <a:spcPts val="600"/>
              </a:spcAft>
              <a:defRPr sz="1200">
                <a:solidFill>
                  <a:schemeClr val="tx2"/>
                </a:solidFill>
                <a:latin typeface="+mn-lt"/>
              </a:defRPr>
            </a:lvl1pPr>
            <a:lvl2pPr>
              <a:defRPr sz="1200"/>
            </a:lvl2pPr>
            <a:lvl3pPr>
              <a:defRPr sz="1200"/>
            </a:lvl3pPr>
            <a:lvl4pPr>
              <a:defRPr sz="1200"/>
            </a:lvl4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21" name="Text Placeholder 20">
            <a:extLst>
              <a:ext uri="{FF2B5EF4-FFF2-40B4-BE49-F238E27FC236}">
                <a16:creationId xmlns:a16="http://schemas.microsoft.com/office/drawing/2014/main" id="{3C45C592-FB38-EF4D-453F-FA4DD885B979}"/>
              </a:ext>
            </a:extLst>
          </p:cNvPr>
          <p:cNvSpPr>
            <a:spLocks noGrp="1"/>
          </p:cNvSpPr>
          <p:nvPr>
            <p:ph type="body" sz="quarter" idx="20" hasCustomPrompt="1"/>
          </p:nvPr>
        </p:nvSpPr>
        <p:spPr>
          <a:xfrm>
            <a:off x="892799" y="1593750"/>
            <a:ext cx="3114000" cy="209655"/>
          </a:xfrm>
          <a:prstGeom prst="rect">
            <a:avLst/>
          </a:prstGeom>
        </p:spPr>
        <p:txBody>
          <a:bodyPr/>
          <a:lstStyle>
            <a:lvl1pPr algn="l" rtl="0">
              <a:lnSpc>
                <a:spcPct val="100000"/>
              </a:lnSpc>
              <a:defRPr sz="1200" b="1">
                <a:solidFill>
                  <a:schemeClr val="tx2"/>
                </a:solidFill>
                <a:latin typeface="+mn-lt"/>
              </a:defRPr>
            </a:lvl1pPr>
          </a:lstStyle>
          <a:p>
            <a:pPr lvl="0"/>
            <a:r>
              <a:rPr lang="en-AU"/>
              <a:t>SUMMARY</a:t>
            </a:r>
            <a:endParaRPr lang="en-AU" dirty="0"/>
          </a:p>
        </p:txBody>
      </p:sp>
      <p:sp>
        <p:nvSpPr>
          <p:cNvPr id="24" name="Text Placeholder 20">
            <a:extLst>
              <a:ext uri="{FF2B5EF4-FFF2-40B4-BE49-F238E27FC236}">
                <a16:creationId xmlns:a16="http://schemas.microsoft.com/office/drawing/2014/main" id="{DBE9AF18-B5AF-B3BB-ED96-3C435E032E97}"/>
              </a:ext>
            </a:extLst>
          </p:cNvPr>
          <p:cNvSpPr>
            <a:spLocks noGrp="1"/>
          </p:cNvSpPr>
          <p:nvPr>
            <p:ph type="body" sz="quarter" idx="24" hasCustomPrompt="1"/>
          </p:nvPr>
        </p:nvSpPr>
        <p:spPr>
          <a:xfrm>
            <a:off x="4759760" y="1956625"/>
            <a:ext cx="2672481" cy="2937493"/>
          </a:xfrm>
          <a:prstGeom prst="rect">
            <a:avLst/>
          </a:prstGeom>
        </p:spPr>
        <p:txBody>
          <a:bodyPr/>
          <a:lstStyle>
            <a:lvl1pPr marL="171450" indent="-171450" algn="l" rtl="0">
              <a:lnSpc>
                <a:spcPct val="120000"/>
              </a:lnSpc>
              <a:spcAft>
                <a:spcPts val="600"/>
              </a:spcAft>
              <a:buClr>
                <a:schemeClr val="accent1"/>
              </a:buClr>
              <a:buFont typeface="Arial" panose="020B0604020202020204" pitchFamily="34" charset="0"/>
              <a:buChar char="•"/>
              <a:defRPr sz="1200">
                <a:solidFill>
                  <a:schemeClr val="bg1"/>
                </a:solidFill>
                <a:latin typeface="+mn-lt"/>
              </a:defRPr>
            </a:lvl1pPr>
            <a:lvl2pPr>
              <a:defRPr sz="1200">
                <a:solidFill>
                  <a:schemeClr val="bg1"/>
                </a:solidFill>
              </a:defRPr>
            </a:lvl2pPr>
            <a:lvl3pPr>
              <a:lnSpc>
                <a:spcPct val="130000"/>
              </a:lnSpc>
              <a:defRPr sz="1200">
                <a:solidFill>
                  <a:schemeClr val="bg1"/>
                </a:solidFill>
              </a:defRPr>
            </a:lvl3pPr>
            <a:lvl4pPr>
              <a:defRPr sz="1200">
                <a:solidFill>
                  <a:schemeClr val="bg1"/>
                </a:solidFill>
              </a:defRPr>
            </a:lvl4pPr>
            <a:lvl5pPr>
              <a:defRPr>
                <a:solidFill>
                  <a:schemeClr val="bg1"/>
                </a:solidFill>
              </a:defRPr>
            </a:lvl5pPr>
          </a:lstStyle>
          <a:p>
            <a:pPr lvl="0"/>
            <a:r>
              <a:rPr lang="en-AU"/>
              <a:t>Lorem ipsum dolor sit amet, consectetur adipiscing elit, sed do eiusmod tempor incididunt</a:t>
            </a:r>
          </a:p>
          <a:p>
            <a:pPr lvl="0"/>
            <a:r>
              <a:rPr lang="en-AU"/>
              <a:t>Ut labore et dolore magna aliqua. Ut enim ad minim veniam, quis nostrud exercitation ullamco laboris nisi ut aliquip ex ea commodo</a:t>
            </a:r>
            <a:endParaRPr lang="en-AU" dirty="0"/>
          </a:p>
        </p:txBody>
      </p:sp>
      <p:sp>
        <p:nvSpPr>
          <p:cNvPr id="25" name="Text Placeholder 20">
            <a:extLst>
              <a:ext uri="{FF2B5EF4-FFF2-40B4-BE49-F238E27FC236}">
                <a16:creationId xmlns:a16="http://schemas.microsoft.com/office/drawing/2014/main" id="{3961679E-0762-0B7F-6078-28025D03BE33}"/>
              </a:ext>
            </a:extLst>
          </p:cNvPr>
          <p:cNvSpPr>
            <a:spLocks noGrp="1"/>
          </p:cNvSpPr>
          <p:nvPr>
            <p:ph type="body" sz="quarter" idx="25" hasCustomPrompt="1"/>
          </p:nvPr>
        </p:nvSpPr>
        <p:spPr>
          <a:xfrm>
            <a:off x="4759760" y="1603275"/>
            <a:ext cx="2672481" cy="209655"/>
          </a:xfrm>
          <a:prstGeom prst="rect">
            <a:avLst/>
          </a:prstGeom>
        </p:spPr>
        <p:txBody>
          <a:bodyPr/>
          <a:lstStyle>
            <a:lvl1pPr algn="l" rtl="0">
              <a:lnSpc>
                <a:spcPct val="100000"/>
              </a:lnSpc>
              <a:defRPr sz="1200" b="1">
                <a:solidFill>
                  <a:schemeClr val="bg1"/>
                </a:solidFill>
                <a:latin typeface="+mn-lt"/>
              </a:defRPr>
            </a:lvl1pPr>
          </a:lstStyle>
          <a:p>
            <a:pPr lvl="0"/>
            <a:r>
              <a:rPr lang="en-AU"/>
              <a:t>INSIGHTS &amp; LEARNING</a:t>
            </a:r>
            <a:endParaRPr lang="en-AU" dirty="0"/>
          </a:p>
        </p:txBody>
      </p:sp>
      <p:sp>
        <p:nvSpPr>
          <p:cNvPr id="26" name="Text Placeholder 20">
            <a:extLst>
              <a:ext uri="{FF2B5EF4-FFF2-40B4-BE49-F238E27FC236}">
                <a16:creationId xmlns:a16="http://schemas.microsoft.com/office/drawing/2014/main" id="{F9433C2C-1869-725F-E118-22097EE81424}"/>
              </a:ext>
            </a:extLst>
          </p:cNvPr>
          <p:cNvSpPr>
            <a:spLocks noGrp="1"/>
          </p:cNvSpPr>
          <p:nvPr>
            <p:ph type="body" sz="quarter" idx="26" hasCustomPrompt="1"/>
          </p:nvPr>
        </p:nvSpPr>
        <p:spPr>
          <a:xfrm>
            <a:off x="4759760" y="5465618"/>
            <a:ext cx="2672481" cy="500207"/>
          </a:xfrm>
          <a:prstGeom prst="rect">
            <a:avLst/>
          </a:prstGeom>
        </p:spPr>
        <p:txBody>
          <a:bodyPr anchor="t"/>
          <a:lstStyle>
            <a:lvl1pPr marL="171450" indent="-171450" algn="l" rtl="0">
              <a:lnSpc>
                <a:spcPct val="120000"/>
              </a:lnSpc>
              <a:spcAft>
                <a:spcPts val="600"/>
              </a:spcAft>
              <a:buFont typeface="Arial" panose="020B0604020202020204" pitchFamily="34" charset="0"/>
              <a:buChar char="•"/>
              <a:defRPr sz="1000">
                <a:solidFill>
                  <a:schemeClr val="bg1"/>
                </a:solidFill>
                <a:latin typeface="+mn-lt"/>
              </a:defRPr>
            </a:lvl1pPr>
          </a:lstStyle>
          <a:p>
            <a:pPr lvl="0"/>
            <a:r>
              <a:rPr lang="en-AU"/>
              <a:t>Website</a:t>
            </a:r>
            <a:endParaRPr lang="en-AU" dirty="0"/>
          </a:p>
        </p:txBody>
      </p:sp>
      <p:sp>
        <p:nvSpPr>
          <p:cNvPr id="2" name="Slide Number Placeholder 3">
            <a:extLst>
              <a:ext uri="{FF2B5EF4-FFF2-40B4-BE49-F238E27FC236}">
                <a16:creationId xmlns:a16="http://schemas.microsoft.com/office/drawing/2014/main" id="{31941BD8-4C3D-2812-CB70-9C55E17A56B7}"/>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3" name="Text Placeholder 20">
            <a:extLst>
              <a:ext uri="{FF2B5EF4-FFF2-40B4-BE49-F238E27FC236}">
                <a16:creationId xmlns:a16="http://schemas.microsoft.com/office/drawing/2014/main" id="{55683940-9CFE-2353-791B-871450AB39E2}"/>
              </a:ext>
            </a:extLst>
          </p:cNvPr>
          <p:cNvSpPr>
            <a:spLocks noGrp="1"/>
          </p:cNvSpPr>
          <p:nvPr>
            <p:ph type="body" sz="quarter" idx="27" hasCustomPrompt="1"/>
          </p:nvPr>
        </p:nvSpPr>
        <p:spPr>
          <a:xfrm>
            <a:off x="889200" y="208800"/>
            <a:ext cx="3028894" cy="1047600"/>
          </a:xfrm>
          <a:prstGeom prst="rect">
            <a:avLst/>
          </a:prstGeom>
        </p:spPr>
        <p:txBody>
          <a:bodyPr anchor="b">
            <a:noAutofit/>
          </a:bodyPr>
          <a:lstStyle>
            <a:lvl1pPr algn="l" rtl="0">
              <a:lnSpc>
                <a:spcPct val="100000"/>
              </a:lnSpc>
              <a:defRPr sz="2800" b="1">
                <a:solidFill>
                  <a:schemeClr val="tx2"/>
                </a:solidFill>
                <a:latin typeface="+mn-lt"/>
              </a:defRPr>
            </a:lvl1pPr>
          </a:lstStyle>
          <a:p>
            <a:pPr lvl="0"/>
            <a:r>
              <a:rPr lang="en-AU"/>
              <a:t>Safety Moment</a:t>
            </a:r>
            <a:endParaRPr lang="en-AU" dirty="0"/>
          </a:p>
        </p:txBody>
      </p:sp>
      <p:sp>
        <p:nvSpPr>
          <p:cNvPr id="7" name="Text Placeholder 20">
            <a:extLst>
              <a:ext uri="{FF2B5EF4-FFF2-40B4-BE49-F238E27FC236}">
                <a16:creationId xmlns:a16="http://schemas.microsoft.com/office/drawing/2014/main" id="{09D2A1C8-68A9-3718-F327-F1375222CF30}"/>
              </a:ext>
            </a:extLst>
          </p:cNvPr>
          <p:cNvSpPr>
            <a:spLocks noGrp="1"/>
          </p:cNvSpPr>
          <p:nvPr>
            <p:ph type="body" sz="quarter" idx="28" hasCustomPrompt="1"/>
          </p:nvPr>
        </p:nvSpPr>
        <p:spPr>
          <a:xfrm>
            <a:off x="4759760" y="5149891"/>
            <a:ext cx="2672481" cy="209655"/>
          </a:xfrm>
          <a:prstGeom prst="rect">
            <a:avLst/>
          </a:prstGeom>
        </p:spPr>
        <p:txBody>
          <a:bodyPr/>
          <a:lstStyle>
            <a:lvl1pPr algn="l" rtl="0">
              <a:lnSpc>
                <a:spcPct val="100000"/>
              </a:lnSpc>
              <a:defRPr sz="1200" b="1">
                <a:solidFill>
                  <a:schemeClr val="bg1"/>
                </a:solidFill>
                <a:latin typeface="+mn-lt"/>
              </a:defRPr>
            </a:lvl1pPr>
          </a:lstStyle>
          <a:p>
            <a:pPr lvl="0"/>
            <a:r>
              <a:rPr lang="en-AU"/>
              <a:t>REFERENCES</a:t>
            </a:r>
            <a:endParaRPr lang="en-AU" dirty="0"/>
          </a:p>
        </p:txBody>
      </p:sp>
      <p:sp>
        <p:nvSpPr>
          <p:cNvPr id="4" name="Rectangle 3">
            <a:extLst>
              <a:ext uri="{FF2B5EF4-FFF2-40B4-BE49-F238E27FC236}">
                <a16:creationId xmlns:a16="http://schemas.microsoft.com/office/drawing/2014/main" id="{BCC4A179-14E7-E384-209D-7F2227B311B0}"/>
              </a:ext>
            </a:extLst>
          </p:cNvPr>
          <p:cNvSpPr/>
          <p:nvPr userDrawn="1"/>
        </p:nvSpPr>
        <p:spPr>
          <a:xfrm>
            <a:off x="9855198" y="-577850"/>
            <a:ext cx="2336801" cy="50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AU" sz="1100"/>
              <a:t>This layout has editable headings</a:t>
            </a:r>
            <a:endParaRPr lang="en-AU" sz="1100" dirty="0"/>
          </a:p>
        </p:txBody>
      </p:sp>
    </p:spTree>
    <p:extLst>
      <p:ext uri="{BB962C8B-B14F-4D97-AF65-F5344CB8AC3E}">
        <p14:creationId xmlns:p14="http://schemas.microsoft.com/office/powerpoint/2010/main" val="190620100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afety_Moment Editable Heading 2">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9EA0C5F-446E-39F3-21EC-18ED46A2F410}"/>
              </a:ext>
            </a:extLst>
          </p:cNvPr>
          <p:cNvGraphicFramePr>
            <a:graphicFrameLocks noChangeAspect="1"/>
          </p:cNvGraphicFramePr>
          <p:nvPr userDrawn="1">
            <p:custDataLst>
              <p:tags r:id="rId1"/>
            </p:custDataLst>
            <p:extLst>
              <p:ext uri="{D42A27DB-BD31-4B8C-83A1-F6EECF244321}">
                <p14:modId xmlns:p14="http://schemas.microsoft.com/office/powerpoint/2010/main" val="215735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think-cell data - do not delete" hidden="1">
                        <a:extLst>
                          <a:ext uri="{FF2B5EF4-FFF2-40B4-BE49-F238E27FC236}">
                            <a16:creationId xmlns:a16="http://schemas.microsoft.com/office/drawing/2014/main" id="{D9EA0C5F-446E-39F3-21EC-18ED46A2F4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AF2AF0B-CE98-8D25-03CE-DE35AC0F15EC}"/>
              </a:ext>
            </a:extLst>
          </p:cNvPr>
          <p:cNvSpPr/>
          <p:nvPr userDrawn="1"/>
        </p:nvSpPr>
        <p:spPr>
          <a:xfrm>
            <a:off x="1" y="0"/>
            <a:ext cx="4345516"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11" name="Picture Placeholder 10">
            <a:extLst>
              <a:ext uri="{FF2B5EF4-FFF2-40B4-BE49-F238E27FC236}">
                <a16:creationId xmlns:a16="http://schemas.microsoft.com/office/drawing/2014/main" id="{B9AF7697-9BC3-6C35-C124-9A456072E1F0}"/>
              </a:ext>
            </a:extLst>
          </p:cNvPr>
          <p:cNvSpPr>
            <a:spLocks noGrp="1"/>
          </p:cNvSpPr>
          <p:nvPr>
            <p:ph type="pic" sz="quarter" idx="15" hasCustomPrompt="1"/>
          </p:nvPr>
        </p:nvSpPr>
        <p:spPr>
          <a:xfrm>
            <a:off x="4345516" y="0"/>
            <a:ext cx="3477685" cy="6857999"/>
          </a:xfrm>
          <a:custGeom>
            <a:avLst/>
            <a:gdLst>
              <a:gd name="connsiteX0" fmla="*/ 3477685 w 3477685"/>
              <a:gd name="connsiteY0" fmla="*/ 891118 h 6857999"/>
              <a:gd name="connsiteX1" fmla="*/ 2848210 w 3477685"/>
              <a:gd name="connsiteY1" fmla="*/ 1293284 h 6857999"/>
              <a:gd name="connsiteX2" fmla="*/ 3477685 w 3477685"/>
              <a:gd name="connsiteY2" fmla="*/ 1695450 h 6857999"/>
              <a:gd name="connsiteX3" fmla="*/ 0 w 3477685"/>
              <a:gd name="connsiteY3" fmla="*/ 0 h 6857999"/>
              <a:gd name="connsiteX4" fmla="*/ 3477685 w 3477685"/>
              <a:gd name="connsiteY4" fmla="*/ 0 h 6857999"/>
              <a:gd name="connsiteX5" fmla="*/ 3477685 w 3477685"/>
              <a:gd name="connsiteY5" fmla="*/ 6857999 h 6857999"/>
              <a:gd name="connsiteX6" fmla="*/ 0 w 3477685"/>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7685" h="6857999">
                <a:moveTo>
                  <a:pt x="3477685" y="891118"/>
                </a:moveTo>
                <a:lnTo>
                  <a:pt x="2848210" y="1293284"/>
                </a:lnTo>
                <a:lnTo>
                  <a:pt x="3477685" y="1695450"/>
                </a:lnTo>
                <a:close/>
                <a:moveTo>
                  <a:pt x="0" y="0"/>
                </a:moveTo>
                <a:lnTo>
                  <a:pt x="3477685" y="0"/>
                </a:lnTo>
                <a:lnTo>
                  <a:pt x="3477685" y="6857999"/>
                </a:lnTo>
                <a:lnTo>
                  <a:pt x="0" y="6857999"/>
                </a:lnTo>
                <a:close/>
              </a:path>
            </a:pathLst>
          </a:custGeom>
          <a:solidFill>
            <a:schemeClr val="bg1">
              <a:lumMod val="85000"/>
            </a:schemeClr>
          </a:solidFill>
        </p:spPr>
        <p:txBody>
          <a:bodyPr wrap="square" tIns="1224000" anchor="ctr">
            <a:noAutofit/>
          </a:bodyPr>
          <a:lstStyle>
            <a:lvl1pPr algn="ctr" rtl="0">
              <a:lnSpc>
                <a:spcPct val="100000"/>
              </a:lnSpc>
              <a:defRPr sz="1400"/>
            </a:lvl1pPr>
          </a:lstStyle>
          <a:p>
            <a:r>
              <a:rPr lang="en-AU"/>
              <a:t>Drag an image from outside</a:t>
            </a:r>
            <a:br>
              <a:rPr lang="en-AU"/>
            </a:br>
            <a:r>
              <a:rPr lang="en-AU"/>
              <a:t>of PowerPoint into this container</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4" name="Text Placeholder 20">
            <a:extLst>
              <a:ext uri="{FF2B5EF4-FFF2-40B4-BE49-F238E27FC236}">
                <a16:creationId xmlns:a16="http://schemas.microsoft.com/office/drawing/2014/main" id="{DBE9AF18-B5AF-B3BB-ED96-3C435E032E97}"/>
              </a:ext>
            </a:extLst>
          </p:cNvPr>
          <p:cNvSpPr>
            <a:spLocks noGrp="1"/>
          </p:cNvSpPr>
          <p:nvPr>
            <p:ph type="body" sz="quarter" idx="24" hasCustomPrompt="1"/>
          </p:nvPr>
        </p:nvSpPr>
        <p:spPr>
          <a:xfrm>
            <a:off x="8273144" y="1956625"/>
            <a:ext cx="3021919" cy="3713583"/>
          </a:xfrm>
          <a:prstGeom prst="rect">
            <a:avLst/>
          </a:prstGeom>
        </p:spPr>
        <p:txBody>
          <a:bodyPr/>
          <a:lstStyle>
            <a:lvl1pPr marL="171450" indent="-171450" algn="l" rtl="0">
              <a:lnSpc>
                <a:spcPct val="120000"/>
              </a:lnSpc>
              <a:spcAft>
                <a:spcPts val="600"/>
              </a:spcAft>
              <a:buClr>
                <a:schemeClr val="accent2"/>
              </a:buClr>
              <a:buFont typeface="Arial" panose="020B0604020202020204" pitchFamily="34" charset="0"/>
              <a:buChar char="•"/>
              <a:defRPr sz="1200">
                <a:solidFill>
                  <a:schemeClr val="bg1"/>
                </a:solidFill>
                <a:latin typeface="+mn-lt"/>
              </a:defRPr>
            </a:lvl1pPr>
            <a:lvl2pPr>
              <a:buClr>
                <a:schemeClr val="bg1"/>
              </a:buClr>
              <a:defRPr sz="1200">
                <a:solidFill>
                  <a:schemeClr val="bg1"/>
                </a:solidFill>
              </a:defRPr>
            </a:lvl2pPr>
            <a:lvl3pPr>
              <a:lnSpc>
                <a:spcPct val="130000"/>
              </a:lnSpc>
              <a:buClr>
                <a:schemeClr val="accent2"/>
              </a:buClr>
              <a:defRPr sz="1200">
                <a:solidFill>
                  <a:schemeClr val="bg1"/>
                </a:solidFill>
              </a:defRPr>
            </a:lvl3pPr>
            <a:lvl4pPr>
              <a:defRPr sz="1200">
                <a:solidFill>
                  <a:schemeClr val="bg1"/>
                </a:solidFill>
              </a:defRPr>
            </a:lvl4pPr>
            <a:lvl5pPr>
              <a:defRPr>
                <a:solidFill>
                  <a:schemeClr val="bg1"/>
                </a:solidFill>
              </a:defRPr>
            </a:lvl5pPr>
          </a:lstStyle>
          <a:p>
            <a:pPr lvl="0"/>
            <a:r>
              <a:rPr lang="en-AU"/>
              <a:t>Lorem ipsum dolor sit amet, consectetur adipiscing elit, sed do eiusmod tempor incididunt </a:t>
            </a:r>
          </a:p>
          <a:p>
            <a:pPr lvl="0"/>
            <a:r>
              <a:rPr lang="en-AU"/>
              <a:t>Ut labore et dolore magna aliqua. Ut enim ad minim veniam, quis nostrud exercitation ullamco laboris nisi ut aliquip ex ea commodo</a:t>
            </a:r>
          </a:p>
          <a:p>
            <a:pPr lvl="0"/>
            <a:r>
              <a:rPr lang="en-AU"/>
              <a:t>Lorem ipsum dolor sit amet, consectetur adipiscing elit, sed do eiusmod tempor incididunt </a:t>
            </a:r>
          </a:p>
          <a:p>
            <a:pPr lvl="0"/>
            <a:r>
              <a:rPr lang="en-AU"/>
              <a:t>Ut labore et dolore magna aliqua. Ut enim ad minim.</a:t>
            </a:r>
            <a:endParaRPr lang="en-AU" dirty="0"/>
          </a:p>
        </p:txBody>
      </p:sp>
      <p:sp>
        <p:nvSpPr>
          <p:cNvPr id="25" name="Text Placeholder 20">
            <a:extLst>
              <a:ext uri="{FF2B5EF4-FFF2-40B4-BE49-F238E27FC236}">
                <a16:creationId xmlns:a16="http://schemas.microsoft.com/office/drawing/2014/main" id="{3961679E-0762-0B7F-6078-28025D03BE33}"/>
              </a:ext>
            </a:extLst>
          </p:cNvPr>
          <p:cNvSpPr>
            <a:spLocks noGrp="1"/>
          </p:cNvSpPr>
          <p:nvPr>
            <p:ph type="body" sz="quarter" idx="25" hasCustomPrompt="1"/>
          </p:nvPr>
        </p:nvSpPr>
        <p:spPr>
          <a:xfrm>
            <a:off x="8273144" y="1601654"/>
            <a:ext cx="3021919" cy="209655"/>
          </a:xfrm>
          <a:prstGeom prst="rect">
            <a:avLst/>
          </a:prstGeom>
        </p:spPr>
        <p:txBody>
          <a:bodyPr/>
          <a:lstStyle>
            <a:lvl1pPr algn="l" rtl="0">
              <a:lnSpc>
                <a:spcPct val="100000"/>
              </a:lnSpc>
              <a:defRPr sz="1200" b="1">
                <a:solidFill>
                  <a:schemeClr val="bg1"/>
                </a:solidFill>
                <a:latin typeface="+mn-lt"/>
              </a:defRPr>
            </a:lvl1pPr>
          </a:lstStyle>
          <a:p>
            <a:pPr lvl="0"/>
            <a:r>
              <a:rPr lang="en-AU"/>
              <a:t>INSIGHTS &amp; LEARNING</a:t>
            </a:r>
            <a:endParaRPr lang="en-AU" dirty="0"/>
          </a:p>
        </p:txBody>
      </p:sp>
      <p:sp>
        <p:nvSpPr>
          <p:cNvPr id="9" name="Rectangle 8">
            <a:extLst>
              <a:ext uri="{FF2B5EF4-FFF2-40B4-BE49-F238E27FC236}">
                <a16:creationId xmlns:a16="http://schemas.microsoft.com/office/drawing/2014/main" id="{90CF5F46-7F26-0789-5874-A28F0D3D6EFF}"/>
              </a:ext>
            </a:extLst>
          </p:cNvPr>
          <p:cNvSpPr/>
          <p:nvPr userDrawn="1"/>
        </p:nvSpPr>
        <p:spPr>
          <a:xfrm>
            <a:off x="9855199" y="-558041"/>
            <a:ext cx="2336801" cy="50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AU" sz="1100"/>
              <a:t>This layout has editable headings</a:t>
            </a:r>
            <a:endParaRPr lang="en-AU" sz="1100" dirty="0"/>
          </a:p>
        </p:txBody>
      </p:sp>
      <p:sp>
        <p:nvSpPr>
          <p:cNvPr id="8" name="Slide Number Placeholder 3">
            <a:extLst>
              <a:ext uri="{FF2B5EF4-FFF2-40B4-BE49-F238E27FC236}">
                <a16:creationId xmlns:a16="http://schemas.microsoft.com/office/drawing/2014/main" id="{B056EFAB-3F73-E646-8B8E-11E6A9AAEFD3}"/>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7" name="Text Placeholder 20">
            <a:extLst>
              <a:ext uri="{FF2B5EF4-FFF2-40B4-BE49-F238E27FC236}">
                <a16:creationId xmlns:a16="http://schemas.microsoft.com/office/drawing/2014/main" id="{4256DA45-19CB-EF40-3F79-8F0C72635487}"/>
              </a:ext>
            </a:extLst>
          </p:cNvPr>
          <p:cNvSpPr>
            <a:spLocks noGrp="1"/>
          </p:cNvSpPr>
          <p:nvPr>
            <p:ph type="body" sz="quarter" idx="14" hasCustomPrompt="1"/>
          </p:nvPr>
        </p:nvSpPr>
        <p:spPr>
          <a:xfrm>
            <a:off x="889000" y="1956625"/>
            <a:ext cx="3130550" cy="4009200"/>
          </a:xfrm>
          <a:prstGeom prst="rect">
            <a:avLst/>
          </a:prstGeom>
        </p:spPr>
        <p:txBody>
          <a:bodyPr/>
          <a:lstStyle>
            <a:lvl1pPr algn="l" rtl="0">
              <a:lnSpc>
                <a:spcPct val="120000"/>
              </a:lnSpc>
              <a:spcAft>
                <a:spcPts val="600"/>
              </a:spcAft>
              <a:defRPr sz="12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12" name="Text Placeholder 20">
            <a:extLst>
              <a:ext uri="{FF2B5EF4-FFF2-40B4-BE49-F238E27FC236}">
                <a16:creationId xmlns:a16="http://schemas.microsoft.com/office/drawing/2014/main" id="{8D05E6A8-5E19-C605-F7EE-AE356252266B}"/>
              </a:ext>
            </a:extLst>
          </p:cNvPr>
          <p:cNvSpPr>
            <a:spLocks noGrp="1"/>
          </p:cNvSpPr>
          <p:nvPr>
            <p:ph type="body" sz="quarter" idx="20" hasCustomPrompt="1"/>
          </p:nvPr>
        </p:nvSpPr>
        <p:spPr>
          <a:xfrm>
            <a:off x="892800" y="1593750"/>
            <a:ext cx="3025095" cy="209655"/>
          </a:xfrm>
          <a:prstGeom prst="rect">
            <a:avLst/>
          </a:prstGeom>
        </p:spPr>
        <p:txBody>
          <a:bodyPr/>
          <a:lstStyle>
            <a:lvl1pPr algn="l" rtl="0">
              <a:lnSpc>
                <a:spcPct val="100000"/>
              </a:lnSpc>
              <a:defRPr sz="1200" b="1">
                <a:solidFill>
                  <a:schemeClr val="tx2"/>
                </a:solidFill>
                <a:latin typeface="+mn-lt"/>
              </a:defRPr>
            </a:lvl1pPr>
          </a:lstStyle>
          <a:p>
            <a:pPr lvl="0"/>
            <a:r>
              <a:rPr lang="en-AU"/>
              <a:t>SUMMARY</a:t>
            </a:r>
            <a:endParaRPr lang="en-AU" dirty="0"/>
          </a:p>
        </p:txBody>
      </p:sp>
      <p:sp>
        <p:nvSpPr>
          <p:cNvPr id="13" name="Text Placeholder 20">
            <a:extLst>
              <a:ext uri="{FF2B5EF4-FFF2-40B4-BE49-F238E27FC236}">
                <a16:creationId xmlns:a16="http://schemas.microsoft.com/office/drawing/2014/main" id="{5E7B4ED6-8E36-510C-B298-B586A53B007B}"/>
              </a:ext>
            </a:extLst>
          </p:cNvPr>
          <p:cNvSpPr>
            <a:spLocks noGrp="1"/>
          </p:cNvSpPr>
          <p:nvPr>
            <p:ph type="body" sz="quarter" idx="27" hasCustomPrompt="1"/>
          </p:nvPr>
        </p:nvSpPr>
        <p:spPr>
          <a:xfrm>
            <a:off x="888999" y="207034"/>
            <a:ext cx="3025095" cy="1046854"/>
          </a:xfrm>
          <a:prstGeom prst="rect">
            <a:avLst/>
          </a:prstGeom>
        </p:spPr>
        <p:txBody>
          <a:bodyPr anchor="b">
            <a:noAutofit/>
          </a:bodyPr>
          <a:lstStyle>
            <a:lvl1pPr algn="l" rtl="0">
              <a:lnSpc>
                <a:spcPct val="100000"/>
              </a:lnSpc>
              <a:defRPr sz="2800" b="1">
                <a:solidFill>
                  <a:schemeClr val="tx2"/>
                </a:solidFill>
                <a:latin typeface="+mn-lt"/>
              </a:defRPr>
            </a:lvl1pPr>
          </a:lstStyle>
          <a:p>
            <a:pPr lvl="0"/>
            <a:r>
              <a:rPr lang="en-AU"/>
              <a:t>Safety Moment</a:t>
            </a:r>
            <a:endParaRPr lang="en-AU" dirty="0"/>
          </a:p>
        </p:txBody>
      </p:sp>
    </p:spTree>
    <p:extLst>
      <p:ext uri="{BB962C8B-B14F-4D97-AF65-F5344CB8AC3E}">
        <p14:creationId xmlns:p14="http://schemas.microsoft.com/office/powerpoint/2010/main" val="102556324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932C24-6759-11BE-7D22-D5FAAF2A34C5}"/>
              </a:ext>
            </a:extLst>
          </p:cNvPr>
          <p:cNvGraphicFramePr>
            <a:graphicFrameLocks noChangeAspect="1"/>
          </p:cNvGraphicFramePr>
          <p:nvPr userDrawn="1">
            <p:custDataLst>
              <p:tags r:id="rId1"/>
            </p:custDataLst>
            <p:extLst>
              <p:ext uri="{D42A27DB-BD31-4B8C-83A1-F6EECF244321}">
                <p14:modId xmlns:p14="http://schemas.microsoft.com/office/powerpoint/2010/main" val="413604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C4932C24-6759-11BE-7D22-D5FAAF2A34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15" name="Text Placeholder 14">
            <a:extLst>
              <a:ext uri="{FF2B5EF4-FFF2-40B4-BE49-F238E27FC236}">
                <a16:creationId xmlns:a16="http://schemas.microsoft.com/office/drawing/2014/main" id="{8331A665-3316-6D04-5BA9-8FDB390AEB23}"/>
              </a:ext>
            </a:extLst>
          </p:cNvPr>
          <p:cNvSpPr>
            <a:spLocks noGrp="1"/>
          </p:cNvSpPr>
          <p:nvPr>
            <p:ph type="body" sz="quarter" idx="10"/>
          </p:nvPr>
        </p:nvSpPr>
        <p:spPr>
          <a:xfrm>
            <a:off x="893763" y="1576388"/>
            <a:ext cx="10401300" cy="4408487"/>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84013371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 Sub-Headin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669CCD-3653-74B4-AA19-F33FD753E14F}"/>
              </a:ext>
            </a:extLst>
          </p:cNvPr>
          <p:cNvGraphicFramePr>
            <a:graphicFrameLocks noChangeAspect="1"/>
          </p:cNvGraphicFramePr>
          <p:nvPr userDrawn="1">
            <p:custDataLst>
              <p:tags r:id="rId1"/>
            </p:custDataLst>
            <p:extLst>
              <p:ext uri="{D42A27DB-BD31-4B8C-83A1-F6EECF244321}">
                <p14:modId xmlns:p14="http://schemas.microsoft.com/office/powerpoint/2010/main" val="336519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50669CCD-3653-74B4-AA19-F33FD753E1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4" name="Text Placeholder 20">
            <a:extLst>
              <a:ext uri="{FF2B5EF4-FFF2-40B4-BE49-F238E27FC236}">
                <a16:creationId xmlns:a16="http://schemas.microsoft.com/office/drawing/2014/main" id="{0FAC08BB-7009-8F37-BFA6-1C576ADC4230}"/>
              </a:ext>
            </a:extLst>
          </p:cNvPr>
          <p:cNvSpPr>
            <a:spLocks noGrp="1"/>
          </p:cNvSpPr>
          <p:nvPr>
            <p:ph type="body" sz="quarter" idx="20" hasCustomPrompt="1"/>
          </p:nvPr>
        </p:nvSpPr>
        <p:spPr>
          <a:xfrm>
            <a:off x="888999" y="1528629"/>
            <a:ext cx="10401829" cy="357321"/>
          </a:xfrm>
          <a:prstGeom prst="rect">
            <a:avLst/>
          </a:prstGeom>
        </p:spPr>
        <p:txBody>
          <a:bodyPr anchor="ctr"/>
          <a:lstStyle>
            <a:lvl1pPr algn="l" rtl="0">
              <a:lnSpc>
                <a:spcPct val="100000"/>
              </a:lnSpc>
              <a:defRPr sz="1400" b="1">
                <a:solidFill>
                  <a:schemeClr val="tx2"/>
                </a:solidFill>
                <a:latin typeface="+mn-lt"/>
              </a:defRPr>
            </a:lvl1pPr>
          </a:lstStyle>
          <a:p>
            <a:pPr lvl="0"/>
            <a:r>
              <a:rPr lang="en-AU" dirty="0"/>
              <a:t>SUB-HEADING </a:t>
            </a:r>
            <a:r>
              <a:rPr lang="en-AU"/>
              <a:t>GOES HERE</a:t>
            </a:r>
            <a:endParaRPr lang="en-AU" dirty="0"/>
          </a:p>
        </p:txBody>
      </p:sp>
      <p:sp>
        <p:nvSpPr>
          <p:cNvPr id="9" name="Text Placeholder 8">
            <a:extLst>
              <a:ext uri="{FF2B5EF4-FFF2-40B4-BE49-F238E27FC236}">
                <a16:creationId xmlns:a16="http://schemas.microsoft.com/office/drawing/2014/main" id="{38605A8E-9223-B367-2B0D-E97EDBF800A9}"/>
              </a:ext>
            </a:extLst>
          </p:cNvPr>
          <p:cNvSpPr>
            <a:spLocks noGrp="1"/>
          </p:cNvSpPr>
          <p:nvPr>
            <p:ph type="body" sz="quarter" idx="21"/>
          </p:nvPr>
        </p:nvSpPr>
        <p:spPr>
          <a:xfrm>
            <a:off x="889000" y="2179638"/>
            <a:ext cx="10401828" cy="3786187"/>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335561862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 Sub-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370BCB-0B1E-1D3B-B9D4-7AFBA7A0F28E}"/>
              </a:ext>
            </a:extLst>
          </p:cNvPr>
          <p:cNvGraphicFramePr>
            <a:graphicFrameLocks noChangeAspect="1"/>
          </p:cNvGraphicFramePr>
          <p:nvPr userDrawn="1">
            <p:custDataLst>
              <p:tags r:id="rId1"/>
            </p:custDataLst>
            <p:extLst>
              <p:ext uri="{D42A27DB-BD31-4B8C-83A1-F6EECF244321}">
                <p14:modId xmlns:p14="http://schemas.microsoft.com/office/powerpoint/2010/main" val="77265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13370BCB-0B1E-1D3B-B9D4-7AFBA7A0F2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4" name="Text Placeholder 20">
            <a:extLst>
              <a:ext uri="{FF2B5EF4-FFF2-40B4-BE49-F238E27FC236}">
                <a16:creationId xmlns:a16="http://schemas.microsoft.com/office/drawing/2014/main" id="{0FAC08BB-7009-8F37-BFA6-1C576ADC4230}"/>
              </a:ext>
            </a:extLst>
          </p:cNvPr>
          <p:cNvSpPr>
            <a:spLocks noGrp="1"/>
          </p:cNvSpPr>
          <p:nvPr>
            <p:ph type="body" sz="quarter" idx="20" hasCustomPrompt="1"/>
          </p:nvPr>
        </p:nvSpPr>
        <p:spPr>
          <a:xfrm>
            <a:off x="888999" y="1528629"/>
            <a:ext cx="5040000" cy="357321"/>
          </a:xfrm>
          <a:prstGeom prst="rect">
            <a:avLst/>
          </a:prstGeom>
        </p:spPr>
        <p:txBody>
          <a:bodyPr anchor="ctr"/>
          <a:lstStyle>
            <a:lvl1pPr algn="l" rtl="0">
              <a:lnSpc>
                <a:spcPct val="100000"/>
              </a:lnSpc>
              <a:defRPr sz="1400" b="1">
                <a:solidFill>
                  <a:schemeClr val="tx2"/>
                </a:solidFill>
                <a:latin typeface="+mn-lt"/>
              </a:defRPr>
            </a:lvl1pPr>
          </a:lstStyle>
          <a:p>
            <a:pPr lvl="0"/>
            <a:r>
              <a:rPr lang="en-AU" dirty="0"/>
              <a:t>SUB-HEADING </a:t>
            </a:r>
            <a:r>
              <a:rPr lang="en-AU"/>
              <a:t>GOES HERE</a:t>
            </a:r>
            <a:endParaRPr lang="en-AU" dirty="0"/>
          </a:p>
        </p:txBody>
      </p:sp>
      <p:sp>
        <p:nvSpPr>
          <p:cNvPr id="7" name="Text Placeholder 20">
            <a:extLst>
              <a:ext uri="{FF2B5EF4-FFF2-40B4-BE49-F238E27FC236}">
                <a16:creationId xmlns:a16="http://schemas.microsoft.com/office/drawing/2014/main" id="{73A8FCE8-BC78-AC29-24A4-FFB3FB215F30}"/>
              </a:ext>
            </a:extLst>
          </p:cNvPr>
          <p:cNvSpPr>
            <a:spLocks noGrp="1"/>
          </p:cNvSpPr>
          <p:nvPr>
            <p:ph type="body" sz="quarter" idx="22" hasCustomPrompt="1"/>
          </p:nvPr>
        </p:nvSpPr>
        <p:spPr>
          <a:xfrm>
            <a:off x="6255063" y="1528630"/>
            <a:ext cx="5040000" cy="357321"/>
          </a:xfrm>
          <a:prstGeom prst="rect">
            <a:avLst/>
          </a:prstGeom>
        </p:spPr>
        <p:txBody>
          <a:bodyPr anchor="ctr"/>
          <a:lstStyle>
            <a:lvl1pPr algn="l" rtl="0">
              <a:lnSpc>
                <a:spcPct val="100000"/>
              </a:lnSpc>
              <a:defRPr sz="1400" b="1">
                <a:solidFill>
                  <a:schemeClr val="tx2"/>
                </a:solidFill>
                <a:latin typeface="+mn-lt"/>
              </a:defRPr>
            </a:lvl1pPr>
          </a:lstStyle>
          <a:p>
            <a:pPr lvl="0"/>
            <a:r>
              <a:rPr lang="en-AU" dirty="0"/>
              <a:t>SUB-HEADING </a:t>
            </a:r>
            <a:r>
              <a:rPr lang="en-AU"/>
              <a:t>GOES HERE</a:t>
            </a:r>
            <a:endParaRPr lang="en-AU" dirty="0"/>
          </a:p>
        </p:txBody>
      </p:sp>
      <p:sp>
        <p:nvSpPr>
          <p:cNvPr id="14" name="Text Placeholder 13">
            <a:extLst>
              <a:ext uri="{FF2B5EF4-FFF2-40B4-BE49-F238E27FC236}">
                <a16:creationId xmlns:a16="http://schemas.microsoft.com/office/drawing/2014/main" id="{3E815F46-5BE2-D9B9-039F-0CE2D9BA62D7}"/>
              </a:ext>
            </a:extLst>
          </p:cNvPr>
          <p:cNvSpPr>
            <a:spLocks noGrp="1"/>
          </p:cNvSpPr>
          <p:nvPr>
            <p:ph type="body" sz="quarter" idx="24"/>
          </p:nvPr>
        </p:nvSpPr>
        <p:spPr>
          <a:xfrm>
            <a:off x="889000" y="2179638"/>
            <a:ext cx="5039999" cy="3786187"/>
          </a:xfrm>
        </p:spPr>
        <p:txBody>
          <a:bodyPr/>
          <a:lstStyle>
            <a:lvl1pPr rtl="0">
              <a:defRPr/>
            </a:lvl1pPr>
            <a:lvl2pPr marL="360000" indent="-171450" rtl="0">
              <a:buNone/>
              <a:defRPr/>
            </a:lvl2pPr>
            <a:lvl3pPr rtl="0">
              <a:defRPr lang="en-US" sz="1000" kern="1200" dirty="0">
                <a:solidFill>
                  <a:schemeClr val="tx2"/>
                </a:solidFill>
                <a:latin typeface="+mn-lt"/>
                <a:ea typeface="Verdana" panose="020B0604030504040204" pitchFamily="34" charset="0"/>
                <a:cs typeface="Verdana" panose="020B0604030504040204" pitchFamily="34" charset="0"/>
              </a:defRPr>
            </a:lvl3pPr>
            <a:lvl4pPr rtl="0">
              <a:defRPr/>
            </a:lvl4pPr>
            <a:lvl5pPr>
              <a:defRPr sz="1000"/>
            </a:lvl5pPr>
          </a:lstStyle>
          <a:p>
            <a:pPr lvl="0"/>
            <a:r>
              <a:rPr lang="en-AU"/>
              <a:t>Click to edit Master text styles</a:t>
            </a:r>
          </a:p>
          <a:p>
            <a:pPr marL="171450" marR="0" lvl="1" indent="-171450" algn="l" defTabSz="914400"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AU"/>
              <a:t>Second level</a:t>
            </a:r>
          </a:p>
          <a:p>
            <a:pPr marL="360000" marR="0" lvl="2" indent="-171450" algn="l" defTabSz="914400" rtl="0" eaLnBrk="1" fontAlgn="auto" latinLnBrk="0" hangingPunct="1">
              <a:lnSpc>
                <a:spcPct val="120000"/>
              </a:lnSpc>
              <a:spcBef>
                <a:spcPts val="0"/>
              </a:spcBef>
              <a:spcAft>
                <a:spcPts val="0"/>
              </a:spcAft>
              <a:buClr>
                <a:schemeClr val="accent2"/>
              </a:buClr>
              <a:buSzTx/>
              <a:buFont typeface="Arial" panose="020B0604020202020204" pitchFamily="34" charset="0"/>
              <a:buChar char="•"/>
              <a:tabLst/>
              <a:defRPr/>
            </a:pPr>
            <a:r>
              <a:rPr lang="en-AU"/>
              <a:t>Third level</a:t>
            </a:r>
          </a:p>
          <a:p>
            <a:pPr lvl="3"/>
            <a:r>
              <a:rPr lang="en-AU"/>
              <a:t>Fourth level</a:t>
            </a:r>
            <a:endParaRPr lang="en-AU" dirty="0"/>
          </a:p>
        </p:txBody>
      </p:sp>
      <p:sp>
        <p:nvSpPr>
          <p:cNvPr id="16" name="Text Placeholder 15">
            <a:extLst>
              <a:ext uri="{FF2B5EF4-FFF2-40B4-BE49-F238E27FC236}">
                <a16:creationId xmlns:a16="http://schemas.microsoft.com/office/drawing/2014/main" id="{EF9B38CB-8747-A215-16EF-4570368A05B5}"/>
              </a:ext>
            </a:extLst>
          </p:cNvPr>
          <p:cNvSpPr>
            <a:spLocks noGrp="1"/>
          </p:cNvSpPr>
          <p:nvPr>
            <p:ph type="body" sz="quarter" idx="25"/>
          </p:nvPr>
        </p:nvSpPr>
        <p:spPr>
          <a:xfrm>
            <a:off x="6255063" y="2179228"/>
            <a:ext cx="5040000" cy="3786597"/>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322125319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666A20-5652-18AD-C1D1-7BEAD2A8248C}"/>
              </a:ext>
            </a:extLst>
          </p:cNvPr>
          <p:cNvGraphicFramePr>
            <a:graphicFrameLocks noChangeAspect="1"/>
          </p:cNvGraphicFramePr>
          <p:nvPr userDrawn="1">
            <p:custDataLst>
              <p:tags r:id="rId1"/>
            </p:custDataLst>
            <p:extLst>
              <p:ext uri="{D42A27DB-BD31-4B8C-83A1-F6EECF244321}">
                <p14:modId xmlns:p14="http://schemas.microsoft.com/office/powerpoint/2010/main" val="37994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1D666A20-5652-18AD-C1D1-7BEAD2A824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12" name="Text Placeholder 11">
            <a:extLst>
              <a:ext uri="{FF2B5EF4-FFF2-40B4-BE49-F238E27FC236}">
                <a16:creationId xmlns:a16="http://schemas.microsoft.com/office/drawing/2014/main" id="{9C6FAFE3-F394-5EBF-8694-BD4A79D190DD}"/>
              </a:ext>
            </a:extLst>
          </p:cNvPr>
          <p:cNvSpPr>
            <a:spLocks noGrp="1"/>
          </p:cNvSpPr>
          <p:nvPr>
            <p:ph type="body" sz="quarter" idx="11"/>
          </p:nvPr>
        </p:nvSpPr>
        <p:spPr>
          <a:xfrm>
            <a:off x="893233" y="1579564"/>
            <a:ext cx="5035768" cy="4386262"/>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
        <p:nvSpPr>
          <p:cNvPr id="14" name="Text Placeholder 13">
            <a:extLst>
              <a:ext uri="{FF2B5EF4-FFF2-40B4-BE49-F238E27FC236}">
                <a16:creationId xmlns:a16="http://schemas.microsoft.com/office/drawing/2014/main" id="{CA7776F3-CA2E-409A-586C-CDD5863CFEAB}"/>
              </a:ext>
            </a:extLst>
          </p:cNvPr>
          <p:cNvSpPr>
            <a:spLocks noGrp="1"/>
          </p:cNvSpPr>
          <p:nvPr>
            <p:ph type="body" sz="quarter" idx="12"/>
          </p:nvPr>
        </p:nvSpPr>
        <p:spPr>
          <a:xfrm>
            <a:off x="6263001" y="1579564"/>
            <a:ext cx="5032062" cy="4386262"/>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280324990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Cover">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18A64C17-8F21-4242-4E04-D9FB5A0ECA39}"/>
              </a:ext>
            </a:extLst>
          </p:cNvPr>
          <p:cNvGraphicFramePr>
            <a:graphicFrameLocks noChangeAspect="1"/>
          </p:cNvGraphicFramePr>
          <p:nvPr userDrawn="1">
            <p:custDataLst>
              <p:tags r:id="rId1"/>
            </p:custDataLst>
            <p:extLst>
              <p:ext uri="{D42A27DB-BD31-4B8C-83A1-F6EECF244321}">
                <p14:modId xmlns:p14="http://schemas.microsoft.com/office/powerpoint/2010/main" val="1568387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6" name="think-cell data - do not delete" hidden="1">
                        <a:extLst>
                          <a:ext uri="{FF2B5EF4-FFF2-40B4-BE49-F238E27FC236}">
                            <a16:creationId xmlns:a16="http://schemas.microsoft.com/office/drawing/2014/main" id="{18A64C17-8F21-4242-4E04-D9FB5A0ECA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B0E3E92-8D4A-E9A9-DC39-B9F6D318C065}"/>
              </a:ext>
            </a:extLst>
          </p:cNvPr>
          <p:cNvPicPr>
            <a:picLocks noChangeAspect="1"/>
          </p:cNvPicPr>
          <p:nvPr userDrawn="1"/>
        </p:nvPicPr>
        <p:blipFill>
          <a:blip r:embed="rId5">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tle Placeholder 1">
            <a:extLst>
              <a:ext uri="{FF2B5EF4-FFF2-40B4-BE49-F238E27FC236}">
                <a16:creationId xmlns:a16="http://schemas.microsoft.com/office/drawing/2014/main" id="{04935328-5165-4BEA-58F2-DFB9A3D2CC52}"/>
              </a:ext>
            </a:extLst>
          </p:cNvPr>
          <p:cNvSpPr>
            <a:spLocks noGrp="1"/>
          </p:cNvSpPr>
          <p:nvPr>
            <p:ph type="title" hasCustomPrompt="1"/>
          </p:nvPr>
        </p:nvSpPr>
        <p:spPr>
          <a:xfrm>
            <a:off x="893234" y="1323235"/>
            <a:ext cx="4818592" cy="1892036"/>
          </a:xfrm>
          <a:prstGeom prst="rect">
            <a:avLst/>
          </a:prstGeom>
        </p:spPr>
        <p:txBody>
          <a:bodyPr vert="horz" lIns="0" tIns="0" rIns="0" bIns="0" rtlCol="0" anchor="b">
            <a:noAutofit/>
          </a:bodyPr>
          <a:lstStyle>
            <a:lvl1pPr rtl="0">
              <a:defRPr lang="en-US" sz="4800" dirty="0">
                <a:solidFill>
                  <a:schemeClr val="bg1"/>
                </a:solidFill>
              </a:defRPr>
            </a:lvl1pPr>
          </a:lstStyle>
          <a:p>
            <a:pPr lvl="0"/>
            <a:r>
              <a:rPr lang="en-AU"/>
              <a:t>One That</a:t>
            </a:r>
            <a:br>
              <a:rPr lang="en-AU"/>
            </a:br>
            <a:r>
              <a:rPr lang="en-AU"/>
              <a:t>Looks Vibrant</a:t>
            </a:r>
            <a:endParaRPr lang="en-AU" dirty="0"/>
          </a:p>
        </p:txBody>
      </p:sp>
      <p:sp>
        <p:nvSpPr>
          <p:cNvPr id="17" name="Text Placeholder 15">
            <a:extLst>
              <a:ext uri="{FF2B5EF4-FFF2-40B4-BE49-F238E27FC236}">
                <a16:creationId xmlns:a16="http://schemas.microsoft.com/office/drawing/2014/main" id="{58C64552-3CC2-033A-D0B2-40559B174871}"/>
              </a:ext>
            </a:extLst>
          </p:cNvPr>
          <p:cNvSpPr>
            <a:spLocks noGrp="1"/>
          </p:cNvSpPr>
          <p:nvPr>
            <p:ph type="body" sz="quarter" idx="11" hasCustomPrompt="1"/>
          </p:nvPr>
        </p:nvSpPr>
        <p:spPr>
          <a:xfrm>
            <a:off x="893232" y="5341383"/>
            <a:ext cx="4287837" cy="163314"/>
          </a:xfrm>
          <a:prstGeom prst="rect">
            <a:avLst/>
          </a:prstGeom>
        </p:spPr>
        <p:txBody>
          <a:bodyPr anchor="ctr"/>
          <a:lstStyle>
            <a:lvl1pPr rtl="0">
              <a:defRPr b="1" spc="100" baseline="0">
                <a:solidFill>
                  <a:schemeClr val="accent1"/>
                </a:solidFill>
              </a:defRPr>
            </a:lvl1pPr>
            <a:lvl2pPr>
              <a:lnSpc>
                <a:spcPct val="100000"/>
              </a:lnSpc>
              <a:defRPr lang="en-US" sz="1333" b="1" kern="0" spc="4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ATION NAME</a:t>
            </a:r>
            <a:endParaRPr lang="en-AU" dirty="0"/>
          </a:p>
        </p:txBody>
      </p:sp>
      <p:sp>
        <p:nvSpPr>
          <p:cNvPr id="18" name="Text Placeholder 15">
            <a:extLst>
              <a:ext uri="{FF2B5EF4-FFF2-40B4-BE49-F238E27FC236}">
                <a16:creationId xmlns:a16="http://schemas.microsoft.com/office/drawing/2014/main" id="{49723328-F83F-E36F-A23C-C63BA0452F08}"/>
              </a:ext>
            </a:extLst>
          </p:cNvPr>
          <p:cNvSpPr>
            <a:spLocks noGrp="1"/>
          </p:cNvSpPr>
          <p:nvPr>
            <p:ph type="body" sz="quarter" idx="12" hasCustomPrompt="1"/>
          </p:nvPr>
        </p:nvSpPr>
        <p:spPr>
          <a:xfrm>
            <a:off x="893232" y="5572952"/>
            <a:ext cx="4287837" cy="163314"/>
          </a:xfrm>
          <a:prstGeom prst="rect">
            <a:avLst/>
          </a:prstGeom>
        </p:spPr>
        <p:txBody>
          <a:bodyPr anchor="ctr"/>
          <a:lstStyle>
            <a:lvl1pPr rtl="0">
              <a:defRPr b="0" spc="100" baseline="0">
                <a:solidFill>
                  <a:schemeClr val="bg1"/>
                </a:solidFill>
              </a:defRPr>
            </a:lvl1pPr>
            <a:lvl2pPr>
              <a:lnSpc>
                <a:spcPct val="100000"/>
              </a:lnSpc>
              <a:defRPr lang="en-US" sz="1333" b="0" kern="0" spc="4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ER</a:t>
            </a:r>
            <a:endParaRPr lang="en-AU" dirty="0"/>
          </a:p>
        </p:txBody>
      </p:sp>
      <p:sp>
        <p:nvSpPr>
          <p:cNvPr id="19" name="Text Placeholder 15">
            <a:extLst>
              <a:ext uri="{FF2B5EF4-FFF2-40B4-BE49-F238E27FC236}">
                <a16:creationId xmlns:a16="http://schemas.microsoft.com/office/drawing/2014/main" id="{10F85AFF-0099-B004-10E7-3264A4FAD960}"/>
              </a:ext>
            </a:extLst>
          </p:cNvPr>
          <p:cNvSpPr>
            <a:spLocks noGrp="1"/>
          </p:cNvSpPr>
          <p:nvPr>
            <p:ph type="body" sz="quarter" idx="13" hasCustomPrompt="1"/>
          </p:nvPr>
        </p:nvSpPr>
        <p:spPr>
          <a:xfrm>
            <a:off x="893232" y="5804521"/>
            <a:ext cx="4287837" cy="163314"/>
          </a:xfrm>
          <a:prstGeom prst="rect">
            <a:avLst/>
          </a:prstGeom>
        </p:spPr>
        <p:txBody>
          <a:bodyPr anchor="ctr"/>
          <a:lstStyle>
            <a:lvl1pPr rtl="0">
              <a:defRPr sz="1000">
                <a:solidFill>
                  <a:schemeClr val="bg1"/>
                </a:solidFill>
              </a:defRPr>
            </a:lvl1pPr>
            <a:lvl2pPr marL="0" algn="l" defTabSz="292093" rtl="0" eaLnBrk="1" latinLnBrk="0" hangingPunct="1">
              <a:lnSpc>
                <a:spcPct val="90000"/>
              </a:lnSpc>
              <a:defRPr lang="en-US" sz="1000" b="0" kern="0" spc="0" dirty="0" smtClean="0">
                <a:solidFill>
                  <a:schemeClr val="bg1"/>
                </a:solidFill>
                <a:latin typeface="Verdana" panose="020B0604030504040204" pitchFamily="34" charset="0"/>
                <a:ea typeface="Verdana" panose="020B0604030504040204" pitchFamily="34" charset="0"/>
                <a:cs typeface="Verdana" panose="020B0604030504040204" pitchFamily="34" charset="0"/>
                <a:sym typeface="TeX Gyre Adventor"/>
              </a:defRPr>
            </a:lvl2pPr>
            <a:lvl3pPr marL="0" indent="0">
              <a:buNone/>
              <a:defRPr/>
            </a:lvl3pPr>
          </a:lstStyle>
          <a:p>
            <a:pPr lvl="0"/>
            <a:r>
              <a:rPr lang="en-AU"/>
              <a:t>DD MONTH YYYY</a:t>
            </a:r>
            <a:endParaRPr lang="en-AU" dirty="0"/>
          </a:p>
        </p:txBody>
      </p:sp>
      <p:sp>
        <p:nvSpPr>
          <p:cNvPr id="21" name="Text Placeholder 20">
            <a:extLst>
              <a:ext uri="{FF2B5EF4-FFF2-40B4-BE49-F238E27FC236}">
                <a16:creationId xmlns:a16="http://schemas.microsoft.com/office/drawing/2014/main" id="{4FCEAD4B-3D9E-1FE1-F7EA-4DF4F676AA75}"/>
              </a:ext>
            </a:extLst>
          </p:cNvPr>
          <p:cNvSpPr>
            <a:spLocks noGrp="1"/>
          </p:cNvSpPr>
          <p:nvPr>
            <p:ph type="body" sz="quarter" idx="14" hasCustomPrompt="1"/>
          </p:nvPr>
        </p:nvSpPr>
        <p:spPr>
          <a:xfrm>
            <a:off x="893232" y="3800475"/>
            <a:ext cx="4287837" cy="1341438"/>
          </a:xfrm>
          <a:prstGeom prst="rect">
            <a:avLst/>
          </a:prstGeom>
        </p:spPr>
        <p:txBody>
          <a:bodyPr>
            <a:normAutofit/>
          </a:bodyPr>
          <a:lstStyle>
            <a:lvl1pPr rtl="0">
              <a:lnSpc>
                <a:spcPct val="100000"/>
              </a:lnSpc>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AU"/>
              <a:t>Subtitle</a:t>
            </a:r>
            <a:endParaRPr lang="en-AU" dirty="0"/>
          </a:p>
        </p:txBody>
      </p:sp>
      <p:sp>
        <p:nvSpPr>
          <p:cNvPr id="8" name="Text Placeholder 23">
            <a:extLst>
              <a:ext uri="{FF2B5EF4-FFF2-40B4-BE49-F238E27FC236}">
                <a16:creationId xmlns:a16="http://schemas.microsoft.com/office/drawing/2014/main" id="{6F2029BB-61B9-13FE-E35E-3A342C284F4D}"/>
              </a:ext>
            </a:extLst>
          </p:cNvPr>
          <p:cNvSpPr>
            <a:spLocks noGrp="1"/>
          </p:cNvSpPr>
          <p:nvPr>
            <p:ph type="body" sz="quarter" idx="15" hasCustomPrompt="1"/>
          </p:nvPr>
        </p:nvSpPr>
        <p:spPr>
          <a:xfrm>
            <a:off x="893233" y="3429000"/>
            <a:ext cx="1009988" cy="129745"/>
          </a:xfrm>
          <a:prstGeom prst="rect">
            <a:avLst/>
          </a:prstGeom>
          <a:solidFill>
            <a:schemeClr val="accent1"/>
          </a:solidFill>
        </p:spPr>
        <p:txBody>
          <a:bodyPr/>
          <a:lstStyle>
            <a:lvl1pPr rtl="0">
              <a:defRPr sz="800">
                <a:noFill/>
              </a:defRPr>
            </a:lvl1pPr>
          </a:lstStyle>
          <a:p>
            <a:pPr lvl="0"/>
            <a:r>
              <a:rPr lang="en-AU"/>
              <a:t>.</a:t>
            </a:r>
            <a:endParaRPr lang="en-AU" dirty="0"/>
          </a:p>
        </p:txBody>
      </p:sp>
      <p:grpSp>
        <p:nvGrpSpPr>
          <p:cNvPr id="2" name="Group 1">
            <a:extLst>
              <a:ext uri="{FF2B5EF4-FFF2-40B4-BE49-F238E27FC236}">
                <a16:creationId xmlns:a16="http://schemas.microsoft.com/office/drawing/2014/main" id="{A201230F-853B-0948-9B55-4737F58D814B}"/>
              </a:ext>
            </a:extLst>
          </p:cNvPr>
          <p:cNvGrpSpPr/>
          <p:nvPr userDrawn="1"/>
        </p:nvGrpSpPr>
        <p:grpSpPr>
          <a:xfrm>
            <a:off x="8837890" y="5392616"/>
            <a:ext cx="2467878" cy="576705"/>
            <a:chOff x="3230032" y="2757677"/>
            <a:chExt cx="5712037" cy="1334815"/>
          </a:xfrm>
        </p:grpSpPr>
        <p:grpSp>
          <p:nvGrpSpPr>
            <p:cNvPr id="4" name="Graphic 3">
              <a:extLst>
                <a:ext uri="{FF2B5EF4-FFF2-40B4-BE49-F238E27FC236}">
                  <a16:creationId xmlns:a16="http://schemas.microsoft.com/office/drawing/2014/main" id="{A24A86BA-EDC4-A6A1-CDA0-1C83D9EC71CE}"/>
                </a:ext>
              </a:extLst>
            </p:cNvPr>
            <p:cNvGrpSpPr/>
            <p:nvPr/>
          </p:nvGrpSpPr>
          <p:grpSpPr>
            <a:xfrm>
              <a:off x="4764309" y="2832258"/>
              <a:ext cx="4177760" cy="1188624"/>
              <a:chOff x="4764309" y="2832258"/>
              <a:chExt cx="4177760" cy="1188624"/>
            </a:xfrm>
            <a:solidFill>
              <a:srgbClr val="FFFFFF"/>
            </a:solidFill>
          </p:grpSpPr>
          <p:sp>
            <p:nvSpPr>
              <p:cNvPr id="50" name="Freeform: Shape 49">
                <a:extLst>
                  <a:ext uri="{FF2B5EF4-FFF2-40B4-BE49-F238E27FC236}">
                    <a16:creationId xmlns:a16="http://schemas.microsoft.com/office/drawing/2014/main" id="{2303C3A8-C489-EBD6-1496-65A60BCF2731}"/>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FFFFFF"/>
              </a:solidFill>
              <a:ln w="9525" cap="flat">
                <a:noFill/>
                <a:prstDash val="solid"/>
                <a:miter/>
              </a:ln>
            </p:spPr>
            <p:txBody>
              <a:bodyPr rtlCol="0" anchor="ctr"/>
              <a:lstStyle/>
              <a:p>
                <a:pPr rtl="0"/>
                <a:endParaRPr lang="en-AU" dirty="0"/>
              </a:p>
            </p:txBody>
          </p:sp>
          <p:sp>
            <p:nvSpPr>
              <p:cNvPr id="51" name="Freeform: Shape 50">
                <a:extLst>
                  <a:ext uri="{FF2B5EF4-FFF2-40B4-BE49-F238E27FC236}">
                    <a16:creationId xmlns:a16="http://schemas.microsoft.com/office/drawing/2014/main" id="{0DE23145-49C1-F205-6E4A-280587F61460}"/>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FFFFFF"/>
              </a:solidFill>
              <a:ln w="9525" cap="flat">
                <a:noFill/>
                <a:prstDash val="solid"/>
                <a:miter/>
              </a:ln>
            </p:spPr>
            <p:txBody>
              <a:bodyPr rtlCol="0" anchor="ctr"/>
              <a:lstStyle/>
              <a:p>
                <a:pPr rtl="0"/>
                <a:endParaRPr lang="en-AU" dirty="0"/>
              </a:p>
            </p:txBody>
          </p:sp>
          <p:sp>
            <p:nvSpPr>
              <p:cNvPr id="52" name="Freeform: Shape 51">
                <a:extLst>
                  <a:ext uri="{FF2B5EF4-FFF2-40B4-BE49-F238E27FC236}">
                    <a16:creationId xmlns:a16="http://schemas.microsoft.com/office/drawing/2014/main" id="{4E23572B-1D83-13A4-7949-92267F6D94A7}"/>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FFFFFF"/>
              </a:solidFill>
              <a:ln w="9525" cap="flat">
                <a:noFill/>
                <a:prstDash val="solid"/>
                <a:miter/>
              </a:ln>
            </p:spPr>
            <p:txBody>
              <a:bodyPr rtlCol="0" anchor="ctr"/>
              <a:lstStyle/>
              <a:p>
                <a:pPr rtl="0"/>
                <a:endParaRPr lang="en-AU" dirty="0"/>
              </a:p>
            </p:txBody>
          </p:sp>
          <p:sp>
            <p:nvSpPr>
              <p:cNvPr id="53" name="Freeform: Shape 52">
                <a:extLst>
                  <a:ext uri="{FF2B5EF4-FFF2-40B4-BE49-F238E27FC236}">
                    <a16:creationId xmlns:a16="http://schemas.microsoft.com/office/drawing/2014/main" id="{199B6A7B-8125-2F9A-9C5D-6434EE1F6384}"/>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FFFFFF"/>
              </a:solidFill>
              <a:ln w="9525" cap="flat">
                <a:noFill/>
                <a:prstDash val="solid"/>
                <a:miter/>
              </a:ln>
            </p:spPr>
            <p:txBody>
              <a:bodyPr rtlCol="0" anchor="ctr"/>
              <a:lstStyle/>
              <a:p>
                <a:pPr rtl="0"/>
                <a:endParaRPr lang="en-AU" dirty="0"/>
              </a:p>
            </p:txBody>
          </p:sp>
          <p:sp>
            <p:nvSpPr>
              <p:cNvPr id="54" name="Freeform: Shape 53">
                <a:extLst>
                  <a:ext uri="{FF2B5EF4-FFF2-40B4-BE49-F238E27FC236}">
                    <a16:creationId xmlns:a16="http://schemas.microsoft.com/office/drawing/2014/main" id="{F425CA87-DCB9-8677-0C7F-D2CF49D177FC}"/>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FFFFFF"/>
              </a:solidFill>
              <a:ln w="9525"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8A834E26-6A1C-1435-2061-3E48952C0D2F}"/>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FFFFFF"/>
              </a:solidFill>
              <a:ln w="9525" cap="flat">
                <a:noFill/>
                <a:prstDash val="solid"/>
                <a:miter/>
              </a:ln>
            </p:spPr>
            <p:txBody>
              <a:bodyPr rtlCol="0" anchor="ctr"/>
              <a:lstStyle/>
              <a:p>
                <a:pPr rtl="0"/>
                <a:endParaRPr lang="en-AU" dirty="0"/>
              </a:p>
            </p:txBody>
          </p:sp>
        </p:grpSp>
        <p:grpSp>
          <p:nvGrpSpPr>
            <p:cNvPr id="6" name="Graphic 3">
              <a:extLst>
                <a:ext uri="{FF2B5EF4-FFF2-40B4-BE49-F238E27FC236}">
                  <a16:creationId xmlns:a16="http://schemas.microsoft.com/office/drawing/2014/main" id="{5E72045A-DBB1-464B-C718-14FBED97E38C}"/>
                </a:ext>
              </a:extLst>
            </p:cNvPr>
            <p:cNvGrpSpPr/>
            <p:nvPr/>
          </p:nvGrpSpPr>
          <p:grpSpPr>
            <a:xfrm>
              <a:off x="3230032" y="2757677"/>
              <a:ext cx="1336243" cy="1334815"/>
              <a:chOff x="3230032" y="2757677"/>
              <a:chExt cx="1336243" cy="1334815"/>
            </a:xfrm>
          </p:grpSpPr>
          <p:sp>
            <p:nvSpPr>
              <p:cNvPr id="41" name="Freeform: Shape 40">
                <a:extLst>
                  <a:ext uri="{FF2B5EF4-FFF2-40B4-BE49-F238E27FC236}">
                    <a16:creationId xmlns:a16="http://schemas.microsoft.com/office/drawing/2014/main" id="{53ED348E-7050-1444-0EAB-B8FA9BA764D1}"/>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42" name="Freeform: Shape 41">
                <a:extLst>
                  <a:ext uri="{FF2B5EF4-FFF2-40B4-BE49-F238E27FC236}">
                    <a16:creationId xmlns:a16="http://schemas.microsoft.com/office/drawing/2014/main" id="{659C5CEA-AC36-E5CB-F16B-21AEA082CFBB}"/>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43" name="Freeform: Shape 42">
                <a:extLst>
                  <a:ext uri="{FF2B5EF4-FFF2-40B4-BE49-F238E27FC236}">
                    <a16:creationId xmlns:a16="http://schemas.microsoft.com/office/drawing/2014/main" id="{73F67495-F56D-12F7-DE93-7C6E9E186345}"/>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44" name="Freeform: Shape 43">
                <a:extLst>
                  <a:ext uri="{FF2B5EF4-FFF2-40B4-BE49-F238E27FC236}">
                    <a16:creationId xmlns:a16="http://schemas.microsoft.com/office/drawing/2014/main" id="{111AA8E6-6CAC-29FC-0F5D-6E06EC203CDE}"/>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45" name="Freeform: Shape 44">
                <a:extLst>
                  <a:ext uri="{FF2B5EF4-FFF2-40B4-BE49-F238E27FC236}">
                    <a16:creationId xmlns:a16="http://schemas.microsoft.com/office/drawing/2014/main" id="{0058833E-9201-83FE-FD10-E464C9F4D0B2}"/>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46" name="Freeform: Shape 45">
                <a:extLst>
                  <a:ext uri="{FF2B5EF4-FFF2-40B4-BE49-F238E27FC236}">
                    <a16:creationId xmlns:a16="http://schemas.microsoft.com/office/drawing/2014/main" id="{5CA2FE09-B505-0171-8EF4-C4AC6E88E722}"/>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47" name="Freeform: Shape 46">
                <a:extLst>
                  <a:ext uri="{FF2B5EF4-FFF2-40B4-BE49-F238E27FC236}">
                    <a16:creationId xmlns:a16="http://schemas.microsoft.com/office/drawing/2014/main" id="{BCF25E8B-C8A9-0D5E-0067-BA5A24387598}"/>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48" name="Freeform: Shape 47">
                <a:extLst>
                  <a:ext uri="{FF2B5EF4-FFF2-40B4-BE49-F238E27FC236}">
                    <a16:creationId xmlns:a16="http://schemas.microsoft.com/office/drawing/2014/main" id="{3E22B9DA-FF4D-99AF-3D02-EC17AF25F693}"/>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49" name="Freeform: Shape 48">
                <a:extLst>
                  <a:ext uri="{FF2B5EF4-FFF2-40B4-BE49-F238E27FC236}">
                    <a16:creationId xmlns:a16="http://schemas.microsoft.com/office/drawing/2014/main" id="{23830026-EC7D-DBDA-1AC1-8C588AB7DE19}"/>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7" name="Graphic 3">
              <a:extLst>
                <a:ext uri="{FF2B5EF4-FFF2-40B4-BE49-F238E27FC236}">
                  <a16:creationId xmlns:a16="http://schemas.microsoft.com/office/drawing/2014/main" id="{79BFB845-96C4-A7F3-6289-6E4676499C21}"/>
                </a:ext>
              </a:extLst>
            </p:cNvPr>
            <p:cNvGrpSpPr/>
            <p:nvPr/>
          </p:nvGrpSpPr>
          <p:grpSpPr>
            <a:xfrm>
              <a:off x="4765071" y="3903725"/>
              <a:ext cx="3369468" cy="119443"/>
              <a:chOff x="4765071" y="3903725"/>
              <a:chExt cx="3369468" cy="119443"/>
            </a:xfrm>
            <a:solidFill>
              <a:srgbClr val="FFFFFF"/>
            </a:solidFill>
          </p:grpSpPr>
          <p:sp>
            <p:nvSpPr>
              <p:cNvPr id="9" name="Freeform: Shape 8">
                <a:extLst>
                  <a:ext uri="{FF2B5EF4-FFF2-40B4-BE49-F238E27FC236}">
                    <a16:creationId xmlns:a16="http://schemas.microsoft.com/office/drawing/2014/main" id="{BFAF5792-95CE-8AF1-816A-E863E507531D}"/>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FFFFFF"/>
              </a:solidFill>
              <a:ln w="9525" cap="flat">
                <a:noFill/>
                <a:prstDash val="solid"/>
                <a:miter/>
              </a:ln>
            </p:spPr>
            <p:txBody>
              <a:bodyPr rtlCol="0" anchor="ctr"/>
              <a:lstStyle/>
              <a:p>
                <a:pPr rtl="0"/>
                <a:endParaRPr lang="en-AU" dirty="0"/>
              </a:p>
            </p:txBody>
          </p:sp>
          <p:sp>
            <p:nvSpPr>
              <p:cNvPr id="10" name="Freeform: Shape 9">
                <a:extLst>
                  <a:ext uri="{FF2B5EF4-FFF2-40B4-BE49-F238E27FC236}">
                    <a16:creationId xmlns:a16="http://schemas.microsoft.com/office/drawing/2014/main" id="{45EE2772-3BF7-FB16-1645-2991E8937CFC}"/>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11" name="Freeform: Shape 10">
                <a:extLst>
                  <a:ext uri="{FF2B5EF4-FFF2-40B4-BE49-F238E27FC236}">
                    <a16:creationId xmlns:a16="http://schemas.microsoft.com/office/drawing/2014/main" id="{030A39C0-C936-44D1-C272-45AD419D6E5C}"/>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12" name="Freeform: Shape 11">
                <a:extLst>
                  <a:ext uri="{FF2B5EF4-FFF2-40B4-BE49-F238E27FC236}">
                    <a16:creationId xmlns:a16="http://schemas.microsoft.com/office/drawing/2014/main" id="{014D6F35-CE6C-1B1A-55E6-F1B95D48C8F7}"/>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13" name="Freeform: Shape 12">
                <a:extLst>
                  <a:ext uri="{FF2B5EF4-FFF2-40B4-BE49-F238E27FC236}">
                    <a16:creationId xmlns:a16="http://schemas.microsoft.com/office/drawing/2014/main" id="{E08FACEC-40E1-EA3B-51C1-001103FBB293}"/>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FFFFFF"/>
              </a:solidFill>
              <a:ln w="9525" cap="flat">
                <a:noFill/>
                <a:prstDash val="solid"/>
                <a:miter/>
              </a:ln>
            </p:spPr>
            <p:txBody>
              <a:bodyPr rtlCol="0" anchor="ctr"/>
              <a:lstStyle/>
              <a:p>
                <a:pPr rtl="0"/>
                <a:endParaRPr lang="en-AU" dirty="0"/>
              </a:p>
            </p:txBody>
          </p:sp>
          <p:sp>
            <p:nvSpPr>
              <p:cNvPr id="15" name="Freeform: Shape 14">
                <a:extLst>
                  <a:ext uri="{FF2B5EF4-FFF2-40B4-BE49-F238E27FC236}">
                    <a16:creationId xmlns:a16="http://schemas.microsoft.com/office/drawing/2014/main" id="{45F82B16-4709-8A6A-F178-E9A88D159444}"/>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16" name="Freeform: Shape 15">
                <a:extLst>
                  <a:ext uri="{FF2B5EF4-FFF2-40B4-BE49-F238E27FC236}">
                    <a16:creationId xmlns:a16="http://schemas.microsoft.com/office/drawing/2014/main" id="{FDF4B683-A4EC-873A-B9BC-BDF3E1C18878}"/>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FFFFFF"/>
              </a:solidFill>
              <a:ln w="9525" cap="flat">
                <a:noFill/>
                <a:prstDash val="solid"/>
                <a:miter/>
              </a:ln>
            </p:spPr>
            <p:txBody>
              <a:bodyPr rtlCol="0" anchor="ctr"/>
              <a:lstStyle/>
              <a:p>
                <a:pPr rtl="0"/>
                <a:endParaRPr lang="en-AU" dirty="0"/>
              </a:p>
            </p:txBody>
          </p:sp>
          <p:sp>
            <p:nvSpPr>
              <p:cNvPr id="20" name="Freeform: Shape 19">
                <a:extLst>
                  <a:ext uri="{FF2B5EF4-FFF2-40B4-BE49-F238E27FC236}">
                    <a16:creationId xmlns:a16="http://schemas.microsoft.com/office/drawing/2014/main" id="{E226C0BA-5281-3B0B-C105-D79B9DD06728}"/>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22" name="Freeform: Shape 21">
                <a:extLst>
                  <a:ext uri="{FF2B5EF4-FFF2-40B4-BE49-F238E27FC236}">
                    <a16:creationId xmlns:a16="http://schemas.microsoft.com/office/drawing/2014/main" id="{B59CA6C8-3E76-1B36-B2D3-031A3FF16632}"/>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23" name="Freeform: Shape 22">
                <a:extLst>
                  <a:ext uri="{FF2B5EF4-FFF2-40B4-BE49-F238E27FC236}">
                    <a16:creationId xmlns:a16="http://schemas.microsoft.com/office/drawing/2014/main" id="{0392104D-0B63-87AB-866A-5C6A8405CDB6}"/>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24" name="Freeform: Shape 23">
                <a:extLst>
                  <a:ext uri="{FF2B5EF4-FFF2-40B4-BE49-F238E27FC236}">
                    <a16:creationId xmlns:a16="http://schemas.microsoft.com/office/drawing/2014/main" id="{8085E0D7-670A-8799-8012-FD9116E26C23}"/>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25" name="Freeform: Shape 24">
                <a:extLst>
                  <a:ext uri="{FF2B5EF4-FFF2-40B4-BE49-F238E27FC236}">
                    <a16:creationId xmlns:a16="http://schemas.microsoft.com/office/drawing/2014/main" id="{F7A07456-225A-267E-E37F-83FC0AFDE331}"/>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FFFFFF"/>
              </a:solidFill>
              <a:ln w="9525" cap="flat">
                <a:noFill/>
                <a:prstDash val="solid"/>
                <a:miter/>
              </a:ln>
            </p:spPr>
            <p:txBody>
              <a:bodyPr rtlCol="0" anchor="ctr"/>
              <a:lstStyle/>
              <a:p>
                <a:pPr rtl="0"/>
                <a:endParaRPr lang="en-AU" dirty="0"/>
              </a:p>
            </p:txBody>
          </p:sp>
          <p:sp>
            <p:nvSpPr>
              <p:cNvPr id="26" name="Freeform: Shape 25">
                <a:extLst>
                  <a:ext uri="{FF2B5EF4-FFF2-40B4-BE49-F238E27FC236}">
                    <a16:creationId xmlns:a16="http://schemas.microsoft.com/office/drawing/2014/main" id="{C04A89B4-3B91-6718-058B-C69891276D83}"/>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27" name="Freeform: Shape 26">
                <a:extLst>
                  <a:ext uri="{FF2B5EF4-FFF2-40B4-BE49-F238E27FC236}">
                    <a16:creationId xmlns:a16="http://schemas.microsoft.com/office/drawing/2014/main" id="{B89AD26A-4F71-CACA-9206-66DF1B85B6D0}"/>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FFFFFF"/>
              </a:solidFill>
              <a:ln w="9525" cap="flat">
                <a:noFill/>
                <a:prstDash val="solid"/>
                <a:miter/>
              </a:ln>
            </p:spPr>
            <p:txBody>
              <a:bodyPr rtlCol="0" anchor="ctr"/>
              <a:lstStyle/>
              <a:p>
                <a:pPr rtl="0"/>
                <a:endParaRPr lang="en-AU" dirty="0"/>
              </a:p>
            </p:txBody>
          </p:sp>
          <p:sp>
            <p:nvSpPr>
              <p:cNvPr id="28" name="Freeform: Shape 27">
                <a:extLst>
                  <a:ext uri="{FF2B5EF4-FFF2-40B4-BE49-F238E27FC236}">
                    <a16:creationId xmlns:a16="http://schemas.microsoft.com/office/drawing/2014/main" id="{2AB9FD0B-5792-6E64-62DD-4AD74126686D}"/>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29" name="Freeform: Shape 28">
                <a:extLst>
                  <a:ext uri="{FF2B5EF4-FFF2-40B4-BE49-F238E27FC236}">
                    <a16:creationId xmlns:a16="http://schemas.microsoft.com/office/drawing/2014/main" id="{A25D48F5-8440-B83F-6B0C-ACCD1481CA31}"/>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30" name="Freeform: Shape 29">
                <a:extLst>
                  <a:ext uri="{FF2B5EF4-FFF2-40B4-BE49-F238E27FC236}">
                    <a16:creationId xmlns:a16="http://schemas.microsoft.com/office/drawing/2014/main" id="{CE3E66DD-E297-E6F4-6D14-C09312346A52}"/>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31" name="Freeform: Shape 30">
                <a:extLst>
                  <a:ext uri="{FF2B5EF4-FFF2-40B4-BE49-F238E27FC236}">
                    <a16:creationId xmlns:a16="http://schemas.microsoft.com/office/drawing/2014/main" id="{E8677F52-C183-2479-3D5D-DA0CA59190EF}"/>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FFFFFF"/>
              </a:solidFill>
              <a:ln w="9525" cap="flat">
                <a:noFill/>
                <a:prstDash val="solid"/>
                <a:miter/>
              </a:ln>
            </p:spPr>
            <p:txBody>
              <a:bodyPr rtlCol="0" anchor="ctr"/>
              <a:lstStyle/>
              <a:p>
                <a:pPr rtl="0"/>
                <a:endParaRPr lang="en-AU" dirty="0"/>
              </a:p>
            </p:txBody>
          </p:sp>
          <p:sp>
            <p:nvSpPr>
              <p:cNvPr id="32" name="Freeform: Shape 31">
                <a:extLst>
                  <a:ext uri="{FF2B5EF4-FFF2-40B4-BE49-F238E27FC236}">
                    <a16:creationId xmlns:a16="http://schemas.microsoft.com/office/drawing/2014/main" id="{900CBFE7-8C2F-2583-B5D9-23D4F2B2630A}"/>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FFFFFF"/>
              </a:solidFill>
              <a:ln w="9525" cap="flat">
                <a:noFill/>
                <a:prstDash val="solid"/>
                <a:miter/>
              </a:ln>
            </p:spPr>
            <p:txBody>
              <a:bodyPr rtlCol="0" anchor="ctr"/>
              <a:lstStyle/>
              <a:p>
                <a:pPr rtl="0"/>
                <a:endParaRPr lang="en-AU" dirty="0"/>
              </a:p>
            </p:txBody>
          </p:sp>
          <p:sp>
            <p:nvSpPr>
              <p:cNvPr id="33" name="Freeform: Shape 32">
                <a:extLst>
                  <a:ext uri="{FF2B5EF4-FFF2-40B4-BE49-F238E27FC236}">
                    <a16:creationId xmlns:a16="http://schemas.microsoft.com/office/drawing/2014/main" id="{20DE469F-68C5-0E1B-92AD-388E7A628074}"/>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34" name="Freeform: Shape 33">
                <a:extLst>
                  <a:ext uri="{FF2B5EF4-FFF2-40B4-BE49-F238E27FC236}">
                    <a16:creationId xmlns:a16="http://schemas.microsoft.com/office/drawing/2014/main" id="{1BDE55E2-EFC3-95B7-F802-A08A3D569608}"/>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35" name="Freeform: Shape 34">
                <a:extLst>
                  <a:ext uri="{FF2B5EF4-FFF2-40B4-BE49-F238E27FC236}">
                    <a16:creationId xmlns:a16="http://schemas.microsoft.com/office/drawing/2014/main" id="{D5C098AF-B6EF-A62F-DD66-7C42FDAA5EA8}"/>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FFFFFF"/>
              </a:solidFill>
              <a:ln w="9525" cap="flat">
                <a:noFill/>
                <a:prstDash val="solid"/>
                <a:miter/>
              </a:ln>
            </p:spPr>
            <p:txBody>
              <a:bodyPr rtlCol="0" anchor="ctr"/>
              <a:lstStyle/>
              <a:p>
                <a:pPr rtl="0"/>
                <a:endParaRPr lang="en-AU" dirty="0"/>
              </a:p>
            </p:txBody>
          </p:sp>
          <p:sp>
            <p:nvSpPr>
              <p:cNvPr id="36" name="Freeform: Shape 35">
                <a:extLst>
                  <a:ext uri="{FF2B5EF4-FFF2-40B4-BE49-F238E27FC236}">
                    <a16:creationId xmlns:a16="http://schemas.microsoft.com/office/drawing/2014/main" id="{34005B05-1F6D-5A35-7ACA-75496A61C6B8}"/>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FFFFFF"/>
              </a:solidFill>
              <a:ln w="9525" cap="flat">
                <a:noFill/>
                <a:prstDash val="solid"/>
                <a:miter/>
              </a:ln>
            </p:spPr>
            <p:txBody>
              <a:bodyPr rtlCol="0" anchor="ctr"/>
              <a:lstStyle/>
              <a:p>
                <a:pPr rtl="0"/>
                <a:endParaRPr lang="en-AU" dirty="0"/>
              </a:p>
            </p:txBody>
          </p:sp>
          <p:sp>
            <p:nvSpPr>
              <p:cNvPr id="37" name="Freeform: Shape 36">
                <a:extLst>
                  <a:ext uri="{FF2B5EF4-FFF2-40B4-BE49-F238E27FC236}">
                    <a16:creationId xmlns:a16="http://schemas.microsoft.com/office/drawing/2014/main" id="{3706674F-013E-DEF6-A9D2-59F72A95FDCD}"/>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38" name="Freeform: Shape 37">
                <a:extLst>
                  <a:ext uri="{FF2B5EF4-FFF2-40B4-BE49-F238E27FC236}">
                    <a16:creationId xmlns:a16="http://schemas.microsoft.com/office/drawing/2014/main" id="{277B0895-C650-B2D3-146D-9D7054485E58}"/>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39" name="Freeform: Shape 38">
                <a:extLst>
                  <a:ext uri="{FF2B5EF4-FFF2-40B4-BE49-F238E27FC236}">
                    <a16:creationId xmlns:a16="http://schemas.microsoft.com/office/drawing/2014/main" id="{EB924FE6-94A5-9C27-0D86-FB9EF37C26FF}"/>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40" name="Freeform: Shape 39">
                <a:extLst>
                  <a:ext uri="{FF2B5EF4-FFF2-40B4-BE49-F238E27FC236}">
                    <a16:creationId xmlns:a16="http://schemas.microsoft.com/office/drawing/2014/main" id="{3963DB24-8163-A97C-EF93-B79DEB23BE37}"/>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413901930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 Graphic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A5229A1-96F7-D526-631D-CC98E1F4FB61}"/>
              </a:ext>
            </a:extLst>
          </p:cNvPr>
          <p:cNvGraphicFramePr>
            <a:graphicFrameLocks noChangeAspect="1"/>
          </p:cNvGraphicFramePr>
          <p:nvPr userDrawn="1">
            <p:custDataLst>
              <p:tags r:id="rId1"/>
            </p:custDataLst>
            <p:extLst>
              <p:ext uri="{D42A27DB-BD31-4B8C-83A1-F6EECF244321}">
                <p14:modId xmlns:p14="http://schemas.microsoft.com/office/powerpoint/2010/main" val="424970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4A5229A1-96F7-D526-631D-CC98E1F4FB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pic>
        <p:nvPicPr>
          <p:cNvPr id="6" name="Picture 5">
            <a:extLst>
              <a:ext uri="{FF2B5EF4-FFF2-40B4-BE49-F238E27FC236}">
                <a16:creationId xmlns:a16="http://schemas.microsoft.com/office/drawing/2014/main" id="{7B5AB5BF-B12C-1C40-B83E-EB580DB30434}"/>
              </a:ext>
            </a:extLst>
          </p:cNvPr>
          <p:cNvPicPr>
            <a:picLocks noChangeAspect="1"/>
          </p:cNvPicPr>
          <p:nvPr userDrawn="1"/>
        </p:nvPicPr>
        <p:blipFill rotWithShape="1">
          <a:blip r:embed="rId5" cstate="screen">
            <a:alphaModFix amt="50000"/>
            <a:extLst>
              <a:ext uri="{28A0092B-C50C-407E-A947-70E740481C1C}">
                <a14:useLocalDpi xmlns:a14="http://schemas.microsoft.com/office/drawing/2010/main"/>
              </a:ext>
            </a:extLst>
          </a:blip>
          <a:srcRect/>
          <a:stretch/>
        </p:blipFill>
        <p:spPr>
          <a:xfrm>
            <a:off x="84566" y="4539481"/>
            <a:ext cx="12164583" cy="2318519"/>
          </a:xfrm>
          <a:prstGeom prst="rect">
            <a:avLst/>
          </a:prstGeom>
        </p:spPr>
      </p:pic>
      <p:sp>
        <p:nvSpPr>
          <p:cNvPr id="7" name="Rectangle 6">
            <a:extLst>
              <a:ext uri="{FF2B5EF4-FFF2-40B4-BE49-F238E27FC236}">
                <a16:creationId xmlns:a16="http://schemas.microsoft.com/office/drawing/2014/main" id="{B5286DD9-2D68-1ED5-D7F9-1DCEDE90A46A}"/>
              </a:ext>
            </a:extLst>
          </p:cNvPr>
          <p:cNvSpPr/>
          <p:nvPr userDrawn="1"/>
        </p:nvSpPr>
        <p:spPr>
          <a:xfrm>
            <a:off x="1029799" y="4885508"/>
            <a:ext cx="1009988" cy="1399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sz="2800" dirty="0"/>
          </a:p>
        </p:txBody>
      </p:sp>
      <p:sp>
        <p:nvSpPr>
          <p:cNvPr id="15" name="Text Placeholder 14">
            <a:extLst>
              <a:ext uri="{FF2B5EF4-FFF2-40B4-BE49-F238E27FC236}">
                <a16:creationId xmlns:a16="http://schemas.microsoft.com/office/drawing/2014/main" id="{58ADCC07-F2D3-36A8-E9C0-81ABAC1F6720}"/>
              </a:ext>
            </a:extLst>
          </p:cNvPr>
          <p:cNvSpPr>
            <a:spLocks noGrp="1"/>
          </p:cNvSpPr>
          <p:nvPr>
            <p:ph type="body" sz="quarter" idx="11"/>
          </p:nvPr>
        </p:nvSpPr>
        <p:spPr>
          <a:xfrm>
            <a:off x="896937" y="1579563"/>
            <a:ext cx="10398126" cy="3446462"/>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6397424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 Graphic 1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41D3A2D-F20B-8E73-7224-354A7C8831AA}"/>
              </a:ext>
            </a:extLst>
          </p:cNvPr>
          <p:cNvGraphicFramePr>
            <a:graphicFrameLocks noChangeAspect="1"/>
          </p:cNvGraphicFramePr>
          <p:nvPr userDrawn="1">
            <p:custDataLst>
              <p:tags r:id="rId1"/>
            </p:custDataLst>
            <p:extLst>
              <p:ext uri="{D42A27DB-BD31-4B8C-83A1-F6EECF244321}">
                <p14:modId xmlns:p14="http://schemas.microsoft.com/office/powerpoint/2010/main" val="307602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441D3A2D-F20B-8E73-7224-354A7C8831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pic>
        <p:nvPicPr>
          <p:cNvPr id="6" name="Picture 5">
            <a:extLst>
              <a:ext uri="{FF2B5EF4-FFF2-40B4-BE49-F238E27FC236}">
                <a16:creationId xmlns:a16="http://schemas.microsoft.com/office/drawing/2014/main" id="{7B5AB5BF-B12C-1C40-B83E-EB580DB30434}"/>
              </a:ext>
            </a:extLst>
          </p:cNvPr>
          <p:cNvPicPr>
            <a:picLocks noChangeAspect="1"/>
          </p:cNvPicPr>
          <p:nvPr userDrawn="1"/>
        </p:nvPicPr>
        <p:blipFill rotWithShape="1">
          <a:blip r:embed="rId5" cstate="screen">
            <a:alphaModFix amt="50000"/>
            <a:extLst>
              <a:ext uri="{28A0092B-C50C-407E-A947-70E740481C1C}">
                <a14:useLocalDpi xmlns:a14="http://schemas.microsoft.com/office/drawing/2010/main"/>
              </a:ext>
            </a:extLst>
          </a:blip>
          <a:srcRect/>
          <a:stretch/>
        </p:blipFill>
        <p:spPr>
          <a:xfrm>
            <a:off x="84566" y="4539481"/>
            <a:ext cx="12164583" cy="2318519"/>
          </a:xfrm>
          <a:prstGeom prst="rect">
            <a:avLst/>
          </a:prstGeom>
        </p:spPr>
      </p:pic>
      <p:sp>
        <p:nvSpPr>
          <p:cNvPr id="7" name="Rectangle 6">
            <a:extLst>
              <a:ext uri="{FF2B5EF4-FFF2-40B4-BE49-F238E27FC236}">
                <a16:creationId xmlns:a16="http://schemas.microsoft.com/office/drawing/2014/main" id="{B5286DD9-2D68-1ED5-D7F9-1DCEDE90A46A}"/>
              </a:ext>
            </a:extLst>
          </p:cNvPr>
          <p:cNvSpPr/>
          <p:nvPr userDrawn="1"/>
        </p:nvSpPr>
        <p:spPr>
          <a:xfrm>
            <a:off x="1029799" y="4885508"/>
            <a:ext cx="1009988" cy="1399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sz="2800" dirty="0"/>
          </a:p>
        </p:txBody>
      </p:sp>
      <p:sp>
        <p:nvSpPr>
          <p:cNvPr id="15" name="Text Placeholder 14">
            <a:extLst>
              <a:ext uri="{FF2B5EF4-FFF2-40B4-BE49-F238E27FC236}">
                <a16:creationId xmlns:a16="http://schemas.microsoft.com/office/drawing/2014/main" id="{58ADCC07-F2D3-36A8-E9C0-81ABAC1F6720}"/>
              </a:ext>
            </a:extLst>
          </p:cNvPr>
          <p:cNvSpPr>
            <a:spLocks noGrp="1"/>
          </p:cNvSpPr>
          <p:nvPr>
            <p:ph type="body" sz="quarter" idx="11"/>
          </p:nvPr>
        </p:nvSpPr>
        <p:spPr>
          <a:xfrm>
            <a:off x="896937" y="1579563"/>
            <a:ext cx="5039999" cy="3446462"/>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
        <p:nvSpPr>
          <p:cNvPr id="17" name="Text Placeholder 16">
            <a:extLst>
              <a:ext uri="{FF2B5EF4-FFF2-40B4-BE49-F238E27FC236}">
                <a16:creationId xmlns:a16="http://schemas.microsoft.com/office/drawing/2014/main" id="{7A69A31F-60A7-7769-31B2-782875E76AF5}"/>
              </a:ext>
            </a:extLst>
          </p:cNvPr>
          <p:cNvSpPr>
            <a:spLocks noGrp="1"/>
          </p:cNvSpPr>
          <p:nvPr>
            <p:ph type="body" sz="quarter" idx="12"/>
          </p:nvPr>
        </p:nvSpPr>
        <p:spPr>
          <a:xfrm>
            <a:off x="6256338" y="1579563"/>
            <a:ext cx="5038725" cy="3446462"/>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70693759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2 Graphic 2">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B6D9AC-6BED-566F-E9A3-A96F54B2D809}"/>
              </a:ext>
            </a:extLst>
          </p:cNvPr>
          <p:cNvGraphicFramePr>
            <a:graphicFrameLocks noChangeAspect="1"/>
          </p:cNvGraphicFramePr>
          <p:nvPr userDrawn="1">
            <p:custDataLst>
              <p:tags r:id="rId1"/>
            </p:custDataLst>
            <p:extLst>
              <p:ext uri="{D42A27DB-BD31-4B8C-83A1-F6EECF244321}">
                <p14:modId xmlns:p14="http://schemas.microsoft.com/office/powerpoint/2010/main" val="1809425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51B6D9AC-6BED-566F-E9A3-A96F54B2D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3897AA5-D254-2FE5-9705-A214CEE6F637}"/>
              </a:ext>
            </a:extLst>
          </p:cNvPr>
          <p:cNvSpPr/>
          <p:nvPr userDrawn="1"/>
        </p:nvSpPr>
        <p:spPr>
          <a:xfrm>
            <a:off x="6096000" y="-1"/>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dirty="0"/>
          </a:p>
        </p:txBody>
      </p:sp>
      <p:pic>
        <p:nvPicPr>
          <p:cNvPr id="10" name="Picture 9" descr="A white and black drawing of a person&#10;&#10;Description automatically generated">
            <a:extLst>
              <a:ext uri="{FF2B5EF4-FFF2-40B4-BE49-F238E27FC236}">
                <a16:creationId xmlns:a16="http://schemas.microsoft.com/office/drawing/2014/main" id="{60A64E20-24D2-671D-9AE8-19725A3ECAE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093076" y="350320"/>
            <a:ext cx="6098924" cy="6251267"/>
          </a:xfrm>
          <a:prstGeom prst="rect">
            <a:avLst/>
          </a:prstGeom>
        </p:spPr>
      </p:pic>
      <p:sp>
        <p:nvSpPr>
          <p:cNvPr id="11" name="Rectangle 10">
            <a:extLst>
              <a:ext uri="{FF2B5EF4-FFF2-40B4-BE49-F238E27FC236}">
                <a16:creationId xmlns:a16="http://schemas.microsoft.com/office/drawing/2014/main" id="{238B560A-55E5-695B-2E1E-C4EA82BEF013}"/>
              </a:ext>
            </a:extLst>
          </p:cNvPr>
          <p:cNvSpPr/>
          <p:nvPr userDrawn="1"/>
        </p:nvSpPr>
        <p:spPr>
          <a:xfrm>
            <a:off x="0" y="0"/>
            <a:ext cx="609600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3" name="Title Placeholder 1">
            <a:extLst>
              <a:ext uri="{FF2B5EF4-FFF2-40B4-BE49-F238E27FC236}">
                <a16:creationId xmlns:a16="http://schemas.microsoft.com/office/drawing/2014/main" id="{1B6D4CBE-E23B-7C7C-7E71-CD3D16AE7C6B}"/>
              </a:ext>
            </a:extLst>
          </p:cNvPr>
          <p:cNvSpPr>
            <a:spLocks noGrp="1"/>
          </p:cNvSpPr>
          <p:nvPr>
            <p:ph type="title" hasCustomPrompt="1"/>
          </p:nvPr>
        </p:nvSpPr>
        <p:spPr>
          <a:xfrm>
            <a:off x="893233" y="873125"/>
            <a:ext cx="4887457"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Heading Goes Here</a:t>
            </a:r>
            <a:endParaRPr lang="en-AU" dirty="0"/>
          </a:p>
        </p:txBody>
      </p:sp>
      <p:sp>
        <p:nvSpPr>
          <p:cNvPr id="2" name="Slide Number Placeholder 3">
            <a:extLst>
              <a:ext uri="{FF2B5EF4-FFF2-40B4-BE49-F238E27FC236}">
                <a16:creationId xmlns:a16="http://schemas.microsoft.com/office/drawing/2014/main" id="{2D6D74F0-A613-4D45-8959-CFEC690B29D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7" name="Rectangle 6">
            <a:extLst>
              <a:ext uri="{FF2B5EF4-FFF2-40B4-BE49-F238E27FC236}">
                <a16:creationId xmlns:a16="http://schemas.microsoft.com/office/drawing/2014/main" id="{B5286DD9-2D68-1ED5-D7F9-1DCEDE90A46A}"/>
              </a:ext>
            </a:extLst>
          </p:cNvPr>
          <p:cNvSpPr/>
          <p:nvPr userDrawn="1"/>
        </p:nvSpPr>
        <p:spPr>
          <a:xfrm>
            <a:off x="1029799" y="4885508"/>
            <a:ext cx="1009988" cy="1399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5" name="Text Placeholder 14">
            <a:extLst>
              <a:ext uri="{FF2B5EF4-FFF2-40B4-BE49-F238E27FC236}">
                <a16:creationId xmlns:a16="http://schemas.microsoft.com/office/drawing/2014/main" id="{1A9CB661-3D83-8B08-AB7A-9D99F2F22E86}"/>
              </a:ext>
            </a:extLst>
          </p:cNvPr>
          <p:cNvSpPr>
            <a:spLocks noGrp="1"/>
          </p:cNvSpPr>
          <p:nvPr>
            <p:ph type="body" sz="quarter" idx="10"/>
          </p:nvPr>
        </p:nvSpPr>
        <p:spPr>
          <a:xfrm>
            <a:off x="890588" y="1579563"/>
            <a:ext cx="4890102" cy="3446462"/>
          </a:xfrm>
        </p:spPr>
        <p:txBody>
          <a:bodyPr/>
          <a:lstStyle>
            <a:lvl1pPr rtl="0">
              <a:defRPr/>
            </a:lvl1pPr>
            <a:lvl2pPr rtl="0">
              <a:defRPr/>
            </a:lvl2pPr>
            <a:lvl3pPr rtl="0">
              <a:defRPr/>
            </a:lvl3pPr>
            <a:lvl4pPr rtl="0">
              <a:defRPr/>
            </a:lvl4pPr>
            <a:lvl5pPr>
              <a:defRPr sz="1000"/>
            </a:lvl5pPr>
          </a:lstStyle>
          <a:p>
            <a:pPr lvl="0"/>
            <a:r>
              <a:rPr lang="en-AU"/>
              <a:t>Click to edit Master text styles</a:t>
            </a:r>
          </a:p>
          <a:p>
            <a:pPr lvl="1"/>
            <a:r>
              <a:rPr lang="en-AU"/>
              <a:t>Second level</a:t>
            </a:r>
          </a:p>
          <a:p>
            <a:pPr lvl="2"/>
            <a:r>
              <a:rPr lang="en-AU"/>
              <a:t>Third level</a:t>
            </a:r>
          </a:p>
          <a:p>
            <a:pPr lvl="3"/>
            <a:r>
              <a:rPr lang="en-AU"/>
              <a:t>Fourth level</a:t>
            </a:r>
            <a:endParaRPr lang="en-AU" dirty="0"/>
          </a:p>
        </p:txBody>
      </p:sp>
    </p:spTree>
    <p:extLst>
      <p:ext uri="{BB962C8B-B14F-4D97-AF65-F5344CB8AC3E}">
        <p14:creationId xmlns:p14="http://schemas.microsoft.com/office/powerpoint/2010/main" val="100061082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195DC9-1002-27DA-16ED-7D86C4306BFC}"/>
              </a:ext>
            </a:extLst>
          </p:cNvPr>
          <p:cNvGraphicFramePr>
            <a:graphicFrameLocks noChangeAspect="1"/>
          </p:cNvGraphicFramePr>
          <p:nvPr userDrawn="1">
            <p:custDataLst>
              <p:tags r:id="rId1"/>
            </p:custDataLst>
            <p:extLst>
              <p:ext uri="{D42A27DB-BD31-4B8C-83A1-F6EECF244321}">
                <p14:modId xmlns:p14="http://schemas.microsoft.com/office/powerpoint/2010/main" val="91645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4B195DC9-1002-27DA-16ED-7D86C4306B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3" name="Text Placeholder 20">
            <a:extLst>
              <a:ext uri="{FF2B5EF4-FFF2-40B4-BE49-F238E27FC236}">
                <a16:creationId xmlns:a16="http://schemas.microsoft.com/office/drawing/2014/main" id="{93DBC39D-CB98-CE92-4061-92648D6E1B35}"/>
              </a:ext>
            </a:extLst>
          </p:cNvPr>
          <p:cNvSpPr>
            <a:spLocks noGrp="1"/>
          </p:cNvSpPr>
          <p:nvPr>
            <p:ph type="body" sz="quarter" idx="14" hasCustomPrompt="1"/>
          </p:nvPr>
        </p:nvSpPr>
        <p:spPr>
          <a:xfrm>
            <a:off x="888999" y="3521276"/>
            <a:ext cx="3332773" cy="2444549"/>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14" name="Text Placeholder 20">
            <a:extLst>
              <a:ext uri="{FF2B5EF4-FFF2-40B4-BE49-F238E27FC236}">
                <a16:creationId xmlns:a16="http://schemas.microsoft.com/office/drawing/2014/main" id="{3875F878-C334-F6D9-77CD-45575E032523}"/>
              </a:ext>
            </a:extLst>
          </p:cNvPr>
          <p:cNvSpPr>
            <a:spLocks noGrp="1"/>
          </p:cNvSpPr>
          <p:nvPr>
            <p:ph type="body" sz="quarter" idx="20" hasCustomPrompt="1"/>
          </p:nvPr>
        </p:nvSpPr>
        <p:spPr>
          <a:xfrm>
            <a:off x="888999" y="3194880"/>
            <a:ext cx="3332773"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19" name="Text Placeholder 20">
            <a:extLst>
              <a:ext uri="{FF2B5EF4-FFF2-40B4-BE49-F238E27FC236}">
                <a16:creationId xmlns:a16="http://schemas.microsoft.com/office/drawing/2014/main" id="{4B19BD34-6DCB-57AA-F4F9-69E213F89F3C}"/>
              </a:ext>
            </a:extLst>
          </p:cNvPr>
          <p:cNvSpPr>
            <a:spLocks noGrp="1"/>
          </p:cNvSpPr>
          <p:nvPr>
            <p:ph type="body" sz="quarter" idx="28" hasCustomPrompt="1"/>
          </p:nvPr>
        </p:nvSpPr>
        <p:spPr>
          <a:xfrm>
            <a:off x="4349750" y="1708680"/>
            <a:ext cx="3341370" cy="1329744"/>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abore et dolore magna aliqua. Ut enim ad minim veniam, quis nostrud exercitation ullamco laboris nisi ut aliquip ex ea commododolore magna aliqua. Ut enim ad minim veniam, quis nostrud exercitation ullamco laboris nisi ut aliquip ex ea commodo Ut labore et dolore magna aliqua. Ut enim ad minim veniam, quis nostrud exercitation.</a:t>
            </a:r>
            <a:endParaRPr lang="en-AU" dirty="0"/>
          </a:p>
        </p:txBody>
      </p:sp>
      <p:sp>
        <p:nvSpPr>
          <p:cNvPr id="20" name="Text Placeholder 20">
            <a:extLst>
              <a:ext uri="{FF2B5EF4-FFF2-40B4-BE49-F238E27FC236}">
                <a16:creationId xmlns:a16="http://schemas.microsoft.com/office/drawing/2014/main" id="{08736A62-1CFC-5F30-80F4-841DCED41E3A}"/>
              </a:ext>
            </a:extLst>
          </p:cNvPr>
          <p:cNvSpPr>
            <a:spLocks noGrp="1"/>
          </p:cNvSpPr>
          <p:nvPr>
            <p:ph type="body" sz="quarter" idx="29" hasCustomPrompt="1"/>
          </p:nvPr>
        </p:nvSpPr>
        <p:spPr>
          <a:xfrm>
            <a:off x="4356726" y="1382283"/>
            <a:ext cx="3341370"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21" name="Text Placeholder 20">
            <a:extLst>
              <a:ext uri="{FF2B5EF4-FFF2-40B4-BE49-F238E27FC236}">
                <a16:creationId xmlns:a16="http://schemas.microsoft.com/office/drawing/2014/main" id="{B63EC3A9-BA5A-F579-136E-97899C879516}"/>
              </a:ext>
            </a:extLst>
          </p:cNvPr>
          <p:cNvSpPr>
            <a:spLocks noGrp="1"/>
          </p:cNvSpPr>
          <p:nvPr>
            <p:ph type="body" sz="quarter" idx="30" hasCustomPrompt="1"/>
          </p:nvPr>
        </p:nvSpPr>
        <p:spPr>
          <a:xfrm>
            <a:off x="7824451" y="1708680"/>
            <a:ext cx="3470611" cy="1329744"/>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abore et dolore magna aliqua. Ut enim ad minim veniam, quis nostrud exercitation ullamco laboris nisi ut aliquip ex ea commododolore magna aliqua. Ut enim ad minim veniam, quis nostrud exercitation ullamco laboris nisi ut aliquip ex ea commodo Ut labore et dolore magna aliqua. Ut enim ad minim veniam, quis nostrud exercitation.</a:t>
            </a:r>
            <a:endParaRPr lang="en-AU" dirty="0"/>
          </a:p>
        </p:txBody>
      </p:sp>
      <p:sp>
        <p:nvSpPr>
          <p:cNvPr id="22" name="Text Placeholder 20">
            <a:extLst>
              <a:ext uri="{FF2B5EF4-FFF2-40B4-BE49-F238E27FC236}">
                <a16:creationId xmlns:a16="http://schemas.microsoft.com/office/drawing/2014/main" id="{9B42860E-EC64-BF8F-0D53-FF07BBBF4C20}"/>
              </a:ext>
            </a:extLst>
          </p:cNvPr>
          <p:cNvSpPr>
            <a:spLocks noGrp="1"/>
          </p:cNvSpPr>
          <p:nvPr>
            <p:ph type="body" sz="quarter" idx="31" hasCustomPrompt="1"/>
          </p:nvPr>
        </p:nvSpPr>
        <p:spPr>
          <a:xfrm>
            <a:off x="7824451" y="1382283"/>
            <a:ext cx="3470611"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23" name="Text Placeholder 20">
            <a:extLst>
              <a:ext uri="{FF2B5EF4-FFF2-40B4-BE49-F238E27FC236}">
                <a16:creationId xmlns:a16="http://schemas.microsoft.com/office/drawing/2014/main" id="{90463C65-3302-F86A-7520-4A67D9F43C7F}"/>
              </a:ext>
            </a:extLst>
          </p:cNvPr>
          <p:cNvSpPr>
            <a:spLocks noGrp="1"/>
          </p:cNvSpPr>
          <p:nvPr>
            <p:ph type="body" sz="quarter" idx="24" hasCustomPrompt="1"/>
          </p:nvPr>
        </p:nvSpPr>
        <p:spPr>
          <a:xfrm>
            <a:off x="4349750" y="3521276"/>
            <a:ext cx="3341370" cy="2444549"/>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24" name="Text Placeholder 20">
            <a:extLst>
              <a:ext uri="{FF2B5EF4-FFF2-40B4-BE49-F238E27FC236}">
                <a16:creationId xmlns:a16="http://schemas.microsoft.com/office/drawing/2014/main" id="{CE5FE3A1-C8C6-0253-44D1-A865CE6F9074}"/>
              </a:ext>
            </a:extLst>
          </p:cNvPr>
          <p:cNvSpPr>
            <a:spLocks noGrp="1"/>
          </p:cNvSpPr>
          <p:nvPr>
            <p:ph type="body" sz="quarter" idx="25" hasCustomPrompt="1"/>
          </p:nvPr>
        </p:nvSpPr>
        <p:spPr>
          <a:xfrm>
            <a:off x="4356726" y="3194880"/>
            <a:ext cx="3351530"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25" name="Text Placeholder 20">
            <a:extLst>
              <a:ext uri="{FF2B5EF4-FFF2-40B4-BE49-F238E27FC236}">
                <a16:creationId xmlns:a16="http://schemas.microsoft.com/office/drawing/2014/main" id="{0A5D4EE1-8EA7-7495-5AAE-6D976297E002}"/>
              </a:ext>
            </a:extLst>
          </p:cNvPr>
          <p:cNvSpPr>
            <a:spLocks noGrp="1"/>
          </p:cNvSpPr>
          <p:nvPr>
            <p:ph type="body" sz="quarter" idx="26" hasCustomPrompt="1"/>
          </p:nvPr>
        </p:nvSpPr>
        <p:spPr>
          <a:xfrm>
            <a:off x="7824451" y="3521276"/>
            <a:ext cx="3470611" cy="2444549"/>
          </a:xfrm>
          <a:prstGeom prst="rect">
            <a:avLst/>
          </a:prstGeom>
        </p:spPr>
        <p:txBody>
          <a:bodyPr/>
          <a:lstStyle>
            <a:lvl1pPr marL="171450" indent="-171450" algn="l" rtl="0">
              <a:lnSpc>
                <a:spcPct val="120000"/>
              </a:lnSpc>
              <a:spcAft>
                <a:spcPts val="0"/>
              </a:spcAft>
              <a:buClr>
                <a:schemeClr val="accent1"/>
              </a:buClr>
              <a:buFont typeface="Arial" panose="020B0604020202020204" pitchFamily="34" charset="0"/>
              <a:buChar char="•"/>
              <a:defRPr sz="1000">
                <a:solidFill>
                  <a:schemeClr val="tx2"/>
                </a:solidFill>
                <a:latin typeface="+mn-lt"/>
              </a:defRPr>
            </a:lvl1pPr>
          </a:lstStyle>
          <a:p>
            <a:pPr lvl="0"/>
            <a:r>
              <a:rPr lang="en-AU"/>
              <a:t>Lorem ipsum dolor sit amet, consectetur adipiscing elit, sed do eiusmod tempor incididunt </a:t>
            </a:r>
          </a:p>
          <a:p>
            <a:pPr lvl="0"/>
            <a:r>
              <a:rPr lang="en-AU"/>
              <a:t>Ut labore et dolore magna aliqua. Ut enim ad minim veniam, quis nostrud exercitation ullamco laboris nisi ut aliquip ex ea commodo</a:t>
            </a:r>
          </a:p>
          <a:p>
            <a:pPr lvl="0"/>
            <a:r>
              <a:rPr lang="en-AU"/>
              <a:t>Lorem ipsum dolor sit amet, consectetur adipiscing elit, sed do eiusmod tempor</a:t>
            </a:r>
          </a:p>
          <a:p>
            <a:pPr lvl="0"/>
            <a:r>
              <a:rPr lang="en-AU"/>
              <a:t>Ut labore et dolore magna aliqua. Ut enim ad minim veniam, quis nostrud exercitation ullamco laboris nisi ut aliquip ex ea commodo</a:t>
            </a:r>
          </a:p>
          <a:p>
            <a:pPr lvl="0"/>
            <a:r>
              <a:rPr lang="en-AU"/>
              <a:t>Lorem ipsum dolor sit amet, consectetur adipiscing elit, sed do eiusmod tempor</a:t>
            </a:r>
            <a:endParaRPr lang="en-AU" dirty="0"/>
          </a:p>
        </p:txBody>
      </p:sp>
      <p:sp>
        <p:nvSpPr>
          <p:cNvPr id="26" name="Text Placeholder 20">
            <a:extLst>
              <a:ext uri="{FF2B5EF4-FFF2-40B4-BE49-F238E27FC236}">
                <a16:creationId xmlns:a16="http://schemas.microsoft.com/office/drawing/2014/main" id="{0E928F85-2F74-5CE8-EBE5-1C819E690BDC}"/>
              </a:ext>
            </a:extLst>
          </p:cNvPr>
          <p:cNvSpPr>
            <a:spLocks noGrp="1"/>
          </p:cNvSpPr>
          <p:nvPr>
            <p:ph type="body" sz="quarter" idx="27" hasCustomPrompt="1"/>
          </p:nvPr>
        </p:nvSpPr>
        <p:spPr>
          <a:xfrm>
            <a:off x="7824451" y="3194880"/>
            <a:ext cx="3470611" cy="209655"/>
          </a:xfrm>
          <a:prstGeom prst="rect">
            <a:avLst/>
          </a:prstGeom>
        </p:spPr>
        <p:txBody>
          <a:bodyPr/>
          <a:lstStyle>
            <a:lvl1pPr algn="l" rtl="0">
              <a:lnSpc>
                <a:spcPct val="100000"/>
              </a:lnSpc>
              <a:defRPr sz="1200" b="1">
                <a:solidFill>
                  <a:schemeClr val="tx2"/>
                </a:solidFill>
                <a:latin typeface="+mn-lt"/>
              </a:defRPr>
            </a:lvl1pPr>
          </a:lstStyle>
          <a:p>
            <a:pPr lvl="0"/>
            <a:r>
              <a:rPr lang="en-AU"/>
              <a:t>BULLET POINTS</a:t>
            </a:r>
            <a:endParaRPr lang="en-AU" dirty="0"/>
          </a:p>
        </p:txBody>
      </p:sp>
      <p:sp>
        <p:nvSpPr>
          <p:cNvPr id="3" name="Title Placeholder 1">
            <a:extLst>
              <a:ext uri="{FF2B5EF4-FFF2-40B4-BE49-F238E27FC236}">
                <a16:creationId xmlns:a16="http://schemas.microsoft.com/office/drawing/2014/main" id="{155B6AA9-D91B-C36B-9D8B-15DE31AA8845}"/>
              </a:ext>
            </a:extLst>
          </p:cNvPr>
          <p:cNvSpPr>
            <a:spLocks noGrp="1"/>
          </p:cNvSpPr>
          <p:nvPr>
            <p:ph type="title" hasCustomPrompt="1"/>
          </p:nvPr>
        </p:nvSpPr>
        <p:spPr>
          <a:xfrm>
            <a:off x="893233" y="873125"/>
            <a:ext cx="10401830"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4" name="Text Placeholder 20">
            <a:extLst>
              <a:ext uri="{FF2B5EF4-FFF2-40B4-BE49-F238E27FC236}">
                <a16:creationId xmlns:a16="http://schemas.microsoft.com/office/drawing/2014/main" id="{0BB12F91-44CD-7D17-74D9-0B28E945DDFA}"/>
              </a:ext>
            </a:extLst>
          </p:cNvPr>
          <p:cNvSpPr>
            <a:spLocks noGrp="1"/>
          </p:cNvSpPr>
          <p:nvPr>
            <p:ph type="body" sz="quarter" idx="23" hasCustomPrompt="1"/>
          </p:nvPr>
        </p:nvSpPr>
        <p:spPr>
          <a:xfrm>
            <a:off x="893233" y="1382282"/>
            <a:ext cx="3332774" cy="1656141"/>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a:t>
            </a:r>
            <a:endParaRPr lang="en-AU" dirty="0"/>
          </a:p>
        </p:txBody>
      </p:sp>
      <p:sp>
        <p:nvSpPr>
          <p:cNvPr id="2" name="Slide Number Placeholder 3">
            <a:extLst>
              <a:ext uri="{FF2B5EF4-FFF2-40B4-BE49-F238E27FC236}">
                <a16:creationId xmlns:a16="http://schemas.microsoft.com/office/drawing/2014/main" id="{0C8A9BFC-43BE-AD7F-1202-055A4F88D8C8}"/>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630131017"/>
      </p:ext>
    </p:extLst>
  </p:cSld>
  <p:clrMapOvr>
    <a:masterClrMapping/>
  </p:clrMapOvr>
  <p:extLst>
    <p:ext uri="{DCECCB84-F9BA-43D5-87BE-67443E8EF086}">
      <p15:sldGuideLst xmlns:p15="http://schemas.microsoft.com/office/powerpoint/2012/main">
        <p15:guide id="1" pos="2733">
          <p15:clr>
            <a:srgbClr val="FBAE40"/>
          </p15:clr>
        </p15:guide>
        <p15:guide id="2" pos="485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3a">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697AD9-D5FF-1E0F-2A43-0A3547971D95}"/>
              </a:ext>
            </a:extLst>
          </p:cNvPr>
          <p:cNvGraphicFramePr>
            <a:graphicFrameLocks noChangeAspect="1"/>
          </p:cNvGraphicFramePr>
          <p:nvPr userDrawn="1">
            <p:custDataLst>
              <p:tags r:id="rId1"/>
            </p:custDataLst>
            <p:extLst>
              <p:ext uri="{D42A27DB-BD31-4B8C-83A1-F6EECF244321}">
                <p14:modId xmlns:p14="http://schemas.microsoft.com/office/powerpoint/2010/main" val="3254336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DA697AD9-D5FF-1E0F-2A43-0A3547971D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3" name="Text Placeholder 20">
            <a:extLst>
              <a:ext uri="{FF2B5EF4-FFF2-40B4-BE49-F238E27FC236}">
                <a16:creationId xmlns:a16="http://schemas.microsoft.com/office/drawing/2014/main" id="{93DBC39D-CB98-CE92-4061-92648D6E1B35}"/>
              </a:ext>
            </a:extLst>
          </p:cNvPr>
          <p:cNvSpPr>
            <a:spLocks noGrp="1"/>
          </p:cNvSpPr>
          <p:nvPr>
            <p:ph type="body" sz="quarter" idx="14" hasCustomPrompt="1"/>
          </p:nvPr>
        </p:nvSpPr>
        <p:spPr>
          <a:xfrm>
            <a:off x="888999" y="3521276"/>
            <a:ext cx="3337007" cy="2444549"/>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14" name="Text Placeholder 20">
            <a:extLst>
              <a:ext uri="{FF2B5EF4-FFF2-40B4-BE49-F238E27FC236}">
                <a16:creationId xmlns:a16="http://schemas.microsoft.com/office/drawing/2014/main" id="{3875F878-C334-F6D9-77CD-45575E032523}"/>
              </a:ext>
            </a:extLst>
          </p:cNvPr>
          <p:cNvSpPr>
            <a:spLocks noGrp="1"/>
          </p:cNvSpPr>
          <p:nvPr>
            <p:ph type="body" sz="quarter" idx="20" hasCustomPrompt="1"/>
          </p:nvPr>
        </p:nvSpPr>
        <p:spPr>
          <a:xfrm>
            <a:off x="888999" y="3194880"/>
            <a:ext cx="3337007"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15" name="Text Placeholder 20">
            <a:extLst>
              <a:ext uri="{FF2B5EF4-FFF2-40B4-BE49-F238E27FC236}">
                <a16:creationId xmlns:a16="http://schemas.microsoft.com/office/drawing/2014/main" id="{9FE2CC7D-F79A-ADEB-F6ED-29DD8998BCBF}"/>
              </a:ext>
            </a:extLst>
          </p:cNvPr>
          <p:cNvSpPr>
            <a:spLocks noGrp="1"/>
          </p:cNvSpPr>
          <p:nvPr>
            <p:ph type="body" sz="quarter" idx="24" hasCustomPrompt="1"/>
          </p:nvPr>
        </p:nvSpPr>
        <p:spPr>
          <a:xfrm>
            <a:off x="4349750" y="3521276"/>
            <a:ext cx="3337006" cy="2444549"/>
          </a:xfrm>
          <a:prstGeom prst="rect">
            <a:avLst/>
          </a:prstGeom>
        </p:spPr>
        <p:txBody>
          <a:bodyPr>
            <a:noAutofit/>
          </a:bodyPr>
          <a:lstStyle>
            <a:lvl1pPr algn="l" rtl="0">
              <a:lnSpc>
                <a:spcPct val="120000"/>
              </a:lnSpc>
              <a:defRPr sz="1000">
                <a:solidFill>
                  <a:schemeClr val="tx2"/>
                </a:solidFill>
                <a:latin typeface="+mn-lt"/>
              </a:defRPr>
            </a:lvl1pPr>
            <a:lvl5pPr>
              <a:defRPr sz="1000"/>
            </a:lvl5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16" name="Text Placeholder 20">
            <a:extLst>
              <a:ext uri="{FF2B5EF4-FFF2-40B4-BE49-F238E27FC236}">
                <a16:creationId xmlns:a16="http://schemas.microsoft.com/office/drawing/2014/main" id="{D1FD6AF1-A532-2CFC-3C2B-49243F6F5BE7}"/>
              </a:ext>
            </a:extLst>
          </p:cNvPr>
          <p:cNvSpPr>
            <a:spLocks noGrp="1"/>
          </p:cNvSpPr>
          <p:nvPr>
            <p:ph type="body" sz="quarter" idx="25" hasCustomPrompt="1"/>
          </p:nvPr>
        </p:nvSpPr>
        <p:spPr>
          <a:xfrm>
            <a:off x="4356726" y="3194880"/>
            <a:ext cx="3337006"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17" name="Text Placeholder 20">
            <a:extLst>
              <a:ext uri="{FF2B5EF4-FFF2-40B4-BE49-F238E27FC236}">
                <a16:creationId xmlns:a16="http://schemas.microsoft.com/office/drawing/2014/main" id="{B118435F-C098-F99E-246F-4D3EAB5ABB63}"/>
              </a:ext>
            </a:extLst>
          </p:cNvPr>
          <p:cNvSpPr>
            <a:spLocks noGrp="1"/>
          </p:cNvSpPr>
          <p:nvPr>
            <p:ph type="body" sz="quarter" idx="26" hasCustomPrompt="1"/>
          </p:nvPr>
        </p:nvSpPr>
        <p:spPr>
          <a:xfrm>
            <a:off x="7824451" y="3521276"/>
            <a:ext cx="3470611" cy="2444549"/>
          </a:xfrm>
          <a:prstGeom prst="rect">
            <a:avLst/>
          </a:prstGeom>
        </p:spPr>
        <p:txBody>
          <a:bodyPr>
            <a:noAutofit/>
          </a:bodyPr>
          <a:lstStyle>
            <a:lvl1pPr marL="0" indent="0" algn="l">
              <a:lnSpc>
                <a:spcPct val="120000"/>
              </a:lnSpc>
              <a:spcAft>
                <a:spcPts val="600"/>
              </a:spcAft>
              <a:buClr>
                <a:schemeClr val="accent1"/>
              </a:buClr>
              <a:buFont typeface="Arial" panose="020B0604020202020204" pitchFamily="34" charset="0"/>
              <a:buNone/>
              <a:defRPr sz="1000">
                <a:solidFill>
                  <a:schemeClr val="tx2"/>
                </a:solidFill>
                <a:latin typeface="+mn-lt"/>
              </a:defRPr>
            </a:lvl1pPr>
            <a:lvl2pPr rtl="0">
              <a:defRPr/>
            </a:lvl2pPr>
            <a:lvl5pPr>
              <a:defRPr sz="1000"/>
            </a:lvl5pPr>
          </a:lstStyle>
          <a:p>
            <a:pPr lvl="1"/>
            <a:r>
              <a:rPr lang="en-AU"/>
              <a:t>Lorem ipsum dolor sit amet, consectetur adipiscing elit, sed do eiusmod tempor incididunt </a:t>
            </a:r>
          </a:p>
          <a:p>
            <a:pPr lvl="1"/>
            <a:r>
              <a:rPr lang="en-AU"/>
              <a:t>Ut labore et dolore magna aliqua. Ut enim ad minim veniam, quis nostrud exercitation ullamco laboris nisi ut aliquip ex ea commodo</a:t>
            </a:r>
          </a:p>
          <a:p>
            <a:pPr lvl="1"/>
            <a:r>
              <a:rPr lang="en-AU"/>
              <a:t>Lorem ipsum dolor sit amet, consectetur adipiscing elit, sed do eiusmod tempor</a:t>
            </a:r>
          </a:p>
          <a:p>
            <a:pPr lvl="1"/>
            <a:r>
              <a:rPr lang="en-AU"/>
              <a:t>Ut labore et dolore magna aliqua. Ut enim ad minim veniam, quis nostrud exercitation ullamco laboris nisi ut aliquip ex ea commodo</a:t>
            </a:r>
          </a:p>
          <a:p>
            <a:pPr lvl="1"/>
            <a:r>
              <a:rPr lang="en-AU"/>
              <a:t>Lorem ipsum dolor sit amet, consectetur adipiscing elit, sed do eiusmod tempor</a:t>
            </a:r>
            <a:endParaRPr lang="en-AU" dirty="0"/>
          </a:p>
        </p:txBody>
      </p:sp>
      <p:sp>
        <p:nvSpPr>
          <p:cNvPr id="18" name="Text Placeholder 20">
            <a:extLst>
              <a:ext uri="{FF2B5EF4-FFF2-40B4-BE49-F238E27FC236}">
                <a16:creationId xmlns:a16="http://schemas.microsoft.com/office/drawing/2014/main" id="{356E6E5A-046B-5F1E-8F38-7D07FDE78E8F}"/>
              </a:ext>
            </a:extLst>
          </p:cNvPr>
          <p:cNvSpPr>
            <a:spLocks noGrp="1"/>
          </p:cNvSpPr>
          <p:nvPr>
            <p:ph type="body" sz="quarter" idx="27" hasCustomPrompt="1"/>
          </p:nvPr>
        </p:nvSpPr>
        <p:spPr>
          <a:xfrm>
            <a:off x="7824451" y="3194880"/>
            <a:ext cx="3470611"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8" name="Picture Placeholder 11">
            <a:extLst>
              <a:ext uri="{FF2B5EF4-FFF2-40B4-BE49-F238E27FC236}">
                <a16:creationId xmlns:a16="http://schemas.microsoft.com/office/drawing/2014/main" id="{1E3AC50B-3159-7C0F-5D43-DD7A56344ECE}"/>
              </a:ext>
            </a:extLst>
          </p:cNvPr>
          <p:cNvSpPr>
            <a:spLocks noGrp="1"/>
          </p:cNvSpPr>
          <p:nvPr>
            <p:ph type="pic" sz="quarter" idx="30" hasCustomPrompt="1"/>
          </p:nvPr>
        </p:nvSpPr>
        <p:spPr>
          <a:xfrm>
            <a:off x="4349750" y="890589"/>
            <a:ext cx="3341352" cy="1958036"/>
          </a:xfrm>
          <a:prstGeom prst="rect">
            <a:avLst/>
          </a:prstGeom>
          <a:solidFill>
            <a:schemeClr val="bg1">
              <a:lumMod val="85000"/>
            </a:schemeClr>
          </a:solidFill>
        </p:spPr>
        <p:txBody>
          <a:bodyPr vert="horz" lIns="0" tIns="828000" rIns="0" bIns="0" rtlCol="0" anchor="ctr">
            <a:noAutofit/>
          </a:bodyPr>
          <a:lstStyle>
            <a:lvl1pPr algn="ctr" rtl="0">
              <a:defRPr lang="en-US" sz="1400" dirty="0"/>
            </a:lvl1pPr>
          </a:lstStyle>
          <a:p>
            <a:r>
              <a:rPr lang="en-AU"/>
              <a:t>Click icon to insert image</a:t>
            </a:r>
            <a:endParaRPr lang="en-AU" dirty="0"/>
          </a:p>
        </p:txBody>
      </p:sp>
      <p:sp>
        <p:nvSpPr>
          <p:cNvPr id="9" name="Picture Placeholder 11">
            <a:extLst>
              <a:ext uri="{FF2B5EF4-FFF2-40B4-BE49-F238E27FC236}">
                <a16:creationId xmlns:a16="http://schemas.microsoft.com/office/drawing/2014/main" id="{DD0128D5-BD5B-66A1-9658-8BDE7324A0B9}"/>
              </a:ext>
            </a:extLst>
          </p:cNvPr>
          <p:cNvSpPr>
            <a:spLocks noGrp="1"/>
          </p:cNvSpPr>
          <p:nvPr>
            <p:ph type="pic" sz="quarter" idx="31" hasCustomPrompt="1"/>
          </p:nvPr>
        </p:nvSpPr>
        <p:spPr>
          <a:xfrm>
            <a:off x="7824452" y="890589"/>
            <a:ext cx="4367548" cy="1958036"/>
          </a:xfrm>
          <a:prstGeom prst="rect">
            <a:avLst/>
          </a:prstGeom>
          <a:solidFill>
            <a:schemeClr val="bg1">
              <a:lumMod val="85000"/>
            </a:schemeClr>
          </a:solidFill>
        </p:spPr>
        <p:txBody>
          <a:bodyPr vert="horz" lIns="0" tIns="828000" rIns="0" bIns="0" rtlCol="0" anchor="ctr">
            <a:noAutofit/>
          </a:bodyPr>
          <a:lstStyle>
            <a:lvl1pPr algn="ctr" rtl="0">
              <a:defRPr lang="en-US" sz="1400" dirty="0"/>
            </a:lvl1pPr>
          </a:lstStyle>
          <a:p>
            <a:r>
              <a:rPr lang="en-AU"/>
              <a:t>Click icon to insert image</a:t>
            </a:r>
            <a:endParaRPr lang="en-AU" dirty="0"/>
          </a:p>
        </p:txBody>
      </p:sp>
      <p:sp>
        <p:nvSpPr>
          <p:cNvPr id="3" name="Title Placeholder 1">
            <a:extLst>
              <a:ext uri="{FF2B5EF4-FFF2-40B4-BE49-F238E27FC236}">
                <a16:creationId xmlns:a16="http://schemas.microsoft.com/office/drawing/2014/main" id="{1D169CFB-75EA-6D8A-A4A3-B60F7AE9DDD8}"/>
              </a:ext>
            </a:extLst>
          </p:cNvPr>
          <p:cNvSpPr>
            <a:spLocks noGrp="1"/>
          </p:cNvSpPr>
          <p:nvPr>
            <p:ph type="title" hasCustomPrompt="1"/>
          </p:nvPr>
        </p:nvSpPr>
        <p:spPr>
          <a:xfrm>
            <a:off x="893233" y="873125"/>
            <a:ext cx="3332774"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4" name="Text Placeholder 20">
            <a:extLst>
              <a:ext uri="{FF2B5EF4-FFF2-40B4-BE49-F238E27FC236}">
                <a16:creationId xmlns:a16="http://schemas.microsoft.com/office/drawing/2014/main" id="{44EE3F8B-B29E-8EBF-6005-9ED45A5062A3}"/>
              </a:ext>
            </a:extLst>
          </p:cNvPr>
          <p:cNvSpPr>
            <a:spLocks noGrp="1"/>
          </p:cNvSpPr>
          <p:nvPr>
            <p:ph type="body" sz="quarter" idx="23" hasCustomPrompt="1"/>
          </p:nvPr>
        </p:nvSpPr>
        <p:spPr>
          <a:xfrm>
            <a:off x="893233" y="1382283"/>
            <a:ext cx="3332774" cy="1329744"/>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a:t>
            </a:r>
            <a:endParaRPr lang="en-AU" dirty="0"/>
          </a:p>
        </p:txBody>
      </p:sp>
      <p:sp>
        <p:nvSpPr>
          <p:cNvPr id="2" name="Slide Number Placeholder 3">
            <a:extLst>
              <a:ext uri="{FF2B5EF4-FFF2-40B4-BE49-F238E27FC236}">
                <a16:creationId xmlns:a16="http://schemas.microsoft.com/office/drawing/2014/main" id="{4299CFBA-F486-F5FE-D5D7-B94D44187435}"/>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722815086"/>
      </p:ext>
    </p:extLst>
  </p:cSld>
  <p:clrMapOvr>
    <a:masterClrMapping/>
  </p:clrMapOvr>
  <p:extLst>
    <p:ext uri="{DCECCB84-F9BA-43D5-87BE-67443E8EF086}">
      <p15:sldGuideLst xmlns:p15="http://schemas.microsoft.com/office/powerpoint/2012/main">
        <p15:guide id="1" pos="2733">
          <p15:clr>
            <a:srgbClr val="FBAE40"/>
          </p15:clr>
        </p15:guide>
        <p15:guide id="2" pos="485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3b">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EE7CED-C946-66A2-6B13-19F55BCD1C0B}"/>
              </a:ext>
            </a:extLst>
          </p:cNvPr>
          <p:cNvGraphicFramePr>
            <a:graphicFrameLocks noChangeAspect="1"/>
          </p:cNvGraphicFramePr>
          <p:nvPr userDrawn="1">
            <p:custDataLst>
              <p:tags r:id="rId1"/>
            </p:custDataLst>
            <p:extLst>
              <p:ext uri="{D42A27DB-BD31-4B8C-83A1-F6EECF244321}">
                <p14:modId xmlns:p14="http://schemas.microsoft.com/office/powerpoint/2010/main" val="284836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A3EE7CED-C946-66A2-6B13-19F55BCD1C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1" name="Title Placeholder 1">
            <a:extLst>
              <a:ext uri="{FF2B5EF4-FFF2-40B4-BE49-F238E27FC236}">
                <a16:creationId xmlns:a16="http://schemas.microsoft.com/office/drawing/2014/main" id="{004CB7B3-C967-24DA-C3F7-619E00CF77CE}"/>
              </a:ext>
            </a:extLst>
          </p:cNvPr>
          <p:cNvSpPr>
            <a:spLocks noGrp="1"/>
          </p:cNvSpPr>
          <p:nvPr>
            <p:ph type="title" hasCustomPrompt="1"/>
          </p:nvPr>
        </p:nvSpPr>
        <p:spPr>
          <a:xfrm>
            <a:off x="893233" y="873125"/>
            <a:ext cx="3332774"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12" name="Text Placeholder 20">
            <a:extLst>
              <a:ext uri="{FF2B5EF4-FFF2-40B4-BE49-F238E27FC236}">
                <a16:creationId xmlns:a16="http://schemas.microsoft.com/office/drawing/2014/main" id="{25F3A253-AD8F-65B6-A651-D445104C31B6}"/>
              </a:ext>
            </a:extLst>
          </p:cNvPr>
          <p:cNvSpPr>
            <a:spLocks noGrp="1"/>
          </p:cNvSpPr>
          <p:nvPr>
            <p:ph type="body" sz="quarter" idx="23" hasCustomPrompt="1"/>
          </p:nvPr>
        </p:nvSpPr>
        <p:spPr>
          <a:xfrm>
            <a:off x="893233" y="1382283"/>
            <a:ext cx="3332774" cy="1329744"/>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a:t>
            </a:r>
            <a:endParaRPr lang="en-AU" dirty="0"/>
          </a:p>
        </p:txBody>
      </p:sp>
      <p:sp>
        <p:nvSpPr>
          <p:cNvPr id="15" name="Text Placeholder 20">
            <a:extLst>
              <a:ext uri="{FF2B5EF4-FFF2-40B4-BE49-F238E27FC236}">
                <a16:creationId xmlns:a16="http://schemas.microsoft.com/office/drawing/2014/main" id="{9FE2CC7D-F79A-ADEB-F6ED-29DD8998BCBF}"/>
              </a:ext>
            </a:extLst>
          </p:cNvPr>
          <p:cNvSpPr>
            <a:spLocks noGrp="1"/>
          </p:cNvSpPr>
          <p:nvPr>
            <p:ph type="body" sz="quarter" idx="24" hasCustomPrompt="1"/>
          </p:nvPr>
        </p:nvSpPr>
        <p:spPr>
          <a:xfrm>
            <a:off x="4349749" y="3429000"/>
            <a:ext cx="3350461" cy="2536825"/>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abore et dolore magna aliqua. Ut enim ad minim veniam, quis nostrud exercitation ullamco laboris nisi ut aliquip ex ea commodo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p>
          <a:p>
            <a:pPr lvl="0"/>
            <a:r>
              <a:rPr lang="en-AU"/>
              <a:t>commodoa commodo Ut labore et dolore magna aliqua. Ut enim ad minim veniam, quis nostrud exercitation ullamco laboris nisi ut aliquip .</a:t>
            </a:r>
            <a:endParaRPr lang="en-AU" dirty="0"/>
          </a:p>
        </p:txBody>
      </p:sp>
      <p:sp>
        <p:nvSpPr>
          <p:cNvPr id="20" name="Picture Placeholder 11">
            <a:extLst>
              <a:ext uri="{FF2B5EF4-FFF2-40B4-BE49-F238E27FC236}">
                <a16:creationId xmlns:a16="http://schemas.microsoft.com/office/drawing/2014/main" id="{73029969-1226-4592-8CA6-40A556F35767}"/>
              </a:ext>
            </a:extLst>
          </p:cNvPr>
          <p:cNvSpPr>
            <a:spLocks noGrp="1"/>
          </p:cNvSpPr>
          <p:nvPr>
            <p:ph type="pic" sz="quarter" idx="30" hasCustomPrompt="1"/>
          </p:nvPr>
        </p:nvSpPr>
        <p:spPr>
          <a:xfrm>
            <a:off x="893765" y="2829747"/>
            <a:ext cx="3341352" cy="3136077"/>
          </a:xfrm>
          <a:prstGeom prst="rect">
            <a:avLst/>
          </a:prstGeom>
          <a:solidFill>
            <a:schemeClr val="bg1">
              <a:lumMod val="85000"/>
            </a:schemeClr>
          </a:solidFill>
        </p:spPr>
        <p:txBody>
          <a:bodyPr vert="horz" lIns="0" tIns="828000" rIns="0" bIns="0" rtlCol="0" anchor="ctr">
            <a:noAutofit/>
          </a:bodyPr>
          <a:lstStyle>
            <a:lvl1pPr algn="ctr" rtl="0">
              <a:defRPr lang="en-US" sz="1400" dirty="0"/>
            </a:lvl1pPr>
          </a:lstStyle>
          <a:p>
            <a:r>
              <a:rPr lang="en-AU"/>
              <a:t>Click icon to insert image</a:t>
            </a:r>
            <a:endParaRPr lang="en-AU" dirty="0"/>
          </a:p>
        </p:txBody>
      </p:sp>
      <p:sp>
        <p:nvSpPr>
          <p:cNvPr id="22" name="Picture Placeholder 11">
            <a:extLst>
              <a:ext uri="{FF2B5EF4-FFF2-40B4-BE49-F238E27FC236}">
                <a16:creationId xmlns:a16="http://schemas.microsoft.com/office/drawing/2014/main" id="{10B360DE-07A8-F078-BDDE-B75254701D6B}"/>
              </a:ext>
            </a:extLst>
          </p:cNvPr>
          <p:cNvSpPr>
            <a:spLocks noGrp="1"/>
          </p:cNvSpPr>
          <p:nvPr>
            <p:ph type="pic" sz="quarter" idx="31" hasCustomPrompt="1"/>
          </p:nvPr>
        </p:nvSpPr>
        <p:spPr>
          <a:xfrm>
            <a:off x="7823952" y="873125"/>
            <a:ext cx="4365124" cy="2781383"/>
          </a:xfrm>
          <a:prstGeom prst="rect">
            <a:avLst/>
          </a:prstGeom>
          <a:solidFill>
            <a:schemeClr val="bg1">
              <a:lumMod val="85000"/>
            </a:schemeClr>
          </a:solidFill>
        </p:spPr>
        <p:txBody>
          <a:bodyPr vert="horz" lIns="0" tIns="828000" rIns="0" bIns="0" rtlCol="0" anchor="ctr">
            <a:noAutofit/>
          </a:bodyPr>
          <a:lstStyle>
            <a:lvl1pPr algn="ctr" rtl="0">
              <a:defRPr lang="en-US" sz="1400" dirty="0"/>
            </a:lvl1pPr>
          </a:lstStyle>
          <a:p>
            <a:r>
              <a:rPr lang="en-AU"/>
              <a:t>Click icon to insert image</a:t>
            </a:r>
            <a:endParaRPr lang="en-AU" dirty="0"/>
          </a:p>
        </p:txBody>
      </p:sp>
      <p:sp>
        <p:nvSpPr>
          <p:cNvPr id="24" name="Text Placeholder 20">
            <a:extLst>
              <a:ext uri="{FF2B5EF4-FFF2-40B4-BE49-F238E27FC236}">
                <a16:creationId xmlns:a16="http://schemas.microsoft.com/office/drawing/2014/main" id="{7CD1E0F0-6563-BDC2-ECD6-8E32881EC2ED}"/>
              </a:ext>
            </a:extLst>
          </p:cNvPr>
          <p:cNvSpPr>
            <a:spLocks noGrp="1"/>
          </p:cNvSpPr>
          <p:nvPr>
            <p:ph type="body" sz="quarter" idx="32" hasCustomPrompt="1"/>
          </p:nvPr>
        </p:nvSpPr>
        <p:spPr>
          <a:xfrm>
            <a:off x="4349749" y="873125"/>
            <a:ext cx="3350461" cy="2093595"/>
          </a:xfrm>
          <a:prstGeom prst="rect">
            <a:avLst/>
          </a:prstGeom>
        </p:spPr>
        <p:txBody>
          <a:bodyPr>
            <a:noAutofit/>
          </a:bodyPr>
          <a:lstStyle>
            <a:lvl1pPr algn="l" rtl="0">
              <a:lnSpc>
                <a:spcPct val="120000"/>
              </a:lnSpc>
              <a:defRPr sz="1000">
                <a:solidFill>
                  <a:schemeClr val="tx2"/>
                </a:solidFill>
                <a:latin typeface="+mn-lt"/>
              </a:defRPr>
            </a:lvl1pPr>
            <a:lvl5pPr>
              <a:defRPr sz="1000"/>
            </a:lvl5pPr>
          </a:lstStyle>
          <a:p>
            <a:pPr lvl="0"/>
            <a:r>
              <a:rPr lang="en-AU"/>
              <a:t>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endParaRPr lang="en-AU" dirty="0"/>
          </a:p>
        </p:txBody>
      </p:sp>
      <p:sp>
        <p:nvSpPr>
          <p:cNvPr id="26" name="Text Placeholder 20">
            <a:extLst>
              <a:ext uri="{FF2B5EF4-FFF2-40B4-BE49-F238E27FC236}">
                <a16:creationId xmlns:a16="http://schemas.microsoft.com/office/drawing/2014/main" id="{B537D4EB-A64F-247D-8524-7BE19661CFA5}"/>
              </a:ext>
            </a:extLst>
          </p:cNvPr>
          <p:cNvSpPr>
            <a:spLocks noGrp="1"/>
          </p:cNvSpPr>
          <p:nvPr>
            <p:ph type="body" sz="quarter" idx="25" hasCustomPrompt="1"/>
          </p:nvPr>
        </p:nvSpPr>
        <p:spPr>
          <a:xfrm>
            <a:off x="4356726" y="3093032"/>
            <a:ext cx="3337006"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28" name="Text Placeholder 23">
            <a:extLst>
              <a:ext uri="{FF2B5EF4-FFF2-40B4-BE49-F238E27FC236}">
                <a16:creationId xmlns:a16="http://schemas.microsoft.com/office/drawing/2014/main" id="{A6ED23AD-FD51-D61D-8111-A3AABE5E9AF8}"/>
              </a:ext>
            </a:extLst>
          </p:cNvPr>
          <p:cNvSpPr>
            <a:spLocks noGrp="1"/>
          </p:cNvSpPr>
          <p:nvPr>
            <p:ph type="body" sz="quarter" idx="17" hasCustomPrompt="1"/>
          </p:nvPr>
        </p:nvSpPr>
        <p:spPr>
          <a:xfrm>
            <a:off x="9051507" y="5883842"/>
            <a:ext cx="1016000" cy="87313"/>
          </a:xfrm>
          <a:prstGeom prst="rect">
            <a:avLst/>
          </a:prstGeom>
          <a:solidFill>
            <a:schemeClr val="accent2"/>
          </a:solidFill>
        </p:spPr>
        <p:txBody>
          <a:bodyPr/>
          <a:lstStyle>
            <a:lvl1pPr rtl="0">
              <a:defRPr sz="800">
                <a:noFill/>
              </a:defRPr>
            </a:lvl1pPr>
          </a:lstStyle>
          <a:p>
            <a:pPr lvl="0"/>
            <a:r>
              <a:rPr lang="en-AU"/>
              <a:t>.</a:t>
            </a:r>
            <a:endParaRPr lang="en-AU" dirty="0"/>
          </a:p>
        </p:txBody>
      </p:sp>
      <p:sp>
        <p:nvSpPr>
          <p:cNvPr id="33" name="Text Placeholder 20">
            <a:extLst>
              <a:ext uri="{FF2B5EF4-FFF2-40B4-BE49-F238E27FC236}">
                <a16:creationId xmlns:a16="http://schemas.microsoft.com/office/drawing/2014/main" id="{62B66449-6217-AF1B-41BF-B61DD9061018}"/>
              </a:ext>
            </a:extLst>
          </p:cNvPr>
          <p:cNvSpPr>
            <a:spLocks noGrp="1"/>
          </p:cNvSpPr>
          <p:nvPr>
            <p:ph type="body" sz="quarter" idx="34" hasCustomPrompt="1"/>
          </p:nvPr>
        </p:nvSpPr>
        <p:spPr>
          <a:xfrm>
            <a:off x="7823952" y="4283339"/>
            <a:ext cx="3471111" cy="1329744"/>
          </a:xfrm>
          <a:prstGeom prst="rect">
            <a:avLst/>
          </a:prstGeom>
        </p:spPr>
        <p:txBody>
          <a:bodyPr/>
          <a:lstStyle>
            <a:lvl1pPr algn="ctr" rtl="0">
              <a:lnSpc>
                <a:spcPct val="100000"/>
              </a:lnSpc>
              <a:defRPr sz="1800">
                <a:solidFill>
                  <a:schemeClr val="tx2"/>
                </a:solidFill>
                <a:latin typeface="+mn-lt"/>
              </a:defRPr>
            </a:lvl1pPr>
          </a:lstStyle>
          <a:p>
            <a:pPr lvl="0"/>
            <a:r>
              <a:rPr lang="en-AU"/>
              <a:t>labore et dolore magna aliqua. Ut enim ad minim veniam, quis nostrud exercitation ullamco laboris nisi ut aliquip ex ea</a:t>
            </a:r>
            <a:endParaRPr lang="en-AU" dirty="0"/>
          </a:p>
        </p:txBody>
      </p:sp>
      <p:sp>
        <p:nvSpPr>
          <p:cNvPr id="34" name="Text Placeholder 23">
            <a:extLst>
              <a:ext uri="{FF2B5EF4-FFF2-40B4-BE49-F238E27FC236}">
                <a16:creationId xmlns:a16="http://schemas.microsoft.com/office/drawing/2014/main" id="{DE384E91-CDDC-3CFA-B6FD-C30803DE62A2}"/>
              </a:ext>
            </a:extLst>
          </p:cNvPr>
          <p:cNvSpPr>
            <a:spLocks noGrp="1"/>
          </p:cNvSpPr>
          <p:nvPr>
            <p:ph type="body" sz="quarter" idx="16" hasCustomPrompt="1"/>
          </p:nvPr>
        </p:nvSpPr>
        <p:spPr>
          <a:xfrm>
            <a:off x="9051507" y="3925267"/>
            <a:ext cx="1016000" cy="87313"/>
          </a:xfrm>
          <a:prstGeom prst="rect">
            <a:avLst/>
          </a:prstGeom>
          <a:solidFill>
            <a:schemeClr val="accent2"/>
          </a:solidFill>
        </p:spPr>
        <p:txBody>
          <a:bodyPr/>
          <a:lstStyle>
            <a:lvl1pPr rtl="0">
              <a:defRPr sz="800">
                <a:noFill/>
              </a:defRPr>
            </a:lvl1pPr>
          </a:lstStyle>
          <a:p>
            <a:pPr lvl="0"/>
            <a:r>
              <a:rPr lang="en-AU"/>
              <a:t>.</a:t>
            </a:r>
            <a:endParaRPr lang="en-AU" dirty="0"/>
          </a:p>
        </p:txBody>
      </p:sp>
      <p:sp>
        <p:nvSpPr>
          <p:cNvPr id="2" name="Slide Number Placeholder 3">
            <a:extLst>
              <a:ext uri="{FF2B5EF4-FFF2-40B4-BE49-F238E27FC236}">
                <a16:creationId xmlns:a16="http://schemas.microsoft.com/office/drawing/2014/main" id="{1F5859E0-A2A1-3248-4E72-F6F80E3EF642}"/>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268916573"/>
      </p:ext>
    </p:extLst>
  </p:cSld>
  <p:clrMapOvr>
    <a:masterClrMapping/>
  </p:clrMapOvr>
  <p:extLst>
    <p:ext uri="{DCECCB84-F9BA-43D5-87BE-67443E8EF086}">
      <p15:sldGuideLst xmlns:p15="http://schemas.microsoft.com/office/powerpoint/2012/main">
        <p15:guide id="1" pos="2733">
          <p15:clr>
            <a:srgbClr val="FBAE40"/>
          </p15:clr>
        </p15:guide>
        <p15:guide id="2" pos="485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3c">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2DCE74-A389-9BD7-AE7F-9BDB55D02FB5}"/>
              </a:ext>
            </a:extLst>
          </p:cNvPr>
          <p:cNvGraphicFramePr>
            <a:graphicFrameLocks noChangeAspect="1"/>
          </p:cNvGraphicFramePr>
          <p:nvPr userDrawn="1">
            <p:custDataLst>
              <p:tags r:id="rId1"/>
            </p:custDataLst>
            <p:extLst>
              <p:ext uri="{D42A27DB-BD31-4B8C-83A1-F6EECF244321}">
                <p14:modId xmlns:p14="http://schemas.microsoft.com/office/powerpoint/2010/main" val="3965711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think-cell data - do not delete" hidden="1">
                        <a:extLst>
                          <a:ext uri="{FF2B5EF4-FFF2-40B4-BE49-F238E27FC236}">
                            <a16:creationId xmlns:a16="http://schemas.microsoft.com/office/drawing/2014/main" id="{072DCE74-A389-9BD7-AE7F-9BDB55D02F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Picture Placeholder 11">
            <a:extLst>
              <a:ext uri="{FF2B5EF4-FFF2-40B4-BE49-F238E27FC236}">
                <a16:creationId xmlns:a16="http://schemas.microsoft.com/office/drawing/2014/main" id="{10B360DE-07A8-F078-BDDE-B75254701D6B}"/>
              </a:ext>
            </a:extLst>
          </p:cNvPr>
          <p:cNvSpPr>
            <a:spLocks noGrp="1"/>
          </p:cNvSpPr>
          <p:nvPr>
            <p:ph type="pic" sz="quarter" idx="31" hasCustomPrompt="1"/>
          </p:nvPr>
        </p:nvSpPr>
        <p:spPr>
          <a:xfrm>
            <a:off x="7823952" y="1"/>
            <a:ext cx="4365124" cy="6858000"/>
          </a:xfrm>
          <a:prstGeom prst="rect">
            <a:avLst/>
          </a:prstGeom>
          <a:noFill/>
        </p:spPr>
        <p:txBody>
          <a:bodyPr vert="horz" lIns="0" tIns="828000" rIns="0" bIns="0" rtlCol="0" anchor="ctr">
            <a:noAutofit/>
          </a:bodyPr>
          <a:lstStyle>
            <a:lvl1pPr algn="ctr" rtl="0">
              <a:defRPr lang="en-US" sz="1400" dirty="0"/>
            </a:lvl1pPr>
          </a:lstStyle>
          <a:p>
            <a:r>
              <a:rPr lang="en-AU"/>
              <a:t>Click icon to insert image</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5" name="Text Placeholder 20">
            <a:extLst>
              <a:ext uri="{FF2B5EF4-FFF2-40B4-BE49-F238E27FC236}">
                <a16:creationId xmlns:a16="http://schemas.microsoft.com/office/drawing/2014/main" id="{9FE2CC7D-F79A-ADEB-F6ED-29DD8998BCBF}"/>
              </a:ext>
            </a:extLst>
          </p:cNvPr>
          <p:cNvSpPr>
            <a:spLocks noGrp="1"/>
          </p:cNvSpPr>
          <p:nvPr>
            <p:ph type="body" sz="quarter" idx="24" hasCustomPrompt="1"/>
          </p:nvPr>
        </p:nvSpPr>
        <p:spPr>
          <a:xfrm>
            <a:off x="4349749" y="1209213"/>
            <a:ext cx="3350461" cy="4756612"/>
          </a:xfrm>
          <a:prstGeom prst="rect">
            <a:avLst/>
          </a:prstGeom>
        </p:spPr>
        <p:txBody>
          <a:bodyPr>
            <a:noAutofit/>
          </a:bodyPr>
          <a:lstStyle>
            <a:lvl1pPr marL="0" indent="0" algn="l">
              <a:lnSpc>
                <a:spcPct val="120000"/>
              </a:lnSpc>
              <a:spcAft>
                <a:spcPts val="600"/>
              </a:spcAft>
              <a:buClr>
                <a:schemeClr val="accent1"/>
              </a:buClr>
              <a:buFont typeface="Arial" panose="020B0604020202020204" pitchFamily="34" charset="0"/>
              <a:buNone/>
              <a:defRPr sz="1000">
                <a:solidFill>
                  <a:schemeClr val="tx2"/>
                </a:solidFill>
                <a:latin typeface="+mn-lt"/>
              </a:defRPr>
            </a:lvl1pPr>
            <a:lvl2pPr rtl="0">
              <a:defRPr/>
            </a:lvl2pPr>
            <a:lvl5pPr>
              <a:defRPr sz="1000"/>
            </a:lvl5pPr>
          </a:lstStyle>
          <a:p>
            <a:pPr lvl="1"/>
            <a:r>
              <a:rPr lang="en-AU"/>
              <a:t>Lorem ipsum dolor sit amet, consectetur adipiscing elit, sed do eiusmod tempor incididunt </a:t>
            </a:r>
          </a:p>
          <a:p>
            <a:pPr lvl="1"/>
            <a:r>
              <a:rPr lang="en-AU"/>
              <a:t>Ut labore et dolore magna aliqua. Ut enim ad minim veniam, quis nostrud exercitation ullamco laboris nisi ut aliquip ex ea commodo</a:t>
            </a:r>
          </a:p>
          <a:p>
            <a:pPr lvl="1"/>
            <a:r>
              <a:rPr lang="en-AU"/>
              <a:t>Lorem ipsum dolor sit amet, consectetur adipiscing elit, sed do eiusmod tempor</a:t>
            </a:r>
          </a:p>
          <a:p>
            <a:pPr lvl="1"/>
            <a:r>
              <a:rPr lang="en-AU"/>
              <a:t>Ut labore et dolore magna aliqua. Ut enim ad minim veniam, quis nostrud exercitation ullamco laboris nisi ut aliquip ex ea commodo</a:t>
            </a:r>
          </a:p>
          <a:p>
            <a:pPr lvl="1"/>
            <a:r>
              <a:rPr lang="en-AU"/>
              <a:t>Lorem ipsum dolor sit amet, consectetur adipiscing elit, sed do eiusmod tempor</a:t>
            </a:r>
          </a:p>
          <a:p>
            <a:pPr lvl="1"/>
            <a:r>
              <a:rPr lang="en-AU"/>
              <a:t>Ut labore et dolore magna aliqua. Ut enim ad minim veniam, quis nostrud exercitation ullamco laboris nisi ut aliquip ex ea commodo</a:t>
            </a:r>
          </a:p>
          <a:p>
            <a:pPr lvl="1"/>
            <a:r>
              <a:rPr lang="en-AU"/>
              <a:t>Lorem ipsum dolor sit amet, consectetur adipiscing elit, sed do eiusmod tempor</a:t>
            </a:r>
          </a:p>
          <a:p>
            <a:pPr lvl="1"/>
            <a:r>
              <a:rPr lang="en-AU"/>
              <a:t>Ut labore et dolore magna aliqua. Ut enim ad minim veniam, quis nostrud exercitation ullamco laboris nisi ut aliquip ex ea commodo</a:t>
            </a:r>
          </a:p>
          <a:p>
            <a:pPr lvl="1"/>
            <a:r>
              <a:rPr lang="en-AU"/>
              <a:t>Lorem ipsum dolor sit amet, consectetur adipiscing elit, sed do eiusmod tempor</a:t>
            </a:r>
            <a:endParaRPr lang="en-AU" dirty="0"/>
          </a:p>
        </p:txBody>
      </p:sp>
      <p:sp>
        <p:nvSpPr>
          <p:cNvPr id="26" name="Text Placeholder 20">
            <a:extLst>
              <a:ext uri="{FF2B5EF4-FFF2-40B4-BE49-F238E27FC236}">
                <a16:creationId xmlns:a16="http://schemas.microsoft.com/office/drawing/2014/main" id="{B537D4EB-A64F-247D-8524-7BE19661CFA5}"/>
              </a:ext>
            </a:extLst>
          </p:cNvPr>
          <p:cNvSpPr>
            <a:spLocks noGrp="1"/>
          </p:cNvSpPr>
          <p:nvPr>
            <p:ph type="body" sz="quarter" idx="25" hasCustomPrompt="1"/>
          </p:nvPr>
        </p:nvSpPr>
        <p:spPr>
          <a:xfrm>
            <a:off x="4356726" y="873245"/>
            <a:ext cx="3337006" cy="209655"/>
          </a:xfrm>
          <a:prstGeom prst="rect">
            <a:avLst/>
          </a:prstGeom>
        </p:spPr>
        <p:txBody>
          <a:bodyPr/>
          <a:lstStyle>
            <a:lvl1pPr algn="l" rtl="0">
              <a:lnSpc>
                <a:spcPct val="100000"/>
              </a:lnSpc>
              <a:defRPr sz="1200" b="1">
                <a:solidFill>
                  <a:schemeClr val="tx2"/>
                </a:solidFill>
                <a:latin typeface="+mn-lt"/>
              </a:defRPr>
            </a:lvl1pPr>
          </a:lstStyle>
          <a:p>
            <a:pPr lvl="0"/>
            <a:r>
              <a:rPr lang="en-AU"/>
              <a:t>BULLET POINTS</a:t>
            </a:r>
            <a:endParaRPr lang="en-AU" dirty="0"/>
          </a:p>
        </p:txBody>
      </p:sp>
      <p:sp>
        <p:nvSpPr>
          <p:cNvPr id="3" name="Text Placeholder 20">
            <a:extLst>
              <a:ext uri="{FF2B5EF4-FFF2-40B4-BE49-F238E27FC236}">
                <a16:creationId xmlns:a16="http://schemas.microsoft.com/office/drawing/2014/main" id="{3A71E23D-19B2-3B29-6D74-445E66213259}"/>
              </a:ext>
            </a:extLst>
          </p:cNvPr>
          <p:cNvSpPr>
            <a:spLocks noGrp="1"/>
          </p:cNvSpPr>
          <p:nvPr>
            <p:ph type="body" sz="quarter" idx="14" hasCustomPrompt="1"/>
          </p:nvPr>
        </p:nvSpPr>
        <p:spPr>
          <a:xfrm>
            <a:off x="888999" y="3175022"/>
            <a:ext cx="3337007" cy="2790803"/>
          </a:xfrm>
          <a:prstGeom prst="rect">
            <a:avLst/>
          </a:prstGeom>
        </p:spPr>
        <p:txBody>
          <a:bodyPr/>
          <a:lstStyle>
            <a:lvl1pPr algn="l" rtl="0">
              <a:lnSpc>
                <a:spcPct val="120000"/>
              </a:lnSpc>
              <a:defRPr sz="1000">
                <a:solidFill>
                  <a:schemeClr val="tx2"/>
                </a:solidFill>
                <a:latin typeface="+mn-lt"/>
              </a:defRPr>
            </a:lvl1pPr>
            <a:lvl5pPr>
              <a:defRPr sz="1000"/>
            </a:lvl5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 veniam, quis nostrud exercitation ullamco laboris nisi ut aliquip ex ea commodo</a:t>
            </a:r>
          </a:p>
          <a:p>
            <a:pPr lvl="0"/>
            <a:r>
              <a:rPr lang="en-AU"/>
              <a:t>commodoa commodo Ut labore et dolore magna aliqua. Ut enim ad minim veniam, quis nostrud exercitation ullamco laboris nisi ut aliquip ex ea commodo</a:t>
            </a:r>
            <a:endParaRPr lang="en-AU" dirty="0"/>
          </a:p>
        </p:txBody>
      </p:sp>
      <p:sp>
        <p:nvSpPr>
          <p:cNvPr id="4" name="Text Placeholder 20">
            <a:extLst>
              <a:ext uri="{FF2B5EF4-FFF2-40B4-BE49-F238E27FC236}">
                <a16:creationId xmlns:a16="http://schemas.microsoft.com/office/drawing/2014/main" id="{A2635598-86A9-128B-B867-B4E30CC39CAF}"/>
              </a:ext>
            </a:extLst>
          </p:cNvPr>
          <p:cNvSpPr>
            <a:spLocks noGrp="1"/>
          </p:cNvSpPr>
          <p:nvPr>
            <p:ph type="body" sz="quarter" idx="20" hasCustomPrompt="1"/>
          </p:nvPr>
        </p:nvSpPr>
        <p:spPr>
          <a:xfrm>
            <a:off x="888999" y="2848625"/>
            <a:ext cx="3337007"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 </a:t>
            </a:r>
            <a:endParaRPr lang="en-AU" dirty="0"/>
          </a:p>
        </p:txBody>
      </p:sp>
      <p:sp>
        <p:nvSpPr>
          <p:cNvPr id="6" name="Title Placeholder 1">
            <a:extLst>
              <a:ext uri="{FF2B5EF4-FFF2-40B4-BE49-F238E27FC236}">
                <a16:creationId xmlns:a16="http://schemas.microsoft.com/office/drawing/2014/main" id="{1916CA46-8761-0C39-4015-CAC1D81C566D}"/>
              </a:ext>
            </a:extLst>
          </p:cNvPr>
          <p:cNvSpPr>
            <a:spLocks noGrp="1"/>
          </p:cNvSpPr>
          <p:nvPr>
            <p:ph type="title" hasCustomPrompt="1"/>
          </p:nvPr>
        </p:nvSpPr>
        <p:spPr>
          <a:xfrm>
            <a:off x="893233" y="873125"/>
            <a:ext cx="3332774"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7" name="Text Placeholder 20">
            <a:extLst>
              <a:ext uri="{FF2B5EF4-FFF2-40B4-BE49-F238E27FC236}">
                <a16:creationId xmlns:a16="http://schemas.microsoft.com/office/drawing/2014/main" id="{23BFBE8E-5F75-9D8E-6B3C-28F7A34173B9}"/>
              </a:ext>
            </a:extLst>
          </p:cNvPr>
          <p:cNvSpPr>
            <a:spLocks noGrp="1"/>
          </p:cNvSpPr>
          <p:nvPr>
            <p:ph type="body" sz="quarter" idx="23" hasCustomPrompt="1"/>
          </p:nvPr>
        </p:nvSpPr>
        <p:spPr>
          <a:xfrm>
            <a:off x="893233" y="1382283"/>
            <a:ext cx="3332774" cy="1329744"/>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a:t>
            </a:r>
            <a:endParaRPr lang="en-AU" dirty="0"/>
          </a:p>
        </p:txBody>
      </p:sp>
      <p:sp>
        <p:nvSpPr>
          <p:cNvPr id="2" name="Slide Number Placeholder 3">
            <a:extLst>
              <a:ext uri="{FF2B5EF4-FFF2-40B4-BE49-F238E27FC236}">
                <a16:creationId xmlns:a16="http://schemas.microsoft.com/office/drawing/2014/main" id="{81CED4B3-525F-6607-094E-334AE40CF4A3}"/>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538598326"/>
      </p:ext>
    </p:extLst>
  </p:cSld>
  <p:clrMapOvr>
    <a:masterClrMapping/>
  </p:clrMapOvr>
  <p:extLst>
    <p:ext uri="{DCECCB84-F9BA-43D5-87BE-67443E8EF086}">
      <p15:sldGuideLst xmlns:p15="http://schemas.microsoft.com/office/powerpoint/2012/main">
        <p15:guide id="1" pos="2733">
          <p15:clr>
            <a:srgbClr val="FBAE40"/>
          </p15:clr>
        </p15:guide>
        <p15:guide id="2" pos="485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Content 1">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44A608-F409-E54B-4E45-60A230590CA3}"/>
              </a:ext>
            </a:extLst>
          </p:cNvPr>
          <p:cNvGraphicFramePr>
            <a:graphicFrameLocks noChangeAspect="1"/>
          </p:cNvGraphicFramePr>
          <p:nvPr userDrawn="1">
            <p:custDataLst>
              <p:tags r:id="rId1"/>
            </p:custDataLst>
            <p:extLst>
              <p:ext uri="{D42A27DB-BD31-4B8C-83A1-F6EECF244321}">
                <p14:modId xmlns:p14="http://schemas.microsoft.com/office/powerpoint/2010/main" val="410774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C944A608-F409-E54B-4E45-60A230590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20">
            <a:extLst>
              <a:ext uri="{FF2B5EF4-FFF2-40B4-BE49-F238E27FC236}">
                <a16:creationId xmlns:a16="http://schemas.microsoft.com/office/drawing/2014/main" id="{2AC43EFB-68AB-3FD0-15CB-8663E1E28224}"/>
              </a:ext>
            </a:extLst>
          </p:cNvPr>
          <p:cNvSpPr>
            <a:spLocks noGrp="1"/>
          </p:cNvSpPr>
          <p:nvPr>
            <p:ph type="body" sz="quarter" idx="14" hasCustomPrompt="1"/>
          </p:nvPr>
        </p:nvSpPr>
        <p:spPr>
          <a:xfrm>
            <a:off x="4821826" y="3441638"/>
            <a:ext cx="2549306" cy="2531594"/>
          </a:xfrm>
          <a:prstGeom prst="rect">
            <a:avLst/>
          </a:prstGeom>
        </p:spPr>
        <p:txBody>
          <a:bodyPr/>
          <a:lstStyle>
            <a:lvl1pPr rtl="0">
              <a:lnSpc>
                <a:spcPct val="100000"/>
              </a:lnSpc>
              <a:defRPr sz="1400">
                <a:solidFill>
                  <a:schemeClr val="tx2"/>
                </a:solidFill>
              </a:defRPr>
            </a:lvl1pPr>
          </a:lstStyle>
          <a:p>
            <a:pPr lvl="0"/>
            <a:r>
              <a:rPr lang="en-AU"/>
              <a:t>Lorem ipsum dolor sit amet, consectetur adipiscing elit, sed do eiusmod tempor incididunt ut labore et dolore magna aliqua. Ut enim ad minim veniam, quis nostrud exercitation ullamco laboris nisi ut aliquip ex ea commodo</a:t>
            </a:r>
            <a:endParaRPr lang="en-AU" dirty="0"/>
          </a:p>
        </p:txBody>
      </p:sp>
      <p:sp>
        <p:nvSpPr>
          <p:cNvPr id="26" name="Title Placeholder 1">
            <a:extLst>
              <a:ext uri="{FF2B5EF4-FFF2-40B4-BE49-F238E27FC236}">
                <a16:creationId xmlns:a16="http://schemas.microsoft.com/office/drawing/2014/main" id="{221996B8-70C0-440B-8C11-B936F934C881}"/>
              </a:ext>
            </a:extLst>
          </p:cNvPr>
          <p:cNvSpPr>
            <a:spLocks noGrp="1"/>
          </p:cNvSpPr>
          <p:nvPr>
            <p:ph type="title" hasCustomPrompt="1"/>
          </p:nvPr>
        </p:nvSpPr>
        <p:spPr>
          <a:xfrm>
            <a:off x="4821826" y="1633782"/>
            <a:ext cx="2549306" cy="1184385"/>
          </a:xfrm>
          <a:prstGeom prst="rect">
            <a:avLst/>
          </a:prstGeom>
        </p:spPr>
        <p:txBody>
          <a:bodyPr vert="horz" lIns="0" tIns="0" rIns="0" bIns="0" rtlCol="0" anchor="b">
            <a:noAutofit/>
          </a:bodyPr>
          <a:lstStyle>
            <a:lvl1pPr rtl="0">
              <a:lnSpc>
                <a:spcPct val="90000"/>
              </a:lnSpc>
              <a:defRPr sz="2800">
                <a:solidFill>
                  <a:schemeClr val="tx2"/>
                </a:solidFill>
              </a:defRPr>
            </a:lvl1pPr>
          </a:lstStyle>
          <a:p>
            <a:r>
              <a:rPr lang="en-AU"/>
              <a:t>There are </a:t>
            </a:r>
            <a:br>
              <a:rPr lang="en-AU"/>
            </a:br>
            <a:r>
              <a:rPr lang="en-AU"/>
              <a:t>Two Sides to any Story</a:t>
            </a:r>
            <a:endParaRPr lang="en-AU" dirty="0"/>
          </a:p>
        </p:txBody>
      </p:sp>
      <p:sp>
        <p:nvSpPr>
          <p:cNvPr id="27" name="Text Placeholder 23">
            <a:extLst>
              <a:ext uri="{FF2B5EF4-FFF2-40B4-BE49-F238E27FC236}">
                <a16:creationId xmlns:a16="http://schemas.microsoft.com/office/drawing/2014/main" id="{34558434-FBE2-6720-E03F-990853E195D6}"/>
              </a:ext>
            </a:extLst>
          </p:cNvPr>
          <p:cNvSpPr>
            <a:spLocks noGrp="1"/>
          </p:cNvSpPr>
          <p:nvPr>
            <p:ph type="body" sz="quarter" idx="17" hasCustomPrompt="1"/>
          </p:nvPr>
        </p:nvSpPr>
        <p:spPr>
          <a:xfrm>
            <a:off x="4821826" y="3010751"/>
            <a:ext cx="1394272" cy="87313"/>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28" name="Text Placeholder 20">
            <a:extLst>
              <a:ext uri="{FF2B5EF4-FFF2-40B4-BE49-F238E27FC236}">
                <a16:creationId xmlns:a16="http://schemas.microsoft.com/office/drawing/2014/main" id="{6A8539C9-4A96-A4D0-6C3A-846B12ACE25A}"/>
              </a:ext>
            </a:extLst>
          </p:cNvPr>
          <p:cNvSpPr>
            <a:spLocks noGrp="1"/>
          </p:cNvSpPr>
          <p:nvPr>
            <p:ph type="body" sz="quarter" idx="19" hasCustomPrompt="1"/>
          </p:nvPr>
        </p:nvSpPr>
        <p:spPr>
          <a:xfrm>
            <a:off x="4821826" y="1214314"/>
            <a:ext cx="2549306" cy="194928"/>
          </a:xfrm>
          <a:prstGeom prst="rect">
            <a:avLst/>
          </a:prstGeom>
        </p:spPr>
        <p:txBody>
          <a:bodyPr/>
          <a:lstStyle>
            <a:lvl1pPr rtl="0">
              <a:lnSpc>
                <a:spcPct val="100000"/>
              </a:lnSpc>
              <a:defRPr sz="1400">
                <a:solidFill>
                  <a:schemeClr val="tx2"/>
                </a:solidFill>
              </a:defRPr>
            </a:lvl1pPr>
          </a:lstStyle>
          <a:p>
            <a:pPr lvl="0"/>
            <a:r>
              <a:rPr lang="en-AU"/>
              <a:t>Our mission</a:t>
            </a:r>
            <a:endParaRPr lang="en-AU" dirty="0"/>
          </a:p>
        </p:txBody>
      </p:sp>
      <p:sp>
        <p:nvSpPr>
          <p:cNvPr id="32" name="Picture Placeholder 11">
            <a:extLst>
              <a:ext uri="{FF2B5EF4-FFF2-40B4-BE49-F238E27FC236}">
                <a16:creationId xmlns:a16="http://schemas.microsoft.com/office/drawing/2014/main" id="{3881F7AB-D350-7394-E0F2-89A93A9CE98F}"/>
              </a:ext>
            </a:extLst>
          </p:cNvPr>
          <p:cNvSpPr>
            <a:spLocks noGrp="1"/>
          </p:cNvSpPr>
          <p:nvPr>
            <p:ph type="pic" sz="quarter" idx="15" hasCustomPrompt="1"/>
          </p:nvPr>
        </p:nvSpPr>
        <p:spPr>
          <a:xfrm>
            <a:off x="7824788" y="884767"/>
            <a:ext cx="4367212" cy="5088465"/>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33" name="Picture Placeholder 11">
            <a:extLst>
              <a:ext uri="{FF2B5EF4-FFF2-40B4-BE49-F238E27FC236}">
                <a16:creationId xmlns:a16="http://schemas.microsoft.com/office/drawing/2014/main" id="{550E72E0-F64E-8759-CE53-1F560E636163}"/>
              </a:ext>
            </a:extLst>
          </p:cNvPr>
          <p:cNvSpPr>
            <a:spLocks noGrp="1"/>
          </p:cNvSpPr>
          <p:nvPr>
            <p:ph type="pic" sz="quarter" idx="20" hasCustomPrompt="1"/>
          </p:nvPr>
        </p:nvSpPr>
        <p:spPr>
          <a:xfrm>
            <a:off x="0" y="884767"/>
            <a:ext cx="4367212" cy="5088465"/>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3" name="Footer Placeholder 7">
            <a:extLst>
              <a:ext uri="{FF2B5EF4-FFF2-40B4-BE49-F238E27FC236}">
                <a16:creationId xmlns:a16="http://schemas.microsoft.com/office/drawing/2014/main" id="{8F8CE26E-149C-2C45-579B-D4E89039335A}"/>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5" name="Text Placeholder 20">
            <a:extLst>
              <a:ext uri="{FF2B5EF4-FFF2-40B4-BE49-F238E27FC236}">
                <a16:creationId xmlns:a16="http://schemas.microsoft.com/office/drawing/2014/main" id="{3D2962AA-6F4F-5F53-5ACC-0C2BE30B9017}"/>
              </a:ext>
            </a:extLst>
          </p:cNvPr>
          <p:cNvSpPr>
            <a:spLocks noGrp="1"/>
          </p:cNvSpPr>
          <p:nvPr>
            <p:ph type="body" sz="quarter" idx="21" hasCustomPrompt="1"/>
          </p:nvPr>
        </p:nvSpPr>
        <p:spPr>
          <a:xfrm>
            <a:off x="8192911" y="5120270"/>
            <a:ext cx="2441223" cy="536884"/>
          </a:xfrm>
          <a:prstGeom prst="rect">
            <a:avLst/>
          </a:prstGeom>
        </p:spPr>
        <p:txBody>
          <a:bodyPr anchor="b"/>
          <a:lstStyle>
            <a:lvl1pPr rtl="0">
              <a:lnSpc>
                <a:spcPct val="100000"/>
              </a:lnSpc>
              <a:defRPr sz="1400" b="0">
                <a:solidFill>
                  <a:schemeClr val="bg1"/>
                </a:solidFill>
              </a:defRPr>
            </a:lvl1pPr>
          </a:lstStyle>
          <a:p>
            <a:pPr lvl="0"/>
            <a:r>
              <a:rPr lang="en-AU"/>
              <a:t>Lorum Ips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In service since 2009</a:t>
            </a:r>
            <a:endParaRPr lang="en-AU" dirty="0"/>
          </a:p>
        </p:txBody>
      </p:sp>
      <p:sp>
        <p:nvSpPr>
          <p:cNvPr id="6" name="Text Placeholder 20">
            <a:extLst>
              <a:ext uri="{FF2B5EF4-FFF2-40B4-BE49-F238E27FC236}">
                <a16:creationId xmlns:a16="http://schemas.microsoft.com/office/drawing/2014/main" id="{3F14B075-27CD-9790-C2F3-9FB1B9164F67}"/>
              </a:ext>
            </a:extLst>
          </p:cNvPr>
          <p:cNvSpPr>
            <a:spLocks noGrp="1"/>
          </p:cNvSpPr>
          <p:nvPr>
            <p:ph type="body" sz="quarter" idx="22" hasCustomPrompt="1"/>
          </p:nvPr>
        </p:nvSpPr>
        <p:spPr>
          <a:xfrm>
            <a:off x="889000" y="1214314"/>
            <a:ext cx="2441223" cy="536884"/>
          </a:xfrm>
          <a:prstGeom prst="rect">
            <a:avLst/>
          </a:prstGeom>
        </p:spPr>
        <p:txBody>
          <a:bodyPr anchor="t"/>
          <a:lstStyle>
            <a:lvl1pPr rtl="0">
              <a:lnSpc>
                <a:spcPct val="100000"/>
              </a:lnSpc>
              <a:defRPr sz="1400" b="0">
                <a:solidFill>
                  <a:schemeClr val="bg1"/>
                </a:solidFill>
              </a:defRPr>
            </a:lvl1pPr>
          </a:lstStyle>
          <a:p>
            <a:pPr lvl="0"/>
            <a:r>
              <a:rPr lang="en-AU"/>
              <a:t>Lorum Ips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In service since 2009</a:t>
            </a:r>
            <a:endParaRPr lang="en-AU" dirty="0"/>
          </a:p>
        </p:txBody>
      </p:sp>
      <p:sp>
        <p:nvSpPr>
          <p:cNvPr id="2" name="Slide Number Placeholder 3">
            <a:extLst>
              <a:ext uri="{FF2B5EF4-FFF2-40B4-BE49-F238E27FC236}">
                <a16:creationId xmlns:a16="http://schemas.microsoft.com/office/drawing/2014/main" id="{4AD40CC1-4255-1B94-C837-E8507DA18BF7}"/>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396530042"/>
      </p:ext>
    </p:extLst>
  </p:cSld>
  <p:clrMapOvr>
    <a:masterClrMapping/>
  </p:clrMapOvr>
  <p:extLst>
    <p:ext uri="{DCECCB84-F9BA-43D5-87BE-67443E8EF086}">
      <p15:sldGuideLst xmlns:p15="http://schemas.microsoft.com/office/powerpoint/2012/main">
        <p15:guide id="1" pos="2752">
          <p15:clr>
            <a:srgbClr val="FBAE40"/>
          </p15:clr>
        </p15:guide>
        <p15:guide id="2" pos="49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Content 2">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CF17F3-51C3-B2CB-164F-86040108C5B7}"/>
              </a:ext>
            </a:extLst>
          </p:cNvPr>
          <p:cNvGraphicFramePr>
            <a:graphicFrameLocks noChangeAspect="1"/>
          </p:cNvGraphicFramePr>
          <p:nvPr userDrawn="1">
            <p:custDataLst>
              <p:tags r:id="rId1"/>
            </p:custDataLst>
            <p:extLst>
              <p:ext uri="{D42A27DB-BD31-4B8C-83A1-F6EECF244321}">
                <p14:modId xmlns:p14="http://schemas.microsoft.com/office/powerpoint/2010/main" val="1331036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6CF17F3-51C3-B2CB-164F-86040108C5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20">
            <a:extLst>
              <a:ext uri="{FF2B5EF4-FFF2-40B4-BE49-F238E27FC236}">
                <a16:creationId xmlns:a16="http://schemas.microsoft.com/office/drawing/2014/main" id="{A9CFC6C9-C62A-CC26-70BD-537BBF72D808}"/>
              </a:ext>
            </a:extLst>
          </p:cNvPr>
          <p:cNvSpPr>
            <a:spLocks noGrp="1"/>
          </p:cNvSpPr>
          <p:nvPr>
            <p:ph type="body" sz="quarter" idx="14" hasCustomPrompt="1"/>
          </p:nvPr>
        </p:nvSpPr>
        <p:spPr>
          <a:xfrm>
            <a:off x="7823995" y="3800474"/>
            <a:ext cx="3471067" cy="1694715"/>
          </a:xfrm>
          <a:prstGeom prst="rect">
            <a:avLst/>
          </a:prstGeom>
        </p:spPr>
        <p:txBody>
          <a:bodyPr/>
          <a:lstStyle>
            <a:lvl1pPr rtl="0">
              <a:lnSpc>
                <a:spcPct val="100000"/>
              </a:lnSpc>
              <a:defRPr sz="1400">
                <a:solidFill>
                  <a:schemeClr val="tx2"/>
                </a:solidFill>
              </a:defRPr>
            </a:lvl1pPr>
          </a:lstStyle>
          <a:p>
            <a:pPr lvl="0"/>
            <a:r>
              <a:rPr lang="en-AU"/>
              <a:t>Lorem ipsum dolor sit amet, consectetur adipiscing elit, sed do eiusmod tempor incididunt ut labore et dolore magna aliqua. Ut enim ad minim veniam, quis nostrud exercitation ullamco laboris nisi ut aliquip ex ea commodo</a:t>
            </a:r>
            <a:endParaRPr lang="en-AU" dirty="0"/>
          </a:p>
        </p:txBody>
      </p:sp>
      <p:sp>
        <p:nvSpPr>
          <p:cNvPr id="20" name="Title Placeholder 1">
            <a:extLst>
              <a:ext uri="{FF2B5EF4-FFF2-40B4-BE49-F238E27FC236}">
                <a16:creationId xmlns:a16="http://schemas.microsoft.com/office/drawing/2014/main" id="{F88A6875-0FBC-CC77-347C-147D5F108984}"/>
              </a:ext>
            </a:extLst>
          </p:cNvPr>
          <p:cNvSpPr>
            <a:spLocks noGrp="1"/>
          </p:cNvSpPr>
          <p:nvPr>
            <p:ph type="title" hasCustomPrompt="1"/>
          </p:nvPr>
        </p:nvSpPr>
        <p:spPr>
          <a:xfrm>
            <a:off x="7823995" y="1781940"/>
            <a:ext cx="3471067" cy="1234057"/>
          </a:xfrm>
          <a:prstGeom prst="rect">
            <a:avLst/>
          </a:prstGeom>
        </p:spPr>
        <p:txBody>
          <a:bodyPr vert="horz" lIns="0" tIns="0" rIns="0" bIns="0" rtlCol="0" anchor="b">
            <a:noAutofit/>
          </a:bodyPr>
          <a:lstStyle>
            <a:lvl1pPr rtl="0">
              <a:lnSpc>
                <a:spcPct val="90000"/>
              </a:lnSpc>
              <a:defRPr sz="2800">
                <a:solidFill>
                  <a:schemeClr val="tx2"/>
                </a:solidFill>
              </a:defRPr>
            </a:lvl1pPr>
          </a:lstStyle>
          <a:p>
            <a:r>
              <a:rPr lang="en-AU"/>
              <a:t>Bring Back Elegant Style to Presentations</a:t>
            </a:r>
            <a:endParaRPr lang="en-AU" dirty="0"/>
          </a:p>
        </p:txBody>
      </p:sp>
      <p:sp>
        <p:nvSpPr>
          <p:cNvPr id="22" name="Text Placeholder 20">
            <a:extLst>
              <a:ext uri="{FF2B5EF4-FFF2-40B4-BE49-F238E27FC236}">
                <a16:creationId xmlns:a16="http://schemas.microsoft.com/office/drawing/2014/main" id="{F00A4892-4AA7-6667-62F5-2CD51FF8E2C4}"/>
              </a:ext>
            </a:extLst>
          </p:cNvPr>
          <p:cNvSpPr>
            <a:spLocks noGrp="1"/>
          </p:cNvSpPr>
          <p:nvPr>
            <p:ph type="body" sz="quarter" idx="16" hasCustomPrompt="1"/>
          </p:nvPr>
        </p:nvSpPr>
        <p:spPr>
          <a:xfrm>
            <a:off x="7823995" y="1426122"/>
            <a:ext cx="3471067" cy="206350"/>
          </a:xfrm>
          <a:prstGeom prst="rect">
            <a:avLst/>
          </a:prstGeom>
        </p:spPr>
        <p:txBody>
          <a:bodyPr/>
          <a:lstStyle>
            <a:lvl1pPr rtl="0">
              <a:lnSpc>
                <a:spcPct val="100000"/>
              </a:lnSpc>
              <a:defRPr sz="1400">
                <a:solidFill>
                  <a:schemeClr val="tx2"/>
                </a:solidFill>
              </a:defRPr>
            </a:lvl1pPr>
          </a:lstStyle>
          <a:p>
            <a:pPr lvl="0"/>
            <a:r>
              <a:rPr lang="en-AU"/>
              <a:t>Our mission</a:t>
            </a:r>
            <a:endParaRPr lang="en-AU" dirty="0"/>
          </a:p>
        </p:txBody>
      </p:sp>
      <p:sp>
        <p:nvSpPr>
          <p:cNvPr id="24" name="Text Placeholder 23">
            <a:extLst>
              <a:ext uri="{FF2B5EF4-FFF2-40B4-BE49-F238E27FC236}">
                <a16:creationId xmlns:a16="http://schemas.microsoft.com/office/drawing/2014/main" id="{2ECB6C72-6BBC-8CCA-F8E5-DCB63EFE24FB}"/>
              </a:ext>
            </a:extLst>
          </p:cNvPr>
          <p:cNvSpPr>
            <a:spLocks noGrp="1"/>
          </p:cNvSpPr>
          <p:nvPr>
            <p:ph type="body" sz="quarter" idx="17" hasCustomPrompt="1"/>
          </p:nvPr>
        </p:nvSpPr>
        <p:spPr>
          <a:xfrm>
            <a:off x="7823996" y="3385345"/>
            <a:ext cx="1016000" cy="87313"/>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12" name="Picture Placeholder 11">
            <a:extLst>
              <a:ext uri="{FF2B5EF4-FFF2-40B4-BE49-F238E27FC236}">
                <a16:creationId xmlns:a16="http://schemas.microsoft.com/office/drawing/2014/main" id="{BBF72C3E-AD6D-843C-B944-787CA2D97135}"/>
              </a:ext>
            </a:extLst>
          </p:cNvPr>
          <p:cNvSpPr>
            <a:spLocks noGrp="1"/>
          </p:cNvSpPr>
          <p:nvPr>
            <p:ph type="pic" sz="quarter" idx="20" hasCustomPrompt="1"/>
          </p:nvPr>
        </p:nvSpPr>
        <p:spPr>
          <a:xfrm>
            <a:off x="-1" y="1"/>
            <a:ext cx="4368005" cy="4274256"/>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13" name="Picture Placeholder 11">
            <a:extLst>
              <a:ext uri="{FF2B5EF4-FFF2-40B4-BE49-F238E27FC236}">
                <a16:creationId xmlns:a16="http://schemas.microsoft.com/office/drawing/2014/main" id="{AD7BFDE2-9CD8-56F9-8FFF-F7AB9F888987}"/>
              </a:ext>
            </a:extLst>
          </p:cNvPr>
          <p:cNvSpPr>
            <a:spLocks noGrp="1"/>
          </p:cNvSpPr>
          <p:nvPr>
            <p:ph type="pic" sz="quarter" idx="21" hasCustomPrompt="1"/>
          </p:nvPr>
        </p:nvSpPr>
        <p:spPr>
          <a:xfrm>
            <a:off x="889000" y="4319589"/>
            <a:ext cx="3478840" cy="1646236"/>
          </a:xfrm>
          <a:prstGeom prst="rect">
            <a:avLst/>
          </a:prstGeom>
          <a:solidFill>
            <a:schemeClr val="bg1">
              <a:lumMod val="85000"/>
            </a:schemeClr>
          </a:solidFill>
        </p:spPr>
        <p:txBody>
          <a:bodyPr tIns="864000" anchor="ctr"/>
          <a:lstStyle>
            <a:lvl1pPr algn="ctr" rtl="0">
              <a:lnSpc>
                <a:spcPct val="100000"/>
              </a:lnSpc>
              <a:defRPr sz="1400"/>
            </a:lvl1pPr>
          </a:lstStyle>
          <a:p>
            <a:r>
              <a:rPr lang="en-AU"/>
              <a:t>Click icon to insert image</a:t>
            </a:r>
            <a:endParaRPr lang="en-AU" dirty="0"/>
          </a:p>
        </p:txBody>
      </p:sp>
      <p:sp>
        <p:nvSpPr>
          <p:cNvPr id="15" name="Picture Placeholder 11">
            <a:extLst>
              <a:ext uri="{FF2B5EF4-FFF2-40B4-BE49-F238E27FC236}">
                <a16:creationId xmlns:a16="http://schemas.microsoft.com/office/drawing/2014/main" id="{A506180F-3956-D755-9624-E4D16240927D}"/>
              </a:ext>
            </a:extLst>
          </p:cNvPr>
          <p:cNvSpPr>
            <a:spLocks noGrp="1"/>
          </p:cNvSpPr>
          <p:nvPr>
            <p:ph type="pic" sz="quarter" idx="22" hasCustomPrompt="1"/>
          </p:nvPr>
        </p:nvSpPr>
        <p:spPr>
          <a:xfrm>
            <a:off x="4414347" y="2633870"/>
            <a:ext cx="2581765" cy="4224130"/>
          </a:xfrm>
          <a:prstGeom prst="rect">
            <a:avLst/>
          </a:prstGeom>
          <a:solidFill>
            <a:schemeClr val="bg1">
              <a:lumMod val="85000"/>
            </a:schemeClr>
          </a:solidFill>
        </p:spPr>
        <p:txBody>
          <a:bodyPr tIns="864000" anchor="ctr"/>
          <a:lstStyle>
            <a:lvl1pPr algn="ctr" rtl="0">
              <a:lnSpc>
                <a:spcPct val="100000"/>
              </a:lnSpc>
              <a:defRPr sz="1400"/>
            </a:lvl1pPr>
          </a:lstStyle>
          <a:p>
            <a:r>
              <a:rPr lang="en-AU"/>
              <a:t>Click icon to insert image</a:t>
            </a:r>
            <a:endParaRPr lang="en-AU" dirty="0"/>
          </a:p>
        </p:txBody>
      </p:sp>
      <p:sp>
        <p:nvSpPr>
          <p:cNvPr id="16" name="Picture Placeholder 11">
            <a:extLst>
              <a:ext uri="{FF2B5EF4-FFF2-40B4-BE49-F238E27FC236}">
                <a16:creationId xmlns:a16="http://schemas.microsoft.com/office/drawing/2014/main" id="{F91F9FEF-181B-4408-A7F7-8A7209C60A25}"/>
              </a:ext>
            </a:extLst>
          </p:cNvPr>
          <p:cNvSpPr>
            <a:spLocks noGrp="1"/>
          </p:cNvSpPr>
          <p:nvPr>
            <p:ph type="pic" sz="quarter" idx="23" hasCustomPrompt="1"/>
          </p:nvPr>
        </p:nvSpPr>
        <p:spPr>
          <a:xfrm>
            <a:off x="4414347" y="3174"/>
            <a:ext cx="2581765" cy="2579690"/>
          </a:xfrm>
          <a:prstGeom prst="rect">
            <a:avLst/>
          </a:prstGeom>
          <a:solidFill>
            <a:schemeClr val="bg1">
              <a:lumMod val="85000"/>
            </a:schemeClr>
          </a:solidFill>
        </p:spPr>
        <p:txBody>
          <a:bodyPr tIns="864000" anchor="ctr"/>
          <a:lstStyle>
            <a:lvl1pPr algn="ctr" rtl="0">
              <a:lnSpc>
                <a:spcPct val="100000"/>
              </a:lnSpc>
              <a:defRPr sz="1400"/>
            </a:lvl1pPr>
          </a:lstStyle>
          <a:p>
            <a:r>
              <a:rPr lang="en-AU"/>
              <a:t>Click icon to insert image</a:t>
            </a:r>
            <a:endParaRPr lang="en-AU" dirty="0"/>
          </a:p>
        </p:txBody>
      </p:sp>
      <p:sp>
        <p:nvSpPr>
          <p:cNvPr id="3" name="Footer Placeholder 7">
            <a:extLst>
              <a:ext uri="{FF2B5EF4-FFF2-40B4-BE49-F238E27FC236}">
                <a16:creationId xmlns:a16="http://schemas.microsoft.com/office/drawing/2014/main" id="{328EB943-B5DA-3D2F-D5FD-A5FEE41CB94C}"/>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BF278C26-D145-15B6-BE10-F039819EC077}"/>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899639106"/>
      </p:ext>
    </p:extLst>
  </p:cSld>
  <p:clrMapOvr>
    <a:masterClrMapping/>
  </p:clrMapOvr>
  <p:extLst>
    <p:ext uri="{DCECCB84-F9BA-43D5-87BE-67443E8EF086}">
      <p15:sldGuideLst xmlns:p15="http://schemas.microsoft.com/office/powerpoint/2012/main">
        <p15:guide id="1" pos="440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Content 3">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316C358-332A-1B89-476F-650D3FFB4124}"/>
              </a:ext>
            </a:extLst>
          </p:cNvPr>
          <p:cNvGraphicFramePr>
            <a:graphicFrameLocks noChangeAspect="1"/>
          </p:cNvGraphicFramePr>
          <p:nvPr userDrawn="1">
            <p:custDataLst>
              <p:tags r:id="rId1"/>
            </p:custDataLst>
            <p:extLst>
              <p:ext uri="{D42A27DB-BD31-4B8C-83A1-F6EECF244321}">
                <p14:modId xmlns:p14="http://schemas.microsoft.com/office/powerpoint/2010/main" val="393901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6316C358-332A-1B89-476F-650D3FFB4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11">
            <a:extLst>
              <a:ext uri="{FF2B5EF4-FFF2-40B4-BE49-F238E27FC236}">
                <a16:creationId xmlns:a16="http://schemas.microsoft.com/office/drawing/2014/main" id="{24696196-7A66-286F-98AF-F5F773FC8A61}"/>
              </a:ext>
            </a:extLst>
          </p:cNvPr>
          <p:cNvSpPr>
            <a:spLocks noGrp="1"/>
          </p:cNvSpPr>
          <p:nvPr>
            <p:ph type="pic" sz="quarter" idx="15" hasCustomPrompt="1"/>
          </p:nvPr>
        </p:nvSpPr>
        <p:spPr>
          <a:xfrm>
            <a:off x="-1476" y="0"/>
            <a:ext cx="12193476" cy="4280256"/>
          </a:xfrm>
          <a:prstGeom prst="rect">
            <a:avLst/>
          </a:prstGeom>
          <a:solidFill>
            <a:schemeClr val="bg1">
              <a:lumMod val="85000"/>
            </a:schemeClr>
          </a:solidFill>
        </p:spPr>
        <p:txBody>
          <a:bodyPr tIns="1224000" anchor="ctr"/>
          <a:lstStyle>
            <a:lvl1pPr algn="ctr" rtl="0">
              <a:lnSpc>
                <a:spcPct val="100000"/>
              </a:lnSpc>
              <a:defRPr sz="1400"/>
            </a:lvl1pPr>
          </a:lstStyle>
          <a:p>
            <a:r>
              <a:rPr lang="en-AU"/>
              <a:t>Drag an image from outside of PowerPoint into this container, then Right click and Send to Back</a:t>
            </a:r>
            <a:endParaRPr lang="en-AU" dirty="0"/>
          </a:p>
        </p:txBody>
      </p:sp>
      <p:sp>
        <p:nvSpPr>
          <p:cNvPr id="47" name="Text Placeholder 46">
            <a:extLst>
              <a:ext uri="{FF2B5EF4-FFF2-40B4-BE49-F238E27FC236}">
                <a16:creationId xmlns:a16="http://schemas.microsoft.com/office/drawing/2014/main" id="{C6FEA296-49BA-FEB8-25EA-391A01CD97D9}"/>
              </a:ext>
            </a:extLst>
          </p:cNvPr>
          <p:cNvSpPr>
            <a:spLocks noGrp="1"/>
          </p:cNvSpPr>
          <p:nvPr>
            <p:ph type="body" sz="quarter" idx="16" hasCustomPrompt="1"/>
          </p:nvPr>
        </p:nvSpPr>
        <p:spPr>
          <a:xfrm>
            <a:off x="1742541"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21" name="Text Placeholder 20">
            <a:extLst>
              <a:ext uri="{FF2B5EF4-FFF2-40B4-BE49-F238E27FC236}">
                <a16:creationId xmlns:a16="http://schemas.microsoft.com/office/drawing/2014/main" id="{0DBAE4A4-DFC6-5707-0A97-E5A5D80FC214}"/>
              </a:ext>
            </a:extLst>
          </p:cNvPr>
          <p:cNvSpPr>
            <a:spLocks noGrp="1"/>
          </p:cNvSpPr>
          <p:nvPr>
            <p:ph type="body" sz="quarter" idx="14" hasCustomPrompt="1"/>
          </p:nvPr>
        </p:nvSpPr>
        <p:spPr>
          <a:xfrm>
            <a:off x="1442272" y="5156423"/>
            <a:ext cx="2159670" cy="809401"/>
          </a:xfrm>
          <a:prstGeom prst="rect">
            <a:avLst/>
          </a:prstGeom>
        </p:spPr>
        <p:txBody>
          <a:bodyPr/>
          <a:lstStyle>
            <a:lvl1pPr algn="ctr" rtl="0">
              <a:lnSpc>
                <a:spcPct val="100000"/>
              </a:lnSpc>
              <a:defRPr sz="1200">
                <a:solidFill>
                  <a:schemeClr val="tx2"/>
                </a:solidFill>
                <a:latin typeface="+mn-lt"/>
              </a:defRPr>
            </a:lvl1pPr>
          </a:lstStyle>
          <a:p>
            <a:pPr lvl="0"/>
            <a:r>
              <a:rPr lang="en-AU"/>
              <a:t>Lorem ipsum dolor sit amet, consectetur adipiscing elit, sed do</a:t>
            </a:r>
            <a:endParaRPr lang="en-AU" dirty="0"/>
          </a:p>
        </p:txBody>
      </p:sp>
      <p:sp>
        <p:nvSpPr>
          <p:cNvPr id="23" name="Text Placeholder 20">
            <a:extLst>
              <a:ext uri="{FF2B5EF4-FFF2-40B4-BE49-F238E27FC236}">
                <a16:creationId xmlns:a16="http://schemas.microsoft.com/office/drawing/2014/main" id="{52EB77CF-7361-C7E7-908E-35277ACED66B}"/>
              </a:ext>
            </a:extLst>
          </p:cNvPr>
          <p:cNvSpPr>
            <a:spLocks noGrp="1"/>
          </p:cNvSpPr>
          <p:nvPr>
            <p:ph type="body" sz="quarter" idx="20" hasCustomPrompt="1"/>
          </p:nvPr>
        </p:nvSpPr>
        <p:spPr>
          <a:xfrm>
            <a:off x="1442272" y="4696335"/>
            <a:ext cx="2159670"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25" name="Text Placeholder 20">
            <a:extLst>
              <a:ext uri="{FF2B5EF4-FFF2-40B4-BE49-F238E27FC236}">
                <a16:creationId xmlns:a16="http://schemas.microsoft.com/office/drawing/2014/main" id="{407B97C5-BDEC-DFF3-D286-14C9AA99AF26}"/>
              </a:ext>
            </a:extLst>
          </p:cNvPr>
          <p:cNvSpPr>
            <a:spLocks noGrp="1"/>
          </p:cNvSpPr>
          <p:nvPr>
            <p:ph type="body" sz="quarter" idx="21" hasCustomPrompt="1"/>
          </p:nvPr>
        </p:nvSpPr>
        <p:spPr>
          <a:xfrm>
            <a:off x="3730481" y="5156423"/>
            <a:ext cx="2159670" cy="809401"/>
          </a:xfrm>
          <a:prstGeom prst="rect">
            <a:avLst/>
          </a:prstGeom>
        </p:spPr>
        <p:txBody>
          <a:bodyPr/>
          <a:lstStyle>
            <a:lvl1pPr algn="ctr" rtl="0">
              <a:lnSpc>
                <a:spcPct val="100000"/>
              </a:lnSpc>
              <a:defRPr sz="1200">
                <a:solidFill>
                  <a:schemeClr val="tx2"/>
                </a:solidFill>
                <a:latin typeface="+mn-lt"/>
              </a:defRPr>
            </a:lvl1pPr>
          </a:lstStyle>
          <a:p>
            <a:pPr lvl="0"/>
            <a:r>
              <a:rPr lang="en-AU"/>
              <a:t>Lorem ipsum dolor sit amet, consectetur adipiscing elit, sed do</a:t>
            </a:r>
            <a:endParaRPr lang="en-AU" dirty="0"/>
          </a:p>
        </p:txBody>
      </p:sp>
      <p:sp>
        <p:nvSpPr>
          <p:cNvPr id="26" name="Text Placeholder 20">
            <a:extLst>
              <a:ext uri="{FF2B5EF4-FFF2-40B4-BE49-F238E27FC236}">
                <a16:creationId xmlns:a16="http://schemas.microsoft.com/office/drawing/2014/main" id="{2B0BD136-06E6-9AE9-E104-4D30932E01B3}"/>
              </a:ext>
            </a:extLst>
          </p:cNvPr>
          <p:cNvSpPr>
            <a:spLocks noGrp="1"/>
          </p:cNvSpPr>
          <p:nvPr>
            <p:ph type="body" sz="quarter" idx="22" hasCustomPrompt="1"/>
          </p:nvPr>
        </p:nvSpPr>
        <p:spPr>
          <a:xfrm>
            <a:off x="3730481" y="4696335"/>
            <a:ext cx="2159670"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27" name="Text Placeholder 20">
            <a:extLst>
              <a:ext uri="{FF2B5EF4-FFF2-40B4-BE49-F238E27FC236}">
                <a16:creationId xmlns:a16="http://schemas.microsoft.com/office/drawing/2014/main" id="{F85AA96D-D7DA-6CF1-31D8-800C7CCA744A}"/>
              </a:ext>
            </a:extLst>
          </p:cNvPr>
          <p:cNvSpPr>
            <a:spLocks noGrp="1"/>
          </p:cNvSpPr>
          <p:nvPr>
            <p:ph type="body" sz="quarter" idx="23" hasCustomPrompt="1"/>
          </p:nvPr>
        </p:nvSpPr>
        <p:spPr>
          <a:xfrm>
            <a:off x="6018690" y="5156423"/>
            <a:ext cx="2159670" cy="809401"/>
          </a:xfrm>
          <a:prstGeom prst="rect">
            <a:avLst/>
          </a:prstGeom>
        </p:spPr>
        <p:txBody>
          <a:bodyPr/>
          <a:lstStyle>
            <a:lvl1pPr algn="ctr" rtl="0">
              <a:lnSpc>
                <a:spcPct val="100000"/>
              </a:lnSpc>
              <a:defRPr sz="1200">
                <a:solidFill>
                  <a:schemeClr val="tx2"/>
                </a:solidFill>
                <a:latin typeface="+mn-lt"/>
              </a:defRPr>
            </a:lvl1pPr>
          </a:lstStyle>
          <a:p>
            <a:pPr lvl="0"/>
            <a:r>
              <a:rPr lang="en-AU"/>
              <a:t>Lorem ipsum dolor sit amet, consectetur adipiscing elit, sed do</a:t>
            </a:r>
            <a:endParaRPr lang="en-AU" dirty="0"/>
          </a:p>
        </p:txBody>
      </p:sp>
      <p:sp>
        <p:nvSpPr>
          <p:cNvPr id="28" name="Text Placeholder 20">
            <a:extLst>
              <a:ext uri="{FF2B5EF4-FFF2-40B4-BE49-F238E27FC236}">
                <a16:creationId xmlns:a16="http://schemas.microsoft.com/office/drawing/2014/main" id="{4EBD6911-8C41-3E77-C5DA-24F0A286D4BE}"/>
              </a:ext>
            </a:extLst>
          </p:cNvPr>
          <p:cNvSpPr>
            <a:spLocks noGrp="1"/>
          </p:cNvSpPr>
          <p:nvPr>
            <p:ph type="body" sz="quarter" idx="24" hasCustomPrompt="1"/>
          </p:nvPr>
        </p:nvSpPr>
        <p:spPr>
          <a:xfrm>
            <a:off x="6018690" y="4696335"/>
            <a:ext cx="2159670"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29" name="Text Placeholder 20">
            <a:extLst>
              <a:ext uri="{FF2B5EF4-FFF2-40B4-BE49-F238E27FC236}">
                <a16:creationId xmlns:a16="http://schemas.microsoft.com/office/drawing/2014/main" id="{3B2B4276-98B6-8C51-8DBB-B75AE5C31924}"/>
              </a:ext>
            </a:extLst>
          </p:cNvPr>
          <p:cNvSpPr>
            <a:spLocks noGrp="1"/>
          </p:cNvSpPr>
          <p:nvPr>
            <p:ph type="body" sz="quarter" idx="25" hasCustomPrompt="1"/>
          </p:nvPr>
        </p:nvSpPr>
        <p:spPr>
          <a:xfrm>
            <a:off x="8306898" y="5156423"/>
            <a:ext cx="2159670" cy="809401"/>
          </a:xfrm>
          <a:prstGeom prst="rect">
            <a:avLst/>
          </a:prstGeom>
        </p:spPr>
        <p:txBody>
          <a:bodyPr/>
          <a:lstStyle>
            <a:lvl1pPr algn="ctr" rtl="0">
              <a:lnSpc>
                <a:spcPct val="100000"/>
              </a:lnSpc>
              <a:defRPr sz="1200">
                <a:solidFill>
                  <a:schemeClr val="tx2"/>
                </a:solidFill>
                <a:latin typeface="+mn-lt"/>
              </a:defRPr>
            </a:lvl1pPr>
          </a:lstStyle>
          <a:p>
            <a:pPr lvl="0"/>
            <a:r>
              <a:rPr lang="en-AU"/>
              <a:t>Lorem ipsum dolor sit amet, consectetur adipiscing elit, sed do</a:t>
            </a:r>
            <a:endParaRPr lang="en-AU" dirty="0"/>
          </a:p>
        </p:txBody>
      </p:sp>
      <p:sp>
        <p:nvSpPr>
          <p:cNvPr id="30" name="Text Placeholder 20">
            <a:extLst>
              <a:ext uri="{FF2B5EF4-FFF2-40B4-BE49-F238E27FC236}">
                <a16:creationId xmlns:a16="http://schemas.microsoft.com/office/drawing/2014/main" id="{368511B7-2186-7F56-ECC5-F2DD812639B7}"/>
              </a:ext>
            </a:extLst>
          </p:cNvPr>
          <p:cNvSpPr>
            <a:spLocks noGrp="1"/>
          </p:cNvSpPr>
          <p:nvPr>
            <p:ph type="body" sz="quarter" idx="26" hasCustomPrompt="1"/>
          </p:nvPr>
        </p:nvSpPr>
        <p:spPr>
          <a:xfrm>
            <a:off x="8306898" y="4696335"/>
            <a:ext cx="2159670"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35" name="Text Placeholder 20">
            <a:extLst>
              <a:ext uri="{FF2B5EF4-FFF2-40B4-BE49-F238E27FC236}">
                <a16:creationId xmlns:a16="http://schemas.microsoft.com/office/drawing/2014/main" id="{71DDB088-339B-392D-F8BF-5887983435C0}"/>
              </a:ext>
            </a:extLst>
          </p:cNvPr>
          <p:cNvSpPr>
            <a:spLocks noGrp="1"/>
          </p:cNvSpPr>
          <p:nvPr>
            <p:ph type="body" sz="quarter" idx="27" hasCustomPrompt="1"/>
          </p:nvPr>
        </p:nvSpPr>
        <p:spPr>
          <a:xfrm>
            <a:off x="889000" y="1366767"/>
            <a:ext cx="4697335" cy="1139406"/>
          </a:xfrm>
          <a:prstGeom prst="rect">
            <a:avLst/>
          </a:prstGeom>
        </p:spPr>
        <p:txBody>
          <a:bodyPr>
            <a:noAutofit/>
          </a:bodyPr>
          <a:lstStyle>
            <a:lvl1pPr rtl="0">
              <a:lnSpc>
                <a:spcPct val="120000"/>
              </a:lnSpc>
              <a:defRPr sz="1400">
                <a:solidFill>
                  <a:schemeClr val="bg1"/>
                </a:solidFill>
              </a:defRPr>
            </a:lvl1pPr>
          </a:lstStyle>
          <a:p>
            <a:pPr lvl="0"/>
            <a:r>
              <a:rPr lang="en-AU"/>
              <a:t>Lorem ipsum dolor sit amet, consectetur adipiscing elit, sed do eiusmod tempor incididunt ut labore et dolore magna aliqua. Ut enim ad minim veniam, quis nostrud exercitation ullamco laboris nisi ut aliquip ex ea commodo</a:t>
            </a:r>
            <a:endParaRPr lang="en-AU" dirty="0"/>
          </a:p>
        </p:txBody>
      </p:sp>
      <p:sp>
        <p:nvSpPr>
          <p:cNvPr id="36" name="Title Placeholder 1">
            <a:extLst>
              <a:ext uri="{FF2B5EF4-FFF2-40B4-BE49-F238E27FC236}">
                <a16:creationId xmlns:a16="http://schemas.microsoft.com/office/drawing/2014/main" id="{095AEABC-7843-C614-890F-378115B3157D}"/>
              </a:ext>
            </a:extLst>
          </p:cNvPr>
          <p:cNvSpPr>
            <a:spLocks noGrp="1"/>
          </p:cNvSpPr>
          <p:nvPr>
            <p:ph type="title" hasCustomPrompt="1"/>
          </p:nvPr>
        </p:nvSpPr>
        <p:spPr>
          <a:xfrm>
            <a:off x="886475" y="873125"/>
            <a:ext cx="4699613" cy="362228"/>
          </a:xfrm>
          <a:prstGeom prst="rect">
            <a:avLst/>
          </a:prstGeom>
        </p:spPr>
        <p:txBody>
          <a:bodyPr vert="horz" lIns="0" tIns="0" rIns="0" bIns="0" rtlCol="0" anchor="b">
            <a:noAutofit/>
          </a:bodyPr>
          <a:lstStyle>
            <a:lvl1pPr rtl="0">
              <a:lnSpc>
                <a:spcPct val="90000"/>
              </a:lnSpc>
              <a:defRPr sz="2800">
                <a:solidFill>
                  <a:schemeClr val="bg1"/>
                </a:solidFill>
              </a:defRPr>
            </a:lvl1pPr>
          </a:lstStyle>
          <a:p>
            <a:r>
              <a:rPr lang="en-AU"/>
              <a:t>Heading here</a:t>
            </a:r>
            <a:endParaRPr lang="en-AU" dirty="0"/>
          </a:p>
        </p:txBody>
      </p:sp>
      <p:sp>
        <p:nvSpPr>
          <p:cNvPr id="48" name="Text Placeholder 47">
            <a:extLst>
              <a:ext uri="{FF2B5EF4-FFF2-40B4-BE49-F238E27FC236}">
                <a16:creationId xmlns:a16="http://schemas.microsoft.com/office/drawing/2014/main" id="{ABFC5487-CCE7-F800-E124-90A7CB6A6948}"/>
              </a:ext>
            </a:extLst>
          </p:cNvPr>
          <p:cNvSpPr>
            <a:spLocks noGrp="1"/>
          </p:cNvSpPr>
          <p:nvPr>
            <p:ph type="body" sz="quarter" idx="28" hasCustomPrompt="1"/>
          </p:nvPr>
        </p:nvSpPr>
        <p:spPr>
          <a:xfrm>
            <a:off x="4027205"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49" name="Text Placeholder 48">
            <a:extLst>
              <a:ext uri="{FF2B5EF4-FFF2-40B4-BE49-F238E27FC236}">
                <a16:creationId xmlns:a16="http://schemas.microsoft.com/office/drawing/2014/main" id="{80A97EAA-1C7A-E51B-20A4-0A6924633214}"/>
              </a:ext>
            </a:extLst>
          </p:cNvPr>
          <p:cNvSpPr>
            <a:spLocks noGrp="1"/>
          </p:cNvSpPr>
          <p:nvPr>
            <p:ph type="body" sz="quarter" idx="29" hasCustomPrompt="1"/>
          </p:nvPr>
        </p:nvSpPr>
        <p:spPr>
          <a:xfrm>
            <a:off x="6311869"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50" name="Text Placeholder 49">
            <a:extLst>
              <a:ext uri="{FF2B5EF4-FFF2-40B4-BE49-F238E27FC236}">
                <a16:creationId xmlns:a16="http://schemas.microsoft.com/office/drawing/2014/main" id="{113B58E2-F6B9-BB1D-29F3-98ED5278A4E8}"/>
              </a:ext>
            </a:extLst>
          </p:cNvPr>
          <p:cNvSpPr>
            <a:spLocks noGrp="1"/>
          </p:cNvSpPr>
          <p:nvPr>
            <p:ph type="body" sz="quarter" idx="30" hasCustomPrompt="1"/>
          </p:nvPr>
        </p:nvSpPr>
        <p:spPr>
          <a:xfrm>
            <a:off x="8596532"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4" name="Footer Placeholder 7">
            <a:extLst>
              <a:ext uri="{FF2B5EF4-FFF2-40B4-BE49-F238E27FC236}">
                <a16:creationId xmlns:a16="http://schemas.microsoft.com/office/drawing/2014/main" id="{8D7FFEDB-0B80-CACC-8516-87EA57C4E798}"/>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A1EDBF56-A163-73CC-B6BB-2296D817F9AA}"/>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98379298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Cover">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309E00-B342-F987-DDCA-BD8E3D714A18}"/>
              </a:ext>
            </a:extLst>
          </p:cNvPr>
          <p:cNvGraphicFramePr>
            <a:graphicFrameLocks noChangeAspect="1"/>
          </p:cNvGraphicFramePr>
          <p:nvPr userDrawn="1">
            <p:custDataLst>
              <p:tags r:id="rId1"/>
            </p:custDataLst>
            <p:extLst>
              <p:ext uri="{D42A27DB-BD31-4B8C-83A1-F6EECF244321}">
                <p14:modId xmlns:p14="http://schemas.microsoft.com/office/powerpoint/2010/main" val="40891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4A309E00-B342-F987-DDCA-BD8E3D714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04935328-5165-4BEA-58F2-DFB9A3D2CC52}"/>
              </a:ext>
            </a:extLst>
          </p:cNvPr>
          <p:cNvSpPr>
            <a:spLocks noGrp="1"/>
          </p:cNvSpPr>
          <p:nvPr>
            <p:ph type="title" hasCustomPrompt="1"/>
          </p:nvPr>
        </p:nvSpPr>
        <p:spPr>
          <a:xfrm>
            <a:off x="893234" y="1614284"/>
            <a:ext cx="4287836" cy="1738389"/>
          </a:xfrm>
          <a:prstGeom prst="rect">
            <a:avLst/>
          </a:prstGeom>
        </p:spPr>
        <p:txBody>
          <a:bodyPr vert="horz" lIns="0" tIns="0" rIns="0" bIns="0" rtlCol="0" anchor="b">
            <a:noAutofit/>
          </a:bodyPr>
          <a:lstStyle>
            <a:lvl1pPr rtl="0">
              <a:defRPr lang="en-US" sz="4800" b="1" kern="1200" dirty="0">
                <a:solidFill>
                  <a:schemeClr val="bg1"/>
                </a:solidFill>
                <a:latin typeface="+mj-lt"/>
                <a:ea typeface="Verdana" panose="020B0604030504040204" pitchFamily="34" charset="0"/>
                <a:cs typeface="Verdana" panose="020B0604030504040204" pitchFamily="34" charset="0"/>
              </a:defRPr>
            </a:lvl1pPr>
          </a:lstStyle>
          <a:p>
            <a:pPr lvl="0"/>
            <a:r>
              <a:rPr lang="en-AU"/>
              <a:t>A Showcase for our New Brand</a:t>
            </a:r>
            <a:endParaRPr lang="en-AU" dirty="0"/>
          </a:p>
        </p:txBody>
      </p:sp>
      <p:sp>
        <p:nvSpPr>
          <p:cNvPr id="17" name="Text Placeholder 15">
            <a:extLst>
              <a:ext uri="{FF2B5EF4-FFF2-40B4-BE49-F238E27FC236}">
                <a16:creationId xmlns:a16="http://schemas.microsoft.com/office/drawing/2014/main" id="{58C64552-3CC2-033A-D0B2-40559B174871}"/>
              </a:ext>
            </a:extLst>
          </p:cNvPr>
          <p:cNvSpPr>
            <a:spLocks noGrp="1"/>
          </p:cNvSpPr>
          <p:nvPr>
            <p:ph type="body" sz="quarter" idx="11" hasCustomPrompt="1"/>
          </p:nvPr>
        </p:nvSpPr>
        <p:spPr>
          <a:xfrm>
            <a:off x="893233" y="5341383"/>
            <a:ext cx="4287837" cy="163314"/>
          </a:xfrm>
          <a:prstGeom prst="rect">
            <a:avLst/>
          </a:prstGeom>
        </p:spPr>
        <p:txBody>
          <a:bodyPr anchor="ctr"/>
          <a:lstStyle>
            <a:lvl1pPr rtl="0">
              <a:defRPr b="1" spc="100" baseline="0">
                <a:solidFill>
                  <a:schemeClr val="bg1"/>
                </a:solidFill>
              </a:defRPr>
            </a:lvl1pPr>
            <a:lvl2pPr>
              <a:lnSpc>
                <a:spcPct val="100000"/>
              </a:lnSpc>
              <a:defRPr lang="en-US" sz="1333" b="1" kern="0" spc="4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ATION NAME</a:t>
            </a:r>
            <a:endParaRPr lang="en-AU" dirty="0"/>
          </a:p>
        </p:txBody>
      </p:sp>
      <p:sp>
        <p:nvSpPr>
          <p:cNvPr id="18" name="Text Placeholder 15">
            <a:extLst>
              <a:ext uri="{FF2B5EF4-FFF2-40B4-BE49-F238E27FC236}">
                <a16:creationId xmlns:a16="http://schemas.microsoft.com/office/drawing/2014/main" id="{49723328-F83F-E36F-A23C-C63BA0452F08}"/>
              </a:ext>
            </a:extLst>
          </p:cNvPr>
          <p:cNvSpPr>
            <a:spLocks noGrp="1"/>
          </p:cNvSpPr>
          <p:nvPr>
            <p:ph type="body" sz="quarter" idx="12" hasCustomPrompt="1"/>
          </p:nvPr>
        </p:nvSpPr>
        <p:spPr>
          <a:xfrm>
            <a:off x="893233" y="5572952"/>
            <a:ext cx="4287837" cy="163314"/>
          </a:xfrm>
          <a:prstGeom prst="rect">
            <a:avLst/>
          </a:prstGeom>
        </p:spPr>
        <p:txBody>
          <a:bodyPr anchor="ctr"/>
          <a:lstStyle>
            <a:lvl1pPr rtl="0">
              <a:defRPr b="0" spc="100" baseline="0">
                <a:solidFill>
                  <a:schemeClr val="bg1"/>
                </a:solidFill>
              </a:defRPr>
            </a:lvl1pPr>
            <a:lvl2pPr>
              <a:lnSpc>
                <a:spcPct val="100000"/>
              </a:lnSpc>
              <a:defRPr lang="en-US" sz="1333" b="0" kern="0" spc="4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ER</a:t>
            </a:r>
            <a:endParaRPr lang="en-AU" dirty="0"/>
          </a:p>
        </p:txBody>
      </p:sp>
      <p:sp>
        <p:nvSpPr>
          <p:cNvPr id="19" name="Text Placeholder 15">
            <a:extLst>
              <a:ext uri="{FF2B5EF4-FFF2-40B4-BE49-F238E27FC236}">
                <a16:creationId xmlns:a16="http://schemas.microsoft.com/office/drawing/2014/main" id="{10F85AFF-0099-B004-10E7-3264A4FAD960}"/>
              </a:ext>
            </a:extLst>
          </p:cNvPr>
          <p:cNvSpPr>
            <a:spLocks noGrp="1"/>
          </p:cNvSpPr>
          <p:nvPr>
            <p:ph type="body" sz="quarter" idx="13" hasCustomPrompt="1"/>
          </p:nvPr>
        </p:nvSpPr>
        <p:spPr>
          <a:xfrm>
            <a:off x="893233" y="5804521"/>
            <a:ext cx="4287837" cy="163314"/>
          </a:xfrm>
          <a:prstGeom prst="rect">
            <a:avLst/>
          </a:prstGeom>
        </p:spPr>
        <p:txBody>
          <a:bodyPr anchor="ctr"/>
          <a:lstStyle>
            <a:lvl1pPr rtl="0">
              <a:defRPr sz="1000">
                <a:solidFill>
                  <a:schemeClr val="bg1"/>
                </a:solidFill>
              </a:defRPr>
            </a:lvl1pPr>
            <a:lvl2pPr marL="0" algn="l" defTabSz="292093" rtl="0" eaLnBrk="1" latinLnBrk="0" hangingPunct="1">
              <a:lnSpc>
                <a:spcPct val="90000"/>
              </a:lnSpc>
              <a:defRPr lang="en-US" sz="1000" b="0" kern="0" spc="0" dirty="0" smtClean="0">
                <a:solidFill>
                  <a:schemeClr val="bg1"/>
                </a:solidFill>
                <a:latin typeface="Verdana" panose="020B0604030504040204" pitchFamily="34" charset="0"/>
                <a:ea typeface="Verdana" panose="020B0604030504040204" pitchFamily="34" charset="0"/>
                <a:cs typeface="Verdana" panose="020B0604030504040204" pitchFamily="34" charset="0"/>
                <a:sym typeface="TeX Gyre Adventor"/>
              </a:defRPr>
            </a:lvl2pPr>
            <a:lvl3pPr marL="0" indent="0">
              <a:buNone/>
              <a:defRPr/>
            </a:lvl3pPr>
          </a:lstStyle>
          <a:p>
            <a:pPr lvl="0"/>
            <a:r>
              <a:rPr lang="en-AU"/>
              <a:t>DD MONTH YYYY</a:t>
            </a:r>
            <a:endParaRPr lang="en-AU" dirty="0"/>
          </a:p>
        </p:txBody>
      </p:sp>
      <p:sp>
        <p:nvSpPr>
          <p:cNvPr id="21" name="Text Placeholder 20">
            <a:extLst>
              <a:ext uri="{FF2B5EF4-FFF2-40B4-BE49-F238E27FC236}">
                <a16:creationId xmlns:a16="http://schemas.microsoft.com/office/drawing/2014/main" id="{4FCEAD4B-3D9E-1FE1-F7EA-4DF4F676AA75}"/>
              </a:ext>
            </a:extLst>
          </p:cNvPr>
          <p:cNvSpPr>
            <a:spLocks noGrp="1"/>
          </p:cNvSpPr>
          <p:nvPr>
            <p:ph type="body" sz="quarter" idx="14" hasCustomPrompt="1"/>
          </p:nvPr>
        </p:nvSpPr>
        <p:spPr>
          <a:xfrm>
            <a:off x="893233" y="3927777"/>
            <a:ext cx="4287837" cy="1214135"/>
          </a:xfrm>
          <a:prstGeom prst="rect">
            <a:avLst/>
          </a:prstGeom>
        </p:spPr>
        <p:txBody>
          <a:bodyPr>
            <a:normAutofit/>
          </a:bodyPr>
          <a:lstStyle>
            <a:lvl1pPr rtl="0">
              <a:lnSpc>
                <a:spcPct val="100000"/>
              </a:lnSpc>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000">
                <a:solidFill>
                  <a:schemeClr val="bg1"/>
                </a:solidFill>
              </a:defRPr>
            </a:lvl5pPr>
          </a:lstStyle>
          <a:p>
            <a:pPr lvl="0"/>
            <a:r>
              <a:rPr lang="en-AU"/>
              <a:t>Subtitle</a:t>
            </a:r>
            <a:endParaRPr lang="en-AU" dirty="0"/>
          </a:p>
        </p:txBody>
      </p:sp>
      <p:sp>
        <p:nvSpPr>
          <p:cNvPr id="12" name="Picture Placeholder 11">
            <a:extLst>
              <a:ext uri="{FF2B5EF4-FFF2-40B4-BE49-F238E27FC236}">
                <a16:creationId xmlns:a16="http://schemas.microsoft.com/office/drawing/2014/main" id="{F90C5A34-8444-BF51-CC40-CEE10A575BE0}"/>
              </a:ext>
            </a:extLst>
          </p:cNvPr>
          <p:cNvSpPr>
            <a:spLocks noGrp="1"/>
          </p:cNvSpPr>
          <p:nvPr>
            <p:ph type="pic" sz="quarter" idx="15" hasCustomPrompt="1"/>
          </p:nvPr>
        </p:nvSpPr>
        <p:spPr>
          <a:xfrm>
            <a:off x="6096000" y="0"/>
            <a:ext cx="6096000" cy="6858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20" name="Text Placeholder 23">
            <a:extLst>
              <a:ext uri="{FF2B5EF4-FFF2-40B4-BE49-F238E27FC236}">
                <a16:creationId xmlns:a16="http://schemas.microsoft.com/office/drawing/2014/main" id="{2D4433C4-2C39-FAC2-206D-EAC7F406E4D1}"/>
              </a:ext>
            </a:extLst>
          </p:cNvPr>
          <p:cNvSpPr>
            <a:spLocks noGrp="1"/>
          </p:cNvSpPr>
          <p:nvPr>
            <p:ph type="body" sz="quarter" idx="16" hasCustomPrompt="1"/>
          </p:nvPr>
        </p:nvSpPr>
        <p:spPr>
          <a:xfrm>
            <a:off x="893233" y="3531062"/>
            <a:ext cx="1009988" cy="129745"/>
          </a:xfrm>
          <a:prstGeom prst="rect">
            <a:avLst/>
          </a:prstGeom>
          <a:solidFill>
            <a:schemeClr val="accent2"/>
          </a:solidFill>
        </p:spPr>
        <p:txBody>
          <a:bodyPr/>
          <a:lstStyle>
            <a:lvl1pPr rtl="0">
              <a:defRPr sz="800">
                <a:noFill/>
              </a:defRPr>
            </a:lvl1pPr>
          </a:lstStyle>
          <a:p>
            <a:pPr lvl="0"/>
            <a:r>
              <a:rPr lang="en-AU"/>
              <a:t>.</a:t>
            </a:r>
            <a:endParaRPr lang="en-AU" dirty="0"/>
          </a:p>
        </p:txBody>
      </p:sp>
      <p:grpSp>
        <p:nvGrpSpPr>
          <p:cNvPr id="59" name="Group 58">
            <a:extLst>
              <a:ext uri="{FF2B5EF4-FFF2-40B4-BE49-F238E27FC236}">
                <a16:creationId xmlns:a16="http://schemas.microsoft.com/office/drawing/2014/main" id="{33F358B7-E4F7-D8DF-BAC7-9913A26D8192}"/>
              </a:ext>
            </a:extLst>
          </p:cNvPr>
          <p:cNvGrpSpPr/>
          <p:nvPr userDrawn="1"/>
        </p:nvGrpSpPr>
        <p:grpSpPr>
          <a:xfrm>
            <a:off x="889000" y="558132"/>
            <a:ext cx="2520526" cy="589009"/>
            <a:chOff x="3230032" y="2757677"/>
            <a:chExt cx="5712037" cy="1334815"/>
          </a:xfrm>
          <a:solidFill>
            <a:schemeClr val="bg1"/>
          </a:solidFill>
        </p:grpSpPr>
        <p:grpSp>
          <p:nvGrpSpPr>
            <p:cNvPr id="60" name="Graphic 2">
              <a:extLst>
                <a:ext uri="{FF2B5EF4-FFF2-40B4-BE49-F238E27FC236}">
                  <a16:creationId xmlns:a16="http://schemas.microsoft.com/office/drawing/2014/main" id="{7679B570-956B-63BB-A57B-18BF0CE2C804}"/>
                </a:ext>
              </a:extLst>
            </p:cNvPr>
            <p:cNvGrpSpPr/>
            <p:nvPr/>
          </p:nvGrpSpPr>
          <p:grpSpPr>
            <a:xfrm>
              <a:off x="4764309" y="2832258"/>
              <a:ext cx="4177760" cy="1188624"/>
              <a:chOff x="4764309" y="2832258"/>
              <a:chExt cx="4177760" cy="1188624"/>
            </a:xfrm>
            <a:grpFill/>
          </p:grpSpPr>
          <p:sp>
            <p:nvSpPr>
              <p:cNvPr id="99" name="Freeform: Shape 98">
                <a:extLst>
                  <a:ext uri="{FF2B5EF4-FFF2-40B4-BE49-F238E27FC236}">
                    <a16:creationId xmlns:a16="http://schemas.microsoft.com/office/drawing/2014/main" id="{B910701F-36D7-E8B7-67CE-D3B0C3A56DBC}"/>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grpFill/>
              <a:ln w="9525" cap="flat">
                <a:noFill/>
                <a:prstDash val="solid"/>
                <a:miter/>
              </a:ln>
            </p:spPr>
            <p:txBody>
              <a:bodyPr rtlCol="0" anchor="ctr"/>
              <a:lstStyle/>
              <a:p>
                <a:pPr rtl="0"/>
                <a:endParaRPr lang="en-AU" dirty="0"/>
              </a:p>
            </p:txBody>
          </p:sp>
          <p:sp>
            <p:nvSpPr>
              <p:cNvPr id="100" name="Freeform: Shape 99">
                <a:extLst>
                  <a:ext uri="{FF2B5EF4-FFF2-40B4-BE49-F238E27FC236}">
                    <a16:creationId xmlns:a16="http://schemas.microsoft.com/office/drawing/2014/main" id="{28767A94-90C2-4763-67B2-4F3B6004B349}"/>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grpFill/>
              <a:ln w="9525" cap="flat">
                <a:noFill/>
                <a:prstDash val="solid"/>
                <a:miter/>
              </a:ln>
            </p:spPr>
            <p:txBody>
              <a:bodyPr rtlCol="0" anchor="ctr"/>
              <a:lstStyle/>
              <a:p>
                <a:pPr rtl="0"/>
                <a:endParaRPr lang="en-AU" dirty="0"/>
              </a:p>
            </p:txBody>
          </p:sp>
          <p:sp>
            <p:nvSpPr>
              <p:cNvPr id="101" name="Freeform: Shape 100">
                <a:extLst>
                  <a:ext uri="{FF2B5EF4-FFF2-40B4-BE49-F238E27FC236}">
                    <a16:creationId xmlns:a16="http://schemas.microsoft.com/office/drawing/2014/main" id="{13A810EE-B050-D7E3-694F-D277D3356516}"/>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grpFill/>
              <a:ln w="9525" cap="flat">
                <a:noFill/>
                <a:prstDash val="solid"/>
                <a:miter/>
              </a:ln>
            </p:spPr>
            <p:txBody>
              <a:bodyPr rtlCol="0" anchor="ctr"/>
              <a:lstStyle/>
              <a:p>
                <a:pPr rtl="0"/>
                <a:endParaRPr lang="en-AU" dirty="0"/>
              </a:p>
            </p:txBody>
          </p:sp>
          <p:sp>
            <p:nvSpPr>
              <p:cNvPr id="102" name="Freeform: Shape 101">
                <a:extLst>
                  <a:ext uri="{FF2B5EF4-FFF2-40B4-BE49-F238E27FC236}">
                    <a16:creationId xmlns:a16="http://schemas.microsoft.com/office/drawing/2014/main" id="{E3206713-1776-0EAD-7DEF-E43BD5CA4084}"/>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grpFill/>
              <a:ln w="9525" cap="flat">
                <a:noFill/>
                <a:prstDash val="solid"/>
                <a:miter/>
              </a:ln>
            </p:spPr>
            <p:txBody>
              <a:bodyPr rtlCol="0" anchor="ctr"/>
              <a:lstStyle/>
              <a:p>
                <a:pPr rtl="0"/>
                <a:endParaRPr lang="en-AU" dirty="0"/>
              </a:p>
            </p:txBody>
          </p:sp>
          <p:sp>
            <p:nvSpPr>
              <p:cNvPr id="103" name="Freeform: Shape 102">
                <a:extLst>
                  <a:ext uri="{FF2B5EF4-FFF2-40B4-BE49-F238E27FC236}">
                    <a16:creationId xmlns:a16="http://schemas.microsoft.com/office/drawing/2014/main" id="{FB83A2EA-CA8A-11C7-9E09-39654B2FCBFA}"/>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grpFill/>
              <a:ln w="9525" cap="flat">
                <a:noFill/>
                <a:prstDash val="solid"/>
                <a:miter/>
              </a:ln>
            </p:spPr>
            <p:txBody>
              <a:bodyPr rtlCol="0" anchor="ctr"/>
              <a:lstStyle/>
              <a:p>
                <a:pPr rtl="0"/>
                <a:endParaRPr lang="en-AU" dirty="0"/>
              </a:p>
            </p:txBody>
          </p:sp>
          <p:sp>
            <p:nvSpPr>
              <p:cNvPr id="104" name="Freeform: Shape 103">
                <a:extLst>
                  <a:ext uri="{FF2B5EF4-FFF2-40B4-BE49-F238E27FC236}">
                    <a16:creationId xmlns:a16="http://schemas.microsoft.com/office/drawing/2014/main" id="{99979958-89A3-DDFA-5E82-DCDCFC6243DF}"/>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grpFill/>
              <a:ln w="9525" cap="flat">
                <a:noFill/>
                <a:prstDash val="solid"/>
                <a:miter/>
              </a:ln>
            </p:spPr>
            <p:txBody>
              <a:bodyPr rtlCol="0" anchor="ctr"/>
              <a:lstStyle/>
              <a:p>
                <a:pPr rtl="0"/>
                <a:endParaRPr lang="en-AU" dirty="0"/>
              </a:p>
            </p:txBody>
          </p:sp>
        </p:grpSp>
        <p:grpSp>
          <p:nvGrpSpPr>
            <p:cNvPr id="61" name="Graphic 2">
              <a:extLst>
                <a:ext uri="{FF2B5EF4-FFF2-40B4-BE49-F238E27FC236}">
                  <a16:creationId xmlns:a16="http://schemas.microsoft.com/office/drawing/2014/main" id="{A1B145DB-FD39-B41D-0DC7-73EBAC0E9E27}"/>
                </a:ext>
              </a:extLst>
            </p:cNvPr>
            <p:cNvGrpSpPr/>
            <p:nvPr/>
          </p:nvGrpSpPr>
          <p:grpSpPr>
            <a:xfrm>
              <a:off x="3230032" y="2757677"/>
              <a:ext cx="1336243" cy="1334815"/>
              <a:chOff x="3230032" y="2757677"/>
              <a:chExt cx="1336243" cy="1334815"/>
            </a:xfrm>
            <a:grpFill/>
          </p:grpSpPr>
          <p:sp>
            <p:nvSpPr>
              <p:cNvPr id="90" name="Freeform: Shape 89">
                <a:extLst>
                  <a:ext uri="{FF2B5EF4-FFF2-40B4-BE49-F238E27FC236}">
                    <a16:creationId xmlns:a16="http://schemas.microsoft.com/office/drawing/2014/main" id="{49E9BDC4-E096-7D06-F4A2-093B54B62840}"/>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grp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4FE2ED83-69AD-BB37-D7A9-DDC9611CA421}"/>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grpFill/>
              <a:ln w="9525"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153A998E-E6B2-6539-39FF-D2463F9BF1B2}"/>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grp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8AEF671B-4997-369B-C9FE-8FA00466EF2C}"/>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grp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A15D5E0A-2349-5040-BF1F-3CD3A3AAFC98}"/>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grpFill/>
              <a:ln w="9525" cap="flat">
                <a:noFill/>
                <a:prstDash val="solid"/>
                <a:miter/>
              </a:ln>
            </p:spPr>
            <p:txBody>
              <a:bodyPr rtlCol="0" anchor="ctr"/>
              <a:lstStyle/>
              <a:p>
                <a:pPr rtl="0"/>
                <a:endParaRPr lang="en-AU" dirty="0"/>
              </a:p>
            </p:txBody>
          </p:sp>
          <p:sp>
            <p:nvSpPr>
              <p:cNvPr id="95" name="Freeform: Shape 94">
                <a:extLst>
                  <a:ext uri="{FF2B5EF4-FFF2-40B4-BE49-F238E27FC236}">
                    <a16:creationId xmlns:a16="http://schemas.microsoft.com/office/drawing/2014/main" id="{51B1A184-0EB7-3085-E959-32E594569CD6}"/>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grpFill/>
              <a:ln w="9525" cap="flat">
                <a:noFill/>
                <a:prstDash val="solid"/>
                <a:miter/>
              </a:ln>
            </p:spPr>
            <p:txBody>
              <a:bodyPr rtlCol="0" anchor="ctr"/>
              <a:lstStyle/>
              <a:p>
                <a:pPr rtl="0"/>
                <a:endParaRPr lang="en-AU" dirty="0"/>
              </a:p>
            </p:txBody>
          </p:sp>
          <p:sp>
            <p:nvSpPr>
              <p:cNvPr id="96" name="Freeform: Shape 95">
                <a:extLst>
                  <a:ext uri="{FF2B5EF4-FFF2-40B4-BE49-F238E27FC236}">
                    <a16:creationId xmlns:a16="http://schemas.microsoft.com/office/drawing/2014/main" id="{D0A4DBDF-FF09-4D20-324A-275362B2E5F3}"/>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grpFill/>
              <a:ln w="9525" cap="flat">
                <a:noFill/>
                <a:prstDash val="solid"/>
                <a:miter/>
              </a:ln>
            </p:spPr>
            <p:txBody>
              <a:bodyPr rtlCol="0" anchor="ctr"/>
              <a:lstStyle/>
              <a:p>
                <a:pPr rtl="0"/>
                <a:endParaRPr lang="en-AU" dirty="0"/>
              </a:p>
            </p:txBody>
          </p:sp>
          <p:sp>
            <p:nvSpPr>
              <p:cNvPr id="97" name="Freeform: Shape 96">
                <a:extLst>
                  <a:ext uri="{FF2B5EF4-FFF2-40B4-BE49-F238E27FC236}">
                    <a16:creationId xmlns:a16="http://schemas.microsoft.com/office/drawing/2014/main" id="{E786DBCD-6B38-AA7B-138B-55027754DB62}"/>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grpFill/>
              <a:ln w="9525" cap="flat">
                <a:noFill/>
                <a:prstDash val="solid"/>
                <a:miter/>
              </a:ln>
            </p:spPr>
            <p:txBody>
              <a:bodyPr rtlCol="0" anchor="ctr"/>
              <a:lstStyle/>
              <a:p>
                <a:pPr rtl="0"/>
                <a:endParaRPr lang="en-AU" dirty="0"/>
              </a:p>
            </p:txBody>
          </p:sp>
          <p:sp>
            <p:nvSpPr>
              <p:cNvPr id="98" name="Freeform: Shape 97">
                <a:extLst>
                  <a:ext uri="{FF2B5EF4-FFF2-40B4-BE49-F238E27FC236}">
                    <a16:creationId xmlns:a16="http://schemas.microsoft.com/office/drawing/2014/main" id="{B7B860E9-74EE-DD02-EDAF-5E584F6144CA}"/>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grpFill/>
              <a:ln w="9525" cap="flat">
                <a:noFill/>
                <a:prstDash val="solid"/>
                <a:miter/>
              </a:ln>
            </p:spPr>
            <p:txBody>
              <a:bodyPr rtlCol="0" anchor="ctr"/>
              <a:lstStyle/>
              <a:p>
                <a:pPr rtl="0"/>
                <a:endParaRPr lang="en-AU" dirty="0"/>
              </a:p>
            </p:txBody>
          </p:sp>
        </p:grpSp>
        <p:grpSp>
          <p:nvGrpSpPr>
            <p:cNvPr id="62" name="Graphic 2">
              <a:extLst>
                <a:ext uri="{FF2B5EF4-FFF2-40B4-BE49-F238E27FC236}">
                  <a16:creationId xmlns:a16="http://schemas.microsoft.com/office/drawing/2014/main" id="{EF95711A-5B86-EFDE-93CE-C3C59FBEF363}"/>
                </a:ext>
              </a:extLst>
            </p:cNvPr>
            <p:cNvGrpSpPr/>
            <p:nvPr/>
          </p:nvGrpSpPr>
          <p:grpSpPr>
            <a:xfrm>
              <a:off x="4765071" y="3903725"/>
              <a:ext cx="3369468" cy="119443"/>
              <a:chOff x="4765071" y="3903725"/>
              <a:chExt cx="3369468" cy="119443"/>
            </a:xfrm>
            <a:grpFill/>
          </p:grpSpPr>
          <p:sp>
            <p:nvSpPr>
              <p:cNvPr id="63" name="Freeform: Shape 62">
                <a:extLst>
                  <a:ext uri="{FF2B5EF4-FFF2-40B4-BE49-F238E27FC236}">
                    <a16:creationId xmlns:a16="http://schemas.microsoft.com/office/drawing/2014/main" id="{7FDFB0EA-6E80-BBCA-2D37-EAB8FC6A7F33}"/>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grp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58FF3B5D-0639-924F-C26E-6361B82C008E}"/>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ABC6A8DA-BA34-6B71-720F-3D6587697334}"/>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grp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99D30950-276C-EEB8-A112-32E33FE0DD67}"/>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grp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6796F446-374F-C5B2-1E67-7F6F6BE363B4}"/>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grp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9F7B7AA6-1F8C-9B11-E351-E7D11E425922}"/>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2BC7434D-39EB-8E6B-266F-860D430F462D}"/>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grp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D8AA1B28-C7CA-7CE5-0300-20813F65DF9B}"/>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grp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72C628CE-37A1-58B1-18DF-87088AA27E23}"/>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grp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87890E4C-3B72-F264-042B-BF1088BAE4E3}"/>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grp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30A07A76-FFD8-5365-9FB5-C172E4B08CFC}"/>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grp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7F3B4343-17E6-78D6-1729-52A945F6A044}"/>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grp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19F24D60-61DD-99CA-EEF5-B33249A26169}"/>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grp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613D404D-58D0-9D89-08B7-51DEF6AF197E}"/>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grp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A1EE9A1A-0E67-9DB0-ED6C-34EF75EF837D}"/>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grp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EFB62BCE-61DE-7F5C-C611-70DDA9034558}"/>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grp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771F8157-57D5-003C-F47E-D408BF15C4EE}"/>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grpFill/>
              <a:ln w="9525"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F1DF9C4B-B88E-3A25-4C46-C79B86686100}"/>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grpFill/>
              <a:ln w="9525" cap="flat">
                <a:noFill/>
                <a:prstDash val="solid"/>
                <a:miter/>
              </a:ln>
            </p:spPr>
            <p:txBody>
              <a:bodyPr rtlCol="0" anchor="ctr"/>
              <a:lstStyle/>
              <a:p>
                <a:pPr rtl="0"/>
                <a:endParaRPr lang="en-AU" dirty="0"/>
              </a:p>
            </p:txBody>
          </p:sp>
          <p:sp>
            <p:nvSpPr>
              <p:cNvPr id="81" name="Freeform: Shape 80">
                <a:extLst>
                  <a:ext uri="{FF2B5EF4-FFF2-40B4-BE49-F238E27FC236}">
                    <a16:creationId xmlns:a16="http://schemas.microsoft.com/office/drawing/2014/main" id="{46D404B8-DC55-5B28-D35C-A909781D9156}"/>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grp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C9317E89-9005-B238-D0F3-7910A7D771E6}"/>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grpFill/>
              <a:ln w="9525"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DB2A65FA-2AE1-1DD8-CB0F-FF583D2F9D66}"/>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D2733B38-1411-12E7-2288-2F1245C47337}"/>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grp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C6FD6338-4D24-AC3D-EF8C-BAD80D0424BA}"/>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grpFill/>
              <a:ln w="9525"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30F16CA9-E406-F914-CA57-FF49A37E1076}"/>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grp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31A7613C-2FF2-883F-F414-CA0938943188}"/>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grp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A1BC004F-274A-A0C3-7B4F-B1B22B6E040F}"/>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grpFill/>
              <a:ln w="9525"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FB0B2983-CEF1-3C02-248C-A98D59DCADF0}"/>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15824343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Content 4">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4940780-3D62-A3C7-DC79-A19C70C1B7F9}"/>
              </a:ext>
            </a:extLst>
          </p:cNvPr>
          <p:cNvGraphicFramePr>
            <a:graphicFrameLocks noChangeAspect="1"/>
          </p:cNvGraphicFramePr>
          <p:nvPr userDrawn="1">
            <p:custDataLst>
              <p:tags r:id="rId1"/>
            </p:custDataLst>
            <p:extLst>
              <p:ext uri="{D42A27DB-BD31-4B8C-83A1-F6EECF244321}">
                <p14:modId xmlns:p14="http://schemas.microsoft.com/office/powerpoint/2010/main" val="122962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think-cell data - do not delete" hidden="1">
                        <a:extLst>
                          <a:ext uri="{FF2B5EF4-FFF2-40B4-BE49-F238E27FC236}">
                            <a16:creationId xmlns:a16="http://schemas.microsoft.com/office/drawing/2014/main" id="{34940780-3D62-A3C7-DC79-A19C70C1B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11">
            <a:extLst>
              <a:ext uri="{FF2B5EF4-FFF2-40B4-BE49-F238E27FC236}">
                <a16:creationId xmlns:a16="http://schemas.microsoft.com/office/drawing/2014/main" id="{24696196-7A66-286F-98AF-F5F773FC8A61}"/>
              </a:ext>
            </a:extLst>
          </p:cNvPr>
          <p:cNvSpPr>
            <a:spLocks noGrp="1"/>
          </p:cNvSpPr>
          <p:nvPr>
            <p:ph type="pic" sz="quarter" idx="15" hasCustomPrompt="1"/>
          </p:nvPr>
        </p:nvSpPr>
        <p:spPr>
          <a:xfrm>
            <a:off x="-1476" y="0"/>
            <a:ext cx="12193476" cy="4280256"/>
          </a:xfrm>
          <a:prstGeom prst="rect">
            <a:avLst/>
          </a:prstGeom>
          <a:solidFill>
            <a:schemeClr val="bg1">
              <a:lumMod val="85000"/>
            </a:schemeClr>
          </a:solidFill>
        </p:spPr>
        <p:txBody>
          <a:bodyPr tIns="1224000" anchor="ctr"/>
          <a:lstStyle>
            <a:lvl1pPr algn="ctr" rtl="0">
              <a:lnSpc>
                <a:spcPct val="100000"/>
              </a:lnSpc>
              <a:defRPr sz="1400"/>
            </a:lvl1pPr>
          </a:lstStyle>
          <a:p>
            <a:r>
              <a:rPr lang="en-AU"/>
              <a:t>Drag an image from outside of PowerPoint into this container, then Right click and Send to Back</a:t>
            </a:r>
            <a:endParaRPr lang="en-AU" dirty="0"/>
          </a:p>
        </p:txBody>
      </p:sp>
      <p:sp>
        <p:nvSpPr>
          <p:cNvPr id="47" name="Text Placeholder 46">
            <a:extLst>
              <a:ext uri="{FF2B5EF4-FFF2-40B4-BE49-F238E27FC236}">
                <a16:creationId xmlns:a16="http://schemas.microsoft.com/office/drawing/2014/main" id="{C6FEA296-49BA-FEB8-25EA-391A01CD97D9}"/>
              </a:ext>
            </a:extLst>
          </p:cNvPr>
          <p:cNvSpPr>
            <a:spLocks noGrp="1"/>
          </p:cNvSpPr>
          <p:nvPr>
            <p:ph type="body" sz="quarter" idx="16" hasCustomPrompt="1"/>
          </p:nvPr>
        </p:nvSpPr>
        <p:spPr>
          <a:xfrm>
            <a:off x="1092146"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21" name="Text Placeholder 20">
            <a:extLst>
              <a:ext uri="{FF2B5EF4-FFF2-40B4-BE49-F238E27FC236}">
                <a16:creationId xmlns:a16="http://schemas.microsoft.com/office/drawing/2014/main" id="{0DBAE4A4-DFC6-5707-0A97-E5A5D80FC214}"/>
              </a:ext>
            </a:extLst>
          </p:cNvPr>
          <p:cNvSpPr>
            <a:spLocks noGrp="1"/>
          </p:cNvSpPr>
          <p:nvPr>
            <p:ph type="body" sz="quarter" idx="14" hasCustomPrompt="1"/>
          </p:nvPr>
        </p:nvSpPr>
        <p:spPr>
          <a:xfrm>
            <a:off x="909815" y="5156423"/>
            <a:ext cx="1923792" cy="809401"/>
          </a:xfrm>
          <a:prstGeom prst="rect">
            <a:avLst/>
          </a:prstGeom>
        </p:spPr>
        <p:txBody>
          <a:bodyPr/>
          <a:lstStyle>
            <a:lvl1pPr algn="ctr" rtl="0">
              <a:lnSpc>
                <a:spcPct val="120000"/>
              </a:lnSpc>
              <a:defRPr sz="1200">
                <a:solidFill>
                  <a:schemeClr val="tx2"/>
                </a:solidFill>
                <a:latin typeface="+mn-lt"/>
              </a:defRPr>
            </a:lvl1pPr>
          </a:lstStyle>
          <a:p>
            <a:pPr lvl="0"/>
            <a:r>
              <a:rPr lang="en-AU"/>
              <a:t>Lorem ipsum dolor sit amet, consectetur adipiscing elit, sed</a:t>
            </a:r>
            <a:endParaRPr lang="en-AU" dirty="0"/>
          </a:p>
        </p:txBody>
      </p:sp>
      <p:sp>
        <p:nvSpPr>
          <p:cNvPr id="23" name="Text Placeholder 20">
            <a:extLst>
              <a:ext uri="{FF2B5EF4-FFF2-40B4-BE49-F238E27FC236}">
                <a16:creationId xmlns:a16="http://schemas.microsoft.com/office/drawing/2014/main" id="{52EB77CF-7361-C7E7-908E-35277ACED66B}"/>
              </a:ext>
            </a:extLst>
          </p:cNvPr>
          <p:cNvSpPr>
            <a:spLocks noGrp="1"/>
          </p:cNvSpPr>
          <p:nvPr>
            <p:ph type="body" sz="quarter" idx="20" hasCustomPrompt="1"/>
          </p:nvPr>
        </p:nvSpPr>
        <p:spPr>
          <a:xfrm>
            <a:off x="909815" y="4696335"/>
            <a:ext cx="1923792"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25" name="Text Placeholder 20">
            <a:extLst>
              <a:ext uri="{FF2B5EF4-FFF2-40B4-BE49-F238E27FC236}">
                <a16:creationId xmlns:a16="http://schemas.microsoft.com/office/drawing/2014/main" id="{407B97C5-BDEC-DFF3-D286-14C9AA99AF26}"/>
              </a:ext>
            </a:extLst>
          </p:cNvPr>
          <p:cNvSpPr>
            <a:spLocks noGrp="1"/>
          </p:cNvSpPr>
          <p:nvPr>
            <p:ph type="body" sz="quarter" idx="21" hasCustomPrompt="1"/>
          </p:nvPr>
        </p:nvSpPr>
        <p:spPr>
          <a:xfrm>
            <a:off x="3026881" y="5156423"/>
            <a:ext cx="1923792" cy="809401"/>
          </a:xfrm>
          <a:prstGeom prst="rect">
            <a:avLst/>
          </a:prstGeom>
        </p:spPr>
        <p:txBody>
          <a:bodyPr/>
          <a:lstStyle>
            <a:lvl1pPr algn="ctr" rtl="0">
              <a:lnSpc>
                <a:spcPct val="120000"/>
              </a:lnSpc>
              <a:defRPr sz="1200">
                <a:solidFill>
                  <a:schemeClr val="tx2"/>
                </a:solidFill>
                <a:latin typeface="+mn-lt"/>
              </a:defRPr>
            </a:lvl1pPr>
          </a:lstStyle>
          <a:p>
            <a:pPr lvl="0"/>
            <a:r>
              <a:rPr lang="en-AU"/>
              <a:t>Lorem ipsum dolor sit amet, consectetur adipiscing elit, sed</a:t>
            </a:r>
            <a:endParaRPr lang="en-AU" dirty="0"/>
          </a:p>
        </p:txBody>
      </p:sp>
      <p:sp>
        <p:nvSpPr>
          <p:cNvPr id="26" name="Text Placeholder 20">
            <a:extLst>
              <a:ext uri="{FF2B5EF4-FFF2-40B4-BE49-F238E27FC236}">
                <a16:creationId xmlns:a16="http://schemas.microsoft.com/office/drawing/2014/main" id="{2B0BD136-06E6-9AE9-E104-4D30932E01B3}"/>
              </a:ext>
            </a:extLst>
          </p:cNvPr>
          <p:cNvSpPr>
            <a:spLocks noGrp="1"/>
          </p:cNvSpPr>
          <p:nvPr>
            <p:ph type="body" sz="quarter" idx="22" hasCustomPrompt="1"/>
          </p:nvPr>
        </p:nvSpPr>
        <p:spPr>
          <a:xfrm>
            <a:off x="3026881" y="4696335"/>
            <a:ext cx="1923792"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27" name="Text Placeholder 20">
            <a:extLst>
              <a:ext uri="{FF2B5EF4-FFF2-40B4-BE49-F238E27FC236}">
                <a16:creationId xmlns:a16="http://schemas.microsoft.com/office/drawing/2014/main" id="{F85AA96D-D7DA-6CF1-31D8-800C7CCA744A}"/>
              </a:ext>
            </a:extLst>
          </p:cNvPr>
          <p:cNvSpPr>
            <a:spLocks noGrp="1"/>
          </p:cNvSpPr>
          <p:nvPr>
            <p:ph type="body" sz="quarter" idx="23" hasCustomPrompt="1"/>
          </p:nvPr>
        </p:nvSpPr>
        <p:spPr>
          <a:xfrm>
            <a:off x="5143947" y="5156423"/>
            <a:ext cx="1923792" cy="809401"/>
          </a:xfrm>
          <a:prstGeom prst="rect">
            <a:avLst/>
          </a:prstGeom>
        </p:spPr>
        <p:txBody>
          <a:bodyPr/>
          <a:lstStyle>
            <a:lvl1pPr algn="ctr" rtl="0">
              <a:lnSpc>
                <a:spcPct val="120000"/>
              </a:lnSpc>
              <a:defRPr sz="1200">
                <a:solidFill>
                  <a:schemeClr val="tx2"/>
                </a:solidFill>
                <a:latin typeface="+mn-lt"/>
              </a:defRPr>
            </a:lvl1pPr>
          </a:lstStyle>
          <a:p>
            <a:pPr lvl="0"/>
            <a:r>
              <a:rPr lang="en-AU"/>
              <a:t>Lorem ipsum dolor sit amet, consectetur adipiscing elit, sed</a:t>
            </a:r>
            <a:endParaRPr lang="en-AU" dirty="0"/>
          </a:p>
        </p:txBody>
      </p:sp>
      <p:sp>
        <p:nvSpPr>
          <p:cNvPr id="28" name="Text Placeholder 20">
            <a:extLst>
              <a:ext uri="{FF2B5EF4-FFF2-40B4-BE49-F238E27FC236}">
                <a16:creationId xmlns:a16="http://schemas.microsoft.com/office/drawing/2014/main" id="{4EBD6911-8C41-3E77-C5DA-24F0A286D4BE}"/>
              </a:ext>
            </a:extLst>
          </p:cNvPr>
          <p:cNvSpPr>
            <a:spLocks noGrp="1"/>
          </p:cNvSpPr>
          <p:nvPr>
            <p:ph type="body" sz="quarter" idx="24" hasCustomPrompt="1"/>
          </p:nvPr>
        </p:nvSpPr>
        <p:spPr>
          <a:xfrm>
            <a:off x="5143947" y="4696335"/>
            <a:ext cx="1923792"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29" name="Text Placeholder 20">
            <a:extLst>
              <a:ext uri="{FF2B5EF4-FFF2-40B4-BE49-F238E27FC236}">
                <a16:creationId xmlns:a16="http://schemas.microsoft.com/office/drawing/2014/main" id="{3B2B4276-98B6-8C51-8DBB-B75AE5C31924}"/>
              </a:ext>
            </a:extLst>
          </p:cNvPr>
          <p:cNvSpPr>
            <a:spLocks noGrp="1"/>
          </p:cNvSpPr>
          <p:nvPr>
            <p:ph type="body" sz="quarter" idx="25" hasCustomPrompt="1"/>
          </p:nvPr>
        </p:nvSpPr>
        <p:spPr>
          <a:xfrm>
            <a:off x="7261013" y="5156423"/>
            <a:ext cx="1923792" cy="809401"/>
          </a:xfrm>
          <a:prstGeom prst="rect">
            <a:avLst/>
          </a:prstGeom>
        </p:spPr>
        <p:txBody>
          <a:bodyPr/>
          <a:lstStyle>
            <a:lvl1pPr algn="ctr" rtl="0">
              <a:lnSpc>
                <a:spcPct val="120000"/>
              </a:lnSpc>
              <a:defRPr sz="1200">
                <a:solidFill>
                  <a:schemeClr val="tx2"/>
                </a:solidFill>
                <a:latin typeface="+mn-lt"/>
              </a:defRPr>
            </a:lvl1pPr>
          </a:lstStyle>
          <a:p>
            <a:pPr lvl="0"/>
            <a:r>
              <a:rPr lang="en-AU"/>
              <a:t>Lorem ipsum dolor sit amet, consectetur adipiscing elit, sed</a:t>
            </a:r>
            <a:endParaRPr lang="en-AU" dirty="0"/>
          </a:p>
        </p:txBody>
      </p:sp>
      <p:sp>
        <p:nvSpPr>
          <p:cNvPr id="30" name="Text Placeholder 20">
            <a:extLst>
              <a:ext uri="{FF2B5EF4-FFF2-40B4-BE49-F238E27FC236}">
                <a16:creationId xmlns:a16="http://schemas.microsoft.com/office/drawing/2014/main" id="{368511B7-2186-7F56-ECC5-F2DD812639B7}"/>
              </a:ext>
            </a:extLst>
          </p:cNvPr>
          <p:cNvSpPr>
            <a:spLocks noGrp="1"/>
          </p:cNvSpPr>
          <p:nvPr>
            <p:ph type="body" sz="quarter" idx="26" hasCustomPrompt="1"/>
          </p:nvPr>
        </p:nvSpPr>
        <p:spPr>
          <a:xfrm>
            <a:off x="7261013" y="4696335"/>
            <a:ext cx="1923792"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36" name="Title Placeholder 1">
            <a:extLst>
              <a:ext uri="{FF2B5EF4-FFF2-40B4-BE49-F238E27FC236}">
                <a16:creationId xmlns:a16="http://schemas.microsoft.com/office/drawing/2014/main" id="{095AEABC-7843-C614-890F-378115B3157D}"/>
              </a:ext>
            </a:extLst>
          </p:cNvPr>
          <p:cNvSpPr>
            <a:spLocks noGrp="1"/>
          </p:cNvSpPr>
          <p:nvPr>
            <p:ph type="title" hasCustomPrompt="1"/>
          </p:nvPr>
        </p:nvSpPr>
        <p:spPr>
          <a:xfrm>
            <a:off x="893764" y="873125"/>
            <a:ext cx="4698000" cy="362228"/>
          </a:xfrm>
          <a:prstGeom prst="rect">
            <a:avLst/>
          </a:prstGeom>
        </p:spPr>
        <p:txBody>
          <a:bodyPr vert="horz" lIns="0" tIns="0" rIns="0" bIns="0" rtlCol="0" anchor="b">
            <a:noAutofit/>
          </a:bodyPr>
          <a:lstStyle>
            <a:lvl1pPr rtl="0">
              <a:lnSpc>
                <a:spcPct val="90000"/>
              </a:lnSpc>
              <a:defRPr sz="2800">
                <a:solidFill>
                  <a:schemeClr val="bg1"/>
                </a:solidFill>
              </a:defRPr>
            </a:lvl1pPr>
          </a:lstStyle>
          <a:p>
            <a:r>
              <a:rPr lang="en-AU"/>
              <a:t>Heading here</a:t>
            </a:r>
            <a:endParaRPr lang="en-AU" dirty="0"/>
          </a:p>
        </p:txBody>
      </p:sp>
      <p:sp>
        <p:nvSpPr>
          <p:cNvPr id="48" name="Text Placeholder 47">
            <a:extLst>
              <a:ext uri="{FF2B5EF4-FFF2-40B4-BE49-F238E27FC236}">
                <a16:creationId xmlns:a16="http://schemas.microsoft.com/office/drawing/2014/main" id="{ABFC5487-CCE7-F800-E124-90A7CB6A6948}"/>
              </a:ext>
            </a:extLst>
          </p:cNvPr>
          <p:cNvSpPr>
            <a:spLocks noGrp="1"/>
          </p:cNvSpPr>
          <p:nvPr>
            <p:ph type="body" sz="quarter" idx="28" hasCustomPrompt="1"/>
          </p:nvPr>
        </p:nvSpPr>
        <p:spPr>
          <a:xfrm>
            <a:off x="3209212"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49" name="Text Placeholder 48">
            <a:extLst>
              <a:ext uri="{FF2B5EF4-FFF2-40B4-BE49-F238E27FC236}">
                <a16:creationId xmlns:a16="http://schemas.microsoft.com/office/drawing/2014/main" id="{80A97EAA-1C7A-E51B-20A4-0A6924633214}"/>
              </a:ext>
            </a:extLst>
          </p:cNvPr>
          <p:cNvSpPr>
            <a:spLocks noGrp="1"/>
          </p:cNvSpPr>
          <p:nvPr>
            <p:ph type="body" sz="quarter" idx="29" hasCustomPrompt="1"/>
          </p:nvPr>
        </p:nvSpPr>
        <p:spPr>
          <a:xfrm>
            <a:off x="5326278"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50" name="Text Placeholder 49">
            <a:extLst>
              <a:ext uri="{FF2B5EF4-FFF2-40B4-BE49-F238E27FC236}">
                <a16:creationId xmlns:a16="http://schemas.microsoft.com/office/drawing/2014/main" id="{113B58E2-F6B9-BB1D-29F3-98ED5278A4E8}"/>
              </a:ext>
            </a:extLst>
          </p:cNvPr>
          <p:cNvSpPr>
            <a:spLocks noGrp="1"/>
          </p:cNvSpPr>
          <p:nvPr>
            <p:ph type="body" sz="quarter" idx="30" hasCustomPrompt="1"/>
          </p:nvPr>
        </p:nvSpPr>
        <p:spPr>
          <a:xfrm>
            <a:off x="7443344"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2" name="Text Placeholder 20">
            <a:extLst>
              <a:ext uri="{FF2B5EF4-FFF2-40B4-BE49-F238E27FC236}">
                <a16:creationId xmlns:a16="http://schemas.microsoft.com/office/drawing/2014/main" id="{A1B1CC85-B0BA-F559-127E-9916B5B793F0}"/>
              </a:ext>
            </a:extLst>
          </p:cNvPr>
          <p:cNvSpPr>
            <a:spLocks noGrp="1"/>
          </p:cNvSpPr>
          <p:nvPr>
            <p:ph type="body" sz="quarter" idx="31" hasCustomPrompt="1"/>
          </p:nvPr>
        </p:nvSpPr>
        <p:spPr>
          <a:xfrm>
            <a:off x="9378079" y="5156423"/>
            <a:ext cx="1923792" cy="809401"/>
          </a:xfrm>
          <a:prstGeom prst="rect">
            <a:avLst/>
          </a:prstGeom>
        </p:spPr>
        <p:txBody>
          <a:bodyPr/>
          <a:lstStyle>
            <a:lvl1pPr algn="ctr" rtl="0">
              <a:lnSpc>
                <a:spcPct val="120000"/>
              </a:lnSpc>
              <a:defRPr sz="1200">
                <a:solidFill>
                  <a:schemeClr val="tx2"/>
                </a:solidFill>
                <a:latin typeface="+mn-lt"/>
              </a:defRPr>
            </a:lvl1pPr>
          </a:lstStyle>
          <a:p>
            <a:pPr lvl="0"/>
            <a:r>
              <a:rPr lang="en-AU"/>
              <a:t>Lorem ipsum dolor sit amet, consectetur adipiscing elit, sed</a:t>
            </a:r>
            <a:endParaRPr lang="en-AU" dirty="0"/>
          </a:p>
        </p:txBody>
      </p:sp>
      <p:sp>
        <p:nvSpPr>
          <p:cNvPr id="4" name="Text Placeholder 20">
            <a:extLst>
              <a:ext uri="{FF2B5EF4-FFF2-40B4-BE49-F238E27FC236}">
                <a16:creationId xmlns:a16="http://schemas.microsoft.com/office/drawing/2014/main" id="{7FFA3611-8E8A-404A-3699-5877E68D5B4A}"/>
              </a:ext>
            </a:extLst>
          </p:cNvPr>
          <p:cNvSpPr>
            <a:spLocks noGrp="1"/>
          </p:cNvSpPr>
          <p:nvPr>
            <p:ph type="body" sz="quarter" idx="32" hasCustomPrompt="1"/>
          </p:nvPr>
        </p:nvSpPr>
        <p:spPr>
          <a:xfrm>
            <a:off x="9378079" y="4696335"/>
            <a:ext cx="1923792" cy="365486"/>
          </a:xfrm>
          <a:prstGeom prst="rect">
            <a:avLst/>
          </a:prstGeom>
        </p:spPr>
        <p:txBody>
          <a:bodyPr/>
          <a:lstStyle>
            <a:lvl1pPr algn="ctr" rtl="0">
              <a:lnSpc>
                <a:spcPct val="100000"/>
              </a:lnSpc>
              <a:defRPr sz="1400" b="1">
                <a:solidFill>
                  <a:schemeClr val="tx2"/>
                </a:solidFill>
                <a:latin typeface="+mn-lt"/>
              </a:defRPr>
            </a:lvl1pPr>
          </a:lstStyle>
          <a:p>
            <a:pPr lvl="0"/>
            <a:r>
              <a:rPr lang="en-AU"/>
              <a:t>LORUM</a:t>
            </a:r>
            <a:br>
              <a:rPr lang="en-AU"/>
            </a:br>
            <a:r>
              <a:rPr lang="en-AU"/>
              <a:t>IPSUMER</a:t>
            </a:r>
            <a:endParaRPr lang="en-AU" dirty="0"/>
          </a:p>
        </p:txBody>
      </p:sp>
      <p:sp>
        <p:nvSpPr>
          <p:cNvPr id="5" name="Text Placeholder 49">
            <a:extLst>
              <a:ext uri="{FF2B5EF4-FFF2-40B4-BE49-F238E27FC236}">
                <a16:creationId xmlns:a16="http://schemas.microsoft.com/office/drawing/2014/main" id="{A12B0810-F52B-08EA-3569-CBB8B60A017B}"/>
              </a:ext>
            </a:extLst>
          </p:cNvPr>
          <p:cNvSpPr>
            <a:spLocks noGrp="1"/>
          </p:cNvSpPr>
          <p:nvPr>
            <p:ph type="body" sz="quarter" idx="33" hasCustomPrompt="1"/>
          </p:nvPr>
        </p:nvSpPr>
        <p:spPr>
          <a:xfrm>
            <a:off x="9570706" y="3604039"/>
            <a:ext cx="1559130" cy="676217"/>
          </a:xfrm>
          <a:custGeom>
            <a:avLst/>
            <a:gdLst>
              <a:gd name="connsiteX0" fmla="*/ 779565 w 1559130"/>
              <a:gd name="connsiteY0" fmla="*/ 0 h 676217"/>
              <a:gd name="connsiteX1" fmla="*/ 1537069 w 1559130"/>
              <a:gd name="connsiteY1" fmla="*/ 564522 h 676217"/>
              <a:gd name="connsiteX2" fmla="*/ 1559130 w 1559130"/>
              <a:gd name="connsiteY2" fmla="*/ 676217 h 676217"/>
              <a:gd name="connsiteX3" fmla="*/ 0 w 1559130"/>
              <a:gd name="connsiteY3" fmla="*/ 676217 h 676217"/>
              <a:gd name="connsiteX4" fmla="*/ 22061 w 1559130"/>
              <a:gd name="connsiteY4" fmla="*/ 564522 h 676217"/>
              <a:gd name="connsiteX5" fmla="*/ 779565 w 1559130"/>
              <a:gd name="connsiteY5" fmla="*/ 0 h 67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9130" h="676217">
                <a:moveTo>
                  <a:pt x="779565" y="0"/>
                </a:moveTo>
                <a:cubicBezTo>
                  <a:pt x="1137562" y="0"/>
                  <a:pt x="1439956" y="238067"/>
                  <a:pt x="1537069" y="564522"/>
                </a:cubicBezTo>
                <a:lnTo>
                  <a:pt x="1559130" y="676217"/>
                </a:lnTo>
                <a:lnTo>
                  <a:pt x="0" y="676217"/>
                </a:lnTo>
                <a:lnTo>
                  <a:pt x="22061" y="564522"/>
                </a:lnTo>
                <a:cubicBezTo>
                  <a:pt x="119175" y="238067"/>
                  <a:pt x="421569" y="0"/>
                  <a:pt x="779565" y="0"/>
                </a:cubicBezTo>
                <a:close/>
              </a:path>
            </a:pathLst>
          </a:custGeom>
          <a:solidFill>
            <a:schemeClr val="bg1"/>
          </a:solidFill>
        </p:spPr>
        <p:txBody>
          <a:bodyPr wrap="square">
            <a:noAutofit/>
          </a:bodyPr>
          <a:lstStyle>
            <a:lvl1pPr rtl="0">
              <a:defRPr sz="800">
                <a:noFill/>
              </a:defRPr>
            </a:lvl1pPr>
          </a:lstStyle>
          <a:p>
            <a:pPr lvl="0"/>
            <a:r>
              <a:rPr lang="en-AU"/>
              <a:t>.</a:t>
            </a:r>
            <a:endParaRPr lang="en-AU" dirty="0"/>
          </a:p>
        </p:txBody>
      </p:sp>
      <p:sp>
        <p:nvSpPr>
          <p:cNvPr id="7" name="Footer Placeholder 7">
            <a:extLst>
              <a:ext uri="{FF2B5EF4-FFF2-40B4-BE49-F238E27FC236}">
                <a16:creationId xmlns:a16="http://schemas.microsoft.com/office/drawing/2014/main" id="{AE3C36D2-B460-6FDB-8ABA-50D5B3AA31ED}"/>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6" name="Text Placeholder 20">
            <a:extLst>
              <a:ext uri="{FF2B5EF4-FFF2-40B4-BE49-F238E27FC236}">
                <a16:creationId xmlns:a16="http://schemas.microsoft.com/office/drawing/2014/main" id="{F89720BD-C644-5A65-6C69-363277918D65}"/>
              </a:ext>
            </a:extLst>
          </p:cNvPr>
          <p:cNvSpPr>
            <a:spLocks noGrp="1"/>
          </p:cNvSpPr>
          <p:nvPr>
            <p:ph type="body" sz="quarter" idx="27" hasCustomPrompt="1"/>
          </p:nvPr>
        </p:nvSpPr>
        <p:spPr>
          <a:xfrm>
            <a:off x="889000" y="1366767"/>
            <a:ext cx="4698000" cy="1139406"/>
          </a:xfrm>
          <a:prstGeom prst="rect">
            <a:avLst/>
          </a:prstGeom>
        </p:spPr>
        <p:txBody>
          <a:bodyPr>
            <a:noAutofit/>
          </a:bodyPr>
          <a:lstStyle>
            <a:lvl1pPr rtl="0">
              <a:lnSpc>
                <a:spcPct val="120000"/>
              </a:lnSpc>
              <a:defRPr sz="1400">
                <a:solidFill>
                  <a:schemeClr val="bg1"/>
                </a:solidFill>
              </a:defRPr>
            </a:lvl1pPr>
          </a:lstStyle>
          <a:p>
            <a:pPr lvl="0"/>
            <a:r>
              <a:rPr lang="en-AU"/>
              <a:t>Lorem ipsum dolor sit amet, consectetur adipiscing elit, sed do eiusmod tempor incididunt ut labore et dolore magna aliqua. Ut enim ad minim veniam, quis nostrud exercitation ullamco laboris nisi ut aliquip ex ea commodo</a:t>
            </a:r>
            <a:endParaRPr lang="en-AU" dirty="0"/>
          </a:p>
        </p:txBody>
      </p:sp>
      <p:sp>
        <p:nvSpPr>
          <p:cNvPr id="8" name="Slide Number Placeholder 3">
            <a:extLst>
              <a:ext uri="{FF2B5EF4-FFF2-40B4-BE49-F238E27FC236}">
                <a16:creationId xmlns:a16="http://schemas.microsoft.com/office/drawing/2014/main" id="{9F07877D-EBAA-4224-E983-0A050F2744AF}"/>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24757206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Content 5">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065D95-3609-E9B5-C097-16F93758791F}"/>
              </a:ext>
            </a:extLst>
          </p:cNvPr>
          <p:cNvGraphicFramePr>
            <a:graphicFrameLocks noChangeAspect="1"/>
          </p:cNvGraphicFramePr>
          <p:nvPr userDrawn="1">
            <p:custDataLst>
              <p:tags r:id="rId1"/>
            </p:custDataLst>
            <p:extLst>
              <p:ext uri="{D42A27DB-BD31-4B8C-83A1-F6EECF244321}">
                <p14:modId xmlns:p14="http://schemas.microsoft.com/office/powerpoint/2010/main" val="2552265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C4065D95-3609-E9B5-C097-16F937587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Picture Placeholder 11">
            <a:extLst>
              <a:ext uri="{FF2B5EF4-FFF2-40B4-BE49-F238E27FC236}">
                <a16:creationId xmlns:a16="http://schemas.microsoft.com/office/drawing/2014/main" id="{F736BBA1-3295-499B-5321-833BEADBF38D}"/>
              </a:ext>
            </a:extLst>
          </p:cNvPr>
          <p:cNvSpPr>
            <a:spLocks noGrp="1"/>
          </p:cNvSpPr>
          <p:nvPr>
            <p:ph type="pic" sz="quarter" idx="20" hasCustomPrompt="1"/>
          </p:nvPr>
        </p:nvSpPr>
        <p:spPr>
          <a:xfrm>
            <a:off x="889000" y="2109349"/>
            <a:ext cx="3360962" cy="243522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23" name="Picture Placeholder 11">
            <a:extLst>
              <a:ext uri="{FF2B5EF4-FFF2-40B4-BE49-F238E27FC236}">
                <a16:creationId xmlns:a16="http://schemas.microsoft.com/office/drawing/2014/main" id="{446B2DAE-A4C5-8F56-9B66-F46E0209C47E}"/>
              </a:ext>
            </a:extLst>
          </p:cNvPr>
          <p:cNvSpPr>
            <a:spLocks noGrp="1"/>
          </p:cNvSpPr>
          <p:nvPr>
            <p:ph type="pic" sz="quarter" idx="21" hasCustomPrompt="1"/>
          </p:nvPr>
        </p:nvSpPr>
        <p:spPr>
          <a:xfrm>
            <a:off x="4411550" y="2109349"/>
            <a:ext cx="3360962" cy="243522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24" name="Picture Placeholder 11">
            <a:extLst>
              <a:ext uri="{FF2B5EF4-FFF2-40B4-BE49-F238E27FC236}">
                <a16:creationId xmlns:a16="http://schemas.microsoft.com/office/drawing/2014/main" id="{0B4547DF-01A8-49DB-D5D5-C6A2F7AD6AE3}"/>
              </a:ext>
            </a:extLst>
          </p:cNvPr>
          <p:cNvSpPr>
            <a:spLocks noGrp="1"/>
          </p:cNvSpPr>
          <p:nvPr>
            <p:ph type="pic" sz="quarter" idx="22" hasCustomPrompt="1"/>
          </p:nvPr>
        </p:nvSpPr>
        <p:spPr>
          <a:xfrm>
            <a:off x="7934101" y="2109349"/>
            <a:ext cx="3360962" cy="243522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25" name="Title Placeholder 1">
            <a:extLst>
              <a:ext uri="{FF2B5EF4-FFF2-40B4-BE49-F238E27FC236}">
                <a16:creationId xmlns:a16="http://schemas.microsoft.com/office/drawing/2014/main" id="{8B698040-36E7-D812-A70A-DB7BFB6F9864}"/>
              </a:ext>
            </a:extLst>
          </p:cNvPr>
          <p:cNvSpPr>
            <a:spLocks noGrp="1"/>
          </p:cNvSpPr>
          <p:nvPr>
            <p:ph type="title" hasCustomPrompt="1"/>
          </p:nvPr>
        </p:nvSpPr>
        <p:spPr>
          <a:xfrm>
            <a:off x="3494882" y="873125"/>
            <a:ext cx="5202236" cy="362228"/>
          </a:xfrm>
          <a:prstGeom prst="rect">
            <a:avLst/>
          </a:prstGeom>
        </p:spPr>
        <p:txBody>
          <a:bodyPr vert="horz" lIns="0" tIns="0" rIns="0" bIns="0" rtlCol="0" anchor="b">
            <a:noAutofit/>
          </a:bodyPr>
          <a:lstStyle>
            <a:lvl1pPr algn="ctr" rtl="0">
              <a:lnSpc>
                <a:spcPct val="90000"/>
              </a:lnSpc>
              <a:defRPr sz="2800">
                <a:solidFill>
                  <a:schemeClr val="tx2"/>
                </a:solidFill>
              </a:defRPr>
            </a:lvl1pPr>
          </a:lstStyle>
          <a:p>
            <a:r>
              <a:rPr lang="en-AU"/>
              <a:t>Heading here</a:t>
            </a:r>
            <a:endParaRPr lang="en-AU" dirty="0"/>
          </a:p>
        </p:txBody>
      </p:sp>
      <p:sp>
        <p:nvSpPr>
          <p:cNvPr id="26" name="Text Placeholder 20">
            <a:extLst>
              <a:ext uri="{FF2B5EF4-FFF2-40B4-BE49-F238E27FC236}">
                <a16:creationId xmlns:a16="http://schemas.microsoft.com/office/drawing/2014/main" id="{AF171BAD-8A9B-C0DE-051A-E8170B338C50}"/>
              </a:ext>
            </a:extLst>
          </p:cNvPr>
          <p:cNvSpPr>
            <a:spLocks noGrp="1"/>
          </p:cNvSpPr>
          <p:nvPr>
            <p:ph type="body" sz="quarter" idx="23" hasCustomPrompt="1"/>
          </p:nvPr>
        </p:nvSpPr>
        <p:spPr>
          <a:xfrm>
            <a:off x="2422188" y="1382283"/>
            <a:ext cx="7412476" cy="496434"/>
          </a:xfrm>
          <a:prstGeom prst="rect">
            <a:avLst/>
          </a:prstGeom>
        </p:spPr>
        <p:txBody>
          <a:bodyPr/>
          <a:lstStyle>
            <a:lvl1pPr algn="ctr" rtl="0">
              <a:lnSpc>
                <a:spcPct val="120000"/>
              </a:lnSpc>
              <a:defRPr sz="1400" b="1">
                <a:solidFill>
                  <a:schemeClr val="accent4"/>
                </a:solidFill>
                <a:latin typeface="+mn-lt"/>
              </a:defRPr>
            </a:lvl1pPr>
          </a:lstStyle>
          <a:p>
            <a:pPr lvl="0"/>
            <a:r>
              <a:rPr lang="en-AU"/>
              <a:t>Lorem ipsum dolor sit amet, consectetur adipiscing elit, sed do eiusmod Lorem ipsum dolor sit amet, consectetur adipiscing elit, sed do eiusmod</a:t>
            </a:r>
            <a:endParaRPr lang="en-AU" dirty="0"/>
          </a:p>
        </p:txBody>
      </p:sp>
      <p:sp>
        <p:nvSpPr>
          <p:cNvPr id="27" name="Text Placeholder 20">
            <a:extLst>
              <a:ext uri="{FF2B5EF4-FFF2-40B4-BE49-F238E27FC236}">
                <a16:creationId xmlns:a16="http://schemas.microsoft.com/office/drawing/2014/main" id="{BFF87DF7-5526-C04E-1DBC-D275C6C2605F}"/>
              </a:ext>
            </a:extLst>
          </p:cNvPr>
          <p:cNvSpPr>
            <a:spLocks noGrp="1"/>
          </p:cNvSpPr>
          <p:nvPr>
            <p:ph type="body" sz="quarter" idx="14" hasCustomPrompt="1"/>
          </p:nvPr>
        </p:nvSpPr>
        <p:spPr>
          <a:xfrm>
            <a:off x="889000" y="4956091"/>
            <a:ext cx="3360962" cy="718777"/>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Lorem ipsum </a:t>
            </a:r>
            <a:endParaRPr lang="en-AU" dirty="0"/>
          </a:p>
        </p:txBody>
      </p:sp>
      <p:sp>
        <p:nvSpPr>
          <p:cNvPr id="28" name="Text Placeholder 20">
            <a:extLst>
              <a:ext uri="{FF2B5EF4-FFF2-40B4-BE49-F238E27FC236}">
                <a16:creationId xmlns:a16="http://schemas.microsoft.com/office/drawing/2014/main" id="{AE765971-989D-95A8-8E58-5D2170320991}"/>
              </a:ext>
            </a:extLst>
          </p:cNvPr>
          <p:cNvSpPr>
            <a:spLocks noGrp="1"/>
          </p:cNvSpPr>
          <p:nvPr>
            <p:ph type="body" sz="quarter" idx="24" hasCustomPrompt="1"/>
          </p:nvPr>
        </p:nvSpPr>
        <p:spPr>
          <a:xfrm>
            <a:off x="889000" y="4685584"/>
            <a:ext cx="3360962" cy="179234"/>
          </a:xfrm>
          <a:prstGeom prst="rect">
            <a:avLst/>
          </a:prstGeom>
        </p:spPr>
        <p:txBody>
          <a:bodyPr/>
          <a:lstStyle>
            <a:lvl1pPr algn="l" rtl="0">
              <a:lnSpc>
                <a:spcPct val="100000"/>
              </a:lnSpc>
              <a:defRPr sz="1400" b="1">
                <a:solidFill>
                  <a:schemeClr val="tx2"/>
                </a:solidFill>
                <a:latin typeface="+mn-lt"/>
              </a:defRPr>
            </a:lvl1pPr>
          </a:lstStyle>
          <a:p>
            <a:pPr lvl="0"/>
            <a:r>
              <a:rPr lang="en-AU"/>
              <a:t>IMAGE DESCRIPTION</a:t>
            </a:r>
            <a:endParaRPr lang="en-AU" dirty="0"/>
          </a:p>
        </p:txBody>
      </p:sp>
      <p:sp>
        <p:nvSpPr>
          <p:cNvPr id="29" name="Text Placeholder 20">
            <a:extLst>
              <a:ext uri="{FF2B5EF4-FFF2-40B4-BE49-F238E27FC236}">
                <a16:creationId xmlns:a16="http://schemas.microsoft.com/office/drawing/2014/main" id="{3534AC86-26AC-574B-048C-A1D80BC77E00}"/>
              </a:ext>
            </a:extLst>
          </p:cNvPr>
          <p:cNvSpPr>
            <a:spLocks noGrp="1"/>
          </p:cNvSpPr>
          <p:nvPr>
            <p:ph type="body" sz="quarter" idx="25" hasCustomPrompt="1"/>
          </p:nvPr>
        </p:nvSpPr>
        <p:spPr>
          <a:xfrm>
            <a:off x="4411550" y="4956091"/>
            <a:ext cx="3360962" cy="718777"/>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Lorem ipsum </a:t>
            </a:r>
            <a:endParaRPr lang="en-AU" dirty="0"/>
          </a:p>
        </p:txBody>
      </p:sp>
      <p:sp>
        <p:nvSpPr>
          <p:cNvPr id="30" name="Text Placeholder 20">
            <a:extLst>
              <a:ext uri="{FF2B5EF4-FFF2-40B4-BE49-F238E27FC236}">
                <a16:creationId xmlns:a16="http://schemas.microsoft.com/office/drawing/2014/main" id="{391564F8-6020-1423-1A01-7D66751A027C}"/>
              </a:ext>
            </a:extLst>
          </p:cNvPr>
          <p:cNvSpPr>
            <a:spLocks noGrp="1"/>
          </p:cNvSpPr>
          <p:nvPr>
            <p:ph type="body" sz="quarter" idx="26" hasCustomPrompt="1"/>
          </p:nvPr>
        </p:nvSpPr>
        <p:spPr>
          <a:xfrm>
            <a:off x="4411550" y="4685584"/>
            <a:ext cx="3360962" cy="179234"/>
          </a:xfrm>
          <a:prstGeom prst="rect">
            <a:avLst/>
          </a:prstGeom>
        </p:spPr>
        <p:txBody>
          <a:bodyPr/>
          <a:lstStyle>
            <a:lvl1pPr algn="l" rtl="0">
              <a:lnSpc>
                <a:spcPct val="100000"/>
              </a:lnSpc>
              <a:defRPr sz="1400" b="1">
                <a:solidFill>
                  <a:schemeClr val="tx2"/>
                </a:solidFill>
                <a:latin typeface="+mn-lt"/>
              </a:defRPr>
            </a:lvl1pPr>
          </a:lstStyle>
          <a:p>
            <a:pPr lvl="0"/>
            <a:r>
              <a:rPr lang="en-AU"/>
              <a:t>IMAGE DESCRIPTION</a:t>
            </a:r>
            <a:endParaRPr lang="en-AU" dirty="0"/>
          </a:p>
        </p:txBody>
      </p:sp>
      <p:sp>
        <p:nvSpPr>
          <p:cNvPr id="31" name="Text Placeholder 20">
            <a:extLst>
              <a:ext uri="{FF2B5EF4-FFF2-40B4-BE49-F238E27FC236}">
                <a16:creationId xmlns:a16="http://schemas.microsoft.com/office/drawing/2014/main" id="{92B50AA4-E16E-8D75-BC0A-1843AE5C0CD7}"/>
              </a:ext>
            </a:extLst>
          </p:cNvPr>
          <p:cNvSpPr>
            <a:spLocks noGrp="1"/>
          </p:cNvSpPr>
          <p:nvPr>
            <p:ph type="body" sz="quarter" idx="27" hasCustomPrompt="1"/>
          </p:nvPr>
        </p:nvSpPr>
        <p:spPr>
          <a:xfrm>
            <a:off x="7934101" y="4956091"/>
            <a:ext cx="3353025" cy="718777"/>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Lorem ipsum </a:t>
            </a:r>
            <a:endParaRPr lang="en-AU" dirty="0"/>
          </a:p>
        </p:txBody>
      </p:sp>
      <p:sp>
        <p:nvSpPr>
          <p:cNvPr id="32" name="Text Placeholder 20">
            <a:extLst>
              <a:ext uri="{FF2B5EF4-FFF2-40B4-BE49-F238E27FC236}">
                <a16:creationId xmlns:a16="http://schemas.microsoft.com/office/drawing/2014/main" id="{DEC833EC-0BAF-ABCD-9DD9-FE70B827DF2A}"/>
              </a:ext>
            </a:extLst>
          </p:cNvPr>
          <p:cNvSpPr>
            <a:spLocks noGrp="1"/>
          </p:cNvSpPr>
          <p:nvPr>
            <p:ph type="body" sz="quarter" idx="28" hasCustomPrompt="1"/>
          </p:nvPr>
        </p:nvSpPr>
        <p:spPr>
          <a:xfrm>
            <a:off x="7934101" y="4685584"/>
            <a:ext cx="3353025" cy="179234"/>
          </a:xfrm>
          <a:prstGeom prst="rect">
            <a:avLst/>
          </a:prstGeom>
        </p:spPr>
        <p:txBody>
          <a:bodyPr/>
          <a:lstStyle>
            <a:lvl1pPr algn="l" rtl="0">
              <a:lnSpc>
                <a:spcPct val="100000"/>
              </a:lnSpc>
              <a:defRPr sz="1400" b="1">
                <a:solidFill>
                  <a:schemeClr val="tx2"/>
                </a:solidFill>
                <a:latin typeface="+mn-lt"/>
              </a:defRPr>
            </a:lvl1pPr>
          </a:lstStyle>
          <a:p>
            <a:pPr lvl="0"/>
            <a:r>
              <a:rPr lang="en-AU"/>
              <a:t>IMAGE DESCRIPTION</a:t>
            </a:r>
            <a:endParaRPr lang="en-AU" dirty="0"/>
          </a:p>
        </p:txBody>
      </p:sp>
      <p:sp>
        <p:nvSpPr>
          <p:cNvPr id="43" name="Text Placeholder 23">
            <a:extLst>
              <a:ext uri="{FF2B5EF4-FFF2-40B4-BE49-F238E27FC236}">
                <a16:creationId xmlns:a16="http://schemas.microsoft.com/office/drawing/2014/main" id="{292E7A39-2A56-7628-8F13-4A022CB3767A}"/>
              </a:ext>
            </a:extLst>
          </p:cNvPr>
          <p:cNvSpPr>
            <a:spLocks noGrp="1"/>
          </p:cNvSpPr>
          <p:nvPr>
            <p:ph type="body" sz="quarter" idx="17" hasCustomPrompt="1"/>
          </p:nvPr>
        </p:nvSpPr>
        <p:spPr>
          <a:xfrm>
            <a:off x="889000" y="5811053"/>
            <a:ext cx="541556" cy="154772"/>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44" name="Text Placeholder 23">
            <a:extLst>
              <a:ext uri="{FF2B5EF4-FFF2-40B4-BE49-F238E27FC236}">
                <a16:creationId xmlns:a16="http://schemas.microsoft.com/office/drawing/2014/main" id="{2945DEF7-3096-3A4B-63B6-49718DDF0704}"/>
              </a:ext>
            </a:extLst>
          </p:cNvPr>
          <p:cNvSpPr>
            <a:spLocks noGrp="1"/>
          </p:cNvSpPr>
          <p:nvPr>
            <p:ph type="body" sz="quarter" idx="29" hasCustomPrompt="1"/>
          </p:nvPr>
        </p:nvSpPr>
        <p:spPr>
          <a:xfrm>
            <a:off x="4411550" y="5811053"/>
            <a:ext cx="541556" cy="154772"/>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45" name="Text Placeholder 23">
            <a:extLst>
              <a:ext uri="{FF2B5EF4-FFF2-40B4-BE49-F238E27FC236}">
                <a16:creationId xmlns:a16="http://schemas.microsoft.com/office/drawing/2014/main" id="{248D52F2-F68B-9978-7723-88CEC35F4322}"/>
              </a:ext>
            </a:extLst>
          </p:cNvPr>
          <p:cNvSpPr>
            <a:spLocks noGrp="1"/>
          </p:cNvSpPr>
          <p:nvPr>
            <p:ph type="body" sz="quarter" idx="30" hasCustomPrompt="1"/>
          </p:nvPr>
        </p:nvSpPr>
        <p:spPr>
          <a:xfrm>
            <a:off x="7934101" y="5811053"/>
            <a:ext cx="541556" cy="154772"/>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47" name="Footer Placeholder 7">
            <a:extLst>
              <a:ext uri="{FF2B5EF4-FFF2-40B4-BE49-F238E27FC236}">
                <a16:creationId xmlns:a16="http://schemas.microsoft.com/office/drawing/2014/main" id="{7C89A5FC-C998-3925-E069-01D9B56FFED3}"/>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66B17907-4778-91C4-2A1F-03C8B4313EEF}"/>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51645644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Content 6">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8E328A4-07B5-765E-F0B9-7A337BDBB7BB}"/>
              </a:ext>
            </a:extLst>
          </p:cNvPr>
          <p:cNvGraphicFramePr>
            <a:graphicFrameLocks noChangeAspect="1"/>
          </p:cNvGraphicFramePr>
          <p:nvPr userDrawn="1">
            <p:custDataLst>
              <p:tags r:id="rId1"/>
            </p:custDataLst>
            <p:extLst>
              <p:ext uri="{D42A27DB-BD31-4B8C-83A1-F6EECF244321}">
                <p14:modId xmlns:p14="http://schemas.microsoft.com/office/powerpoint/2010/main" val="245678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78E328A4-07B5-765E-F0B9-7A337BDBB7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24EB68CF-FF81-A5E9-5F62-03A462D7705C}"/>
              </a:ext>
            </a:extLst>
          </p:cNvPr>
          <p:cNvSpPr>
            <a:spLocks noGrp="1"/>
          </p:cNvSpPr>
          <p:nvPr>
            <p:ph type="pic" sz="quarter" idx="15" hasCustomPrompt="1"/>
          </p:nvPr>
        </p:nvSpPr>
        <p:spPr>
          <a:xfrm>
            <a:off x="7820819" y="0"/>
            <a:ext cx="3474244" cy="6858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7" name="Title Placeholder 1">
            <a:extLst>
              <a:ext uri="{FF2B5EF4-FFF2-40B4-BE49-F238E27FC236}">
                <a16:creationId xmlns:a16="http://schemas.microsoft.com/office/drawing/2014/main" id="{0561E3F6-9345-2C8A-137D-1A828AC863A8}"/>
              </a:ext>
            </a:extLst>
          </p:cNvPr>
          <p:cNvSpPr>
            <a:spLocks noGrp="1"/>
          </p:cNvSpPr>
          <p:nvPr>
            <p:ph type="title" hasCustomPrompt="1"/>
          </p:nvPr>
        </p:nvSpPr>
        <p:spPr>
          <a:xfrm>
            <a:off x="893233" y="873125"/>
            <a:ext cx="5202236"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18" name="Text Placeholder 20">
            <a:extLst>
              <a:ext uri="{FF2B5EF4-FFF2-40B4-BE49-F238E27FC236}">
                <a16:creationId xmlns:a16="http://schemas.microsoft.com/office/drawing/2014/main" id="{13F7E2E9-9969-83C5-FA8A-E9E522D640EB}"/>
              </a:ext>
            </a:extLst>
          </p:cNvPr>
          <p:cNvSpPr>
            <a:spLocks noGrp="1"/>
          </p:cNvSpPr>
          <p:nvPr>
            <p:ph type="body" sz="quarter" idx="23" hasCustomPrompt="1"/>
          </p:nvPr>
        </p:nvSpPr>
        <p:spPr>
          <a:xfrm>
            <a:off x="893233" y="1382283"/>
            <a:ext cx="5202236" cy="927601"/>
          </a:xfrm>
          <a:prstGeom prst="rect">
            <a:avLst/>
          </a:prstGeom>
        </p:spPr>
        <p:txBody>
          <a:bodyPr/>
          <a:lstStyle>
            <a:lvl1pPr algn="l" rtl="0">
              <a:lnSpc>
                <a:spcPct val="120000"/>
              </a:lnSpc>
              <a:defRPr sz="1400">
                <a:solidFill>
                  <a:schemeClr val="tx2"/>
                </a:solidFill>
                <a:latin typeface="+mn-lt"/>
              </a:defRPr>
            </a:lvl1pPr>
          </a:lstStyle>
          <a:p>
            <a:pPr lvl="0"/>
            <a:r>
              <a:rPr lang="en-AU"/>
              <a:t>Lorem ipsum dolor sit amet, consectetur adipiscing elit, sed do eiusmod tempor incididunt ut labore et dolore magna aliqua. Ut enim ad minim veniam, </a:t>
            </a:r>
            <a:endParaRPr lang="en-AU" dirty="0"/>
          </a:p>
        </p:txBody>
      </p:sp>
      <p:sp>
        <p:nvSpPr>
          <p:cNvPr id="19" name="Text Placeholder 20">
            <a:extLst>
              <a:ext uri="{FF2B5EF4-FFF2-40B4-BE49-F238E27FC236}">
                <a16:creationId xmlns:a16="http://schemas.microsoft.com/office/drawing/2014/main" id="{861283B9-757A-21AA-1501-B9163844BF9E}"/>
              </a:ext>
            </a:extLst>
          </p:cNvPr>
          <p:cNvSpPr>
            <a:spLocks noGrp="1"/>
          </p:cNvSpPr>
          <p:nvPr>
            <p:ph type="body" sz="quarter" idx="14" hasCustomPrompt="1"/>
          </p:nvPr>
        </p:nvSpPr>
        <p:spPr>
          <a:xfrm>
            <a:off x="1823593" y="2846549"/>
            <a:ext cx="4271876" cy="488837"/>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a:t>
            </a:r>
            <a:endParaRPr lang="en-AU" dirty="0"/>
          </a:p>
        </p:txBody>
      </p:sp>
      <p:sp>
        <p:nvSpPr>
          <p:cNvPr id="20" name="Text Placeholder 20">
            <a:extLst>
              <a:ext uri="{FF2B5EF4-FFF2-40B4-BE49-F238E27FC236}">
                <a16:creationId xmlns:a16="http://schemas.microsoft.com/office/drawing/2014/main" id="{15B047DF-E513-1C77-AE58-55CF70836F08}"/>
              </a:ext>
            </a:extLst>
          </p:cNvPr>
          <p:cNvSpPr>
            <a:spLocks noGrp="1"/>
          </p:cNvSpPr>
          <p:nvPr>
            <p:ph type="body" sz="quarter" idx="20" hasCustomPrompt="1"/>
          </p:nvPr>
        </p:nvSpPr>
        <p:spPr>
          <a:xfrm>
            <a:off x="1824126" y="2583473"/>
            <a:ext cx="4271344" cy="171533"/>
          </a:xfrm>
          <a:prstGeom prst="rect">
            <a:avLst/>
          </a:prstGeom>
        </p:spPr>
        <p:txBody>
          <a:bodyPr/>
          <a:lstStyle>
            <a:lvl1pPr algn="l" rtl="0">
              <a:lnSpc>
                <a:spcPct val="100000"/>
              </a:lnSpc>
              <a:defRPr sz="1400" b="1">
                <a:solidFill>
                  <a:schemeClr val="tx2"/>
                </a:solidFill>
                <a:latin typeface="+mn-lt"/>
              </a:defRPr>
            </a:lvl1pPr>
          </a:lstStyle>
          <a:p>
            <a:pPr lvl="0"/>
            <a:r>
              <a:rPr lang="en-AU"/>
              <a:t>SUBHEADING</a:t>
            </a:r>
            <a:endParaRPr lang="en-AU" dirty="0"/>
          </a:p>
        </p:txBody>
      </p:sp>
      <p:sp>
        <p:nvSpPr>
          <p:cNvPr id="27" name="Text Placeholder 27">
            <a:extLst>
              <a:ext uri="{FF2B5EF4-FFF2-40B4-BE49-F238E27FC236}">
                <a16:creationId xmlns:a16="http://schemas.microsoft.com/office/drawing/2014/main" id="{E496E75B-3909-08C3-E4F2-0C1046192758}"/>
              </a:ext>
            </a:extLst>
          </p:cNvPr>
          <p:cNvSpPr>
            <a:spLocks noGrp="1"/>
          </p:cNvSpPr>
          <p:nvPr>
            <p:ph type="body" sz="quarter" idx="28" hasCustomPrompt="1"/>
          </p:nvPr>
        </p:nvSpPr>
        <p:spPr>
          <a:xfrm>
            <a:off x="893763" y="2550311"/>
            <a:ext cx="806400" cy="805364"/>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solidFill>
                  <a:schemeClr val="tx2"/>
                </a:solidFill>
              </a:defRPr>
            </a:lvl1pPr>
          </a:lstStyle>
          <a:p>
            <a:pPr lvl="0"/>
            <a:r>
              <a:rPr lang="en-AU"/>
              <a:t>.</a:t>
            </a:r>
            <a:endParaRPr lang="en-AU" dirty="0"/>
          </a:p>
        </p:txBody>
      </p:sp>
      <p:sp>
        <p:nvSpPr>
          <p:cNvPr id="2" name="Text Placeholder 20">
            <a:extLst>
              <a:ext uri="{FF2B5EF4-FFF2-40B4-BE49-F238E27FC236}">
                <a16:creationId xmlns:a16="http://schemas.microsoft.com/office/drawing/2014/main" id="{C8700EED-390E-3587-1DCD-E79D166EBDA9}"/>
              </a:ext>
            </a:extLst>
          </p:cNvPr>
          <p:cNvSpPr>
            <a:spLocks noGrp="1"/>
          </p:cNvSpPr>
          <p:nvPr>
            <p:ph type="body" sz="quarter" idx="29" hasCustomPrompt="1"/>
          </p:nvPr>
        </p:nvSpPr>
        <p:spPr>
          <a:xfrm>
            <a:off x="1823593" y="3996737"/>
            <a:ext cx="4271876" cy="488837"/>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a:t>
            </a:r>
            <a:endParaRPr lang="en-AU" dirty="0"/>
          </a:p>
        </p:txBody>
      </p:sp>
      <p:sp>
        <p:nvSpPr>
          <p:cNvPr id="3" name="Text Placeholder 20">
            <a:extLst>
              <a:ext uri="{FF2B5EF4-FFF2-40B4-BE49-F238E27FC236}">
                <a16:creationId xmlns:a16="http://schemas.microsoft.com/office/drawing/2014/main" id="{980F77FC-3859-5388-EE8A-82214FBEE805}"/>
              </a:ext>
            </a:extLst>
          </p:cNvPr>
          <p:cNvSpPr>
            <a:spLocks noGrp="1"/>
          </p:cNvSpPr>
          <p:nvPr>
            <p:ph type="body" sz="quarter" idx="30" hasCustomPrompt="1"/>
          </p:nvPr>
        </p:nvSpPr>
        <p:spPr>
          <a:xfrm>
            <a:off x="1824126" y="3733661"/>
            <a:ext cx="4271344" cy="171533"/>
          </a:xfrm>
          <a:prstGeom prst="rect">
            <a:avLst/>
          </a:prstGeom>
        </p:spPr>
        <p:txBody>
          <a:bodyPr/>
          <a:lstStyle>
            <a:lvl1pPr algn="l" rtl="0">
              <a:lnSpc>
                <a:spcPct val="100000"/>
              </a:lnSpc>
              <a:defRPr sz="1400" b="1">
                <a:solidFill>
                  <a:schemeClr val="tx2"/>
                </a:solidFill>
                <a:latin typeface="+mn-lt"/>
              </a:defRPr>
            </a:lvl1pPr>
          </a:lstStyle>
          <a:p>
            <a:pPr lvl="0"/>
            <a:r>
              <a:rPr lang="en-AU"/>
              <a:t>SUBHEADING</a:t>
            </a:r>
            <a:endParaRPr lang="en-AU" dirty="0"/>
          </a:p>
        </p:txBody>
      </p:sp>
      <p:sp>
        <p:nvSpPr>
          <p:cNvPr id="4" name="Text Placeholder 27">
            <a:extLst>
              <a:ext uri="{FF2B5EF4-FFF2-40B4-BE49-F238E27FC236}">
                <a16:creationId xmlns:a16="http://schemas.microsoft.com/office/drawing/2014/main" id="{DDD8AB03-8A2D-9902-9691-E5F3623856E5}"/>
              </a:ext>
            </a:extLst>
          </p:cNvPr>
          <p:cNvSpPr>
            <a:spLocks noGrp="1"/>
          </p:cNvSpPr>
          <p:nvPr>
            <p:ph type="body" sz="quarter" idx="31" hasCustomPrompt="1"/>
          </p:nvPr>
        </p:nvSpPr>
        <p:spPr>
          <a:xfrm>
            <a:off x="893763" y="3738662"/>
            <a:ext cx="806400" cy="805364"/>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solidFill>
                  <a:schemeClr val="tx2"/>
                </a:solidFill>
              </a:defRPr>
            </a:lvl1pPr>
          </a:lstStyle>
          <a:p>
            <a:pPr lvl="0"/>
            <a:r>
              <a:rPr lang="en-AU"/>
              <a:t>.</a:t>
            </a:r>
            <a:endParaRPr lang="en-AU" dirty="0"/>
          </a:p>
        </p:txBody>
      </p:sp>
      <p:sp>
        <p:nvSpPr>
          <p:cNvPr id="6" name="Text Placeholder 20">
            <a:extLst>
              <a:ext uri="{FF2B5EF4-FFF2-40B4-BE49-F238E27FC236}">
                <a16:creationId xmlns:a16="http://schemas.microsoft.com/office/drawing/2014/main" id="{84D2A8CF-47BD-D0DA-888A-7E27AC6BE02C}"/>
              </a:ext>
            </a:extLst>
          </p:cNvPr>
          <p:cNvSpPr>
            <a:spLocks noGrp="1"/>
          </p:cNvSpPr>
          <p:nvPr>
            <p:ph type="body" sz="quarter" idx="32" hasCustomPrompt="1"/>
          </p:nvPr>
        </p:nvSpPr>
        <p:spPr>
          <a:xfrm>
            <a:off x="1823593" y="5223250"/>
            <a:ext cx="4271876" cy="488837"/>
          </a:xfrm>
          <a:prstGeom prst="rect">
            <a:avLst/>
          </a:prstGeom>
        </p:spPr>
        <p:txBody>
          <a:bodyPr/>
          <a:lstStyle>
            <a:lvl1pPr algn="l" rtl="0">
              <a:lnSpc>
                <a:spcPct val="120000"/>
              </a:lnSpc>
              <a:defRPr sz="1200">
                <a:solidFill>
                  <a:schemeClr val="tx2"/>
                </a:solidFill>
                <a:latin typeface="+mn-lt"/>
              </a:defRPr>
            </a:lvl1pPr>
          </a:lstStyle>
          <a:p>
            <a:pPr lvl="0"/>
            <a:r>
              <a:rPr lang="en-AU"/>
              <a:t>Lorem ipsum dolor sit amet, consectetur adipiscing elit, sed do eiusmod tempor</a:t>
            </a:r>
            <a:endParaRPr lang="en-AU" dirty="0"/>
          </a:p>
        </p:txBody>
      </p:sp>
      <p:sp>
        <p:nvSpPr>
          <p:cNvPr id="8" name="Text Placeholder 20">
            <a:extLst>
              <a:ext uri="{FF2B5EF4-FFF2-40B4-BE49-F238E27FC236}">
                <a16:creationId xmlns:a16="http://schemas.microsoft.com/office/drawing/2014/main" id="{A8EC073E-A6CC-55BC-2682-DD7E2EA6ECEB}"/>
              </a:ext>
            </a:extLst>
          </p:cNvPr>
          <p:cNvSpPr>
            <a:spLocks noGrp="1"/>
          </p:cNvSpPr>
          <p:nvPr>
            <p:ph type="body" sz="quarter" idx="33" hasCustomPrompt="1"/>
          </p:nvPr>
        </p:nvSpPr>
        <p:spPr>
          <a:xfrm>
            <a:off x="1824126" y="4960174"/>
            <a:ext cx="4271344" cy="171533"/>
          </a:xfrm>
          <a:prstGeom prst="rect">
            <a:avLst/>
          </a:prstGeom>
        </p:spPr>
        <p:txBody>
          <a:bodyPr/>
          <a:lstStyle>
            <a:lvl1pPr algn="l" rtl="0">
              <a:lnSpc>
                <a:spcPct val="100000"/>
              </a:lnSpc>
              <a:defRPr sz="1400" b="1">
                <a:solidFill>
                  <a:schemeClr val="tx2"/>
                </a:solidFill>
                <a:latin typeface="+mn-lt"/>
              </a:defRPr>
            </a:lvl1pPr>
          </a:lstStyle>
          <a:p>
            <a:pPr lvl="0"/>
            <a:r>
              <a:rPr lang="en-AU"/>
              <a:t>SUBHEADING</a:t>
            </a:r>
            <a:endParaRPr lang="en-AU" dirty="0"/>
          </a:p>
        </p:txBody>
      </p:sp>
      <p:sp>
        <p:nvSpPr>
          <p:cNvPr id="9" name="Text Placeholder 27">
            <a:extLst>
              <a:ext uri="{FF2B5EF4-FFF2-40B4-BE49-F238E27FC236}">
                <a16:creationId xmlns:a16="http://schemas.microsoft.com/office/drawing/2014/main" id="{3645FF2C-8DB3-C732-92BD-E5B0AF29A00A}"/>
              </a:ext>
            </a:extLst>
          </p:cNvPr>
          <p:cNvSpPr>
            <a:spLocks noGrp="1"/>
          </p:cNvSpPr>
          <p:nvPr>
            <p:ph type="body" sz="quarter" idx="34" hasCustomPrompt="1"/>
          </p:nvPr>
        </p:nvSpPr>
        <p:spPr>
          <a:xfrm>
            <a:off x="893763" y="4927012"/>
            <a:ext cx="806400" cy="805364"/>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solidFill>
                  <a:schemeClr val="tx2"/>
                </a:solidFill>
              </a:defRPr>
            </a:lvl1pPr>
          </a:lstStyle>
          <a:p>
            <a:pPr lvl="0"/>
            <a:r>
              <a:rPr lang="en-AU"/>
              <a:t>.</a:t>
            </a:r>
            <a:endParaRPr lang="en-AU" dirty="0"/>
          </a:p>
        </p:txBody>
      </p:sp>
      <p:sp>
        <p:nvSpPr>
          <p:cNvPr id="10" name="Slide Number Placeholder 3">
            <a:extLst>
              <a:ext uri="{FF2B5EF4-FFF2-40B4-BE49-F238E27FC236}">
                <a16:creationId xmlns:a16="http://schemas.microsoft.com/office/drawing/2014/main" id="{9BEDA674-7A27-99DE-B6A2-3C3EA1FA6272}"/>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64051868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Content 7">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7F6247-2684-E256-E58D-10863E1A4DF2}"/>
              </a:ext>
            </a:extLst>
          </p:cNvPr>
          <p:cNvGraphicFramePr>
            <a:graphicFrameLocks noChangeAspect="1"/>
          </p:cNvGraphicFramePr>
          <p:nvPr userDrawn="1">
            <p:custDataLst>
              <p:tags r:id="rId1"/>
            </p:custDataLst>
            <p:extLst>
              <p:ext uri="{D42A27DB-BD31-4B8C-83A1-F6EECF244321}">
                <p14:modId xmlns:p14="http://schemas.microsoft.com/office/powerpoint/2010/main" val="3208349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8E7F6247-2684-E256-E58D-10863E1A4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1">
            <a:extLst>
              <a:ext uri="{FF2B5EF4-FFF2-40B4-BE49-F238E27FC236}">
                <a16:creationId xmlns:a16="http://schemas.microsoft.com/office/drawing/2014/main" id="{8F970301-FA5C-0A4B-0B73-451BFDEEC013}"/>
              </a:ext>
            </a:extLst>
          </p:cNvPr>
          <p:cNvSpPr>
            <a:spLocks noGrp="1"/>
          </p:cNvSpPr>
          <p:nvPr>
            <p:ph type="pic" sz="quarter" idx="15" hasCustomPrompt="1"/>
          </p:nvPr>
        </p:nvSpPr>
        <p:spPr>
          <a:xfrm>
            <a:off x="-1476" y="0"/>
            <a:ext cx="6996224" cy="6858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19" name="Text Placeholder 20">
            <a:extLst>
              <a:ext uri="{FF2B5EF4-FFF2-40B4-BE49-F238E27FC236}">
                <a16:creationId xmlns:a16="http://schemas.microsoft.com/office/drawing/2014/main" id="{A9CFC6C9-C62A-CC26-70BD-537BBF72D808}"/>
              </a:ext>
            </a:extLst>
          </p:cNvPr>
          <p:cNvSpPr>
            <a:spLocks noGrp="1"/>
          </p:cNvSpPr>
          <p:nvPr>
            <p:ph type="body" sz="quarter" idx="14" hasCustomPrompt="1"/>
          </p:nvPr>
        </p:nvSpPr>
        <p:spPr>
          <a:xfrm>
            <a:off x="7823995" y="3800474"/>
            <a:ext cx="3471067" cy="1694715"/>
          </a:xfrm>
          <a:prstGeom prst="rect">
            <a:avLst/>
          </a:prstGeom>
        </p:spPr>
        <p:txBody>
          <a:bodyPr/>
          <a:lstStyle>
            <a:lvl1pPr rtl="0">
              <a:lnSpc>
                <a:spcPct val="100000"/>
              </a:lnSpc>
              <a:defRPr sz="1400">
                <a:solidFill>
                  <a:schemeClr val="tx2"/>
                </a:solidFill>
              </a:defRPr>
            </a:lvl1pPr>
          </a:lstStyle>
          <a:p>
            <a:pPr lvl="0"/>
            <a:r>
              <a:rPr lang="en-AU"/>
              <a:t>Lorem ipsum dolor sit amet, consectetur adipiscing elit, sed do eiusmod tempor incididunt ut labore et dolore magna aliqua. Ut enim ad minim veniam, quis nostrud exercitation ullamco laboris nisi ut aliquip ex ea commodo</a:t>
            </a:r>
            <a:endParaRPr lang="en-AU" dirty="0"/>
          </a:p>
        </p:txBody>
      </p:sp>
      <p:sp>
        <p:nvSpPr>
          <p:cNvPr id="20" name="Title Placeholder 1">
            <a:extLst>
              <a:ext uri="{FF2B5EF4-FFF2-40B4-BE49-F238E27FC236}">
                <a16:creationId xmlns:a16="http://schemas.microsoft.com/office/drawing/2014/main" id="{F88A6875-0FBC-CC77-347C-147D5F108984}"/>
              </a:ext>
            </a:extLst>
          </p:cNvPr>
          <p:cNvSpPr>
            <a:spLocks noGrp="1"/>
          </p:cNvSpPr>
          <p:nvPr>
            <p:ph type="title" hasCustomPrompt="1"/>
          </p:nvPr>
        </p:nvSpPr>
        <p:spPr>
          <a:xfrm>
            <a:off x="7823995" y="1781940"/>
            <a:ext cx="3471067" cy="1234057"/>
          </a:xfrm>
          <a:prstGeom prst="rect">
            <a:avLst/>
          </a:prstGeom>
        </p:spPr>
        <p:txBody>
          <a:bodyPr vert="horz" lIns="0" tIns="0" rIns="0" bIns="0" rtlCol="0" anchor="b">
            <a:noAutofit/>
          </a:bodyPr>
          <a:lstStyle>
            <a:lvl1pPr rtl="0">
              <a:lnSpc>
                <a:spcPct val="90000"/>
              </a:lnSpc>
              <a:defRPr sz="2800">
                <a:solidFill>
                  <a:schemeClr val="tx2"/>
                </a:solidFill>
              </a:defRPr>
            </a:lvl1pPr>
          </a:lstStyle>
          <a:p>
            <a:r>
              <a:rPr lang="en-AU"/>
              <a:t>Bring Back Elegant Style to Presentations</a:t>
            </a:r>
            <a:endParaRPr lang="en-AU" dirty="0"/>
          </a:p>
        </p:txBody>
      </p:sp>
      <p:sp>
        <p:nvSpPr>
          <p:cNvPr id="22" name="Text Placeholder 20">
            <a:extLst>
              <a:ext uri="{FF2B5EF4-FFF2-40B4-BE49-F238E27FC236}">
                <a16:creationId xmlns:a16="http://schemas.microsoft.com/office/drawing/2014/main" id="{F00A4892-4AA7-6667-62F5-2CD51FF8E2C4}"/>
              </a:ext>
            </a:extLst>
          </p:cNvPr>
          <p:cNvSpPr>
            <a:spLocks noGrp="1"/>
          </p:cNvSpPr>
          <p:nvPr>
            <p:ph type="body" sz="quarter" idx="16" hasCustomPrompt="1"/>
          </p:nvPr>
        </p:nvSpPr>
        <p:spPr>
          <a:xfrm>
            <a:off x="7823995" y="1426122"/>
            <a:ext cx="3471067" cy="206350"/>
          </a:xfrm>
          <a:prstGeom prst="rect">
            <a:avLst/>
          </a:prstGeom>
        </p:spPr>
        <p:txBody>
          <a:bodyPr/>
          <a:lstStyle>
            <a:lvl1pPr rtl="0">
              <a:lnSpc>
                <a:spcPct val="100000"/>
              </a:lnSpc>
              <a:defRPr sz="1400">
                <a:solidFill>
                  <a:schemeClr val="tx2"/>
                </a:solidFill>
              </a:defRPr>
            </a:lvl1pPr>
          </a:lstStyle>
          <a:p>
            <a:pPr lvl="0"/>
            <a:r>
              <a:rPr lang="en-AU"/>
              <a:t>Our mission</a:t>
            </a:r>
            <a:endParaRPr lang="en-AU" dirty="0"/>
          </a:p>
        </p:txBody>
      </p:sp>
      <p:sp>
        <p:nvSpPr>
          <p:cNvPr id="24" name="Text Placeholder 23">
            <a:extLst>
              <a:ext uri="{FF2B5EF4-FFF2-40B4-BE49-F238E27FC236}">
                <a16:creationId xmlns:a16="http://schemas.microsoft.com/office/drawing/2014/main" id="{2ECB6C72-6BBC-8CCA-F8E5-DCB63EFE24FB}"/>
              </a:ext>
            </a:extLst>
          </p:cNvPr>
          <p:cNvSpPr>
            <a:spLocks noGrp="1"/>
          </p:cNvSpPr>
          <p:nvPr>
            <p:ph type="body" sz="quarter" idx="17" hasCustomPrompt="1"/>
          </p:nvPr>
        </p:nvSpPr>
        <p:spPr>
          <a:xfrm>
            <a:off x="7823996" y="3385345"/>
            <a:ext cx="1016000" cy="87313"/>
          </a:xfrm>
          <a:prstGeom prst="rect">
            <a:avLst/>
          </a:prstGeom>
          <a:solidFill>
            <a:schemeClr val="accent1"/>
          </a:solidFill>
        </p:spPr>
        <p:txBody>
          <a:bodyPr/>
          <a:lstStyle>
            <a:lvl1pPr rtl="0">
              <a:defRPr sz="800">
                <a:solidFill>
                  <a:schemeClr val="tx2"/>
                </a:solidFill>
              </a:defRPr>
            </a:lvl1pPr>
          </a:lstStyle>
          <a:p>
            <a:pPr lvl="0"/>
            <a:r>
              <a:rPr lang="en-AU"/>
              <a:t>.</a:t>
            </a:r>
            <a:endParaRPr lang="en-AU" dirty="0"/>
          </a:p>
        </p:txBody>
      </p:sp>
      <p:sp>
        <p:nvSpPr>
          <p:cNvPr id="3" name="Footer Placeholder 7">
            <a:extLst>
              <a:ext uri="{FF2B5EF4-FFF2-40B4-BE49-F238E27FC236}">
                <a16:creationId xmlns:a16="http://schemas.microsoft.com/office/drawing/2014/main" id="{799F4C8D-5C9B-92DC-69A5-DAAAA37BEC0D}"/>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B4A34CF7-D987-0703-F4E1-42024A705E86}"/>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073670124"/>
      </p:ext>
    </p:extLst>
  </p:cSld>
  <p:clrMapOvr>
    <a:masterClrMapping/>
  </p:clrMapOvr>
  <p:extLst>
    <p:ext uri="{DCECCB84-F9BA-43D5-87BE-67443E8EF086}">
      <p15:sldGuideLst xmlns:p15="http://schemas.microsoft.com/office/powerpoint/2012/main">
        <p15:guide id="1" pos="440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Content 8">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BF03018-3A4A-45A9-FC51-7DCECCB929E8}"/>
              </a:ext>
            </a:extLst>
          </p:cNvPr>
          <p:cNvGraphicFramePr>
            <a:graphicFrameLocks noChangeAspect="1"/>
          </p:cNvGraphicFramePr>
          <p:nvPr userDrawn="1">
            <p:custDataLst>
              <p:tags r:id="rId1"/>
            </p:custDataLst>
            <p:extLst>
              <p:ext uri="{D42A27DB-BD31-4B8C-83A1-F6EECF244321}">
                <p14:modId xmlns:p14="http://schemas.microsoft.com/office/powerpoint/2010/main" val="3277505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FBF03018-3A4A-45A9-FC51-7DCECCB929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1">
            <a:extLst>
              <a:ext uri="{FF2B5EF4-FFF2-40B4-BE49-F238E27FC236}">
                <a16:creationId xmlns:a16="http://schemas.microsoft.com/office/drawing/2014/main" id="{8F970301-FA5C-0A4B-0B73-451BFDEEC013}"/>
              </a:ext>
            </a:extLst>
          </p:cNvPr>
          <p:cNvSpPr>
            <a:spLocks noGrp="1"/>
          </p:cNvSpPr>
          <p:nvPr>
            <p:ph type="pic" sz="quarter" idx="15" hasCustomPrompt="1"/>
          </p:nvPr>
        </p:nvSpPr>
        <p:spPr>
          <a:xfrm>
            <a:off x="6096000" y="0"/>
            <a:ext cx="6096000" cy="3429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 then Right Click and Send to Back</a:t>
            </a:r>
            <a:endParaRPr lang="en-AU" dirty="0"/>
          </a:p>
        </p:txBody>
      </p:sp>
      <p:sp>
        <p:nvSpPr>
          <p:cNvPr id="15" name="Picture Placeholder 11">
            <a:extLst>
              <a:ext uri="{FF2B5EF4-FFF2-40B4-BE49-F238E27FC236}">
                <a16:creationId xmlns:a16="http://schemas.microsoft.com/office/drawing/2014/main" id="{1F8DCCCB-878C-18F9-22B8-1D026E345AD4}"/>
              </a:ext>
            </a:extLst>
          </p:cNvPr>
          <p:cNvSpPr>
            <a:spLocks noGrp="1"/>
          </p:cNvSpPr>
          <p:nvPr>
            <p:ph type="pic" sz="quarter" idx="18" hasCustomPrompt="1"/>
          </p:nvPr>
        </p:nvSpPr>
        <p:spPr>
          <a:xfrm>
            <a:off x="6096000" y="3429000"/>
            <a:ext cx="6096000" cy="3429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 then Right Click and Send to Back</a:t>
            </a:r>
            <a:endParaRPr lang="en-AU" dirty="0"/>
          </a:p>
        </p:txBody>
      </p:sp>
      <p:sp>
        <p:nvSpPr>
          <p:cNvPr id="10" name="Text Placeholder 20">
            <a:extLst>
              <a:ext uri="{FF2B5EF4-FFF2-40B4-BE49-F238E27FC236}">
                <a16:creationId xmlns:a16="http://schemas.microsoft.com/office/drawing/2014/main" id="{8D8C1C73-2121-FF84-2A41-0CB9DFB87903}"/>
              </a:ext>
            </a:extLst>
          </p:cNvPr>
          <p:cNvSpPr>
            <a:spLocks noGrp="1"/>
          </p:cNvSpPr>
          <p:nvPr>
            <p:ph type="body" sz="quarter" idx="14" hasCustomPrompt="1"/>
          </p:nvPr>
        </p:nvSpPr>
        <p:spPr>
          <a:xfrm>
            <a:off x="889000" y="3800474"/>
            <a:ext cx="4456862" cy="1694715"/>
          </a:xfrm>
          <a:prstGeom prst="rect">
            <a:avLst/>
          </a:prstGeom>
        </p:spPr>
        <p:txBody>
          <a:bodyPr/>
          <a:lstStyle>
            <a:lvl1pPr rtl="0">
              <a:lnSpc>
                <a:spcPct val="100000"/>
              </a:lnSpc>
              <a:defRPr sz="1400">
                <a:solidFill>
                  <a:schemeClr val="tx2"/>
                </a:solidFill>
              </a:defRPr>
            </a:lvl1pPr>
          </a:lstStyle>
          <a:p>
            <a:pPr lvl="0"/>
            <a:r>
              <a:rPr lang="en-AU"/>
              <a:t>Lorem ipsum dolor sit amet, consectetur adipiscing elit, sed do eiusmod tempor incididunt ut labore et dolore magna aliqua. Ut enim ad minim veniam, quis nostrud exercitation ullamco laboris nisi ut aliquip ex ea commodo</a:t>
            </a:r>
            <a:endParaRPr lang="en-AU" dirty="0"/>
          </a:p>
        </p:txBody>
      </p:sp>
      <p:sp>
        <p:nvSpPr>
          <p:cNvPr id="11" name="Title Placeholder 1">
            <a:extLst>
              <a:ext uri="{FF2B5EF4-FFF2-40B4-BE49-F238E27FC236}">
                <a16:creationId xmlns:a16="http://schemas.microsoft.com/office/drawing/2014/main" id="{5CAE3EB7-3C07-2787-982D-CA64F152EDE1}"/>
              </a:ext>
            </a:extLst>
          </p:cNvPr>
          <p:cNvSpPr>
            <a:spLocks noGrp="1"/>
          </p:cNvSpPr>
          <p:nvPr>
            <p:ph type="title" hasCustomPrompt="1"/>
          </p:nvPr>
        </p:nvSpPr>
        <p:spPr>
          <a:xfrm>
            <a:off x="889000" y="2112421"/>
            <a:ext cx="4456862" cy="903576"/>
          </a:xfrm>
          <a:prstGeom prst="rect">
            <a:avLst/>
          </a:prstGeom>
        </p:spPr>
        <p:txBody>
          <a:bodyPr vert="horz" lIns="0" tIns="0" rIns="0" bIns="0" rtlCol="0" anchor="b">
            <a:noAutofit/>
          </a:bodyPr>
          <a:lstStyle>
            <a:lvl1pPr rtl="0">
              <a:lnSpc>
                <a:spcPct val="90000"/>
              </a:lnSpc>
              <a:defRPr sz="2800">
                <a:solidFill>
                  <a:schemeClr val="tx2"/>
                </a:solidFill>
              </a:defRPr>
            </a:lvl1pPr>
          </a:lstStyle>
          <a:p>
            <a:r>
              <a:rPr lang="en-AU"/>
              <a:t>What we do, </a:t>
            </a:r>
            <a:br>
              <a:rPr lang="en-AU"/>
            </a:br>
            <a:r>
              <a:rPr lang="en-AU"/>
              <a:t>Where we go.</a:t>
            </a:r>
            <a:endParaRPr lang="en-AU" dirty="0"/>
          </a:p>
        </p:txBody>
      </p:sp>
      <p:sp>
        <p:nvSpPr>
          <p:cNvPr id="13" name="Text Placeholder 23">
            <a:extLst>
              <a:ext uri="{FF2B5EF4-FFF2-40B4-BE49-F238E27FC236}">
                <a16:creationId xmlns:a16="http://schemas.microsoft.com/office/drawing/2014/main" id="{EFA40398-951E-96D6-620E-7251AD08FA36}"/>
              </a:ext>
            </a:extLst>
          </p:cNvPr>
          <p:cNvSpPr>
            <a:spLocks noGrp="1"/>
          </p:cNvSpPr>
          <p:nvPr>
            <p:ph type="body" sz="quarter" idx="17" hasCustomPrompt="1"/>
          </p:nvPr>
        </p:nvSpPr>
        <p:spPr>
          <a:xfrm>
            <a:off x="889000" y="3385345"/>
            <a:ext cx="1394272" cy="87313"/>
          </a:xfrm>
          <a:prstGeom prst="rect">
            <a:avLst/>
          </a:prstGeom>
          <a:solidFill>
            <a:schemeClr val="accent1"/>
          </a:solidFill>
        </p:spPr>
        <p:txBody>
          <a:bodyPr/>
          <a:lstStyle>
            <a:lvl1pPr rtl="0">
              <a:defRPr sz="800">
                <a:solidFill>
                  <a:schemeClr val="tx2"/>
                </a:solidFill>
              </a:defRPr>
            </a:lvl1pPr>
          </a:lstStyle>
          <a:p>
            <a:pPr lvl="0"/>
            <a:r>
              <a:rPr lang="en-AU"/>
              <a:t>.</a:t>
            </a:r>
            <a:endParaRPr lang="en-AU" dirty="0"/>
          </a:p>
        </p:txBody>
      </p:sp>
      <p:sp>
        <p:nvSpPr>
          <p:cNvPr id="18" name="Text Placeholder 20">
            <a:extLst>
              <a:ext uri="{FF2B5EF4-FFF2-40B4-BE49-F238E27FC236}">
                <a16:creationId xmlns:a16="http://schemas.microsoft.com/office/drawing/2014/main" id="{F9723B3C-A63C-56B5-0AF6-3DE94CE204CD}"/>
              </a:ext>
            </a:extLst>
          </p:cNvPr>
          <p:cNvSpPr>
            <a:spLocks noGrp="1"/>
          </p:cNvSpPr>
          <p:nvPr>
            <p:ph type="body" sz="quarter" idx="19" hasCustomPrompt="1"/>
          </p:nvPr>
        </p:nvSpPr>
        <p:spPr>
          <a:xfrm>
            <a:off x="889000" y="1426122"/>
            <a:ext cx="3247697" cy="206350"/>
          </a:xfrm>
          <a:prstGeom prst="rect">
            <a:avLst/>
          </a:prstGeom>
        </p:spPr>
        <p:txBody>
          <a:bodyPr/>
          <a:lstStyle>
            <a:lvl1pPr rtl="0">
              <a:lnSpc>
                <a:spcPct val="100000"/>
              </a:lnSpc>
              <a:defRPr sz="1400">
                <a:solidFill>
                  <a:schemeClr val="tx2"/>
                </a:solidFill>
              </a:defRPr>
            </a:lvl1pPr>
          </a:lstStyle>
          <a:p>
            <a:pPr lvl="0"/>
            <a:r>
              <a:rPr lang="en-AU"/>
              <a:t>Our mission</a:t>
            </a:r>
            <a:endParaRPr lang="en-AU" dirty="0"/>
          </a:p>
        </p:txBody>
      </p:sp>
      <p:sp>
        <p:nvSpPr>
          <p:cNvPr id="3" name="Footer Placeholder 7">
            <a:extLst>
              <a:ext uri="{FF2B5EF4-FFF2-40B4-BE49-F238E27FC236}">
                <a16:creationId xmlns:a16="http://schemas.microsoft.com/office/drawing/2014/main" id="{B9449E92-D319-CEFD-E2FA-4C7DD890909A}"/>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5" name="Text Placeholder 20">
            <a:extLst>
              <a:ext uri="{FF2B5EF4-FFF2-40B4-BE49-F238E27FC236}">
                <a16:creationId xmlns:a16="http://schemas.microsoft.com/office/drawing/2014/main" id="{20747242-630C-8CE7-B5EE-9930D7AB1AF7}"/>
              </a:ext>
            </a:extLst>
          </p:cNvPr>
          <p:cNvSpPr>
            <a:spLocks noGrp="1"/>
          </p:cNvSpPr>
          <p:nvPr>
            <p:ph type="body" sz="quarter" idx="20" hasCustomPrompt="1"/>
          </p:nvPr>
        </p:nvSpPr>
        <p:spPr>
          <a:xfrm>
            <a:off x="6409267" y="2601428"/>
            <a:ext cx="2441223" cy="536884"/>
          </a:xfrm>
          <a:prstGeom prst="rect">
            <a:avLst/>
          </a:prstGeom>
        </p:spPr>
        <p:txBody>
          <a:bodyPr anchor="b"/>
          <a:lstStyle>
            <a:lvl1pPr rtl="0">
              <a:lnSpc>
                <a:spcPct val="100000"/>
              </a:lnSpc>
              <a:defRPr sz="1400" b="0">
                <a:solidFill>
                  <a:schemeClr val="bg1"/>
                </a:solidFill>
              </a:defRPr>
            </a:lvl1pPr>
          </a:lstStyle>
          <a:p>
            <a:pPr lvl="0"/>
            <a:r>
              <a:rPr lang="en-AU"/>
              <a:t>Lorum Ips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In service since 2009</a:t>
            </a:r>
            <a:endParaRPr lang="en-AU" dirty="0"/>
          </a:p>
        </p:txBody>
      </p:sp>
      <p:sp>
        <p:nvSpPr>
          <p:cNvPr id="6" name="Text Placeholder 20">
            <a:extLst>
              <a:ext uri="{FF2B5EF4-FFF2-40B4-BE49-F238E27FC236}">
                <a16:creationId xmlns:a16="http://schemas.microsoft.com/office/drawing/2014/main" id="{D0301885-EDF4-6A20-0123-0AF859687F96}"/>
              </a:ext>
            </a:extLst>
          </p:cNvPr>
          <p:cNvSpPr>
            <a:spLocks noGrp="1"/>
          </p:cNvSpPr>
          <p:nvPr>
            <p:ph type="body" sz="quarter" idx="21" hasCustomPrompt="1"/>
          </p:nvPr>
        </p:nvSpPr>
        <p:spPr>
          <a:xfrm>
            <a:off x="6409267" y="3719688"/>
            <a:ext cx="2441223" cy="536884"/>
          </a:xfrm>
          <a:prstGeom prst="rect">
            <a:avLst/>
          </a:prstGeom>
        </p:spPr>
        <p:txBody>
          <a:bodyPr anchor="t"/>
          <a:lstStyle>
            <a:lvl1pPr rtl="0">
              <a:lnSpc>
                <a:spcPct val="100000"/>
              </a:lnSpc>
              <a:defRPr sz="1400" b="0">
                <a:solidFill>
                  <a:schemeClr val="bg1"/>
                </a:solidFill>
              </a:defRPr>
            </a:lvl1pPr>
          </a:lstStyle>
          <a:p>
            <a:pPr lvl="0"/>
            <a:r>
              <a:rPr lang="en-AU"/>
              <a:t>Lorum Ips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In service since 2009</a:t>
            </a:r>
            <a:endParaRPr lang="en-AU" dirty="0"/>
          </a:p>
        </p:txBody>
      </p:sp>
      <p:sp>
        <p:nvSpPr>
          <p:cNvPr id="2" name="Slide Number Placeholder 3">
            <a:extLst>
              <a:ext uri="{FF2B5EF4-FFF2-40B4-BE49-F238E27FC236}">
                <a16:creationId xmlns:a16="http://schemas.microsoft.com/office/drawing/2014/main" id="{AEDB745A-7335-C12A-5FEA-1EFFDBE16E70}"/>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4022075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phic Content 1">
    <p:bg>
      <p:bgPr>
        <a:solidFill>
          <a:schemeClr val="bg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76F9CE-B545-D6D7-151B-69881BF08770}"/>
              </a:ext>
            </a:extLst>
          </p:cNvPr>
          <p:cNvGraphicFramePr>
            <a:graphicFrameLocks noChangeAspect="1"/>
          </p:cNvGraphicFramePr>
          <p:nvPr userDrawn="1">
            <p:custDataLst>
              <p:tags r:id="rId1"/>
            </p:custDataLst>
            <p:extLst>
              <p:ext uri="{D42A27DB-BD31-4B8C-83A1-F6EECF244321}">
                <p14:modId xmlns:p14="http://schemas.microsoft.com/office/powerpoint/2010/main" val="127712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9B76F9CE-B545-D6D7-151B-69881BF087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 Placeholder 27">
            <a:extLst>
              <a:ext uri="{FF2B5EF4-FFF2-40B4-BE49-F238E27FC236}">
                <a16:creationId xmlns:a16="http://schemas.microsoft.com/office/drawing/2014/main" id="{28FD0D24-7A3F-A975-796C-7DC4E4A67ECC}"/>
              </a:ext>
            </a:extLst>
          </p:cNvPr>
          <p:cNvSpPr>
            <a:spLocks noGrp="1"/>
          </p:cNvSpPr>
          <p:nvPr>
            <p:ph type="body" sz="quarter" idx="28" hasCustomPrompt="1"/>
          </p:nvPr>
        </p:nvSpPr>
        <p:spPr>
          <a:xfrm>
            <a:off x="893763" y="2574148"/>
            <a:ext cx="3396040" cy="3391677"/>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540000" tIns="540000" rIns="540000" anchor="ctr"/>
          <a:lstStyle>
            <a:lvl1pPr algn="ctr" rtl="0">
              <a:lnSpc>
                <a:spcPct val="120000"/>
              </a:lnSpc>
              <a:defRPr lang="en-US" sz="1400" b="0" kern="1200" dirty="0" smtClean="0">
                <a:solidFill>
                  <a:schemeClr val="tx2"/>
                </a:solidFill>
                <a:latin typeface="+mn-lt"/>
                <a:ea typeface="Verdana" panose="020B0604030504040204" pitchFamily="34" charset="0"/>
                <a:cs typeface="+mn-cs"/>
              </a:defRPr>
            </a:lvl1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AU"/>
              <a:t>Lorem ipsum dolor sit amet, consectetur adipiscing elit, sed do eiusmod tempor incididunt Ut labore et dolore magna aliqua.</a:t>
            </a:r>
            <a:endParaRPr lang="en-AU" dirty="0"/>
          </a:p>
        </p:txBody>
      </p:sp>
      <p:sp>
        <p:nvSpPr>
          <p:cNvPr id="28" name="Text Placeholder 27">
            <a:extLst>
              <a:ext uri="{FF2B5EF4-FFF2-40B4-BE49-F238E27FC236}">
                <a16:creationId xmlns:a16="http://schemas.microsoft.com/office/drawing/2014/main" id="{6C69DDB1-DC40-5B35-9AFC-7CB46D6D1F2F}"/>
              </a:ext>
            </a:extLst>
          </p:cNvPr>
          <p:cNvSpPr>
            <a:spLocks noGrp="1"/>
          </p:cNvSpPr>
          <p:nvPr>
            <p:ph type="body" sz="quarter" idx="33" hasCustomPrompt="1"/>
          </p:nvPr>
        </p:nvSpPr>
        <p:spPr>
          <a:xfrm>
            <a:off x="4396393" y="2574148"/>
            <a:ext cx="3396040" cy="3391677"/>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540000" tIns="540000" rIns="540000" anchor="ctr"/>
          <a:lstStyle>
            <a:lvl1pPr algn="ctr" rtl="0">
              <a:lnSpc>
                <a:spcPct val="120000"/>
              </a:lnSpc>
              <a:defRPr lang="en-US" sz="1400" b="0" kern="1200" dirty="0" smtClean="0">
                <a:solidFill>
                  <a:schemeClr val="tx2"/>
                </a:solidFill>
                <a:latin typeface="+mn-lt"/>
                <a:ea typeface="Verdana" panose="020B0604030504040204" pitchFamily="34" charset="0"/>
                <a:cs typeface="+mn-cs"/>
              </a:defRPr>
            </a:lvl1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AU"/>
              <a:t>Lorem ipsum dolor sit amet, consectetur adipiscing elit, sed do eiusmod tempor incididunt Ut labore et dolore magna aliqua.</a:t>
            </a:r>
            <a:endParaRPr lang="en-AU" dirty="0"/>
          </a:p>
        </p:txBody>
      </p:sp>
      <p:sp>
        <p:nvSpPr>
          <p:cNvPr id="29" name="Text Placeholder 27">
            <a:extLst>
              <a:ext uri="{FF2B5EF4-FFF2-40B4-BE49-F238E27FC236}">
                <a16:creationId xmlns:a16="http://schemas.microsoft.com/office/drawing/2014/main" id="{CD2C53CE-1CFC-4199-0622-E9D2E14AA814}"/>
              </a:ext>
            </a:extLst>
          </p:cNvPr>
          <p:cNvSpPr>
            <a:spLocks noGrp="1"/>
          </p:cNvSpPr>
          <p:nvPr>
            <p:ph type="body" sz="quarter" idx="34" hasCustomPrompt="1"/>
          </p:nvPr>
        </p:nvSpPr>
        <p:spPr>
          <a:xfrm>
            <a:off x="7899023" y="2574148"/>
            <a:ext cx="3396040" cy="3391677"/>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540000" tIns="540000" rIns="540000" anchor="ctr"/>
          <a:lstStyle>
            <a:lvl1pPr algn="ctr" rtl="0">
              <a:lnSpc>
                <a:spcPct val="120000"/>
              </a:lnSpc>
              <a:defRPr lang="en-US" sz="1400" b="0" kern="1200" dirty="0" smtClean="0">
                <a:solidFill>
                  <a:schemeClr val="tx2"/>
                </a:solidFill>
                <a:latin typeface="+mn-lt"/>
                <a:ea typeface="Verdana" panose="020B0604030504040204" pitchFamily="34" charset="0"/>
                <a:cs typeface="+mn-cs"/>
              </a:defRPr>
            </a:lvl1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AU"/>
              <a:t>Lorem ipsum dolor sit amet, consectetur adipiscing elit, sed do eiusmod tempor incididunt Ut labore et dolore magna aliqua.</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itle Placeholder 1">
            <a:extLst>
              <a:ext uri="{FF2B5EF4-FFF2-40B4-BE49-F238E27FC236}">
                <a16:creationId xmlns:a16="http://schemas.microsoft.com/office/drawing/2014/main" id="{08C583AF-FCB1-EF5C-A072-1F2C738F06EC}"/>
              </a:ext>
            </a:extLst>
          </p:cNvPr>
          <p:cNvSpPr>
            <a:spLocks noGrp="1"/>
          </p:cNvSpPr>
          <p:nvPr>
            <p:ph type="title" hasCustomPrompt="1"/>
          </p:nvPr>
        </p:nvSpPr>
        <p:spPr>
          <a:xfrm>
            <a:off x="893232" y="873125"/>
            <a:ext cx="7167033"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4" name="Text Placeholder 20">
            <a:extLst>
              <a:ext uri="{FF2B5EF4-FFF2-40B4-BE49-F238E27FC236}">
                <a16:creationId xmlns:a16="http://schemas.microsoft.com/office/drawing/2014/main" id="{C874A606-D1C1-4C84-C1B3-3F2406208BDD}"/>
              </a:ext>
            </a:extLst>
          </p:cNvPr>
          <p:cNvSpPr>
            <a:spLocks noGrp="1"/>
          </p:cNvSpPr>
          <p:nvPr>
            <p:ph type="body" sz="quarter" idx="23" hasCustomPrompt="1"/>
          </p:nvPr>
        </p:nvSpPr>
        <p:spPr>
          <a:xfrm>
            <a:off x="893233" y="1382283"/>
            <a:ext cx="7167034" cy="634695"/>
          </a:xfrm>
          <a:prstGeom prst="rect">
            <a:avLst/>
          </a:prstGeom>
        </p:spPr>
        <p:txBody>
          <a:bodyPr/>
          <a:lstStyle>
            <a:lvl1pPr algn="l" rtl="0">
              <a:lnSpc>
                <a:spcPct val="120000"/>
              </a:lnSpc>
              <a:defRPr sz="1400">
                <a:solidFill>
                  <a:schemeClr val="tx2"/>
                </a:solidFill>
                <a:latin typeface="+mn-lt"/>
              </a:defRPr>
            </a:lvl1pPr>
          </a:lstStyle>
          <a:p>
            <a:pPr lvl="0"/>
            <a:r>
              <a:rPr lang="en-AU"/>
              <a:t>Lorem ipsum dolor sit amet, consectetur adipiscing elit, sed do eiusmod tempor incididunt ut labore et dolore magna aliqua. Ut enim ad minim veniam, </a:t>
            </a:r>
            <a:endParaRPr lang="en-AU" dirty="0"/>
          </a:p>
        </p:txBody>
      </p:sp>
      <p:sp>
        <p:nvSpPr>
          <p:cNvPr id="15" name="Text Placeholder 20">
            <a:extLst>
              <a:ext uri="{FF2B5EF4-FFF2-40B4-BE49-F238E27FC236}">
                <a16:creationId xmlns:a16="http://schemas.microsoft.com/office/drawing/2014/main" id="{64EBF1A0-DF51-3F65-987A-8E5F3A00E19E}"/>
              </a:ext>
            </a:extLst>
          </p:cNvPr>
          <p:cNvSpPr>
            <a:spLocks noGrp="1"/>
          </p:cNvSpPr>
          <p:nvPr>
            <p:ph type="body" sz="quarter" idx="20" hasCustomPrompt="1"/>
          </p:nvPr>
        </p:nvSpPr>
        <p:spPr>
          <a:xfrm>
            <a:off x="1473154" y="3429000"/>
            <a:ext cx="2237258" cy="228600"/>
          </a:xfrm>
          <a:prstGeom prst="rect">
            <a:avLst/>
          </a:prstGeom>
        </p:spPr>
        <p:txBody>
          <a:bodyPr/>
          <a:lstStyle>
            <a:lvl1pPr algn="ctr" rtl="0">
              <a:lnSpc>
                <a:spcPct val="100000"/>
              </a:lnSpc>
              <a:defRPr sz="1400" b="1">
                <a:solidFill>
                  <a:schemeClr val="tx2"/>
                </a:solidFill>
                <a:latin typeface="+mn-lt"/>
              </a:defRPr>
            </a:lvl1pPr>
          </a:lstStyle>
          <a:p>
            <a:pPr lvl="0"/>
            <a:r>
              <a:rPr lang="en-AU"/>
              <a:t>SUBHEADING</a:t>
            </a:r>
            <a:endParaRPr lang="en-AU" dirty="0"/>
          </a:p>
        </p:txBody>
      </p:sp>
      <p:sp>
        <p:nvSpPr>
          <p:cNvPr id="23" name="Text Placeholder 20">
            <a:extLst>
              <a:ext uri="{FF2B5EF4-FFF2-40B4-BE49-F238E27FC236}">
                <a16:creationId xmlns:a16="http://schemas.microsoft.com/office/drawing/2014/main" id="{A1B65F7D-96D0-0090-557F-256FEBD7AEA7}"/>
              </a:ext>
            </a:extLst>
          </p:cNvPr>
          <p:cNvSpPr>
            <a:spLocks noGrp="1"/>
          </p:cNvSpPr>
          <p:nvPr>
            <p:ph type="body" sz="quarter" idx="30" hasCustomPrompt="1"/>
          </p:nvPr>
        </p:nvSpPr>
        <p:spPr>
          <a:xfrm>
            <a:off x="4975784" y="3429000"/>
            <a:ext cx="2237258" cy="228600"/>
          </a:xfrm>
          <a:prstGeom prst="rect">
            <a:avLst/>
          </a:prstGeom>
        </p:spPr>
        <p:txBody>
          <a:bodyPr/>
          <a:lstStyle>
            <a:lvl1pPr algn="ctr" rtl="0">
              <a:lnSpc>
                <a:spcPct val="100000"/>
              </a:lnSpc>
              <a:defRPr sz="1400" b="1">
                <a:solidFill>
                  <a:schemeClr val="tx2"/>
                </a:solidFill>
                <a:latin typeface="+mn-lt"/>
              </a:defRPr>
            </a:lvl1pPr>
          </a:lstStyle>
          <a:p>
            <a:pPr lvl="0"/>
            <a:r>
              <a:rPr lang="en-AU"/>
              <a:t>SUBHEADING</a:t>
            </a:r>
            <a:endParaRPr lang="en-AU" dirty="0"/>
          </a:p>
        </p:txBody>
      </p:sp>
      <p:sp>
        <p:nvSpPr>
          <p:cNvPr id="26" name="Text Placeholder 20">
            <a:extLst>
              <a:ext uri="{FF2B5EF4-FFF2-40B4-BE49-F238E27FC236}">
                <a16:creationId xmlns:a16="http://schemas.microsoft.com/office/drawing/2014/main" id="{F40A974B-46B8-D25E-4009-3560074DC4E1}"/>
              </a:ext>
            </a:extLst>
          </p:cNvPr>
          <p:cNvSpPr>
            <a:spLocks noGrp="1"/>
          </p:cNvSpPr>
          <p:nvPr>
            <p:ph type="body" sz="quarter" idx="32" hasCustomPrompt="1"/>
          </p:nvPr>
        </p:nvSpPr>
        <p:spPr>
          <a:xfrm>
            <a:off x="8478414" y="3429000"/>
            <a:ext cx="2237258" cy="228600"/>
          </a:xfrm>
          <a:prstGeom prst="rect">
            <a:avLst/>
          </a:prstGeom>
        </p:spPr>
        <p:txBody>
          <a:bodyPr/>
          <a:lstStyle>
            <a:lvl1pPr algn="ctr" rtl="0">
              <a:lnSpc>
                <a:spcPct val="100000"/>
              </a:lnSpc>
              <a:defRPr sz="1400" b="1">
                <a:solidFill>
                  <a:schemeClr val="tx2"/>
                </a:solidFill>
                <a:latin typeface="+mn-lt"/>
              </a:defRPr>
            </a:lvl1pPr>
          </a:lstStyle>
          <a:p>
            <a:pPr lvl="0"/>
            <a:r>
              <a:rPr lang="en-AU"/>
              <a:t>SUBHEADING</a:t>
            </a:r>
            <a:endParaRPr lang="en-AU" dirty="0"/>
          </a:p>
        </p:txBody>
      </p:sp>
      <p:sp>
        <p:nvSpPr>
          <p:cNvPr id="30" name="Text Placeholder 27">
            <a:extLst>
              <a:ext uri="{FF2B5EF4-FFF2-40B4-BE49-F238E27FC236}">
                <a16:creationId xmlns:a16="http://schemas.microsoft.com/office/drawing/2014/main" id="{783E21B4-314C-1D28-DCC4-BA2C395635BB}"/>
              </a:ext>
            </a:extLst>
          </p:cNvPr>
          <p:cNvSpPr>
            <a:spLocks noGrp="1"/>
          </p:cNvSpPr>
          <p:nvPr>
            <p:ph type="body" sz="quarter" idx="35" hasCustomPrompt="1"/>
          </p:nvPr>
        </p:nvSpPr>
        <p:spPr>
          <a:xfrm>
            <a:off x="2188583" y="2345051"/>
            <a:ext cx="806400" cy="805364"/>
          </a:xfrm>
          <a:prstGeom prst="rect">
            <a:avLst/>
          </a:prstGeom>
          <a: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lvl1pPr rtl="0">
              <a:defRPr sz="100">
                <a:solidFill>
                  <a:schemeClr val="tx2"/>
                </a:solidFill>
              </a:defRPr>
            </a:lvl1pPr>
          </a:lstStyle>
          <a:p>
            <a:pPr lvl="0"/>
            <a:r>
              <a:rPr lang="en-AU"/>
              <a:t>.</a:t>
            </a:r>
            <a:endParaRPr lang="en-AU" dirty="0"/>
          </a:p>
        </p:txBody>
      </p:sp>
      <p:sp>
        <p:nvSpPr>
          <p:cNvPr id="32" name="Text Placeholder 27">
            <a:extLst>
              <a:ext uri="{FF2B5EF4-FFF2-40B4-BE49-F238E27FC236}">
                <a16:creationId xmlns:a16="http://schemas.microsoft.com/office/drawing/2014/main" id="{24612F21-BDCC-4F3E-9686-4405C846C4AE}"/>
              </a:ext>
            </a:extLst>
          </p:cNvPr>
          <p:cNvSpPr>
            <a:spLocks noGrp="1"/>
          </p:cNvSpPr>
          <p:nvPr>
            <p:ph type="body" sz="quarter" idx="36" hasCustomPrompt="1"/>
          </p:nvPr>
        </p:nvSpPr>
        <p:spPr>
          <a:xfrm>
            <a:off x="5691213" y="2345051"/>
            <a:ext cx="806400" cy="805364"/>
          </a:xfrm>
          <a:prstGeom prst="rect">
            <a:avLst/>
          </a:prstGeom>
          <a: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lvl1pPr rtl="0">
              <a:defRPr sz="100">
                <a:solidFill>
                  <a:schemeClr val="tx2"/>
                </a:solidFill>
              </a:defRPr>
            </a:lvl1pPr>
          </a:lstStyle>
          <a:p>
            <a:pPr lvl="0"/>
            <a:r>
              <a:rPr lang="en-AU"/>
              <a:t>.</a:t>
            </a:r>
            <a:endParaRPr lang="en-AU" dirty="0"/>
          </a:p>
        </p:txBody>
      </p:sp>
      <p:sp>
        <p:nvSpPr>
          <p:cNvPr id="33" name="Text Placeholder 27">
            <a:extLst>
              <a:ext uri="{FF2B5EF4-FFF2-40B4-BE49-F238E27FC236}">
                <a16:creationId xmlns:a16="http://schemas.microsoft.com/office/drawing/2014/main" id="{BFAEFF88-90E2-65EF-1ED7-F91016064A77}"/>
              </a:ext>
            </a:extLst>
          </p:cNvPr>
          <p:cNvSpPr>
            <a:spLocks noGrp="1"/>
          </p:cNvSpPr>
          <p:nvPr>
            <p:ph type="body" sz="quarter" idx="37" hasCustomPrompt="1"/>
          </p:nvPr>
        </p:nvSpPr>
        <p:spPr>
          <a:xfrm>
            <a:off x="9197017" y="2345051"/>
            <a:ext cx="806400" cy="805364"/>
          </a:xfrm>
          <a:prstGeom prst="rect">
            <a:avLst/>
          </a:prstGeom>
          <a: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lvl1pPr rtl="0">
              <a:defRPr sz="100">
                <a:solidFill>
                  <a:schemeClr val="tx2"/>
                </a:solidFill>
              </a:defRPr>
            </a:lvl1pPr>
          </a:lstStyle>
          <a:p>
            <a:pPr lvl="0"/>
            <a:r>
              <a:rPr lang="en-AU"/>
              <a:t>.</a:t>
            </a:r>
            <a:endParaRPr lang="en-AU" dirty="0"/>
          </a:p>
        </p:txBody>
      </p:sp>
      <p:sp>
        <p:nvSpPr>
          <p:cNvPr id="2" name="Slide Number Placeholder 3">
            <a:extLst>
              <a:ext uri="{FF2B5EF4-FFF2-40B4-BE49-F238E27FC236}">
                <a16:creationId xmlns:a16="http://schemas.microsoft.com/office/drawing/2014/main" id="{436B6C50-DEB3-31C1-3254-5AEAE35D81E2}"/>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84069316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ices 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7DE881-A793-A0FE-A66B-C42FEE2BEA78}"/>
              </a:ext>
            </a:extLst>
          </p:cNvPr>
          <p:cNvGraphicFramePr>
            <a:graphicFrameLocks noChangeAspect="1"/>
          </p:cNvGraphicFramePr>
          <p:nvPr userDrawn="1">
            <p:custDataLst>
              <p:tags r:id="rId1"/>
            </p:custDataLst>
            <p:extLst>
              <p:ext uri="{D42A27DB-BD31-4B8C-83A1-F6EECF244321}">
                <p14:modId xmlns:p14="http://schemas.microsoft.com/office/powerpoint/2010/main" val="410412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5E7DE881-A793-A0FE-A66B-C42FEE2BEA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Rectangle 2">
            <a:extLst>
              <a:ext uri="{FF2B5EF4-FFF2-40B4-BE49-F238E27FC236}">
                <a16:creationId xmlns:a16="http://schemas.microsoft.com/office/drawing/2014/main" id="{79C32985-355F-A341-C1AC-08B56A46CDEB}"/>
              </a:ext>
            </a:extLst>
          </p:cNvPr>
          <p:cNvSpPr/>
          <p:nvPr userDrawn="1"/>
        </p:nvSpPr>
        <p:spPr>
          <a:xfrm>
            <a:off x="0" y="5233484"/>
            <a:ext cx="12192000" cy="733929"/>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4989" tIns="34989" rIns="34989" bIns="34989" numCol="1" spcCol="38100" rtlCol="0" anchor="ctr">
            <a:noAutofit/>
          </a:bodyPr>
          <a:lstStyle/>
          <a:p>
            <a:pPr algn="l" rtl="0" latinLnBrk="1" hangingPunct="0"/>
            <a:endParaRPr lang="en-AU" sz="1600" dirty="0">
              <a:solidFill>
                <a:srgbClr val="FFFFFF"/>
              </a:solidFill>
            </a:endParaRPr>
          </a:p>
        </p:txBody>
      </p:sp>
      <p:sp>
        <p:nvSpPr>
          <p:cNvPr id="14" name="Title Placeholder 1">
            <a:extLst>
              <a:ext uri="{FF2B5EF4-FFF2-40B4-BE49-F238E27FC236}">
                <a16:creationId xmlns:a16="http://schemas.microsoft.com/office/drawing/2014/main" id="{AFFDC99D-30F2-DE4D-A574-743914DD67BE}"/>
              </a:ext>
            </a:extLst>
          </p:cNvPr>
          <p:cNvSpPr>
            <a:spLocks noGrp="1"/>
          </p:cNvSpPr>
          <p:nvPr>
            <p:ph type="title" hasCustomPrompt="1"/>
          </p:nvPr>
        </p:nvSpPr>
        <p:spPr>
          <a:xfrm>
            <a:off x="893233" y="873125"/>
            <a:ext cx="3341353"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15" name="Text Placeholder 20">
            <a:extLst>
              <a:ext uri="{FF2B5EF4-FFF2-40B4-BE49-F238E27FC236}">
                <a16:creationId xmlns:a16="http://schemas.microsoft.com/office/drawing/2014/main" id="{1022018D-6B1E-3363-7DEA-1CFC20336D80}"/>
              </a:ext>
            </a:extLst>
          </p:cNvPr>
          <p:cNvSpPr>
            <a:spLocks noGrp="1"/>
          </p:cNvSpPr>
          <p:nvPr>
            <p:ph type="body" sz="quarter" idx="23" hasCustomPrompt="1"/>
          </p:nvPr>
        </p:nvSpPr>
        <p:spPr>
          <a:xfrm>
            <a:off x="893233" y="1382283"/>
            <a:ext cx="3341353" cy="634695"/>
          </a:xfrm>
          <a:prstGeom prst="rect">
            <a:avLst/>
          </a:prstGeom>
        </p:spPr>
        <p:txBody>
          <a:bodyPr/>
          <a:lstStyle>
            <a:lvl1pPr algn="l" rtl="0">
              <a:lnSpc>
                <a:spcPct val="120000"/>
              </a:lnSpc>
              <a:defRPr sz="1200">
                <a:solidFill>
                  <a:schemeClr val="tx2"/>
                </a:solidFill>
                <a:latin typeface="+mn-lt"/>
              </a:defRPr>
            </a:lvl1pPr>
          </a:lstStyle>
          <a:p>
            <a:pPr lvl="0"/>
            <a:r>
              <a:rPr lang="en-AU"/>
              <a:t>Subheading minim veniam, quis nostrud exercitation ullamco laboris nisi ut aliquip ex ea commodo</a:t>
            </a:r>
            <a:endParaRPr lang="en-AU" dirty="0"/>
          </a:p>
        </p:txBody>
      </p:sp>
      <p:sp>
        <p:nvSpPr>
          <p:cNvPr id="16" name="Text Placeholder 20">
            <a:extLst>
              <a:ext uri="{FF2B5EF4-FFF2-40B4-BE49-F238E27FC236}">
                <a16:creationId xmlns:a16="http://schemas.microsoft.com/office/drawing/2014/main" id="{BDBA2746-830B-1CE2-946A-C7F60A7B35AB}"/>
              </a:ext>
            </a:extLst>
          </p:cNvPr>
          <p:cNvSpPr>
            <a:spLocks noGrp="1"/>
          </p:cNvSpPr>
          <p:nvPr>
            <p:ph type="body" sz="quarter" idx="14" hasCustomPrompt="1"/>
          </p:nvPr>
        </p:nvSpPr>
        <p:spPr>
          <a:xfrm>
            <a:off x="889000" y="2894166"/>
            <a:ext cx="3341353" cy="1667323"/>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a:t>
            </a:r>
            <a:endParaRPr lang="en-AU" dirty="0"/>
          </a:p>
        </p:txBody>
      </p:sp>
      <p:sp>
        <p:nvSpPr>
          <p:cNvPr id="17" name="Text Placeholder 20">
            <a:extLst>
              <a:ext uri="{FF2B5EF4-FFF2-40B4-BE49-F238E27FC236}">
                <a16:creationId xmlns:a16="http://schemas.microsoft.com/office/drawing/2014/main" id="{8A3E342B-F1C4-F672-9A7B-781C68B92427}"/>
              </a:ext>
            </a:extLst>
          </p:cNvPr>
          <p:cNvSpPr>
            <a:spLocks noGrp="1"/>
          </p:cNvSpPr>
          <p:nvPr>
            <p:ph type="body" sz="quarter" idx="20" hasCustomPrompt="1"/>
          </p:nvPr>
        </p:nvSpPr>
        <p:spPr>
          <a:xfrm>
            <a:off x="889000" y="2567770"/>
            <a:ext cx="3341353"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a:t>
            </a:r>
            <a:endParaRPr lang="en-AU" dirty="0"/>
          </a:p>
        </p:txBody>
      </p:sp>
      <p:pic>
        <p:nvPicPr>
          <p:cNvPr id="25" name="Picture 24">
            <a:extLst>
              <a:ext uri="{FF2B5EF4-FFF2-40B4-BE49-F238E27FC236}">
                <a16:creationId xmlns:a16="http://schemas.microsoft.com/office/drawing/2014/main" id="{F5FA3D6F-DA14-A3C0-162B-34709DDEDB61}"/>
              </a:ext>
            </a:extLst>
          </p:cNvPr>
          <p:cNvPicPr>
            <a:picLocks noChangeAspect="1"/>
          </p:cNvPicPr>
          <p:nvPr userDrawn="1"/>
        </p:nvPicPr>
        <p:blipFill>
          <a:blip r:embed="rId5"/>
          <a:stretch>
            <a:fillRect/>
          </a:stretch>
        </p:blipFill>
        <p:spPr>
          <a:xfrm>
            <a:off x="4599481" y="1651513"/>
            <a:ext cx="6931753" cy="4316342"/>
          </a:xfrm>
          <a:prstGeom prst="rect">
            <a:avLst/>
          </a:prstGeom>
        </p:spPr>
      </p:pic>
      <p:sp>
        <p:nvSpPr>
          <p:cNvPr id="27" name="Picture Placeholder 26">
            <a:extLst>
              <a:ext uri="{FF2B5EF4-FFF2-40B4-BE49-F238E27FC236}">
                <a16:creationId xmlns:a16="http://schemas.microsoft.com/office/drawing/2014/main" id="{CD88CCA9-CA67-CEE0-50C8-4FBF988010B2}"/>
              </a:ext>
            </a:extLst>
          </p:cNvPr>
          <p:cNvSpPr>
            <a:spLocks noGrp="1"/>
          </p:cNvSpPr>
          <p:nvPr>
            <p:ph type="pic" sz="quarter" idx="15" hasCustomPrompt="1"/>
          </p:nvPr>
        </p:nvSpPr>
        <p:spPr>
          <a:xfrm>
            <a:off x="5483630" y="1776708"/>
            <a:ext cx="5126918" cy="3438144"/>
          </a:xfrm>
          <a:custGeom>
            <a:avLst/>
            <a:gdLst>
              <a:gd name="connsiteX0" fmla="*/ 65084 w 5129664"/>
              <a:gd name="connsiteY0" fmla="*/ 0 h 3438144"/>
              <a:gd name="connsiteX1" fmla="*/ 5064580 w 5129664"/>
              <a:gd name="connsiteY1" fmla="*/ 0 h 3438144"/>
              <a:gd name="connsiteX2" fmla="*/ 5129664 w 5129664"/>
              <a:gd name="connsiteY2" fmla="*/ 65084 h 3438144"/>
              <a:gd name="connsiteX3" fmla="*/ 5129664 w 5129664"/>
              <a:gd name="connsiteY3" fmla="*/ 2586358 h 3438144"/>
              <a:gd name="connsiteX4" fmla="*/ 5129664 w 5129664"/>
              <a:gd name="connsiteY4" fmla="*/ 3373059 h 3438144"/>
              <a:gd name="connsiteX5" fmla="*/ 5129664 w 5129664"/>
              <a:gd name="connsiteY5" fmla="*/ 3438144 h 3438144"/>
              <a:gd name="connsiteX6" fmla="*/ 0 w 5129664"/>
              <a:gd name="connsiteY6" fmla="*/ 3438144 h 3438144"/>
              <a:gd name="connsiteX7" fmla="*/ 0 w 5129664"/>
              <a:gd name="connsiteY7" fmla="*/ 3373059 h 3438144"/>
              <a:gd name="connsiteX8" fmla="*/ 0 w 5129664"/>
              <a:gd name="connsiteY8" fmla="*/ 2586358 h 3438144"/>
              <a:gd name="connsiteX9" fmla="*/ 0 w 5129664"/>
              <a:gd name="connsiteY9" fmla="*/ 65084 h 3438144"/>
              <a:gd name="connsiteX10" fmla="*/ 65084 w 5129664"/>
              <a:gd name="connsiteY10" fmla="*/ 0 h 3438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29664" h="3438144">
                <a:moveTo>
                  <a:pt x="65084" y="0"/>
                </a:moveTo>
                <a:lnTo>
                  <a:pt x="5064580" y="0"/>
                </a:lnTo>
                <a:cubicBezTo>
                  <a:pt x="5100525" y="0"/>
                  <a:pt x="5129664" y="29139"/>
                  <a:pt x="5129664" y="65084"/>
                </a:cubicBezTo>
                <a:lnTo>
                  <a:pt x="5129664" y="2586358"/>
                </a:lnTo>
                <a:lnTo>
                  <a:pt x="5129664" y="3373059"/>
                </a:lnTo>
                <a:lnTo>
                  <a:pt x="5129664" y="3438144"/>
                </a:lnTo>
                <a:lnTo>
                  <a:pt x="0" y="3438144"/>
                </a:lnTo>
                <a:lnTo>
                  <a:pt x="0" y="3373059"/>
                </a:lnTo>
                <a:lnTo>
                  <a:pt x="0" y="2586358"/>
                </a:lnTo>
                <a:lnTo>
                  <a:pt x="0" y="65084"/>
                </a:lnTo>
                <a:cubicBezTo>
                  <a:pt x="0" y="29139"/>
                  <a:pt x="29139" y="0"/>
                  <a:pt x="65084" y="0"/>
                </a:cubicBezTo>
                <a:close/>
              </a:path>
            </a:pathLst>
          </a:custGeom>
          <a:solidFill>
            <a:schemeClr val="bg1">
              <a:lumMod val="85000"/>
            </a:schemeClr>
          </a:solidFill>
        </p:spPr>
        <p:txBody>
          <a:bodyPr wrap="square" tIns="1224000" anchor="ctr">
            <a:noAutofit/>
          </a:bodyPr>
          <a:lstStyle>
            <a:lvl1pPr algn="ctr" rtl="0">
              <a:lnSpc>
                <a:spcPct val="100000"/>
              </a:lnSpc>
              <a:defRPr sz="1400"/>
            </a:lvl1pPr>
          </a:lstStyle>
          <a:p>
            <a:r>
              <a:rPr lang="en-AU"/>
              <a:t>Drag an image from outside</a:t>
            </a:r>
            <a:br>
              <a:rPr lang="en-AU"/>
            </a:br>
            <a:r>
              <a:rPr lang="en-AU"/>
              <a:t>of PowerPoint into this container</a:t>
            </a:r>
            <a:endParaRPr lang="en-AU" dirty="0"/>
          </a:p>
        </p:txBody>
      </p:sp>
      <p:sp>
        <p:nvSpPr>
          <p:cNvPr id="2" name="Slide Number Placeholder 3">
            <a:extLst>
              <a:ext uri="{FF2B5EF4-FFF2-40B4-BE49-F238E27FC236}">
                <a16:creationId xmlns:a16="http://schemas.microsoft.com/office/drawing/2014/main" id="{63416F86-CAA7-96B0-F3E4-7C2C6126548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08436069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ices 2">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65F313-D07E-B08D-7165-8786F19FED35}"/>
              </a:ext>
            </a:extLst>
          </p:cNvPr>
          <p:cNvGraphicFramePr>
            <a:graphicFrameLocks noChangeAspect="1"/>
          </p:cNvGraphicFramePr>
          <p:nvPr userDrawn="1">
            <p:custDataLst>
              <p:tags r:id="rId1"/>
            </p:custDataLst>
            <p:extLst>
              <p:ext uri="{D42A27DB-BD31-4B8C-83A1-F6EECF244321}">
                <p14:modId xmlns:p14="http://schemas.microsoft.com/office/powerpoint/2010/main" val="1386153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2E65F313-D07E-B08D-7165-8786F19FE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Rectangle 2">
            <a:extLst>
              <a:ext uri="{FF2B5EF4-FFF2-40B4-BE49-F238E27FC236}">
                <a16:creationId xmlns:a16="http://schemas.microsoft.com/office/drawing/2014/main" id="{79C32985-355F-A341-C1AC-08B56A46CDEB}"/>
              </a:ext>
            </a:extLst>
          </p:cNvPr>
          <p:cNvSpPr/>
          <p:nvPr userDrawn="1"/>
        </p:nvSpPr>
        <p:spPr>
          <a:xfrm>
            <a:off x="0" y="5233484"/>
            <a:ext cx="12192000" cy="733929"/>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4989" tIns="34989" rIns="34989" bIns="34989" numCol="1" spcCol="38100" rtlCol="0" anchor="ctr">
            <a:noAutofit/>
          </a:bodyPr>
          <a:lstStyle/>
          <a:p>
            <a:pPr algn="l" rtl="0" latinLnBrk="1" hangingPunct="0"/>
            <a:endParaRPr lang="en-AU" sz="1600" dirty="0">
              <a:solidFill>
                <a:srgbClr val="FFFFFF"/>
              </a:solidFill>
            </a:endParaRPr>
          </a:p>
        </p:txBody>
      </p:sp>
      <p:sp>
        <p:nvSpPr>
          <p:cNvPr id="14" name="Title Placeholder 1">
            <a:extLst>
              <a:ext uri="{FF2B5EF4-FFF2-40B4-BE49-F238E27FC236}">
                <a16:creationId xmlns:a16="http://schemas.microsoft.com/office/drawing/2014/main" id="{AFFDC99D-30F2-DE4D-A574-743914DD67BE}"/>
              </a:ext>
            </a:extLst>
          </p:cNvPr>
          <p:cNvSpPr>
            <a:spLocks noGrp="1"/>
          </p:cNvSpPr>
          <p:nvPr>
            <p:ph type="title" hasCustomPrompt="1"/>
          </p:nvPr>
        </p:nvSpPr>
        <p:spPr>
          <a:xfrm>
            <a:off x="7953710" y="873125"/>
            <a:ext cx="3341353" cy="362228"/>
          </a:xfrm>
          <a:prstGeom prst="rect">
            <a:avLst/>
          </a:prstGeom>
        </p:spPr>
        <p:txBody>
          <a:bodyPr vert="horz" lIns="0" tIns="0" rIns="0" bIns="0" rtlCol="0" anchor="b">
            <a:noAutofit/>
          </a:bodyPr>
          <a:lstStyle>
            <a:lvl1pPr algn="l" rtl="0">
              <a:lnSpc>
                <a:spcPct val="90000"/>
              </a:lnSpc>
              <a:defRPr sz="2800">
                <a:solidFill>
                  <a:schemeClr val="tx2"/>
                </a:solidFill>
              </a:defRPr>
            </a:lvl1pPr>
          </a:lstStyle>
          <a:p>
            <a:r>
              <a:rPr lang="en-AU"/>
              <a:t>Main Heading</a:t>
            </a:r>
            <a:endParaRPr lang="en-AU" dirty="0"/>
          </a:p>
        </p:txBody>
      </p:sp>
      <p:sp>
        <p:nvSpPr>
          <p:cNvPr id="15" name="Text Placeholder 20">
            <a:extLst>
              <a:ext uri="{FF2B5EF4-FFF2-40B4-BE49-F238E27FC236}">
                <a16:creationId xmlns:a16="http://schemas.microsoft.com/office/drawing/2014/main" id="{1022018D-6B1E-3363-7DEA-1CFC20336D80}"/>
              </a:ext>
            </a:extLst>
          </p:cNvPr>
          <p:cNvSpPr>
            <a:spLocks noGrp="1"/>
          </p:cNvSpPr>
          <p:nvPr>
            <p:ph type="body" sz="quarter" idx="23" hasCustomPrompt="1"/>
          </p:nvPr>
        </p:nvSpPr>
        <p:spPr>
          <a:xfrm>
            <a:off x="7953710" y="1382283"/>
            <a:ext cx="3341353" cy="634695"/>
          </a:xfrm>
          <a:prstGeom prst="rect">
            <a:avLst/>
          </a:prstGeom>
        </p:spPr>
        <p:txBody>
          <a:bodyPr/>
          <a:lstStyle>
            <a:lvl1pPr algn="l" rtl="0">
              <a:lnSpc>
                <a:spcPct val="120000"/>
              </a:lnSpc>
              <a:defRPr sz="1200">
                <a:solidFill>
                  <a:schemeClr val="tx2"/>
                </a:solidFill>
                <a:latin typeface="+mn-lt"/>
              </a:defRPr>
            </a:lvl1pPr>
          </a:lstStyle>
          <a:p>
            <a:pPr lvl="0"/>
            <a:r>
              <a:rPr lang="en-AU"/>
              <a:t>Subheading minim veniam, quis nostrud exercitation ullamco laboris nisi ut aliquip ex ea commodo</a:t>
            </a:r>
            <a:endParaRPr lang="en-AU" dirty="0"/>
          </a:p>
        </p:txBody>
      </p:sp>
      <p:sp>
        <p:nvSpPr>
          <p:cNvPr id="16" name="Text Placeholder 20">
            <a:extLst>
              <a:ext uri="{FF2B5EF4-FFF2-40B4-BE49-F238E27FC236}">
                <a16:creationId xmlns:a16="http://schemas.microsoft.com/office/drawing/2014/main" id="{BDBA2746-830B-1CE2-946A-C7F60A7B35AB}"/>
              </a:ext>
            </a:extLst>
          </p:cNvPr>
          <p:cNvSpPr>
            <a:spLocks noGrp="1"/>
          </p:cNvSpPr>
          <p:nvPr>
            <p:ph type="body" sz="quarter" idx="14" hasCustomPrompt="1"/>
          </p:nvPr>
        </p:nvSpPr>
        <p:spPr>
          <a:xfrm>
            <a:off x="7949477" y="2894166"/>
            <a:ext cx="3341353" cy="1667323"/>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a:t>
            </a:r>
            <a:endParaRPr lang="en-AU" dirty="0"/>
          </a:p>
        </p:txBody>
      </p:sp>
      <p:sp>
        <p:nvSpPr>
          <p:cNvPr id="17" name="Text Placeholder 20">
            <a:extLst>
              <a:ext uri="{FF2B5EF4-FFF2-40B4-BE49-F238E27FC236}">
                <a16:creationId xmlns:a16="http://schemas.microsoft.com/office/drawing/2014/main" id="{8A3E342B-F1C4-F672-9A7B-781C68B92427}"/>
              </a:ext>
            </a:extLst>
          </p:cNvPr>
          <p:cNvSpPr>
            <a:spLocks noGrp="1"/>
          </p:cNvSpPr>
          <p:nvPr>
            <p:ph type="body" sz="quarter" idx="20" hasCustomPrompt="1"/>
          </p:nvPr>
        </p:nvSpPr>
        <p:spPr>
          <a:xfrm>
            <a:off x="7949477" y="2567770"/>
            <a:ext cx="3341353"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a:t>
            </a:r>
            <a:endParaRPr lang="en-AU" dirty="0"/>
          </a:p>
        </p:txBody>
      </p:sp>
      <p:pic>
        <p:nvPicPr>
          <p:cNvPr id="12" name="Picture 11">
            <a:extLst>
              <a:ext uri="{FF2B5EF4-FFF2-40B4-BE49-F238E27FC236}">
                <a16:creationId xmlns:a16="http://schemas.microsoft.com/office/drawing/2014/main" id="{BE79C8F4-0594-3D6D-8407-C113C3D4FE2E}"/>
              </a:ext>
            </a:extLst>
          </p:cNvPr>
          <p:cNvPicPr>
            <a:picLocks noChangeAspect="1"/>
          </p:cNvPicPr>
          <p:nvPr userDrawn="1"/>
        </p:nvPicPr>
        <p:blipFill>
          <a:blip r:embed="rId5"/>
          <a:stretch>
            <a:fillRect/>
          </a:stretch>
        </p:blipFill>
        <p:spPr>
          <a:xfrm>
            <a:off x="1322729" y="883808"/>
            <a:ext cx="2377646" cy="5029636"/>
          </a:xfrm>
          <a:prstGeom prst="rect">
            <a:avLst/>
          </a:prstGeom>
        </p:spPr>
      </p:pic>
      <p:sp>
        <p:nvSpPr>
          <p:cNvPr id="18" name="Picture Placeholder 17">
            <a:extLst>
              <a:ext uri="{FF2B5EF4-FFF2-40B4-BE49-F238E27FC236}">
                <a16:creationId xmlns:a16="http://schemas.microsoft.com/office/drawing/2014/main" id="{F7D62BD4-C68D-49B9-8F81-53185313FB5E}"/>
              </a:ext>
            </a:extLst>
          </p:cNvPr>
          <p:cNvSpPr>
            <a:spLocks noGrp="1"/>
          </p:cNvSpPr>
          <p:nvPr>
            <p:ph type="pic" sz="quarter" idx="15" hasCustomPrompt="1"/>
          </p:nvPr>
        </p:nvSpPr>
        <p:spPr>
          <a:xfrm>
            <a:off x="1450848" y="1002170"/>
            <a:ext cx="2121408" cy="4572000"/>
          </a:xfrm>
          <a:custGeom>
            <a:avLst/>
            <a:gdLst>
              <a:gd name="connsiteX0" fmla="*/ 251217 w 2121408"/>
              <a:gd name="connsiteY0" fmla="*/ 0 h 4572000"/>
              <a:gd name="connsiteX1" fmla="*/ 1870191 w 2121408"/>
              <a:gd name="connsiteY1" fmla="*/ 0 h 4572000"/>
              <a:gd name="connsiteX2" fmla="*/ 2121408 w 2121408"/>
              <a:gd name="connsiteY2" fmla="*/ 251217 h 4572000"/>
              <a:gd name="connsiteX3" fmla="*/ 2121408 w 2121408"/>
              <a:gd name="connsiteY3" fmla="*/ 4320783 h 4572000"/>
              <a:gd name="connsiteX4" fmla="*/ 1870191 w 2121408"/>
              <a:gd name="connsiteY4" fmla="*/ 4572000 h 4572000"/>
              <a:gd name="connsiteX5" fmla="*/ 251217 w 2121408"/>
              <a:gd name="connsiteY5" fmla="*/ 4572000 h 4572000"/>
              <a:gd name="connsiteX6" fmla="*/ 0 w 2121408"/>
              <a:gd name="connsiteY6" fmla="*/ 4320783 h 4572000"/>
              <a:gd name="connsiteX7" fmla="*/ 0 w 2121408"/>
              <a:gd name="connsiteY7" fmla="*/ 251217 h 4572000"/>
              <a:gd name="connsiteX8" fmla="*/ 251217 w 2121408"/>
              <a:gd name="connsiteY8" fmla="*/ 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1408" h="4572000">
                <a:moveTo>
                  <a:pt x="251217" y="0"/>
                </a:moveTo>
                <a:lnTo>
                  <a:pt x="1870191" y="0"/>
                </a:lnTo>
                <a:cubicBezTo>
                  <a:pt x="2008934" y="0"/>
                  <a:pt x="2121408" y="112474"/>
                  <a:pt x="2121408" y="251217"/>
                </a:cubicBezTo>
                <a:lnTo>
                  <a:pt x="2121408" y="4320783"/>
                </a:lnTo>
                <a:cubicBezTo>
                  <a:pt x="2121408" y="4459526"/>
                  <a:pt x="2008934" y="4572000"/>
                  <a:pt x="1870191" y="4572000"/>
                </a:cubicBezTo>
                <a:lnTo>
                  <a:pt x="251217" y="4572000"/>
                </a:lnTo>
                <a:cubicBezTo>
                  <a:pt x="112474" y="4572000"/>
                  <a:pt x="0" y="4459526"/>
                  <a:pt x="0" y="4320783"/>
                </a:cubicBezTo>
                <a:lnTo>
                  <a:pt x="0" y="251217"/>
                </a:lnTo>
                <a:cubicBezTo>
                  <a:pt x="0" y="112474"/>
                  <a:pt x="112474" y="0"/>
                  <a:pt x="251217" y="0"/>
                </a:cubicBezTo>
                <a:close/>
              </a:path>
            </a:pathLst>
          </a:custGeom>
          <a:solidFill>
            <a:schemeClr val="bg1">
              <a:lumMod val="85000"/>
            </a:schemeClr>
          </a:solidFill>
        </p:spPr>
        <p:txBody>
          <a:bodyPr wrap="square" tIns="1224000" anchor="ctr">
            <a:noAutofit/>
          </a:bodyPr>
          <a:lstStyle>
            <a:lvl1pPr algn="ctr" rtl="0">
              <a:lnSpc>
                <a:spcPct val="100000"/>
              </a:lnSpc>
              <a:defRPr sz="1400"/>
            </a:lvl1pPr>
          </a:lstStyle>
          <a:p>
            <a:r>
              <a:rPr lang="en-AU"/>
              <a:t>Drag an image</a:t>
            </a:r>
            <a:br>
              <a:rPr lang="en-AU"/>
            </a:br>
            <a:r>
              <a:rPr lang="en-AU"/>
              <a:t>from outside</a:t>
            </a:r>
            <a:br>
              <a:rPr lang="en-AU"/>
            </a:br>
            <a:r>
              <a:rPr lang="en-AU"/>
              <a:t>of PowerPoint into</a:t>
            </a:r>
            <a:br>
              <a:rPr lang="en-AU"/>
            </a:br>
            <a:r>
              <a:rPr lang="en-AU"/>
              <a:t>this container</a:t>
            </a:r>
            <a:endParaRPr lang="en-AU" dirty="0"/>
          </a:p>
        </p:txBody>
      </p:sp>
      <p:sp>
        <p:nvSpPr>
          <p:cNvPr id="26" name="Text Placeholder 20">
            <a:extLst>
              <a:ext uri="{FF2B5EF4-FFF2-40B4-BE49-F238E27FC236}">
                <a16:creationId xmlns:a16="http://schemas.microsoft.com/office/drawing/2014/main" id="{19BFE70B-6589-5C11-18EE-C2688C16C7DD}"/>
              </a:ext>
            </a:extLst>
          </p:cNvPr>
          <p:cNvSpPr>
            <a:spLocks noGrp="1"/>
          </p:cNvSpPr>
          <p:nvPr>
            <p:ph type="body" sz="quarter" idx="24" hasCustomPrompt="1"/>
          </p:nvPr>
        </p:nvSpPr>
        <p:spPr>
          <a:xfrm>
            <a:off x="4436015" y="1412622"/>
            <a:ext cx="2076103" cy="604356"/>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a:t>
            </a:r>
            <a:endParaRPr lang="en-AU" dirty="0"/>
          </a:p>
        </p:txBody>
      </p:sp>
      <p:sp>
        <p:nvSpPr>
          <p:cNvPr id="28" name="Text Placeholder 20">
            <a:extLst>
              <a:ext uri="{FF2B5EF4-FFF2-40B4-BE49-F238E27FC236}">
                <a16:creationId xmlns:a16="http://schemas.microsoft.com/office/drawing/2014/main" id="{C3E76C27-62AB-1A6C-5EE8-E79AA336AB84}"/>
              </a:ext>
            </a:extLst>
          </p:cNvPr>
          <p:cNvSpPr>
            <a:spLocks noGrp="1"/>
          </p:cNvSpPr>
          <p:nvPr>
            <p:ph type="body" sz="quarter" idx="25" hasCustomPrompt="1"/>
          </p:nvPr>
        </p:nvSpPr>
        <p:spPr>
          <a:xfrm>
            <a:off x="4436015" y="1146420"/>
            <a:ext cx="2076103" cy="180945"/>
          </a:xfrm>
          <a:prstGeom prst="rect">
            <a:avLst/>
          </a:prstGeom>
        </p:spPr>
        <p:txBody>
          <a:bodyPr/>
          <a:lstStyle>
            <a:lvl1pPr algn="l" rtl="0">
              <a:lnSpc>
                <a:spcPct val="100000"/>
              </a:lnSpc>
              <a:defRPr sz="1200" b="1">
                <a:solidFill>
                  <a:schemeClr val="tx2"/>
                </a:solidFill>
                <a:latin typeface="+mn-lt"/>
              </a:defRPr>
            </a:lvl1pPr>
          </a:lstStyle>
          <a:p>
            <a:pPr lvl="0"/>
            <a:r>
              <a:rPr lang="en-AU"/>
              <a:t>DESCRIPTION</a:t>
            </a:r>
            <a:endParaRPr lang="en-AU" dirty="0"/>
          </a:p>
        </p:txBody>
      </p:sp>
      <p:sp>
        <p:nvSpPr>
          <p:cNvPr id="29" name="Text Placeholder 20">
            <a:extLst>
              <a:ext uri="{FF2B5EF4-FFF2-40B4-BE49-F238E27FC236}">
                <a16:creationId xmlns:a16="http://schemas.microsoft.com/office/drawing/2014/main" id="{BA73FC4E-C9B8-AB2F-0A0A-B8AC99941150}"/>
              </a:ext>
            </a:extLst>
          </p:cNvPr>
          <p:cNvSpPr>
            <a:spLocks noGrp="1"/>
          </p:cNvSpPr>
          <p:nvPr>
            <p:ph type="body" sz="quarter" idx="26" hasCustomPrompt="1"/>
          </p:nvPr>
        </p:nvSpPr>
        <p:spPr>
          <a:xfrm>
            <a:off x="4436015" y="2418064"/>
            <a:ext cx="2076103" cy="604356"/>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a:t>
            </a:r>
            <a:endParaRPr lang="en-AU" dirty="0"/>
          </a:p>
        </p:txBody>
      </p:sp>
      <p:sp>
        <p:nvSpPr>
          <p:cNvPr id="30" name="Text Placeholder 20">
            <a:extLst>
              <a:ext uri="{FF2B5EF4-FFF2-40B4-BE49-F238E27FC236}">
                <a16:creationId xmlns:a16="http://schemas.microsoft.com/office/drawing/2014/main" id="{E1B778C6-34DE-B397-FCFE-AB90E363185D}"/>
              </a:ext>
            </a:extLst>
          </p:cNvPr>
          <p:cNvSpPr>
            <a:spLocks noGrp="1"/>
          </p:cNvSpPr>
          <p:nvPr>
            <p:ph type="body" sz="quarter" idx="27" hasCustomPrompt="1"/>
          </p:nvPr>
        </p:nvSpPr>
        <p:spPr>
          <a:xfrm>
            <a:off x="4436015" y="2151862"/>
            <a:ext cx="2076103" cy="180945"/>
          </a:xfrm>
          <a:prstGeom prst="rect">
            <a:avLst/>
          </a:prstGeom>
        </p:spPr>
        <p:txBody>
          <a:bodyPr/>
          <a:lstStyle>
            <a:lvl1pPr algn="l" rtl="0">
              <a:lnSpc>
                <a:spcPct val="100000"/>
              </a:lnSpc>
              <a:defRPr sz="1200" b="1">
                <a:solidFill>
                  <a:schemeClr val="tx2"/>
                </a:solidFill>
                <a:latin typeface="+mn-lt"/>
              </a:defRPr>
            </a:lvl1pPr>
          </a:lstStyle>
          <a:p>
            <a:pPr lvl="0"/>
            <a:r>
              <a:rPr lang="en-AU"/>
              <a:t>DESCRIPTION</a:t>
            </a:r>
            <a:endParaRPr lang="en-AU" dirty="0"/>
          </a:p>
        </p:txBody>
      </p:sp>
      <p:sp>
        <p:nvSpPr>
          <p:cNvPr id="31" name="Text Placeholder 20">
            <a:extLst>
              <a:ext uri="{FF2B5EF4-FFF2-40B4-BE49-F238E27FC236}">
                <a16:creationId xmlns:a16="http://schemas.microsoft.com/office/drawing/2014/main" id="{F11044DA-63C7-A77A-B5E2-53F5DB4E814B}"/>
              </a:ext>
            </a:extLst>
          </p:cNvPr>
          <p:cNvSpPr>
            <a:spLocks noGrp="1"/>
          </p:cNvSpPr>
          <p:nvPr>
            <p:ph type="body" sz="quarter" idx="28" hasCustomPrompt="1"/>
          </p:nvPr>
        </p:nvSpPr>
        <p:spPr>
          <a:xfrm>
            <a:off x="4436015" y="3422552"/>
            <a:ext cx="2076103" cy="604356"/>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a:t>
            </a:r>
            <a:endParaRPr lang="en-AU" dirty="0"/>
          </a:p>
        </p:txBody>
      </p:sp>
      <p:sp>
        <p:nvSpPr>
          <p:cNvPr id="32" name="Text Placeholder 20">
            <a:extLst>
              <a:ext uri="{FF2B5EF4-FFF2-40B4-BE49-F238E27FC236}">
                <a16:creationId xmlns:a16="http://schemas.microsoft.com/office/drawing/2014/main" id="{CEB53F72-3835-2184-3F70-00C83079709D}"/>
              </a:ext>
            </a:extLst>
          </p:cNvPr>
          <p:cNvSpPr>
            <a:spLocks noGrp="1"/>
          </p:cNvSpPr>
          <p:nvPr>
            <p:ph type="body" sz="quarter" idx="29" hasCustomPrompt="1"/>
          </p:nvPr>
        </p:nvSpPr>
        <p:spPr>
          <a:xfrm>
            <a:off x="4436015" y="3156350"/>
            <a:ext cx="2076103" cy="180945"/>
          </a:xfrm>
          <a:prstGeom prst="rect">
            <a:avLst/>
          </a:prstGeom>
        </p:spPr>
        <p:txBody>
          <a:bodyPr/>
          <a:lstStyle>
            <a:lvl1pPr algn="l" rtl="0">
              <a:lnSpc>
                <a:spcPct val="100000"/>
              </a:lnSpc>
              <a:defRPr sz="1200" b="1">
                <a:solidFill>
                  <a:schemeClr val="tx2"/>
                </a:solidFill>
                <a:latin typeface="+mn-lt"/>
              </a:defRPr>
            </a:lvl1pPr>
          </a:lstStyle>
          <a:p>
            <a:pPr lvl="0"/>
            <a:r>
              <a:rPr lang="en-AU"/>
              <a:t>DESCRIPTION</a:t>
            </a:r>
            <a:endParaRPr lang="en-AU" dirty="0"/>
          </a:p>
        </p:txBody>
      </p:sp>
      <p:sp>
        <p:nvSpPr>
          <p:cNvPr id="33" name="Text Placeholder 20">
            <a:extLst>
              <a:ext uri="{FF2B5EF4-FFF2-40B4-BE49-F238E27FC236}">
                <a16:creationId xmlns:a16="http://schemas.microsoft.com/office/drawing/2014/main" id="{6DA37AE1-0C6D-4A33-130E-1E3EF624A675}"/>
              </a:ext>
            </a:extLst>
          </p:cNvPr>
          <p:cNvSpPr>
            <a:spLocks noGrp="1"/>
          </p:cNvSpPr>
          <p:nvPr>
            <p:ph type="body" sz="quarter" idx="30" hasCustomPrompt="1"/>
          </p:nvPr>
        </p:nvSpPr>
        <p:spPr>
          <a:xfrm>
            <a:off x="4436015" y="4424734"/>
            <a:ext cx="2076103" cy="604356"/>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a:t>
            </a:r>
            <a:endParaRPr lang="en-AU" dirty="0"/>
          </a:p>
        </p:txBody>
      </p:sp>
      <p:sp>
        <p:nvSpPr>
          <p:cNvPr id="34" name="Text Placeholder 20">
            <a:extLst>
              <a:ext uri="{FF2B5EF4-FFF2-40B4-BE49-F238E27FC236}">
                <a16:creationId xmlns:a16="http://schemas.microsoft.com/office/drawing/2014/main" id="{0CDF9426-2DBB-7CD4-481A-062E878E26FC}"/>
              </a:ext>
            </a:extLst>
          </p:cNvPr>
          <p:cNvSpPr>
            <a:spLocks noGrp="1"/>
          </p:cNvSpPr>
          <p:nvPr>
            <p:ph type="body" sz="quarter" idx="31" hasCustomPrompt="1"/>
          </p:nvPr>
        </p:nvSpPr>
        <p:spPr>
          <a:xfrm>
            <a:off x="4436015" y="4158532"/>
            <a:ext cx="2076103" cy="180945"/>
          </a:xfrm>
          <a:prstGeom prst="rect">
            <a:avLst/>
          </a:prstGeom>
        </p:spPr>
        <p:txBody>
          <a:bodyPr/>
          <a:lstStyle>
            <a:lvl1pPr algn="l" rtl="0">
              <a:lnSpc>
                <a:spcPct val="100000"/>
              </a:lnSpc>
              <a:defRPr sz="1200" b="1">
                <a:solidFill>
                  <a:schemeClr val="tx2"/>
                </a:solidFill>
                <a:latin typeface="+mn-lt"/>
              </a:defRPr>
            </a:lvl1pPr>
          </a:lstStyle>
          <a:p>
            <a:pPr lvl="0"/>
            <a:r>
              <a:rPr lang="en-AU"/>
              <a:t>DESCRIPTION</a:t>
            </a:r>
            <a:endParaRPr lang="en-AU" dirty="0"/>
          </a:p>
        </p:txBody>
      </p:sp>
      <p:sp>
        <p:nvSpPr>
          <p:cNvPr id="2" name="Slide Number Placeholder 3">
            <a:extLst>
              <a:ext uri="{FF2B5EF4-FFF2-40B4-BE49-F238E27FC236}">
                <a16:creationId xmlns:a16="http://schemas.microsoft.com/office/drawing/2014/main" id="{AE5E90DB-57FF-6B80-B24C-1661F741C7F1}"/>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34582974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704B4C-C182-90EF-3418-4BE9699EBFDC}"/>
              </a:ext>
            </a:extLst>
          </p:cNvPr>
          <p:cNvGraphicFramePr>
            <a:graphicFrameLocks noChangeAspect="1"/>
          </p:cNvGraphicFramePr>
          <p:nvPr userDrawn="1">
            <p:custDataLst>
              <p:tags r:id="rId1"/>
            </p:custDataLst>
            <p:extLst>
              <p:ext uri="{D42A27DB-BD31-4B8C-83A1-F6EECF244321}">
                <p14:modId xmlns:p14="http://schemas.microsoft.com/office/powerpoint/2010/main" val="426704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B3704B4C-C182-90EF-3418-4BE9699EBF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72E4B163-6B15-BA2D-7365-BE0196AB8775}"/>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80544956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B373DDF-5E1E-6540-D334-B80A65F4AA68}"/>
              </a:ext>
            </a:extLst>
          </p:cNvPr>
          <p:cNvGraphicFramePr>
            <a:graphicFrameLocks noChangeAspect="1"/>
          </p:cNvGraphicFramePr>
          <p:nvPr userDrawn="1">
            <p:custDataLst>
              <p:tags r:id="rId1"/>
            </p:custDataLst>
            <p:extLst>
              <p:ext uri="{D42A27DB-BD31-4B8C-83A1-F6EECF244321}">
                <p14:modId xmlns:p14="http://schemas.microsoft.com/office/powerpoint/2010/main" val="31958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think-cell data - do not delete" hidden="1">
                        <a:extLst>
                          <a:ext uri="{FF2B5EF4-FFF2-40B4-BE49-F238E27FC236}">
                            <a16:creationId xmlns:a16="http://schemas.microsoft.com/office/drawing/2014/main" id="{9B373DDF-5E1E-6540-D334-B80A65F4AA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AECAC14-C3A3-41FE-6C16-03F83252D6E8}"/>
              </a:ext>
            </a:extLst>
          </p:cNvPr>
          <p:cNvSpPr/>
          <p:nvPr userDrawn="1"/>
        </p:nvSpPr>
        <p:spPr>
          <a:xfrm>
            <a:off x="4349749" y="873125"/>
            <a:ext cx="7842251" cy="2182897"/>
          </a:xfrm>
          <a:prstGeom prst="rect">
            <a:avLst/>
          </a:prstGeom>
          <a:solidFill>
            <a:srgbClr val="003645"/>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4989" tIns="34989" rIns="144000" bIns="34989" numCol="1" spcCol="38100" rtlCol="0" anchor="ctr">
            <a:noAutofit/>
          </a:bodyPr>
          <a:lstStyle/>
          <a:p>
            <a:pPr algn="r" defTabSz="292093" rtl="0" latinLnBrk="1" hangingPunct="0"/>
            <a:endParaRPr lang="en-AU" sz="1400" i="1"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Helvetica Light"/>
            </a:endParaRPr>
          </a:p>
        </p:txBody>
      </p:sp>
      <p:sp>
        <p:nvSpPr>
          <p:cNvPr id="9" name="Picture Placeholder 11">
            <a:extLst>
              <a:ext uri="{FF2B5EF4-FFF2-40B4-BE49-F238E27FC236}">
                <a16:creationId xmlns:a16="http://schemas.microsoft.com/office/drawing/2014/main" id="{1B0EB2B4-275C-7356-F6C7-DCDFF0F449D0}"/>
              </a:ext>
            </a:extLst>
          </p:cNvPr>
          <p:cNvSpPr>
            <a:spLocks noGrp="1"/>
          </p:cNvSpPr>
          <p:nvPr>
            <p:ph type="pic" sz="quarter" idx="15" hasCustomPrompt="1"/>
          </p:nvPr>
        </p:nvSpPr>
        <p:spPr>
          <a:xfrm>
            <a:off x="-1" y="0"/>
            <a:ext cx="4349749" cy="5965668"/>
          </a:xfrm>
          <a:prstGeom prst="rect">
            <a:avLst/>
          </a:prstGeom>
          <a:solidFill>
            <a:schemeClr val="bg1">
              <a:lumMod val="85000"/>
            </a:schemeClr>
          </a:solidFill>
        </p:spPr>
        <p:txBody>
          <a:bodyPr lIns="540000" tIns="1224000" rIns="540000" anchor="ctr"/>
          <a:lstStyle>
            <a:lvl1pPr algn="ctr" rtl="0">
              <a:lnSpc>
                <a:spcPct val="100000"/>
              </a:lnSpc>
              <a:defRPr sz="1400"/>
            </a:lvl1pPr>
          </a:lstStyle>
          <a:p>
            <a:r>
              <a:rPr lang="en-AU"/>
              <a:t>Click icon to insert image, then Right Click and Send to Back</a:t>
            </a:r>
            <a:endParaRPr lang="en-AU" dirty="0"/>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1" name="Text Placeholder 20">
            <a:extLst>
              <a:ext uri="{FF2B5EF4-FFF2-40B4-BE49-F238E27FC236}">
                <a16:creationId xmlns:a16="http://schemas.microsoft.com/office/drawing/2014/main" id="{4ED9087B-C26F-8ECB-6E02-F0912487C3DA}"/>
              </a:ext>
            </a:extLst>
          </p:cNvPr>
          <p:cNvSpPr>
            <a:spLocks noGrp="1"/>
          </p:cNvSpPr>
          <p:nvPr>
            <p:ph type="body" sz="quarter" idx="23" hasCustomPrompt="1"/>
          </p:nvPr>
        </p:nvSpPr>
        <p:spPr>
          <a:xfrm>
            <a:off x="-4538" y="510425"/>
            <a:ext cx="2086001" cy="381907"/>
          </a:xfrm>
          <a:prstGeom prst="rect">
            <a:avLst/>
          </a:prstGeom>
          <a:solidFill>
            <a:schemeClr val="accent1"/>
          </a:solidFill>
        </p:spPr>
        <p:txBody>
          <a:bodyPr lIns="900000" anchor="ctr"/>
          <a:lstStyle>
            <a:lvl1pPr algn="l" rtl="0">
              <a:lnSpc>
                <a:spcPct val="120000"/>
              </a:lnSpc>
              <a:defRPr sz="1400" i="1">
                <a:solidFill>
                  <a:schemeClr val="bg1"/>
                </a:solidFill>
                <a:latin typeface="+mn-lt"/>
              </a:defRPr>
            </a:lvl1pPr>
          </a:lstStyle>
          <a:p>
            <a:pPr lvl="0"/>
            <a:r>
              <a:rPr lang="en-AU"/>
              <a:t>Case Study</a:t>
            </a:r>
            <a:endParaRPr lang="en-AU" dirty="0"/>
          </a:p>
        </p:txBody>
      </p:sp>
      <p:sp>
        <p:nvSpPr>
          <p:cNvPr id="16" name="Title Placeholder 1">
            <a:extLst>
              <a:ext uri="{FF2B5EF4-FFF2-40B4-BE49-F238E27FC236}">
                <a16:creationId xmlns:a16="http://schemas.microsoft.com/office/drawing/2014/main" id="{8E705781-1FF3-8CE4-8B50-C76225B8B6B3}"/>
              </a:ext>
            </a:extLst>
          </p:cNvPr>
          <p:cNvSpPr>
            <a:spLocks noGrp="1"/>
          </p:cNvSpPr>
          <p:nvPr>
            <p:ph type="title" hasCustomPrompt="1"/>
          </p:nvPr>
        </p:nvSpPr>
        <p:spPr>
          <a:xfrm>
            <a:off x="4688466" y="1170517"/>
            <a:ext cx="3153788" cy="362228"/>
          </a:xfrm>
          <a:prstGeom prst="rect">
            <a:avLst/>
          </a:prstGeom>
        </p:spPr>
        <p:txBody>
          <a:bodyPr vert="horz" lIns="0" tIns="0" rIns="0" bIns="0" rtlCol="0" anchor="b">
            <a:noAutofit/>
          </a:bodyPr>
          <a:lstStyle>
            <a:lvl1pPr algn="l" rtl="0">
              <a:lnSpc>
                <a:spcPct val="90000"/>
              </a:lnSpc>
              <a:defRPr sz="2800">
                <a:solidFill>
                  <a:schemeClr val="bg1"/>
                </a:solidFill>
              </a:defRPr>
            </a:lvl1pPr>
          </a:lstStyle>
          <a:p>
            <a:r>
              <a:rPr lang="en-AU"/>
              <a:t>Project Title</a:t>
            </a:r>
            <a:endParaRPr lang="en-AU" dirty="0"/>
          </a:p>
        </p:txBody>
      </p:sp>
      <p:sp>
        <p:nvSpPr>
          <p:cNvPr id="17" name="Text Placeholder 20">
            <a:extLst>
              <a:ext uri="{FF2B5EF4-FFF2-40B4-BE49-F238E27FC236}">
                <a16:creationId xmlns:a16="http://schemas.microsoft.com/office/drawing/2014/main" id="{8D049E34-FB25-6818-DAB9-5DCD8AD971F0}"/>
              </a:ext>
            </a:extLst>
          </p:cNvPr>
          <p:cNvSpPr>
            <a:spLocks noGrp="1"/>
          </p:cNvSpPr>
          <p:nvPr>
            <p:ph type="body" sz="quarter" idx="25" hasCustomPrompt="1"/>
          </p:nvPr>
        </p:nvSpPr>
        <p:spPr>
          <a:xfrm>
            <a:off x="4688466" y="1679675"/>
            <a:ext cx="3153788" cy="934436"/>
          </a:xfrm>
          <a:prstGeom prst="rect">
            <a:avLst/>
          </a:prstGeom>
        </p:spPr>
        <p:txBody>
          <a:bodyPr/>
          <a:lstStyle>
            <a:lvl1pPr algn="l" rtl="0">
              <a:lnSpc>
                <a:spcPct val="120000"/>
              </a:lnSpc>
              <a:defRPr sz="1200">
                <a:solidFill>
                  <a:schemeClr val="bg1"/>
                </a:solidFill>
                <a:latin typeface="+mn-lt"/>
              </a:defRPr>
            </a:lvl1pPr>
          </a:lstStyle>
          <a:p>
            <a:pPr lvl="0"/>
            <a:r>
              <a:rPr lang="en-AU"/>
              <a:t>Intro describing the amazing results from this project. Eiusmod tempor incididunt Lorem ipsum dolor sit amet, consectetur adipiscing </a:t>
            </a:r>
            <a:endParaRPr lang="en-AU" dirty="0"/>
          </a:p>
        </p:txBody>
      </p:sp>
      <p:sp>
        <p:nvSpPr>
          <p:cNvPr id="18" name="Text Placeholder 20">
            <a:extLst>
              <a:ext uri="{FF2B5EF4-FFF2-40B4-BE49-F238E27FC236}">
                <a16:creationId xmlns:a16="http://schemas.microsoft.com/office/drawing/2014/main" id="{033C01CF-AAE8-B586-8002-927F9A3B6116}"/>
              </a:ext>
            </a:extLst>
          </p:cNvPr>
          <p:cNvSpPr>
            <a:spLocks noGrp="1"/>
          </p:cNvSpPr>
          <p:nvPr>
            <p:ph type="body" sz="quarter" idx="26" hasCustomPrompt="1"/>
          </p:nvPr>
        </p:nvSpPr>
        <p:spPr>
          <a:xfrm>
            <a:off x="8573808" y="1170517"/>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Company Name]</a:t>
            </a:r>
            <a:endParaRPr lang="en-AU" dirty="0"/>
          </a:p>
        </p:txBody>
      </p:sp>
      <p:sp>
        <p:nvSpPr>
          <p:cNvPr id="19" name="Text Placeholder 20">
            <a:extLst>
              <a:ext uri="{FF2B5EF4-FFF2-40B4-BE49-F238E27FC236}">
                <a16:creationId xmlns:a16="http://schemas.microsoft.com/office/drawing/2014/main" id="{46D17167-9C49-D4F2-468A-93DB07AFA227}"/>
              </a:ext>
            </a:extLst>
          </p:cNvPr>
          <p:cNvSpPr>
            <a:spLocks noGrp="1"/>
          </p:cNvSpPr>
          <p:nvPr>
            <p:ph type="body" sz="quarter" idx="27" hasCustomPrompt="1"/>
          </p:nvPr>
        </p:nvSpPr>
        <p:spPr>
          <a:xfrm>
            <a:off x="8573808" y="1579226"/>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Location]</a:t>
            </a:r>
            <a:endParaRPr lang="en-AU" dirty="0"/>
          </a:p>
        </p:txBody>
      </p:sp>
      <p:sp>
        <p:nvSpPr>
          <p:cNvPr id="20" name="Text Placeholder 20">
            <a:extLst>
              <a:ext uri="{FF2B5EF4-FFF2-40B4-BE49-F238E27FC236}">
                <a16:creationId xmlns:a16="http://schemas.microsoft.com/office/drawing/2014/main" id="{446BCBF6-F49C-4696-E78B-4721FD4CFC6B}"/>
              </a:ext>
            </a:extLst>
          </p:cNvPr>
          <p:cNvSpPr>
            <a:spLocks noGrp="1"/>
          </p:cNvSpPr>
          <p:nvPr>
            <p:ph type="body" sz="quarter" idx="28" hasCustomPrompt="1"/>
          </p:nvPr>
        </p:nvSpPr>
        <p:spPr>
          <a:xfrm>
            <a:off x="8573808" y="1987935"/>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Scope]</a:t>
            </a:r>
            <a:endParaRPr lang="en-AU" dirty="0"/>
          </a:p>
        </p:txBody>
      </p:sp>
      <p:sp>
        <p:nvSpPr>
          <p:cNvPr id="21" name="Text Placeholder 20">
            <a:extLst>
              <a:ext uri="{FF2B5EF4-FFF2-40B4-BE49-F238E27FC236}">
                <a16:creationId xmlns:a16="http://schemas.microsoft.com/office/drawing/2014/main" id="{DA9864BB-93BF-8272-E105-7818BB743757}"/>
              </a:ext>
            </a:extLst>
          </p:cNvPr>
          <p:cNvSpPr>
            <a:spLocks noGrp="1"/>
          </p:cNvSpPr>
          <p:nvPr>
            <p:ph type="body" sz="quarter" idx="29" hasCustomPrompt="1"/>
          </p:nvPr>
        </p:nvSpPr>
        <p:spPr>
          <a:xfrm>
            <a:off x="8573808" y="2396644"/>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Date]</a:t>
            </a:r>
            <a:endParaRPr lang="en-AU" dirty="0"/>
          </a:p>
        </p:txBody>
      </p:sp>
      <p:cxnSp>
        <p:nvCxnSpPr>
          <p:cNvPr id="22" name="Straight Connector 21">
            <a:extLst>
              <a:ext uri="{FF2B5EF4-FFF2-40B4-BE49-F238E27FC236}">
                <a16:creationId xmlns:a16="http://schemas.microsoft.com/office/drawing/2014/main" id="{677F68FD-DC5C-2F8C-CDC4-CEA5E675C280}"/>
              </a:ext>
            </a:extLst>
          </p:cNvPr>
          <p:cNvCxnSpPr>
            <a:cxnSpLocks/>
          </p:cNvCxnSpPr>
          <p:nvPr userDrawn="1"/>
        </p:nvCxnSpPr>
        <p:spPr>
          <a:xfrm>
            <a:off x="8141275" y="1170517"/>
            <a:ext cx="0" cy="1443594"/>
          </a:xfrm>
          <a:prstGeom prst="line">
            <a:avLst/>
          </a:prstGeom>
          <a:noFill/>
          <a:ln w="15875" cap="flat">
            <a:solidFill>
              <a:schemeClr val="bg1"/>
            </a:solidFill>
            <a:prstDash val="solid"/>
            <a:miter lim="400000"/>
          </a:ln>
          <a:effectLst/>
        </p:spPr>
        <p:style>
          <a:lnRef idx="0">
            <a:scrgbClr r="0" g="0" b="0"/>
          </a:lnRef>
          <a:fillRef idx="0">
            <a:scrgbClr r="0" g="0" b="0"/>
          </a:fillRef>
          <a:effectRef idx="0">
            <a:scrgbClr r="0" g="0" b="0"/>
          </a:effectRef>
          <a:fontRef idx="none"/>
        </p:style>
      </p:cxnSp>
      <p:sp>
        <p:nvSpPr>
          <p:cNvPr id="3" name="Slide Number Placeholder 3">
            <a:extLst>
              <a:ext uri="{FF2B5EF4-FFF2-40B4-BE49-F238E27FC236}">
                <a16:creationId xmlns:a16="http://schemas.microsoft.com/office/drawing/2014/main" id="{35874E60-42F0-EB95-542F-FFFDE97469B4}"/>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4" name="Text Placeholder 20">
            <a:extLst>
              <a:ext uri="{FF2B5EF4-FFF2-40B4-BE49-F238E27FC236}">
                <a16:creationId xmlns:a16="http://schemas.microsoft.com/office/drawing/2014/main" id="{E905E934-8C3F-D7FA-0854-F25A327FC0AA}"/>
              </a:ext>
            </a:extLst>
          </p:cNvPr>
          <p:cNvSpPr>
            <a:spLocks noGrp="1"/>
          </p:cNvSpPr>
          <p:nvPr>
            <p:ph type="body" sz="quarter" idx="14" hasCustomPrompt="1"/>
          </p:nvPr>
        </p:nvSpPr>
        <p:spPr>
          <a:xfrm>
            <a:off x="4688466" y="3628934"/>
            <a:ext cx="3153788" cy="2336734"/>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a:t>
            </a:r>
            <a:endParaRPr lang="en-AU" dirty="0"/>
          </a:p>
        </p:txBody>
      </p:sp>
      <p:sp>
        <p:nvSpPr>
          <p:cNvPr id="7" name="Text Placeholder 20">
            <a:extLst>
              <a:ext uri="{FF2B5EF4-FFF2-40B4-BE49-F238E27FC236}">
                <a16:creationId xmlns:a16="http://schemas.microsoft.com/office/drawing/2014/main" id="{C0337791-94CB-D839-1E4B-1CCB1CEFE0A5}"/>
              </a:ext>
            </a:extLst>
          </p:cNvPr>
          <p:cNvSpPr>
            <a:spLocks noGrp="1"/>
          </p:cNvSpPr>
          <p:nvPr>
            <p:ph type="body" sz="quarter" idx="20" hasCustomPrompt="1"/>
          </p:nvPr>
        </p:nvSpPr>
        <p:spPr>
          <a:xfrm>
            <a:off x="4688466" y="3302538"/>
            <a:ext cx="3153788"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a:t>
            </a:r>
            <a:endParaRPr lang="en-AU" dirty="0"/>
          </a:p>
        </p:txBody>
      </p:sp>
      <p:sp>
        <p:nvSpPr>
          <p:cNvPr id="8" name="Text Placeholder 20">
            <a:extLst>
              <a:ext uri="{FF2B5EF4-FFF2-40B4-BE49-F238E27FC236}">
                <a16:creationId xmlns:a16="http://schemas.microsoft.com/office/drawing/2014/main" id="{37D2081A-4918-7A95-C764-E85734925175}"/>
              </a:ext>
            </a:extLst>
          </p:cNvPr>
          <p:cNvSpPr>
            <a:spLocks noGrp="1"/>
          </p:cNvSpPr>
          <p:nvPr>
            <p:ph type="body" sz="quarter" idx="24" hasCustomPrompt="1"/>
          </p:nvPr>
        </p:nvSpPr>
        <p:spPr>
          <a:xfrm>
            <a:off x="8141275" y="3302538"/>
            <a:ext cx="3153788" cy="2663130"/>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a:t>
            </a:r>
            <a:endParaRPr lang="en-AU" dirty="0"/>
          </a:p>
        </p:txBody>
      </p:sp>
    </p:spTree>
    <p:extLst>
      <p:ext uri="{BB962C8B-B14F-4D97-AF65-F5344CB8AC3E}">
        <p14:creationId xmlns:p14="http://schemas.microsoft.com/office/powerpoint/2010/main" val="288728400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Cover">
    <p:bg>
      <p:bgPr>
        <a:solidFill>
          <a:schemeClr val="accent2"/>
        </a:solidFill>
        <a:effectLst/>
      </p:bgPr>
    </p:bg>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285A9287-4C2E-8810-5ABC-800D778DB05D}"/>
              </a:ext>
            </a:extLst>
          </p:cNvPr>
          <p:cNvGraphicFramePr>
            <a:graphicFrameLocks noChangeAspect="1"/>
          </p:cNvGraphicFramePr>
          <p:nvPr userDrawn="1">
            <p:custDataLst>
              <p:tags r:id="rId1"/>
            </p:custDataLst>
            <p:extLst>
              <p:ext uri="{D42A27DB-BD31-4B8C-83A1-F6EECF244321}">
                <p14:modId xmlns:p14="http://schemas.microsoft.com/office/powerpoint/2010/main" val="325099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6" name="think-cell data - do not delete" hidden="1">
                        <a:extLst>
                          <a:ext uri="{FF2B5EF4-FFF2-40B4-BE49-F238E27FC236}">
                            <a16:creationId xmlns:a16="http://schemas.microsoft.com/office/drawing/2014/main" id="{285A9287-4C2E-8810-5ABC-800D778DB0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04935328-5165-4BEA-58F2-DFB9A3D2CC52}"/>
              </a:ext>
            </a:extLst>
          </p:cNvPr>
          <p:cNvSpPr>
            <a:spLocks noGrp="1"/>
          </p:cNvSpPr>
          <p:nvPr>
            <p:ph type="title" hasCustomPrompt="1"/>
          </p:nvPr>
        </p:nvSpPr>
        <p:spPr>
          <a:xfrm>
            <a:off x="6989764" y="1614284"/>
            <a:ext cx="4287836" cy="1738389"/>
          </a:xfrm>
          <a:prstGeom prst="rect">
            <a:avLst/>
          </a:prstGeom>
        </p:spPr>
        <p:txBody>
          <a:bodyPr vert="horz" lIns="0" tIns="0" rIns="0" bIns="0" rtlCol="0" anchor="b">
            <a:noAutofit/>
          </a:bodyPr>
          <a:lstStyle>
            <a:lvl1pPr rtl="0">
              <a:defRPr lang="en-US" sz="4800" dirty="0">
                <a:solidFill>
                  <a:schemeClr val="bg1"/>
                </a:solidFill>
              </a:defRPr>
            </a:lvl1pPr>
          </a:lstStyle>
          <a:p>
            <a:pPr lvl="0"/>
            <a:r>
              <a:rPr lang="en-AU"/>
              <a:t>Headlines are to be</a:t>
            </a:r>
            <a:br>
              <a:rPr lang="en-AU"/>
            </a:br>
            <a:r>
              <a:rPr lang="en-AU"/>
              <a:t>Title Case</a:t>
            </a:r>
            <a:endParaRPr lang="en-AU" dirty="0"/>
          </a:p>
        </p:txBody>
      </p:sp>
      <p:sp>
        <p:nvSpPr>
          <p:cNvPr id="17" name="Text Placeholder 15">
            <a:extLst>
              <a:ext uri="{FF2B5EF4-FFF2-40B4-BE49-F238E27FC236}">
                <a16:creationId xmlns:a16="http://schemas.microsoft.com/office/drawing/2014/main" id="{58C64552-3CC2-033A-D0B2-40559B174871}"/>
              </a:ext>
            </a:extLst>
          </p:cNvPr>
          <p:cNvSpPr>
            <a:spLocks noGrp="1"/>
          </p:cNvSpPr>
          <p:nvPr>
            <p:ph type="body" sz="quarter" idx="11" hasCustomPrompt="1"/>
          </p:nvPr>
        </p:nvSpPr>
        <p:spPr>
          <a:xfrm>
            <a:off x="6989763" y="5341383"/>
            <a:ext cx="4287837" cy="163314"/>
          </a:xfrm>
          <a:prstGeom prst="rect">
            <a:avLst/>
          </a:prstGeom>
        </p:spPr>
        <p:txBody>
          <a:bodyPr anchor="ctr"/>
          <a:lstStyle>
            <a:lvl1pPr rtl="0">
              <a:defRPr b="1" spc="100" baseline="0">
                <a:solidFill>
                  <a:schemeClr val="bg1"/>
                </a:solidFill>
              </a:defRPr>
            </a:lvl1pPr>
            <a:lvl2pPr>
              <a:lnSpc>
                <a:spcPct val="100000"/>
              </a:lnSpc>
              <a:defRPr lang="en-US" sz="1333" b="1" kern="0" spc="4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ATION NAME</a:t>
            </a:r>
            <a:endParaRPr lang="en-AU" dirty="0"/>
          </a:p>
        </p:txBody>
      </p:sp>
      <p:sp>
        <p:nvSpPr>
          <p:cNvPr id="18" name="Text Placeholder 15">
            <a:extLst>
              <a:ext uri="{FF2B5EF4-FFF2-40B4-BE49-F238E27FC236}">
                <a16:creationId xmlns:a16="http://schemas.microsoft.com/office/drawing/2014/main" id="{49723328-F83F-E36F-A23C-C63BA0452F08}"/>
              </a:ext>
            </a:extLst>
          </p:cNvPr>
          <p:cNvSpPr>
            <a:spLocks noGrp="1"/>
          </p:cNvSpPr>
          <p:nvPr>
            <p:ph type="body" sz="quarter" idx="12" hasCustomPrompt="1"/>
          </p:nvPr>
        </p:nvSpPr>
        <p:spPr>
          <a:xfrm>
            <a:off x="6989763" y="5572952"/>
            <a:ext cx="4287837" cy="163314"/>
          </a:xfrm>
          <a:prstGeom prst="rect">
            <a:avLst/>
          </a:prstGeom>
        </p:spPr>
        <p:txBody>
          <a:bodyPr anchor="ctr"/>
          <a:lstStyle>
            <a:lvl1pPr rtl="0">
              <a:defRPr b="0" spc="100" baseline="0">
                <a:solidFill>
                  <a:schemeClr val="bg1"/>
                </a:solidFill>
              </a:defRPr>
            </a:lvl1pPr>
            <a:lvl2pPr>
              <a:lnSpc>
                <a:spcPct val="100000"/>
              </a:lnSpc>
              <a:defRPr lang="en-US" sz="1333" b="0" kern="0" spc="4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ER</a:t>
            </a:r>
            <a:endParaRPr lang="en-AU" dirty="0"/>
          </a:p>
        </p:txBody>
      </p:sp>
      <p:sp>
        <p:nvSpPr>
          <p:cNvPr id="19" name="Text Placeholder 15">
            <a:extLst>
              <a:ext uri="{FF2B5EF4-FFF2-40B4-BE49-F238E27FC236}">
                <a16:creationId xmlns:a16="http://schemas.microsoft.com/office/drawing/2014/main" id="{10F85AFF-0099-B004-10E7-3264A4FAD960}"/>
              </a:ext>
            </a:extLst>
          </p:cNvPr>
          <p:cNvSpPr>
            <a:spLocks noGrp="1"/>
          </p:cNvSpPr>
          <p:nvPr>
            <p:ph type="body" sz="quarter" idx="13" hasCustomPrompt="1"/>
          </p:nvPr>
        </p:nvSpPr>
        <p:spPr>
          <a:xfrm>
            <a:off x="6989763" y="5804521"/>
            <a:ext cx="4287837" cy="163314"/>
          </a:xfrm>
          <a:prstGeom prst="rect">
            <a:avLst/>
          </a:prstGeom>
        </p:spPr>
        <p:txBody>
          <a:bodyPr anchor="ctr"/>
          <a:lstStyle>
            <a:lvl1pPr rtl="0">
              <a:defRPr sz="1000">
                <a:solidFill>
                  <a:schemeClr val="bg1"/>
                </a:solidFill>
              </a:defRPr>
            </a:lvl1pPr>
            <a:lvl2pPr marL="0" algn="l" defTabSz="292093" rtl="0" eaLnBrk="1" latinLnBrk="0" hangingPunct="1">
              <a:lnSpc>
                <a:spcPct val="90000"/>
              </a:lnSpc>
              <a:defRPr lang="en-US" sz="1000" b="0" kern="0" spc="0" dirty="0" smtClean="0">
                <a:solidFill>
                  <a:schemeClr val="bg1"/>
                </a:solidFill>
                <a:latin typeface="Verdana" panose="020B0604030504040204" pitchFamily="34" charset="0"/>
                <a:ea typeface="Verdana" panose="020B0604030504040204" pitchFamily="34" charset="0"/>
                <a:cs typeface="Verdana" panose="020B0604030504040204" pitchFamily="34" charset="0"/>
                <a:sym typeface="TeX Gyre Adventor"/>
              </a:defRPr>
            </a:lvl2pPr>
            <a:lvl3pPr marL="0" indent="0">
              <a:buNone/>
              <a:defRPr/>
            </a:lvl3pPr>
          </a:lstStyle>
          <a:p>
            <a:pPr lvl="0"/>
            <a:r>
              <a:rPr lang="en-AU"/>
              <a:t>DD MONTH YYYY</a:t>
            </a:r>
            <a:endParaRPr lang="en-AU" dirty="0"/>
          </a:p>
        </p:txBody>
      </p:sp>
      <p:sp>
        <p:nvSpPr>
          <p:cNvPr id="21" name="Text Placeholder 20">
            <a:extLst>
              <a:ext uri="{FF2B5EF4-FFF2-40B4-BE49-F238E27FC236}">
                <a16:creationId xmlns:a16="http://schemas.microsoft.com/office/drawing/2014/main" id="{4FCEAD4B-3D9E-1FE1-F7EA-4DF4F676AA75}"/>
              </a:ext>
            </a:extLst>
          </p:cNvPr>
          <p:cNvSpPr>
            <a:spLocks noGrp="1"/>
          </p:cNvSpPr>
          <p:nvPr>
            <p:ph type="body" sz="quarter" idx="14" hasCustomPrompt="1"/>
          </p:nvPr>
        </p:nvSpPr>
        <p:spPr>
          <a:xfrm>
            <a:off x="6989763" y="3927777"/>
            <a:ext cx="4287837" cy="1214135"/>
          </a:xfrm>
          <a:prstGeom prst="rect">
            <a:avLst/>
          </a:prstGeom>
        </p:spPr>
        <p:txBody>
          <a:bodyPr>
            <a:normAutofit/>
          </a:bodyPr>
          <a:lstStyle>
            <a:lvl1pPr rtl="0">
              <a:lnSpc>
                <a:spcPct val="100000"/>
              </a:lnSpc>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000">
                <a:solidFill>
                  <a:schemeClr val="bg1"/>
                </a:solidFill>
              </a:defRPr>
            </a:lvl5pPr>
          </a:lstStyle>
          <a:p>
            <a:pPr lvl="0"/>
            <a:r>
              <a:rPr lang="en-AU"/>
              <a:t>Subtitle</a:t>
            </a:r>
            <a:endParaRPr lang="en-AU" dirty="0"/>
          </a:p>
        </p:txBody>
      </p:sp>
      <p:sp>
        <p:nvSpPr>
          <p:cNvPr id="12" name="Picture Placeholder 11">
            <a:extLst>
              <a:ext uri="{FF2B5EF4-FFF2-40B4-BE49-F238E27FC236}">
                <a16:creationId xmlns:a16="http://schemas.microsoft.com/office/drawing/2014/main" id="{F90C5A34-8444-BF51-CC40-CEE10A575BE0}"/>
              </a:ext>
            </a:extLst>
          </p:cNvPr>
          <p:cNvSpPr>
            <a:spLocks noGrp="1"/>
          </p:cNvSpPr>
          <p:nvPr>
            <p:ph type="pic" sz="quarter" idx="15" hasCustomPrompt="1"/>
          </p:nvPr>
        </p:nvSpPr>
        <p:spPr>
          <a:xfrm>
            <a:off x="0" y="0"/>
            <a:ext cx="6096000" cy="6858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a:t>
            </a:r>
            <a:endParaRPr lang="en-AU" dirty="0"/>
          </a:p>
        </p:txBody>
      </p:sp>
      <p:sp>
        <p:nvSpPr>
          <p:cNvPr id="8" name="Text Placeholder 23">
            <a:extLst>
              <a:ext uri="{FF2B5EF4-FFF2-40B4-BE49-F238E27FC236}">
                <a16:creationId xmlns:a16="http://schemas.microsoft.com/office/drawing/2014/main" id="{F46C14F1-92BB-7130-AD36-AD173D6CC60F}"/>
              </a:ext>
            </a:extLst>
          </p:cNvPr>
          <p:cNvSpPr>
            <a:spLocks noGrp="1"/>
          </p:cNvSpPr>
          <p:nvPr>
            <p:ph type="body" sz="quarter" idx="16" hasCustomPrompt="1"/>
          </p:nvPr>
        </p:nvSpPr>
        <p:spPr>
          <a:xfrm>
            <a:off x="6989763" y="3531062"/>
            <a:ext cx="1009988" cy="129745"/>
          </a:xfrm>
          <a:prstGeom prst="rect">
            <a:avLst/>
          </a:prstGeom>
          <a:solidFill>
            <a:schemeClr val="accent1"/>
          </a:solidFill>
        </p:spPr>
        <p:txBody>
          <a:bodyPr/>
          <a:lstStyle>
            <a:lvl1pPr rtl="0">
              <a:defRPr sz="800">
                <a:noFill/>
              </a:defRPr>
            </a:lvl1pPr>
          </a:lstStyle>
          <a:p>
            <a:pPr lvl="0"/>
            <a:r>
              <a:rPr lang="en-AU"/>
              <a:t>.</a:t>
            </a:r>
            <a:endParaRPr lang="en-AU" dirty="0"/>
          </a:p>
        </p:txBody>
      </p:sp>
      <p:grpSp>
        <p:nvGrpSpPr>
          <p:cNvPr id="2" name="Group 1">
            <a:extLst>
              <a:ext uri="{FF2B5EF4-FFF2-40B4-BE49-F238E27FC236}">
                <a16:creationId xmlns:a16="http://schemas.microsoft.com/office/drawing/2014/main" id="{4F6313D6-AD01-CA74-77F8-7FBF1BA3FFD0}"/>
              </a:ext>
            </a:extLst>
          </p:cNvPr>
          <p:cNvGrpSpPr/>
          <p:nvPr userDrawn="1"/>
        </p:nvGrpSpPr>
        <p:grpSpPr>
          <a:xfrm>
            <a:off x="6989763" y="558132"/>
            <a:ext cx="2520526" cy="589009"/>
            <a:chOff x="3230032" y="2757677"/>
            <a:chExt cx="5712037" cy="1334815"/>
          </a:xfrm>
          <a:solidFill>
            <a:schemeClr val="bg1"/>
          </a:solidFill>
        </p:grpSpPr>
        <p:grpSp>
          <p:nvGrpSpPr>
            <p:cNvPr id="3" name="Graphic 2">
              <a:extLst>
                <a:ext uri="{FF2B5EF4-FFF2-40B4-BE49-F238E27FC236}">
                  <a16:creationId xmlns:a16="http://schemas.microsoft.com/office/drawing/2014/main" id="{B9E8C383-6F65-70EF-70E8-AE1AB8230124}"/>
                </a:ext>
              </a:extLst>
            </p:cNvPr>
            <p:cNvGrpSpPr/>
            <p:nvPr/>
          </p:nvGrpSpPr>
          <p:grpSpPr>
            <a:xfrm>
              <a:off x="4764309" y="2832258"/>
              <a:ext cx="4177760" cy="1188624"/>
              <a:chOff x="4764309" y="2832258"/>
              <a:chExt cx="4177760" cy="1188624"/>
            </a:xfrm>
            <a:grpFill/>
          </p:grpSpPr>
          <p:sp>
            <p:nvSpPr>
              <p:cNvPr id="50" name="Freeform: Shape 49">
                <a:extLst>
                  <a:ext uri="{FF2B5EF4-FFF2-40B4-BE49-F238E27FC236}">
                    <a16:creationId xmlns:a16="http://schemas.microsoft.com/office/drawing/2014/main" id="{93C7EE73-6B37-7563-8C3F-DEF239B4FB34}"/>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grpFill/>
              <a:ln w="9525" cap="flat">
                <a:noFill/>
                <a:prstDash val="solid"/>
                <a:miter/>
              </a:ln>
            </p:spPr>
            <p:txBody>
              <a:bodyPr rtlCol="0" anchor="ctr"/>
              <a:lstStyle/>
              <a:p>
                <a:pPr rtl="0"/>
                <a:endParaRPr lang="en-AU" dirty="0"/>
              </a:p>
            </p:txBody>
          </p:sp>
          <p:sp>
            <p:nvSpPr>
              <p:cNvPr id="51" name="Freeform: Shape 50">
                <a:extLst>
                  <a:ext uri="{FF2B5EF4-FFF2-40B4-BE49-F238E27FC236}">
                    <a16:creationId xmlns:a16="http://schemas.microsoft.com/office/drawing/2014/main" id="{7511BE4B-F7E1-267C-302D-A5CF11314C39}"/>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grpFill/>
              <a:ln w="9525" cap="flat">
                <a:noFill/>
                <a:prstDash val="solid"/>
                <a:miter/>
              </a:ln>
            </p:spPr>
            <p:txBody>
              <a:bodyPr rtlCol="0" anchor="ctr"/>
              <a:lstStyle/>
              <a:p>
                <a:pPr rtl="0"/>
                <a:endParaRPr lang="en-AU" dirty="0"/>
              </a:p>
            </p:txBody>
          </p:sp>
          <p:sp>
            <p:nvSpPr>
              <p:cNvPr id="52" name="Freeform: Shape 51">
                <a:extLst>
                  <a:ext uri="{FF2B5EF4-FFF2-40B4-BE49-F238E27FC236}">
                    <a16:creationId xmlns:a16="http://schemas.microsoft.com/office/drawing/2014/main" id="{11429BE7-0ABF-7183-BA56-2AF91816DA7B}"/>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grpFill/>
              <a:ln w="9525" cap="flat">
                <a:noFill/>
                <a:prstDash val="solid"/>
                <a:miter/>
              </a:ln>
            </p:spPr>
            <p:txBody>
              <a:bodyPr rtlCol="0" anchor="ctr"/>
              <a:lstStyle/>
              <a:p>
                <a:pPr rtl="0"/>
                <a:endParaRPr lang="en-AU" dirty="0"/>
              </a:p>
            </p:txBody>
          </p:sp>
          <p:sp>
            <p:nvSpPr>
              <p:cNvPr id="53" name="Freeform: Shape 52">
                <a:extLst>
                  <a:ext uri="{FF2B5EF4-FFF2-40B4-BE49-F238E27FC236}">
                    <a16:creationId xmlns:a16="http://schemas.microsoft.com/office/drawing/2014/main" id="{C285A592-3C3B-E054-B66E-64BBF6D37950}"/>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grpFill/>
              <a:ln w="9525" cap="flat">
                <a:noFill/>
                <a:prstDash val="solid"/>
                <a:miter/>
              </a:ln>
            </p:spPr>
            <p:txBody>
              <a:bodyPr rtlCol="0" anchor="ctr"/>
              <a:lstStyle/>
              <a:p>
                <a:pPr rtl="0"/>
                <a:endParaRPr lang="en-AU" dirty="0"/>
              </a:p>
            </p:txBody>
          </p:sp>
          <p:sp>
            <p:nvSpPr>
              <p:cNvPr id="54" name="Freeform: Shape 53">
                <a:extLst>
                  <a:ext uri="{FF2B5EF4-FFF2-40B4-BE49-F238E27FC236}">
                    <a16:creationId xmlns:a16="http://schemas.microsoft.com/office/drawing/2014/main" id="{45CE535A-2755-AC24-E2BD-46EAAAB40895}"/>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grpFill/>
              <a:ln w="9525"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206CB30E-9E48-A0CE-C85F-7A22E97CD827}"/>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grpFill/>
              <a:ln w="9525" cap="flat">
                <a:noFill/>
                <a:prstDash val="solid"/>
                <a:miter/>
              </a:ln>
            </p:spPr>
            <p:txBody>
              <a:bodyPr rtlCol="0" anchor="ctr"/>
              <a:lstStyle/>
              <a:p>
                <a:pPr rtl="0"/>
                <a:endParaRPr lang="en-AU" dirty="0"/>
              </a:p>
            </p:txBody>
          </p:sp>
        </p:grpSp>
        <p:grpSp>
          <p:nvGrpSpPr>
            <p:cNvPr id="4" name="Graphic 2">
              <a:extLst>
                <a:ext uri="{FF2B5EF4-FFF2-40B4-BE49-F238E27FC236}">
                  <a16:creationId xmlns:a16="http://schemas.microsoft.com/office/drawing/2014/main" id="{ED5603A8-DA72-19E8-26A1-2972729C7C79}"/>
                </a:ext>
              </a:extLst>
            </p:cNvPr>
            <p:cNvGrpSpPr/>
            <p:nvPr/>
          </p:nvGrpSpPr>
          <p:grpSpPr>
            <a:xfrm>
              <a:off x="3230032" y="2757677"/>
              <a:ext cx="1336243" cy="1334815"/>
              <a:chOff x="3230032" y="2757677"/>
              <a:chExt cx="1336243" cy="1334815"/>
            </a:xfrm>
            <a:grpFill/>
          </p:grpSpPr>
          <p:sp>
            <p:nvSpPr>
              <p:cNvPr id="41" name="Freeform: Shape 40">
                <a:extLst>
                  <a:ext uri="{FF2B5EF4-FFF2-40B4-BE49-F238E27FC236}">
                    <a16:creationId xmlns:a16="http://schemas.microsoft.com/office/drawing/2014/main" id="{42B02853-0DC2-C83C-1F46-2AA56167DBE6}"/>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grpFill/>
              <a:ln w="9525" cap="flat">
                <a:noFill/>
                <a:prstDash val="solid"/>
                <a:miter/>
              </a:ln>
            </p:spPr>
            <p:txBody>
              <a:bodyPr rtlCol="0" anchor="ctr"/>
              <a:lstStyle/>
              <a:p>
                <a:pPr rtl="0"/>
                <a:endParaRPr lang="en-AU" dirty="0"/>
              </a:p>
            </p:txBody>
          </p:sp>
          <p:sp>
            <p:nvSpPr>
              <p:cNvPr id="42" name="Freeform: Shape 41">
                <a:extLst>
                  <a:ext uri="{FF2B5EF4-FFF2-40B4-BE49-F238E27FC236}">
                    <a16:creationId xmlns:a16="http://schemas.microsoft.com/office/drawing/2014/main" id="{C3F961D1-3B1B-29FC-3614-A635D62528D3}"/>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grpFill/>
              <a:ln w="9525" cap="flat">
                <a:noFill/>
                <a:prstDash val="solid"/>
                <a:miter/>
              </a:ln>
            </p:spPr>
            <p:txBody>
              <a:bodyPr rtlCol="0" anchor="ctr"/>
              <a:lstStyle/>
              <a:p>
                <a:pPr rtl="0"/>
                <a:endParaRPr lang="en-AU" dirty="0"/>
              </a:p>
            </p:txBody>
          </p:sp>
          <p:sp>
            <p:nvSpPr>
              <p:cNvPr id="43" name="Freeform: Shape 42">
                <a:extLst>
                  <a:ext uri="{FF2B5EF4-FFF2-40B4-BE49-F238E27FC236}">
                    <a16:creationId xmlns:a16="http://schemas.microsoft.com/office/drawing/2014/main" id="{EB937907-08E4-B3A7-974D-07BD34773A20}"/>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grpFill/>
              <a:ln w="9525" cap="flat">
                <a:noFill/>
                <a:prstDash val="solid"/>
                <a:miter/>
              </a:ln>
            </p:spPr>
            <p:txBody>
              <a:bodyPr rtlCol="0" anchor="ctr"/>
              <a:lstStyle/>
              <a:p>
                <a:pPr rtl="0"/>
                <a:endParaRPr lang="en-AU" dirty="0"/>
              </a:p>
            </p:txBody>
          </p:sp>
          <p:sp>
            <p:nvSpPr>
              <p:cNvPr id="44" name="Freeform: Shape 43">
                <a:extLst>
                  <a:ext uri="{FF2B5EF4-FFF2-40B4-BE49-F238E27FC236}">
                    <a16:creationId xmlns:a16="http://schemas.microsoft.com/office/drawing/2014/main" id="{49DBCBB7-474A-5CA6-2FC5-FB8AEB64141A}"/>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grpFill/>
              <a:ln w="9525" cap="flat">
                <a:noFill/>
                <a:prstDash val="solid"/>
                <a:miter/>
              </a:ln>
            </p:spPr>
            <p:txBody>
              <a:bodyPr rtlCol="0" anchor="ctr"/>
              <a:lstStyle/>
              <a:p>
                <a:pPr rtl="0"/>
                <a:endParaRPr lang="en-AU" dirty="0"/>
              </a:p>
            </p:txBody>
          </p:sp>
          <p:sp>
            <p:nvSpPr>
              <p:cNvPr id="45" name="Freeform: Shape 44">
                <a:extLst>
                  <a:ext uri="{FF2B5EF4-FFF2-40B4-BE49-F238E27FC236}">
                    <a16:creationId xmlns:a16="http://schemas.microsoft.com/office/drawing/2014/main" id="{A3ACA423-25C5-4552-AC57-6A2498E0142F}"/>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grpFill/>
              <a:ln w="9525" cap="flat">
                <a:noFill/>
                <a:prstDash val="solid"/>
                <a:miter/>
              </a:ln>
            </p:spPr>
            <p:txBody>
              <a:bodyPr rtlCol="0" anchor="ctr"/>
              <a:lstStyle/>
              <a:p>
                <a:pPr rtl="0"/>
                <a:endParaRPr lang="en-AU" dirty="0"/>
              </a:p>
            </p:txBody>
          </p:sp>
          <p:sp>
            <p:nvSpPr>
              <p:cNvPr id="46" name="Freeform: Shape 45">
                <a:extLst>
                  <a:ext uri="{FF2B5EF4-FFF2-40B4-BE49-F238E27FC236}">
                    <a16:creationId xmlns:a16="http://schemas.microsoft.com/office/drawing/2014/main" id="{72A06820-BF7C-B7EA-E261-63E8696BD554}"/>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grpFill/>
              <a:ln w="9525" cap="flat">
                <a:noFill/>
                <a:prstDash val="solid"/>
                <a:miter/>
              </a:ln>
            </p:spPr>
            <p:txBody>
              <a:bodyPr rtlCol="0" anchor="ctr"/>
              <a:lstStyle/>
              <a:p>
                <a:pPr rtl="0"/>
                <a:endParaRPr lang="en-AU" dirty="0"/>
              </a:p>
            </p:txBody>
          </p:sp>
          <p:sp>
            <p:nvSpPr>
              <p:cNvPr id="47" name="Freeform: Shape 46">
                <a:extLst>
                  <a:ext uri="{FF2B5EF4-FFF2-40B4-BE49-F238E27FC236}">
                    <a16:creationId xmlns:a16="http://schemas.microsoft.com/office/drawing/2014/main" id="{8B030858-6FC0-38E5-9F2A-6F27BF0B34EC}"/>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grpFill/>
              <a:ln w="9525" cap="flat">
                <a:noFill/>
                <a:prstDash val="solid"/>
                <a:miter/>
              </a:ln>
            </p:spPr>
            <p:txBody>
              <a:bodyPr rtlCol="0" anchor="ctr"/>
              <a:lstStyle/>
              <a:p>
                <a:pPr rtl="0"/>
                <a:endParaRPr lang="en-AU" dirty="0"/>
              </a:p>
            </p:txBody>
          </p:sp>
          <p:sp>
            <p:nvSpPr>
              <p:cNvPr id="48" name="Freeform: Shape 47">
                <a:extLst>
                  <a:ext uri="{FF2B5EF4-FFF2-40B4-BE49-F238E27FC236}">
                    <a16:creationId xmlns:a16="http://schemas.microsoft.com/office/drawing/2014/main" id="{A481A947-50BF-030C-8544-A93445220C3D}"/>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grpFill/>
              <a:ln w="9525" cap="flat">
                <a:noFill/>
                <a:prstDash val="solid"/>
                <a:miter/>
              </a:ln>
            </p:spPr>
            <p:txBody>
              <a:bodyPr rtlCol="0" anchor="ctr"/>
              <a:lstStyle/>
              <a:p>
                <a:pPr rtl="0"/>
                <a:endParaRPr lang="en-AU" dirty="0"/>
              </a:p>
            </p:txBody>
          </p:sp>
          <p:sp>
            <p:nvSpPr>
              <p:cNvPr id="49" name="Freeform: Shape 48">
                <a:extLst>
                  <a:ext uri="{FF2B5EF4-FFF2-40B4-BE49-F238E27FC236}">
                    <a16:creationId xmlns:a16="http://schemas.microsoft.com/office/drawing/2014/main" id="{B0A3DD78-5643-E77D-2B92-00D22C5739DC}"/>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grpFill/>
              <a:ln w="9525" cap="flat">
                <a:noFill/>
                <a:prstDash val="solid"/>
                <a:miter/>
              </a:ln>
            </p:spPr>
            <p:txBody>
              <a:bodyPr rtlCol="0" anchor="ctr"/>
              <a:lstStyle/>
              <a:p>
                <a:pPr rtl="0"/>
                <a:endParaRPr lang="en-AU" dirty="0"/>
              </a:p>
            </p:txBody>
          </p:sp>
        </p:grpSp>
        <p:grpSp>
          <p:nvGrpSpPr>
            <p:cNvPr id="5" name="Graphic 2">
              <a:extLst>
                <a:ext uri="{FF2B5EF4-FFF2-40B4-BE49-F238E27FC236}">
                  <a16:creationId xmlns:a16="http://schemas.microsoft.com/office/drawing/2014/main" id="{6046FA93-920E-C4BA-3323-AAEC7B085CF6}"/>
                </a:ext>
              </a:extLst>
            </p:cNvPr>
            <p:cNvGrpSpPr/>
            <p:nvPr/>
          </p:nvGrpSpPr>
          <p:grpSpPr>
            <a:xfrm>
              <a:off x="4765071" y="3903725"/>
              <a:ext cx="3369468" cy="119443"/>
              <a:chOff x="4765071" y="3903725"/>
              <a:chExt cx="3369468" cy="119443"/>
            </a:xfrm>
            <a:grpFill/>
          </p:grpSpPr>
          <p:sp>
            <p:nvSpPr>
              <p:cNvPr id="7" name="Freeform: Shape 6">
                <a:extLst>
                  <a:ext uri="{FF2B5EF4-FFF2-40B4-BE49-F238E27FC236}">
                    <a16:creationId xmlns:a16="http://schemas.microsoft.com/office/drawing/2014/main" id="{B4F9165C-49A8-F130-21BF-F7608E3306B0}"/>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grpFill/>
              <a:ln w="9525" cap="flat">
                <a:noFill/>
                <a:prstDash val="solid"/>
                <a:miter/>
              </a:ln>
            </p:spPr>
            <p:txBody>
              <a:bodyPr rtlCol="0" anchor="ctr"/>
              <a:lstStyle/>
              <a:p>
                <a:pPr rtl="0"/>
                <a:endParaRPr lang="en-AU" dirty="0"/>
              </a:p>
            </p:txBody>
          </p:sp>
          <p:sp>
            <p:nvSpPr>
              <p:cNvPr id="9" name="Freeform: Shape 8">
                <a:extLst>
                  <a:ext uri="{FF2B5EF4-FFF2-40B4-BE49-F238E27FC236}">
                    <a16:creationId xmlns:a16="http://schemas.microsoft.com/office/drawing/2014/main" id="{A653FE9D-166C-BF4E-02F2-F9B5CB68E629}"/>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sp>
            <p:nvSpPr>
              <p:cNvPr id="10" name="Freeform: Shape 9">
                <a:extLst>
                  <a:ext uri="{FF2B5EF4-FFF2-40B4-BE49-F238E27FC236}">
                    <a16:creationId xmlns:a16="http://schemas.microsoft.com/office/drawing/2014/main" id="{7762B273-C75B-F8FE-7A81-2CF69D4C52DF}"/>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grpFill/>
              <a:ln w="9525" cap="flat">
                <a:noFill/>
                <a:prstDash val="solid"/>
                <a:miter/>
              </a:ln>
            </p:spPr>
            <p:txBody>
              <a:bodyPr rtlCol="0" anchor="ctr"/>
              <a:lstStyle/>
              <a:p>
                <a:pPr rtl="0"/>
                <a:endParaRPr lang="en-AU" dirty="0"/>
              </a:p>
            </p:txBody>
          </p:sp>
          <p:sp>
            <p:nvSpPr>
              <p:cNvPr id="11" name="Freeform: Shape 10">
                <a:extLst>
                  <a:ext uri="{FF2B5EF4-FFF2-40B4-BE49-F238E27FC236}">
                    <a16:creationId xmlns:a16="http://schemas.microsoft.com/office/drawing/2014/main" id="{E094EB2E-1C6A-8760-E29C-5E1AFE70C3E0}"/>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grpFill/>
              <a:ln w="9525" cap="flat">
                <a:noFill/>
                <a:prstDash val="solid"/>
                <a:miter/>
              </a:ln>
            </p:spPr>
            <p:txBody>
              <a:bodyPr rtlCol="0" anchor="ctr"/>
              <a:lstStyle/>
              <a:p>
                <a:pPr rtl="0"/>
                <a:endParaRPr lang="en-AU" dirty="0"/>
              </a:p>
            </p:txBody>
          </p:sp>
          <p:sp>
            <p:nvSpPr>
              <p:cNvPr id="13" name="Freeform: Shape 12">
                <a:extLst>
                  <a:ext uri="{FF2B5EF4-FFF2-40B4-BE49-F238E27FC236}">
                    <a16:creationId xmlns:a16="http://schemas.microsoft.com/office/drawing/2014/main" id="{E902DC2F-B994-34BB-D873-AF2AA22527E2}"/>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grpFill/>
              <a:ln w="9525" cap="flat">
                <a:noFill/>
                <a:prstDash val="solid"/>
                <a:miter/>
              </a:ln>
            </p:spPr>
            <p:txBody>
              <a:bodyPr rtlCol="0" anchor="ctr"/>
              <a:lstStyle/>
              <a:p>
                <a:pPr rtl="0"/>
                <a:endParaRPr lang="en-AU" dirty="0"/>
              </a:p>
            </p:txBody>
          </p:sp>
          <p:sp>
            <p:nvSpPr>
              <p:cNvPr id="15" name="Freeform: Shape 14">
                <a:extLst>
                  <a:ext uri="{FF2B5EF4-FFF2-40B4-BE49-F238E27FC236}">
                    <a16:creationId xmlns:a16="http://schemas.microsoft.com/office/drawing/2014/main" id="{E2D1AB21-4453-4E53-8C9C-86FFC918DCA4}"/>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sp>
            <p:nvSpPr>
              <p:cNvPr id="16" name="Freeform: Shape 15">
                <a:extLst>
                  <a:ext uri="{FF2B5EF4-FFF2-40B4-BE49-F238E27FC236}">
                    <a16:creationId xmlns:a16="http://schemas.microsoft.com/office/drawing/2014/main" id="{52799849-084C-59BF-3ABB-37356E7F0E5B}"/>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grpFill/>
              <a:ln w="9525" cap="flat">
                <a:noFill/>
                <a:prstDash val="solid"/>
                <a:miter/>
              </a:ln>
            </p:spPr>
            <p:txBody>
              <a:bodyPr rtlCol="0" anchor="ctr"/>
              <a:lstStyle/>
              <a:p>
                <a:pPr rtl="0"/>
                <a:endParaRPr lang="en-AU" dirty="0"/>
              </a:p>
            </p:txBody>
          </p:sp>
          <p:sp>
            <p:nvSpPr>
              <p:cNvPr id="20" name="Freeform: Shape 19">
                <a:extLst>
                  <a:ext uri="{FF2B5EF4-FFF2-40B4-BE49-F238E27FC236}">
                    <a16:creationId xmlns:a16="http://schemas.microsoft.com/office/drawing/2014/main" id="{5D3F614A-35DA-5F57-796E-8704D33F816C}"/>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grpFill/>
              <a:ln w="9525" cap="flat">
                <a:noFill/>
                <a:prstDash val="solid"/>
                <a:miter/>
              </a:ln>
            </p:spPr>
            <p:txBody>
              <a:bodyPr rtlCol="0" anchor="ctr"/>
              <a:lstStyle/>
              <a:p>
                <a:pPr rtl="0"/>
                <a:endParaRPr lang="en-AU" dirty="0"/>
              </a:p>
            </p:txBody>
          </p:sp>
          <p:sp>
            <p:nvSpPr>
              <p:cNvPr id="22" name="Freeform: Shape 21">
                <a:extLst>
                  <a:ext uri="{FF2B5EF4-FFF2-40B4-BE49-F238E27FC236}">
                    <a16:creationId xmlns:a16="http://schemas.microsoft.com/office/drawing/2014/main" id="{0DB4EAF9-7766-CF9D-1061-F00815E6660E}"/>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grpFill/>
              <a:ln w="9525" cap="flat">
                <a:noFill/>
                <a:prstDash val="solid"/>
                <a:miter/>
              </a:ln>
            </p:spPr>
            <p:txBody>
              <a:bodyPr rtlCol="0" anchor="ctr"/>
              <a:lstStyle/>
              <a:p>
                <a:pPr rtl="0"/>
                <a:endParaRPr lang="en-AU" dirty="0"/>
              </a:p>
            </p:txBody>
          </p:sp>
          <p:sp>
            <p:nvSpPr>
              <p:cNvPr id="23" name="Freeform: Shape 22">
                <a:extLst>
                  <a:ext uri="{FF2B5EF4-FFF2-40B4-BE49-F238E27FC236}">
                    <a16:creationId xmlns:a16="http://schemas.microsoft.com/office/drawing/2014/main" id="{67480194-669E-A87C-ECD2-3F6D2EEC3DD4}"/>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grpFill/>
              <a:ln w="9525" cap="flat">
                <a:noFill/>
                <a:prstDash val="solid"/>
                <a:miter/>
              </a:ln>
            </p:spPr>
            <p:txBody>
              <a:bodyPr rtlCol="0" anchor="ctr"/>
              <a:lstStyle/>
              <a:p>
                <a:pPr rtl="0"/>
                <a:endParaRPr lang="en-AU" dirty="0"/>
              </a:p>
            </p:txBody>
          </p:sp>
          <p:sp>
            <p:nvSpPr>
              <p:cNvPr id="24" name="Freeform: Shape 23">
                <a:extLst>
                  <a:ext uri="{FF2B5EF4-FFF2-40B4-BE49-F238E27FC236}">
                    <a16:creationId xmlns:a16="http://schemas.microsoft.com/office/drawing/2014/main" id="{9A48E700-7FA4-33EB-6C8B-56E66EB683D3}"/>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grpFill/>
              <a:ln w="9525" cap="flat">
                <a:noFill/>
                <a:prstDash val="solid"/>
                <a:miter/>
              </a:ln>
            </p:spPr>
            <p:txBody>
              <a:bodyPr rtlCol="0" anchor="ctr"/>
              <a:lstStyle/>
              <a:p>
                <a:pPr rtl="0"/>
                <a:endParaRPr lang="en-AU" dirty="0"/>
              </a:p>
            </p:txBody>
          </p:sp>
          <p:sp>
            <p:nvSpPr>
              <p:cNvPr id="25" name="Freeform: Shape 24">
                <a:extLst>
                  <a:ext uri="{FF2B5EF4-FFF2-40B4-BE49-F238E27FC236}">
                    <a16:creationId xmlns:a16="http://schemas.microsoft.com/office/drawing/2014/main" id="{42C3B8A3-8697-F9F3-C3C8-39EF7E3AFB81}"/>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grpFill/>
              <a:ln w="9525" cap="flat">
                <a:noFill/>
                <a:prstDash val="solid"/>
                <a:miter/>
              </a:ln>
            </p:spPr>
            <p:txBody>
              <a:bodyPr rtlCol="0" anchor="ctr"/>
              <a:lstStyle/>
              <a:p>
                <a:pPr rtl="0"/>
                <a:endParaRPr lang="en-AU" dirty="0"/>
              </a:p>
            </p:txBody>
          </p:sp>
          <p:sp>
            <p:nvSpPr>
              <p:cNvPr id="26" name="Freeform: Shape 25">
                <a:extLst>
                  <a:ext uri="{FF2B5EF4-FFF2-40B4-BE49-F238E27FC236}">
                    <a16:creationId xmlns:a16="http://schemas.microsoft.com/office/drawing/2014/main" id="{FEC2AF82-6931-D820-1FCA-44B6F07089D7}"/>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grpFill/>
              <a:ln w="9525" cap="flat">
                <a:noFill/>
                <a:prstDash val="solid"/>
                <a:miter/>
              </a:ln>
            </p:spPr>
            <p:txBody>
              <a:bodyPr rtlCol="0" anchor="ctr"/>
              <a:lstStyle/>
              <a:p>
                <a:pPr rtl="0"/>
                <a:endParaRPr lang="en-AU" dirty="0"/>
              </a:p>
            </p:txBody>
          </p:sp>
          <p:sp>
            <p:nvSpPr>
              <p:cNvPr id="27" name="Freeform: Shape 26">
                <a:extLst>
                  <a:ext uri="{FF2B5EF4-FFF2-40B4-BE49-F238E27FC236}">
                    <a16:creationId xmlns:a16="http://schemas.microsoft.com/office/drawing/2014/main" id="{5AD213E7-A737-73EC-8DD7-6890DEC94B92}"/>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grpFill/>
              <a:ln w="9525" cap="flat">
                <a:noFill/>
                <a:prstDash val="solid"/>
                <a:miter/>
              </a:ln>
            </p:spPr>
            <p:txBody>
              <a:bodyPr rtlCol="0" anchor="ctr"/>
              <a:lstStyle/>
              <a:p>
                <a:pPr rtl="0"/>
                <a:endParaRPr lang="en-AU" dirty="0"/>
              </a:p>
            </p:txBody>
          </p:sp>
          <p:sp>
            <p:nvSpPr>
              <p:cNvPr id="28" name="Freeform: Shape 27">
                <a:extLst>
                  <a:ext uri="{FF2B5EF4-FFF2-40B4-BE49-F238E27FC236}">
                    <a16:creationId xmlns:a16="http://schemas.microsoft.com/office/drawing/2014/main" id="{4FE38CD9-A208-C2EB-7532-E10585CC8DF7}"/>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grpFill/>
              <a:ln w="9525" cap="flat">
                <a:noFill/>
                <a:prstDash val="solid"/>
                <a:miter/>
              </a:ln>
            </p:spPr>
            <p:txBody>
              <a:bodyPr rtlCol="0" anchor="ctr"/>
              <a:lstStyle/>
              <a:p>
                <a:pPr rtl="0"/>
                <a:endParaRPr lang="en-AU" dirty="0"/>
              </a:p>
            </p:txBody>
          </p:sp>
          <p:sp>
            <p:nvSpPr>
              <p:cNvPr id="29" name="Freeform: Shape 28">
                <a:extLst>
                  <a:ext uri="{FF2B5EF4-FFF2-40B4-BE49-F238E27FC236}">
                    <a16:creationId xmlns:a16="http://schemas.microsoft.com/office/drawing/2014/main" id="{5F17C84A-589A-1AA8-77B1-5752262FAF7B}"/>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grpFill/>
              <a:ln w="9525" cap="flat">
                <a:noFill/>
                <a:prstDash val="solid"/>
                <a:miter/>
              </a:ln>
            </p:spPr>
            <p:txBody>
              <a:bodyPr rtlCol="0" anchor="ctr"/>
              <a:lstStyle/>
              <a:p>
                <a:pPr rtl="0"/>
                <a:endParaRPr lang="en-AU" dirty="0"/>
              </a:p>
            </p:txBody>
          </p:sp>
          <p:sp>
            <p:nvSpPr>
              <p:cNvPr id="30" name="Freeform: Shape 29">
                <a:extLst>
                  <a:ext uri="{FF2B5EF4-FFF2-40B4-BE49-F238E27FC236}">
                    <a16:creationId xmlns:a16="http://schemas.microsoft.com/office/drawing/2014/main" id="{198C0C28-F064-F8F9-E5BE-CC0D8B46968C}"/>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grpFill/>
              <a:ln w="9525" cap="flat">
                <a:noFill/>
                <a:prstDash val="solid"/>
                <a:miter/>
              </a:ln>
            </p:spPr>
            <p:txBody>
              <a:bodyPr rtlCol="0" anchor="ctr"/>
              <a:lstStyle/>
              <a:p>
                <a:pPr rtl="0"/>
                <a:endParaRPr lang="en-AU" dirty="0"/>
              </a:p>
            </p:txBody>
          </p:sp>
          <p:sp>
            <p:nvSpPr>
              <p:cNvPr id="31" name="Freeform: Shape 30">
                <a:extLst>
                  <a:ext uri="{FF2B5EF4-FFF2-40B4-BE49-F238E27FC236}">
                    <a16:creationId xmlns:a16="http://schemas.microsoft.com/office/drawing/2014/main" id="{0A30B5D6-C8F0-F79D-49C7-2C2D5199EAC0}"/>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grpFill/>
              <a:ln w="9525" cap="flat">
                <a:noFill/>
                <a:prstDash val="solid"/>
                <a:miter/>
              </a:ln>
            </p:spPr>
            <p:txBody>
              <a:bodyPr rtlCol="0" anchor="ctr"/>
              <a:lstStyle/>
              <a:p>
                <a:pPr rtl="0"/>
                <a:endParaRPr lang="en-AU" dirty="0"/>
              </a:p>
            </p:txBody>
          </p:sp>
          <p:sp>
            <p:nvSpPr>
              <p:cNvPr id="32" name="Freeform: Shape 31">
                <a:extLst>
                  <a:ext uri="{FF2B5EF4-FFF2-40B4-BE49-F238E27FC236}">
                    <a16:creationId xmlns:a16="http://schemas.microsoft.com/office/drawing/2014/main" id="{1C09875E-4321-6A76-76E4-F26CC2647C7C}"/>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grpFill/>
              <a:ln w="9525" cap="flat">
                <a:noFill/>
                <a:prstDash val="solid"/>
                <a:miter/>
              </a:ln>
            </p:spPr>
            <p:txBody>
              <a:bodyPr rtlCol="0" anchor="ctr"/>
              <a:lstStyle/>
              <a:p>
                <a:pPr rtl="0"/>
                <a:endParaRPr lang="en-AU" dirty="0"/>
              </a:p>
            </p:txBody>
          </p:sp>
          <p:sp>
            <p:nvSpPr>
              <p:cNvPr id="33" name="Freeform: Shape 32">
                <a:extLst>
                  <a:ext uri="{FF2B5EF4-FFF2-40B4-BE49-F238E27FC236}">
                    <a16:creationId xmlns:a16="http://schemas.microsoft.com/office/drawing/2014/main" id="{4B5364B8-14F4-B75D-5BC4-E4D470FB8A98}"/>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grpFill/>
              <a:ln w="9525" cap="flat">
                <a:noFill/>
                <a:prstDash val="solid"/>
                <a:miter/>
              </a:ln>
            </p:spPr>
            <p:txBody>
              <a:bodyPr rtlCol="0" anchor="ctr"/>
              <a:lstStyle/>
              <a:p>
                <a:pPr rtl="0"/>
                <a:endParaRPr lang="en-AU" dirty="0"/>
              </a:p>
            </p:txBody>
          </p:sp>
          <p:sp>
            <p:nvSpPr>
              <p:cNvPr id="34" name="Freeform: Shape 33">
                <a:extLst>
                  <a:ext uri="{FF2B5EF4-FFF2-40B4-BE49-F238E27FC236}">
                    <a16:creationId xmlns:a16="http://schemas.microsoft.com/office/drawing/2014/main" id="{73578C40-0706-632C-258D-356ACF2EB2A2}"/>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sp>
            <p:nvSpPr>
              <p:cNvPr id="35" name="Freeform: Shape 34">
                <a:extLst>
                  <a:ext uri="{FF2B5EF4-FFF2-40B4-BE49-F238E27FC236}">
                    <a16:creationId xmlns:a16="http://schemas.microsoft.com/office/drawing/2014/main" id="{6B4A64AE-7E54-E99C-C2BB-1227DABCA069}"/>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grpFill/>
              <a:ln w="9525" cap="flat">
                <a:noFill/>
                <a:prstDash val="solid"/>
                <a:miter/>
              </a:ln>
            </p:spPr>
            <p:txBody>
              <a:bodyPr rtlCol="0" anchor="ctr"/>
              <a:lstStyle/>
              <a:p>
                <a:pPr rtl="0"/>
                <a:endParaRPr lang="en-AU" dirty="0"/>
              </a:p>
            </p:txBody>
          </p:sp>
          <p:sp>
            <p:nvSpPr>
              <p:cNvPr id="36" name="Freeform: Shape 35">
                <a:extLst>
                  <a:ext uri="{FF2B5EF4-FFF2-40B4-BE49-F238E27FC236}">
                    <a16:creationId xmlns:a16="http://schemas.microsoft.com/office/drawing/2014/main" id="{2ED0C4E1-B91F-CA96-33C1-3CE877A39B53}"/>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grpFill/>
              <a:ln w="9525" cap="flat">
                <a:noFill/>
                <a:prstDash val="solid"/>
                <a:miter/>
              </a:ln>
            </p:spPr>
            <p:txBody>
              <a:bodyPr rtlCol="0" anchor="ctr"/>
              <a:lstStyle/>
              <a:p>
                <a:pPr rtl="0"/>
                <a:endParaRPr lang="en-AU" dirty="0"/>
              </a:p>
            </p:txBody>
          </p:sp>
          <p:sp>
            <p:nvSpPr>
              <p:cNvPr id="37" name="Freeform: Shape 36">
                <a:extLst>
                  <a:ext uri="{FF2B5EF4-FFF2-40B4-BE49-F238E27FC236}">
                    <a16:creationId xmlns:a16="http://schemas.microsoft.com/office/drawing/2014/main" id="{98706B7C-4913-3A9F-18CC-3C902AD5EEF5}"/>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grpFill/>
              <a:ln w="9525" cap="flat">
                <a:noFill/>
                <a:prstDash val="solid"/>
                <a:miter/>
              </a:ln>
            </p:spPr>
            <p:txBody>
              <a:bodyPr rtlCol="0" anchor="ctr"/>
              <a:lstStyle/>
              <a:p>
                <a:pPr rtl="0"/>
                <a:endParaRPr lang="en-AU" dirty="0"/>
              </a:p>
            </p:txBody>
          </p:sp>
          <p:sp>
            <p:nvSpPr>
              <p:cNvPr id="38" name="Freeform: Shape 37">
                <a:extLst>
                  <a:ext uri="{FF2B5EF4-FFF2-40B4-BE49-F238E27FC236}">
                    <a16:creationId xmlns:a16="http://schemas.microsoft.com/office/drawing/2014/main" id="{241CA539-0B35-A22C-A777-1E606199E036}"/>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grpFill/>
              <a:ln w="9525" cap="flat">
                <a:noFill/>
                <a:prstDash val="solid"/>
                <a:miter/>
              </a:ln>
            </p:spPr>
            <p:txBody>
              <a:bodyPr rtlCol="0" anchor="ctr"/>
              <a:lstStyle/>
              <a:p>
                <a:pPr rtl="0"/>
                <a:endParaRPr lang="en-AU" dirty="0"/>
              </a:p>
            </p:txBody>
          </p:sp>
          <p:sp>
            <p:nvSpPr>
              <p:cNvPr id="39" name="Freeform: Shape 38">
                <a:extLst>
                  <a:ext uri="{FF2B5EF4-FFF2-40B4-BE49-F238E27FC236}">
                    <a16:creationId xmlns:a16="http://schemas.microsoft.com/office/drawing/2014/main" id="{3E91095E-51E6-2C98-F9AA-F62243B004C9}"/>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grpFill/>
              <a:ln w="9525" cap="flat">
                <a:noFill/>
                <a:prstDash val="solid"/>
                <a:miter/>
              </a:ln>
            </p:spPr>
            <p:txBody>
              <a:bodyPr rtlCol="0" anchor="ctr"/>
              <a:lstStyle/>
              <a:p>
                <a:pPr rtl="0"/>
                <a:endParaRPr lang="en-AU" dirty="0"/>
              </a:p>
            </p:txBody>
          </p:sp>
          <p:sp>
            <p:nvSpPr>
              <p:cNvPr id="40" name="Freeform: Shape 39">
                <a:extLst>
                  <a:ext uri="{FF2B5EF4-FFF2-40B4-BE49-F238E27FC236}">
                    <a16:creationId xmlns:a16="http://schemas.microsoft.com/office/drawing/2014/main" id="{438E61F5-CF8C-EBED-8FFB-81EECEC222AC}"/>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grp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2874204694"/>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D462B6-149D-13C1-DBEC-E80A3AB7C7B7}"/>
              </a:ext>
            </a:extLst>
          </p:cNvPr>
          <p:cNvGraphicFramePr>
            <a:graphicFrameLocks noChangeAspect="1"/>
          </p:cNvGraphicFramePr>
          <p:nvPr userDrawn="1">
            <p:custDataLst>
              <p:tags r:id="rId1"/>
            </p:custDataLst>
            <p:extLst>
              <p:ext uri="{D42A27DB-BD31-4B8C-83A1-F6EECF244321}">
                <p14:modId xmlns:p14="http://schemas.microsoft.com/office/powerpoint/2010/main" val="165026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2ED462B6-149D-13C1-DBEC-E80A3AB7C7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11">
            <a:extLst>
              <a:ext uri="{FF2B5EF4-FFF2-40B4-BE49-F238E27FC236}">
                <a16:creationId xmlns:a16="http://schemas.microsoft.com/office/drawing/2014/main" id="{FA505BB8-857A-CDFD-4B18-C5DFE4AE44D2}"/>
              </a:ext>
            </a:extLst>
          </p:cNvPr>
          <p:cNvSpPr>
            <a:spLocks noGrp="1"/>
          </p:cNvSpPr>
          <p:nvPr>
            <p:ph type="pic" sz="quarter" idx="15" hasCustomPrompt="1"/>
          </p:nvPr>
        </p:nvSpPr>
        <p:spPr>
          <a:xfrm>
            <a:off x="-1" y="0"/>
            <a:ext cx="4349749" cy="4270679"/>
          </a:xfrm>
          <a:prstGeom prst="rect">
            <a:avLst/>
          </a:prstGeom>
          <a:solidFill>
            <a:schemeClr val="bg1">
              <a:lumMod val="85000"/>
            </a:schemeClr>
          </a:solidFill>
        </p:spPr>
        <p:txBody>
          <a:bodyPr lIns="540000" tIns="1224000" rIns="540000" anchor="ctr"/>
          <a:lstStyle>
            <a:lvl1pPr algn="ctr" rtl="0">
              <a:lnSpc>
                <a:spcPct val="100000"/>
              </a:lnSpc>
              <a:defRPr sz="1400"/>
            </a:lvl1pPr>
          </a:lstStyle>
          <a:p>
            <a:r>
              <a:rPr lang="en-AU"/>
              <a:t>Click icon to insert image, then Right Click and Send to Back</a:t>
            </a:r>
            <a:endParaRPr lang="en-AU" dirty="0"/>
          </a:p>
        </p:txBody>
      </p:sp>
      <p:sp>
        <p:nvSpPr>
          <p:cNvPr id="25" name="Picture Placeholder 11">
            <a:extLst>
              <a:ext uri="{FF2B5EF4-FFF2-40B4-BE49-F238E27FC236}">
                <a16:creationId xmlns:a16="http://schemas.microsoft.com/office/drawing/2014/main" id="{AB472C27-BF59-FCB4-91CD-4C2145544944}"/>
              </a:ext>
            </a:extLst>
          </p:cNvPr>
          <p:cNvSpPr>
            <a:spLocks noGrp="1"/>
          </p:cNvSpPr>
          <p:nvPr>
            <p:ph type="pic" sz="quarter" idx="30" hasCustomPrompt="1"/>
          </p:nvPr>
        </p:nvSpPr>
        <p:spPr>
          <a:xfrm>
            <a:off x="-1" y="4362908"/>
            <a:ext cx="2120400" cy="1587446"/>
          </a:xfrm>
          <a:prstGeom prst="rect">
            <a:avLst/>
          </a:prstGeom>
          <a:solidFill>
            <a:schemeClr val="bg1">
              <a:lumMod val="85000"/>
            </a:schemeClr>
          </a:solidFill>
        </p:spPr>
        <p:txBody>
          <a:bodyPr vert="horz" lIns="0" tIns="828000" rIns="0" bIns="0" rtlCol="0" anchor="ctr">
            <a:noAutofit/>
          </a:bodyPr>
          <a:lstStyle>
            <a:lvl1pPr algn="ctr" rtl="0">
              <a:lnSpc>
                <a:spcPct val="100000"/>
              </a:lnSpc>
              <a:defRPr lang="en-US" sz="1400" dirty="0"/>
            </a:lvl1pPr>
          </a:lstStyle>
          <a:p>
            <a:r>
              <a:rPr lang="en-AU"/>
              <a:t>Click icon to insert image</a:t>
            </a:r>
            <a:endParaRPr lang="en-AU" dirty="0"/>
          </a:p>
        </p:txBody>
      </p:sp>
      <p:sp>
        <p:nvSpPr>
          <p:cNvPr id="26" name="Picture Placeholder 11">
            <a:extLst>
              <a:ext uri="{FF2B5EF4-FFF2-40B4-BE49-F238E27FC236}">
                <a16:creationId xmlns:a16="http://schemas.microsoft.com/office/drawing/2014/main" id="{5EFCB6ED-5CD2-6215-943E-24AF21465ECB}"/>
              </a:ext>
            </a:extLst>
          </p:cNvPr>
          <p:cNvSpPr>
            <a:spLocks noGrp="1"/>
          </p:cNvSpPr>
          <p:nvPr>
            <p:ph type="pic" sz="quarter" idx="31" hasCustomPrompt="1"/>
          </p:nvPr>
        </p:nvSpPr>
        <p:spPr>
          <a:xfrm>
            <a:off x="2229348" y="4362908"/>
            <a:ext cx="2120400" cy="1587446"/>
          </a:xfrm>
          <a:prstGeom prst="rect">
            <a:avLst/>
          </a:prstGeom>
          <a:solidFill>
            <a:schemeClr val="bg1">
              <a:lumMod val="85000"/>
            </a:schemeClr>
          </a:solidFill>
        </p:spPr>
        <p:txBody>
          <a:bodyPr vert="horz" lIns="0" tIns="828000" rIns="0" bIns="0" rtlCol="0" anchor="ctr">
            <a:noAutofit/>
          </a:bodyPr>
          <a:lstStyle>
            <a:lvl1pPr algn="ctr" rtl="0">
              <a:lnSpc>
                <a:spcPct val="100000"/>
              </a:lnSpc>
              <a:defRPr lang="en-US" sz="1400" dirty="0"/>
            </a:lvl1pPr>
          </a:lstStyle>
          <a:p>
            <a:r>
              <a:rPr lang="en-AU"/>
              <a:t>Click icon to insert image</a:t>
            </a:r>
            <a:endParaRPr lang="en-AU" dirty="0"/>
          </a:p>
        </p:txBody>
      </p:sp>
      <p:sp>
        <p:nvSpPr>
          <p:cNvPr id="6" name="Rectangle 5">
            <a:extLst>
              <a:ext uri="{FF2B5EF4-FFF2-40B4-BE49-F238E27FC236}">
                <a16:creationId xmlns:a16="http://schemas.microsoft.com/office/drawing/2014/main" id="{0AECAC14-C3A3-41FE-6C16-03F83252D6E8}"/>
              </a:ext>
            </a:extLst>
          </p:cNvPr>
          <p:cNvSpPr/>
          <p:nvPr userDrawn="1"/>
        </p:nvSpPr>
        <p:spPr>
          <a:xfrm>
            <a:off x="4349749" y="873125"/>
            <a:ext cx="7842251" cy="2182897"/>
          </a:xfrm>
          <a:prstGeom prst="rect">
            <a:avLst/>
          </a:prstGeom>
          <a:solidFill>
            <a:srgbClr val="003645"/>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4989" tIns="34989" rIns="144000" bIns="34989" numCol="1" spcCol="38100" rtlCol="0" anchor="ctr">
            <a:noAutofit/>
          </a:bodyPr>
          <a:lstStyle/>
          <a:p>
            <a:pPr algn="r" defTabSz="292093" rtl="0" latinLnBrk="1" hangingPunct="0"/>
            <a:endParaRPr lang="en-AU" sz="1400" i="1"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Helvetica Light"/>
            </a:endParaRPr>
          </a:p>
        </p:txBody>
      </p:sp>
      <p:sp>
        <p:nvSpPr>
          <p:cNvPr id="5" name="Footer Placeholder 7">
            <a:extLst>
              <a:ext uri="{FF2B5EF4-FFF2-40B4-BE49-F238E27FC236}">
                <a16:creationId xmlns:a16="http://schemas.microsoft.com/office/drawing/2014/main" id="{7453970C-EFF6-9509-6689-282030A969F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1" name="Text Placeholder 20">
            <a:extLst>
              <a:ext uri="{FF2B5EF4-FFF2-40B4-BE49-F238E27FC236}">
                <a16:creationId xmlns:a16="http://schemas.microsoft.com/office/drawing/2014/main" id="{4ED9087B-C26F-8ECB-6E02-F0912487C3DA}"/>
              </a:ext>
            </a:extLst>
          </p:cNvPr>
          <p:cNvSpPr>
            <a:spLocks noGrp="1"/>
          </p:cNvSpPr>
          <p:nvPr>
            <p:ph type="body" sz="quarter" idx="23" hasCustomPrompt="1"/>
          </p:nvPr>
        </p:nvSpPr>
        <p:spPr>
          <a:xfrm>
            <a:off x="-4538" y="510425"/>
            <a:ext cx="2086001" cy="381907"/>
          </a:xfrm>
          <a:prstGeom prst="rect">
            <a:avLst/>
          </a:prstGeom>
          <a:solidFill>
            <a:schemeClr val="accent1"/>
          </a:solidFill>
        </p:spPr>
        <p:txBody>
          <a:bodyPr lIns="900000" anchor="ctr"/>
          <a:lstStyle>
            <a:lvl1pPr algn="l" rtl="0">
              <a:lnSpc>
                <a:spcPct val="120000"/>
              </a:lnSpc>
              <a:defRPr sz="1400" i="1">
                <a:solidFill>
                  <a:schemeClr val="bg1"/>
                </a:solidFill>
                <a:latin typeface="+mn-lt"/>
              </a:defRPr>
            </a:lvl1pPr>
          </a:lstStyle>
          <a:p>
            <a:pPr lvl="0"/>
            <a:r>
              <a:rPr lang="en-AU"/>
              <a:t>Case Study</a:t>
            </a:r>
            <a:endParaRPr lang="en-AU" dirty="0"/>
          </a:p>
        </p:txBody>
      </p:sp>
      <p:sp>
        <p:nvSpPr>
          <p:cNvPr id="12" name="Text Placeholder 20">
            <a:extLst>
              <a:ext uri="{FF2B5EF4-FFF2-40B4-BE49-F238E27FC236}">
                <a16:creationId xmlns:a16="http://schemas.microsoft.com/office/drawing/2014/main" id="{FFC4551D-701B-E7DD-F9BD-AD91D777DD42}"/>
              </a:ext>
            </a:extLst>
          </p:cNvPr>
          <p:cNvSpPr>
            <a:spLocks noGrp="1"/>
          </p:cNvSpPr>
          <p:nvPr>
            <p:ph type="body" sz="quarter" idx="14" hasCustomPrompt="1"/>
          </p:nvPr>
        </p:nvSpPr>
        <p:spPr>
          <a:xfrm>
            <a:off x="4688466" y="3628934"/>
            <a:ext cx="3153788" cy="2336734"/>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a:t>
            </a:r>
            <a:endParaRPr lang="en-AU" dirty="0"/>
          </a:p>
        </p:txBody>
      </p:sp>
      <p:sp>
        <p:nvSpPr>
          <p:cNvPr id="13" name="Text Placeholder 20">
            <a:extLst>
              <a:ext uri="{FF2B5EF4-FFF2-40B4-BE49-F238E27FC236}">
                <a16:creationId xmlns:a16="http://schemas.microsoft.com/office/drawing/2014/main" id="{C26B13C5-DE30-BFE3-80F1-C9748DAF355A}"/>
              </a:ext>
            </a:extLst>
          </p:cNvPr>
          <p:cNvSpPr>
            <a:spLocks noGrp="1"/>
          </p:cNvSpPr>
          <p:nvPr>
            <p:ph type="body" sz="quarter" idx="20" hasCustomPrompt="1"/>
          </p:nvPr>
        </p:nvSpPr>
        <p:spPr>
          <a:xfrm>
            <a:off x="4688466" y="3302538"/>
            <a:ext cx="3153788" cy="209655"/>
          </a:xfrm>
          <a:prstGeom prst="rect">
            <a:avLst/>
          </a:prstGeom>
        </p:spPr>
        <p:txBody>
          <a:bodyPr/>
          <a:lstStyle>
            <a:lvl1pPr algn="l" rtl="0">
              <a:lnSpc>
                <a:spcPct val="100000"/>
              </a:lnSpc>
              <a:defRPr sz="1200" b="1">
                <a:solidFill>
                  <a:schemeClr val="tx2"/>
                </a:solidFill>
                <a:latin typeface="+mn-lt"/>
              </a:defRPr>
            </a:lvl1pPr>
          </a:lstStyle>
          <a:p>
            <a:pPr lvl="0"/>
            <a:r>
              <a:rPr lang="en-AU"/>
              <a:t>SUBHEADING</a:t>
            </a:r>
            <a:endParaRPr lang="en-AU" dirty="0"/>
          </a:p>
        </p:txBody>
      </p:sp>
      <p:sp>
        <p:nvSpPr>
          <p:cNvPr id="15" name="Text Placeholder 20">
            <a:extLst>
              <a:ext uri="{FF2B5EF4-FFF2-40B4-BE49-F238E27FC236}">
                <a16:creationId xmlns:a16="http://schemas.microsoft.com/office/drawing/2014/main" id="{CD812EC7-E6B7-0D6F-6F8A-BCFF0E5092DC}"/>
              </a:ext>
            </a:extLst>
          </p:cNvPr>
          <p:cNvSpPr>
            <a:spLocks noGrp="1"/>
          </p:cNvSpPr>
          <p:nvPr>
            <p:ph type="body" sz="quarter" idx="24" hasCustomPrompt="1"/>
          </p:nvPr>
        </p:nvSpPr>
        <p:spPr>
          <a:xfrm>
            <a:off x="8141275" y="3302538"/>
            <a:ext cx="3153788" cy="2663130"/>
          </a:xfrm>
          <a:prstGeom prst="rect">
            <a:avLst/>
          </a:prstGeom>
        </p:spPr>
        <p:txBody>
          <a:bodyPr/>
          <a:lstStyle>
            <a:lvl1pPr algn="l" rtl="0">
              <a:lnSpc>
                <a:spcPct val="120000"/>
              </a:lnSpc>
              <a:defRPr sz="1000">
                <a:solidFill>
                  <a:schemeClr val="tx2"/>
                </a:solidFill>
                <a:latin typeface="+mn-lt"/>
              </a:defRPr>
            </a:lvl1pPr>
          </a:lstStyle>
          <a:p>
            <a:pPr lvl="0"/>
            <a:r>
              <a:rPr lang="en-AU"/>
              <a:t>Lorem ipsum dolor sit amet, consectetur adipiscing elit, sed do eiusmod tempor incididunt Ut labore et dolore magna aliqua. Ut enim ad minim veniam, quis nostrud exercitation ullamco laboris nisi ut aliquip ex ea commodo Ut labore et dolore magna aliqua. Ut enim ad minim veniam, quis nostrud exercitation ullamco laboris nisi ut aliquip ex ea commodoa commodo Ut labore et dolore magna aliqua. Ut enim ad minim</a:t>
            </a:r>
            <a:endParaRPr lang="en-AU" dirty="0"/>
          </a:p>
        </p:txBody>
      </p:sp>
      <p:sp>
        <p:nvSpPr>
          <p:cNvPr id="16" name="Title Placeholder 1">
            <a:extLst>
              <a:ext uri="{FF2B5EF4-FFF2-40B4-BE49-F238E27FC236}">
                <a16:creationId xmlns:a16="http://schemas.microsoft.com/office/drawing/2014/main" id="{8E705781-1FF3-8CE4-8B50-C76225B8B6B3}"/>
              </a:ext>
            </a:extLst>
          </p:cNvPr>
          <p:cNvSpPr>
            <a:spLocks noGrp="1"/>
          </p:cNvSpPr>
          <p:nvPr>
            <p:ph type="title" hasCustomPrompt="1"/>
          </p:nvPr>
        </p:nvSpPr>
        <p:spPr>
          <a:xfrm>
            <a:off x="4688466" y="1170517"/>
            <a:ext cx="3153788" cy="362228"/>
          </a:xfrm>
          <a:prstGeom prst="rect">
            <a:avLst/>
          </a:prstGeom>
        </p:spPr>
        <p:txBody>
          <a:bodyPr vert="horz" lIns="0" tIns="0" rIns="0" bIns="0" rtlCol="0" anchor="b">
            <a:noAutofit/>
          </a:bodyPr>
          <a:lstStyle>
            <a:lvl1pPr algn="l" rtl="0">
              <a:lnSpc>
                <a:spcPct val="90000"/>
              </a:lnSpc>
              <a:defRPr sz="2800">
                <a:solidFill>
                  <a:schemeClr val="bg1"/>
                </a:solidFill>
              </a:defRPr>
            </a:lvl1pPr>
          </a:lstStyle>
          <a:p>
            <a:r>
              <a:rPr lang="en-AU"/>
              <a:t>Project Title</a:t>
            </a:r>
            <a:endParaRPr lang="en-AU" dirty="0"/>
          </a:p>
        </p:txBody>
      </p:sp>
      <p:sp>
        <p:nvSpPr>
          <p:cNvPr id="17" name="Text Placeholder 20">
            <a:extLst>
              <a:ext uri="{FF2B5EF4-FFF2-40B4-BE49-F238E27FC236}">
                <a16:creationId xmlns:a16="http://schemas.microsoft.com/office/drawing/2014/main" id="{8D049E34-FB25-6818-DAB9-5DCD8AD971F0}"/>
              </a:ext>
            </a:extLst>
          </p:cNvPr>
          <p:cNvSpPr>
            <a:spLocks noGrp="1"/>
          </p:cNvSpPr>
          <p:nvPr>
            <p:ph type="body" sz="quarter" idx="25" hasCustomPrompt="1"/>
          </p:nvPr>
        </p:nvSpPr>
        <p:spPr>
          <a:xfrm>
            <a:off x="4688466" y="1679675"/>
            <a:ext cx="3153788" cy="934436"/>
          </a:xfrm>
          <a:prstGeom prst="rect">
            <a:avLst/>
          </a:prstGeom>
        </p:spPr>
        <p:txBody>
          <a:bodyPr/>
          <a:lstStyle>
            <a:lvl1pPr algn="l" rtl="0">
              <a:lnSpc>
                <a:spcPct val="120000"/>
              </a:lnSpc>
              <a:defRPr sz="1200">
                <a:solidFill>
                  <a:schemeClr val="bg1"/>
                </a:solidFill>
                <a:latin typeface="+mn-lt"/>
              </a:defRPr>
            </a:lvl1pPr>
          </a:lstStyle>
          <a:p>
            <a:pPr lvl="0"/>
            <a:r>
              <a:rPr lang="en-AU"/>
              <a:t>Intro describing the amazing results from this project. Eiusmod tempor incididunt Lorem ipsum dolor sit amet, consectetur adipiscing </a:t>
            </a:r>
            <a:endParaRPr lang="en-AU" dirty="0"/>
          </a:p>
        </p:txBody>
      </p:sp>
      <p:sp>
        <p:nvSpPr>
          <p:cNvPr id="18" name="Text Placeholder 20">
            <a:extLst>
              <a:ext uri="{FF2B5EF4-FFF2-40B4-BE49-F238E27FC236}">
                <a16:creationId xmlns:a16="http://schemas.microsoft.com/office/drawing/2014/main" id="{033C01CF-AAE8-B586-8002-927F9A3B6116}"/>
              </a:ext>
            </a:extLst>
          </p:cNvPr>
          <p:cNvSpPr>
            <a:spLocks noGrp="1"/>
          </p:cNvSpPr>
          <p:nvPr>
            <p:ph type="body" sz="quarter" idx="26" hasCustomPrompt="1"/>
          </p:nvPr>
        </p:nvSpPr>
        <p:spPr>
          <a:xfrm>
            <a:off x="8573808" y="1170517"/>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Company Name]</a:t>
            </a:r>
            <a:endParaRPr lang="en-AU" dirty="0"/>
          </a:p>
        </p:txBody>
      </p:sp>
      <p:sp>
        <p:nvSpPr>
          <p:cNvPr id="19" name="Text Placeholder 20">
            <a:extLst>
              <a:ext uri="{FF2B5EF4-FFF2-40B4-BE49-F238E27FC236}">
                <a16:creationId xmlns:a16="http://schemas.microsoft.com/office/drawing/2014/main" id="{46D17167-9C49-D4F2-468A-93DB07AFA227}"/>
              </a:ext>
            </a:extLst>
          </p:cNvPr>
          <p:cNvSpPr>
            <a:spLocks noGrp="1"/>
          </p:cNvSpPr>
          <p:nvPr>
            <p:ph type="body" sz="quarter" idx="27" hasCustomPrompt="1"/>
          </p:nvPr>
        </p:nvSpPr>
        <p:spPr>
          <a:xfrm>
            <a:off x="8573808" y="1579226"/>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Location]</a:t>
            </a:r>
            <a:endParaRPr lang="en-AU" dirty="0"/>
          </a:p>
        </p:txBody>
      </p:sp>
      <p:sp>
        <p:nvSpPr>
          <p:cNvPr id="20" name="Text Placeholder 20">
            <a:extLst>
              <a:ext uri="{FF2B5EF4-FFF2-40B4-BE49-F238E27FC236}">
                <a16:creationId xmlns:a16="http://schemas.microsoft.com/office/drawing/2014/main" id="{446BCBF6-F49C-4696-E78B-4721FD4CFC6B}"/>
              </a:ext>
            </a:extLst>
          </p:cNvPr>
          <p:cNvSpPr>
            <a:spLocks noGrp="1"/>
          </p:cNvSpPr>
          <p:nvPr>
            <p:ph type="body" sz="quarter" idx="28" hasCustomPrompt="1"/>
          </p:nvPr>
        </p:nvSpPr>
        <p:spPr>
          <a:xfrm>
            <a:off x="8573808" y="1987935"/>
            <a:ext cx="2721255" cy="217467"/>
          </a:xfrm>
          <a:prstGeom prst="rect">
            <a:avLst/>
          </a:prstGeom>
        </p:spPr>
        <p:txBody>
          <a:bodyPr/>
          <a:lstStyle>
            <a:lvl1pPr algn="l" rtl="0">
              <a:lnSpc>
                <a:spcPct val="120000"/>
              </a:lnSpc>
              <a:defRPr sz="1400" b="1">
                <a:solidFill>
                  <a:schemeClr val="bg1"/>
                </a:solidFill>
                <a:latin typeface="+mn-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AU"/>
              <a:t>[Scope]</a:t>
            </a:r>
          </a:p>
          <a:p>
            <a:pPr lvl="0"/>
            <a:endParaRPr lang="en-AU" dirty="0"/>
          </a:p>
        </p:txBody>
      </p:sp>
      <p:sp>
        <p:nvSpPr>
          <p:cNvPr id="21" name="Text Placeholder 20">
            <a:extLst>
              <a:ext uri="{FF2B5EF4-FFF2-40B4-BE49-F238E27FC236}">
                <a16:creationId xmlns:a16="http://schemas.microsoft.com/office/drawing/2014/main" id="{DA9864BB-93BF-8272-E105-7818BB743757}"/>
              </a:ext>
            </a:extLst>
          </p:cNvPr>
          <p:cNvSpPr>
            <a:spLocks noGrp="1"/>
          </p:cNvSpPr>
          <p:nvPr>
            <p:ph type="body" sz="quarter" idx="29" hasCustomPrompt="1"/>
          </p:nvPr>
        </p:nvSpPr>
        <p:spPr>
          <a:xfrm>
            <a:off x="8573808" y="2396644"/>
            <a:ext cx="2721255" cy="217467"/>
          </a:xfrm>
          <a:prstGeom prst="rect">
            <a:avLst/>
          </a:prstGeom>
        </p:spPr>
        <p:txBody>
          <a:bodyPr/>
          <a:lstStyle>
            <a:lvl1pPr algn="l" rtl="0">
              <a:lnSpc>
                <a:spcPct val="120000"/>
              </a:lnSpc>
              <a:defRPr sz="1400" b="1">
                <a:solidFill>
                  <a:schemeClr val="bg1"/>
                </a:solidFill>
                <a:latin typeface="+mn-lt"/>
              </a:defRPr>
            </a:lvl1pPr>
          </a:lstStyle>
          <a:p>
            <a:pPr lvl="0"/>
            <a:r>
              <a:rPr lang="en-AU"/>
              <a:t>[Date]</a:t>
            </a:r>
            <a:endParaRPr lang="en-AU" dirty="0"/>
          </a:p>
        </p:txBody>
      </p:sp>
      <p:cxnSp>
        <p:nvCxnSpPr>
          <p:cNvPr id="22" name="Straight Connector 21">
            <a:extLst>
              <a:ext uri="{FF2B5EF4-FFF2-40B4-BE49-F238E27FC236}">
                <a16:creationId xmlns:a16="http://schemas.microsoft.com/office/drawing/2014/main" id="{677F68FD-DC5C-2F8C-CDC4-CEA5E675C280}"/>
              </a:ext>
            </a:extLst>
          </p:cNvPr>
          <p:cNvCxnSpPr>
            <a:cxnSpLocks/>
          </p:cNvCxnSpPr>
          <p:nvPr userDrawn="1"/>
        </p:nvCxnSpPr>
        <p:spPr>
          <a:xfrm>
            <a:off x="8141275" y="1170517"/>
            <a:ext cx="0" cy="1443594"/>
          </a:xfrm>
          <a:prstGeom prst="line">
            <a:avLst/>
          </a:prstGeom>
          <a:noFill/>
          <a:ln w="15875" cap="flat">
            <a:solidFill>
              <a:schemeClr val="bg1"/>
            </a:solidFill>
            <a:prstDash val="solid"/>
            <a:miter lim="400000"/>
          </a:ln>
          <a:effectLst/>
        </p:spPr>
        <p:style>
          <a:lnRef idx="0">
            <a:scrgbClr r="0" g="0" b="0"/>
          </a:lnRef>
          <a:fillRef idx="0">
            <a:scrgbClr r="0" g="0" b="0"/>
          </a:fillRef>
          <a:effectRef idx="0">
            <a:scrgbClr r="0" g="0" b="0"/>
          </a:effectRef>
          <a:fontRef idx="none"/>
        </p:style>
      </p:cxnSp>
      <p:sp>
        <p:nvSpPr>
          <p:cNvPr id="2" name="Slide Number Placeholder 3">
            <a:extLst>
              <a:ext uri="{FF2B5EF4-FFF2-40B4-BE49-F238E27FC236}">
                <a16:creationId xmlns:a16="http://schemas.microsoft.com/office/drawing/2014/main" id="{D05FEE2D-B4FB-28D2-14C6-52FACF763A76}"/>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54572581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08B509-F6B6-CC15-DD47-1E66F7E2C5AA}"/>
              </a:ext>
            </a:extLst>
          </p:cNvPr>
          <p:cNvGraphicFramePr>
            <a:graphicFrameLocks noChangeAspect="1"/>
          </p:cNvGraphicFramePr>
          <p:nvPr userDrawn="1">
            <p:custDataLst>
              <p:tags r:id="rId1"/>
            </p:custDataLst>
            <p:extLst>
              <p:ext uri="{D42A27DB-BD31-4B8C-83A1-F6EECF244321}">
                <p14:modId xmlns:p14="http://schemas.microsoft.com/office/powerpoint/2010/main" val="1059538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0B08B509-F6B6-CC15-DD47-1E66F7E2C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itle Placeholder 1">
            <a:extLst>
              <a:ext uri="{FF2B5EF4-FFF2-40B4-BE49-F238E27FC236}">
                <a16:creationId xmlns:a16="http://schemas.microsoft.com/office/drawing/2014/main" id="{8B698040-36E7-D812-A70A-DB7BFB6F9864}"/>
              </a:ext>
            </a:extLst>
          </p:cNvPr>
          <p:cNvSpPr>
            <a:spLocks noGrp="1"/>
          </p:cNvSpPr>
          <p:nvPr>
            <p:ph type="title" hasCustomPrompt="1"/>
          </p:nvPr>
        </p:nvSpPr>
        <p:spPr>
          <a:xfrm>
            <a:off x="3494882" y="873125"/>
            <a:ext cx="5202236" cy="362228"/>
          </a:xfrm>
          <a:prstGeom prst="rect">
            <a:avLst/>
          </a:prstGeom>
        </p:spPr>
        <p:txBody>
          <a:bodyPr vert="horz" lIns="0" tIns="0" rIns="0" bIns="0" rtlCol="0" anchor="b">
            <a:noAutofit/>
          </a:bodyPr>
          <a:lstStyle>
            <a:lvl1pPr algn="ctr" rtl="0">
              <a:lnSpc>
                <a:spcPct val="90000"/>
              </a:lnSpc>
              <a:defRPr sz="2800">
                <a:solidFill>
                  <a:schemeClr val="tx2"/>
                </a:solidFill>
              </a:defRPr>
            </a:lvl1pPr>
          </a:lstStyle>
          <a:p>
            <a:r>
              <a:rPr lang="en-AU"/>
              <a:t>Meet the Team</a:t>
            </a:r>
            <a:endParaRPr lang="en-AU" dirty="0"/>
          </a:p>
        </p:txBody>
      </p:sp>
      <p:sp>
        <p:nvSpPr>
          <p:cNvPr id="26" name="Text Placeholder 20">
            <a:extLst>
              <a:ext uri="{FF2B5EF4-FFF2-40B4-BE49-F238E27FC236}">
                <a16:creationId xmlns:a16="http://schemas.microsoft.com/office/drawing/2014/main" id="{AF171BAD-8A9B-C0DE-051A-E8170B338C50}"/>
              </a:ext>
            </a:extLst>
          </p:cNvPr>
          <p:cNvSpPr>
            <a:spLocks noGrp="1"/>
          </p:cNvSpPr>
          <p:nvPr>
            <p:ph type="body" sz="quarter" idx="23" hasCustomPrompt="1"/>
          </p:nvPr>
        </p:nvSpPr>
        <p:spPr>
          <a:xfrm>
            <a:off x="2716765" y="1382283"/>
            <a:ext cx="6728844" cy="338941"/>
          </a:xfrm>
          <a:prstGeom prst="rect">
            <a:avLst/>
          </a:prstGeom>
        </p:spPr>
        <p:txBody>
          <a:bodyPr/>
          <a:lstStyle>
            <a:lvl1pPr algn="ctr" rtl="0">
              <a:lnSpc>
                <a:spcPct val="120000"/>
              </a:lnSpc>
              <a:defRPr sz="1000" b="1">
                <a:solidFill>
                  <a:schemeClr val="tx2"/>
                </a:solidFill>
                <a:latin typeface="+mn-lt"/>
              </a:defRPr>
            </a:lvl1pPr>
          </a:lstStyle>
          <a:p>
            <a:pPr lvl="0"/>
            <a:r>
              <a:rPr lang="en-AU"/>
              <a:t>Lorem ipsum dolor sit amet, consectetur adipiscing elit, sed do eiusmod Lorem ipsum dolor sit amet, consectetur adipiscing elit, sed do eiusmod Lorem ipsum dolor sit amet, consectetur</a:t>
            </a:r>
            <a:endParaRPr lang="en-AU" dirty="0"/>
          </a:p>
        </p:txBody>
      </p:sp>
      <p:sp>
        <p:nvSpPr>
          <p:cNvPr id="49" name="Picture Placeholder 39">
            <a:extLst>
              <a:ext uri="{FF2B5EF4-FFF2-40B4-BE49-F238E27FC236}">
                <a16:creationId xmlns:a16="http://schemas.microsoft.com/office/drawing/2014/main" id="{D99AA914-4041-8437-8E30-797CA494A642}"/>
              </a:ext>
            </a:extLst>
          </p:cNvPr>
          <p:cNvSpPr>
            <a:spLocks noGrp="1"/>
          </p:cNvSpPr>
          <p:nvPr>
            <p:ph type="pic" sz="quarter" idx="24" hasCustomPrompt="1"/>
          </p:nvPr>
        </p:nvSpPr>
        <p:spPr>
          <a:xfrm>
            <a:off x="893763" y="217487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0" name="Picture Placeholder 39">
            <a:extLst>
              <a:ext uri="{FF2B5EF4-FFF2-40B4-BE49-F238E27FC236}">
                <a16:creationId xmlns:a16="http://schemas.microsoft.com/office/drawing/2014/main" id="{55C156AF-0ADC-3253-219B-AAEEF68689AC}"/>
              </a:ext>
            </a:extLst>
          </p:cNvPr>
          <p:cNvSpPr>
            <a:spLocks noGrp="1"/>
          </p:cNvSpPr>
          <p:nvPr>
            <p:ph type="pic" sz="quarter" idx="25" hasCustomPrompt="1"/>
          </p:nvPr>
        </p:nvSpPr>
        <p:spPr>
          <a:xfrm>
            <a:off x="2717188" y="217487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1" name="Picture Placeholder 39">
            <a:extLst>
              <a:ext uri="{FF2B5EF4-FFF2-40B4-BE49-F238E27FC236}">
                <a16:creationId xmlns:a16="http://schemas.microsoft.com/office/drawing/2014/main" id="{10495980-2FB2-C2F6-BFF9-DC69E306715B}"/>
              </a:ext>
            </a:extLst>
          </p:cNvPr>
          <p:cNvSpPr>
            <a:spLocks noGrp="1"/>
          </p:cNvSpPr>
          <p:nvPr>
            <p:ph type="pic" sz="quarter" idx="26" hasCustomPrompt="1"/>
          </p:nvPr>
        </p:nvSpPr>
        <p:spPr>
          <a:xfrm>
            <a:off x="4540613" y="217487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2" name="Picture Placeholder 39">
            <a:extLst>
              <a:ext uri="{FF2B5EF4-FFF2-40B4-BE49-F238E27FC236}">
                <a16:creationId xmlns:a16="http://schemas.microsoft.com/office/drawing/2014/main" id="{940A4722-FF91-8173-E029-770F5EB5488B}"/>
              </a:ext>
            </a:extLst>
          </p:cNvPr>
          <p:cNvSpPr>
            <a:spLocks noGrp="1"/>
          </p:cNvSpPr>
          <p:nvPr>
            <p:ph type="pic" sz="quarter" idx="27" hasCustomPrompt="1"/>
          </p:nvPr>
        </p:nvSpPr>
        <p:spPr>
          <a:xfrm>
            <a:off x="6364038" y="217487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3" name="Picture Placeholder 39">
            <a:extLst>
              <a:ext uri="{FF2B5EF4-FFF2-40B4-BE49-F238E27FC236}">
                <a16:creationId xmlns:a16="http://schemas.microsoft.com/office/drawing/2014/main" id="{FA2B5B95-7153-7A09-DE17-0382E7B8386C}"/>
              </a:ext>
            </a:extLst>
          </p:cNvPr>
          <p:cNvSpPr>
            <a:spLocks noGrp="1"/>
          </p:cNvSpPr>
          <p:nvPr>
            <p:ph type="pic" sz="quarter" idx="28" hasCustomPrompt="1"/>
          </p:nvPr>
        </p:nvSpPr>
        <p:spPr>
          <a:xfrm>
            <a:off x="8187463" y="217487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4" name="Picture Placeholder 39">
            <a:extLst>
              <a:ext uri="{FF2B5EF4-FFF2-40B4-BE49-F238E27FC236}">
                <a16:creationId xmlns:a16="http://schemas.microsoft.com/office/drawing/2014/main" id="{AA66F570-F712-D0A3-5ADD-903CBE9F1326}"/>
              </a:ext>
            </a:extLst>
          </p:cNvPr>
          <p:cNvSpPr>
            <a:spLocks noGrp="1"/>
          </p:cNvSpPr>
          <p:nvPr>
            <p:ph type="pic" sz="quarter" idx="29" hasCustomPrompt="1"/>
          </p:nvPr>
        </p:nvSpPr>
        <p:spPr>
          <a:xfrm>
            <a:off x="10010888" y="217487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8" name="Text Placeholder 20">
            <a:extLst>
              <a:ext uri="{FF2B5EF4-FFF2-40B4-BE49-F238E27FC236}">
                <a16:creationId xmlns:a16="http://schemas.microsoft.com/office/drawing/2014/main" id="{3A7C09D0-461F-8412-719A-57C3F0D90ABB}"/>
              </a:ext>
            </a:extLst>
          </p:cNvPr>
          <p:cNvSpPr>
            <a:spLocks noGrp="1"/>
          </p:cNvSpPr>
          <p:nvPr>
            <p:ph type="body" sz="quarter" idx="14" hasCustomPrompt="1"/>
          </p:nvPr>
        </p:nvSpPr>
        <p:spPr>
          <a:xfrm>
            <a:off x="893234" y="4267163"/>
            <a:ext cx="1284174" cy="1698661"/>
          </a:xfrm>
          <a:prstGeom prst="rect">
            <a:avLst/>
          </a:prstGeom>
        </p:spPr>
        <p:txBody>
          <a:bodyPr/>
          <a:lstStyle>
            <a:lvl1pPr algn="l" rtl="0">
              <a:lnSpc>
                <a:spcPct val="100000"/>
              </a:lnSpc>
              <a:defRPr sz="1000">
                <a:solidFill>
                  <a:schemeClr val="tx2"/>
                </a:solidFill>
                <a:latin typeface="+mn-lt"/>
              </a:defRPr>
            </a:lvl1pPr>
          </a:lstStyle>
          <a:p>
            <a:pPr lvl="0"/>
            <a:r>
              <a:rPr lang="en-AU"/>
              <a:t>ullamco laboris nisi ut aliquip ex ea commodo Ut labore et dolore magna aliqua. Ut enim ad minim veniam, quis nostrud exercitation ullamco laboris.</a:t>
            </a:r>
            <a:endParaRPr lang="en-AU" dirty="0"/>
          </a:p>
        </p:txBody>
      </p:sp>
      <p:sp>
        <p:nvSpPr>
          <p:cNvPr id="59" name="Text Placeholder 20">
            <a:extLst>
              <a:ext uri="{FF2B5EF4-FFF2-40B4-BE49-F238E27FC236}">
                <a16:creationId xmlns:a16="http://schemas.microsoft.com/office/drawing/2014/main" id="{7AE0120E-E127-31E7-A4A8-2823B642B56B}"/>
              </a:ext>
            </a:extLst>
          </p:cNvPr>
          <p:cNvSpPr>
            <a:spLocks noGrp="1"/>
          </p:cNvSpPr>
          <p:nvPr>
            <p:ph type="body" sz="quarter" idx="20" hasCustomPrompt="1"/>
          </p:nvPr>
        </p:nvSpPr>
        <p:spPr>
          <a:xfrm>
            <a:off x="893233" y="3566745"/>
            <a:ext cx="1284174" cy="367945"/>
          </a:xfrm>
          <a:prstGeom prst="rect">
            <a:avLst/>
          </a:prstGeom>
        </p:spPr>
        <p:txBody>
          <a:bodyPr/>
          <a:lstStyle>
            <a:lvl1pPr algn="l" rtl="0">
              <a:lnSpc>
                <a:spcPct val="100000"/>
              </a:lnSpc>
              <a:defRPr sz="1200" b="1">
                <a:solidFill>
                  <a:schemeClr val="tx2"/>
                </a:solidFill>
                <a:latin typeface="+mn-lt"/>
              </a:defRPr>
            </a:lvl1pPr>
          </a:lstStyle>
          <a:p>
            <a:pPr lvl="0"/>
            <a:r>
              <a:rPr lang="en-AU"/>
              <a:t>NAME</a:t>
            </a:r>
            <a:br>
              <a:rPr lang="en-AU"/>
            </a:br>
            <a:r>
              <a:rPr lang="en-AU"/>
              <a:t>SURNAME</a:t>
            </a:r>
            <a:endParaRPr lang="en-AU" dirty="0"/>
          </a:p>
        </p:txBody>
      </p:sp>
      <p:sp>
        <p:nvSpPr>
          <p:cNvPr id="60" name="Text Placeholder 20">
            <a:extLst>
              <a:ext uri="{FF2B5EF4-FFF2-40B4-BE49-F238E27FC236}">
                <a16:creationId xmlns:a16="http://schemas.microsoft.com/office/drawing/2014/main" id="{E0D45D32-EFC7-E134-AB01-F9E8A218C717}"/>
              </a:ext>
            </a:extLst>
          </p:cNvPr>
          <p:cNvSpPr>
            <a:spLocks noGrp="1"/>
          </p:cNvSpPr>
          <p:nvPr>
            <p:ph type="body" sz="quarter" idx="30" hasCustomPrompt="1"/>
          </p:nvPr>
        </p:nvSpPr>
        <p:spPr>
          <a:xfrm>
            <a:off x="893233" y="4007213"/>
            <a:ext cx="1284174" cy="124337"/>
          </a:xfrm>
          <a:prstGeom prst="rect">
            <a:avLst/>
          </a:prstGeom>
        </p:spPr>
        <p:txBody>
          <a:bodyPr/>
          <a:lstStyle>
            <a:lvl1pPr algn="l" rtl="0">
              <a:lnSpc>
                <a:spcPct val="100000"/>
              </a:lnSpc>
              <a:defRPr sz="1000" b="0" i="1">
                <a:solidFill>
                  <a:schemeClr val="tx2"/>
                </a:solidFill>
                <a:latin typeface="+mn-lt"/>
              </a:defRPr>
            </a:lvl1pPr>
          </a:lstStyle>
          <a:p>
            <a:pPr lvl="0"/>
            <a:r>
              <a:rPr lang="en-AU"/>
              <a:t>TITLE</a:t>
            </a:r>
            <a:endParaRPr lang="en-AU" dirty="0"/>
          </a:p>
        </p:txBody>
      </p:sp>
      <p:sp>
        <p:nvSpPr>
          <p:cNvPr id="61" name="Text Placeholder 20">
            <a:extLst>
              <a:ext uri="{FF2B5EF4-FFF2-40B4-BE49-F238E27FC236}">
                <a16:creationId xmlns:a16="http://schemas.microsoft.com/office/drawing/2014/main" id="{8A550F60-62BF-AE46-FA42-9C8C6E508D62}"/>
              </a:ext>
            </a:extLst>
          </p:cNvPr>
          <p:cNvSpPr>
            <a:spLocks noGrp="1"/>
          </p:cNvSpPr>
          <p:nvPr>
            <p:ph type="body" sz="quarter" idx="31" hasCustomPrompt="1"/>
          </p:nvPr>
        </p:nvSpPr>
        <p:spPr>
          <a:xfrm>
            <a:off x="2716765" y="4267163"/>
            <a:ext cx="1284174" cy="1698661"/>
          </a:xfrm>
          <a:prstGeom prst="rect">
            <a:avLst/>
          </a:prstGeom>
        </p:spPr>
        <p:txBody>
          <a:bodyPr/>
          <a:lstStyle>
            <a:lvl1pPr algn="l" rtl="0">
              <a:lnSpc>
                <a:spcPct val="100000"/>
              </a:lnSpc>
              <a:defRPr sz="1000">
                <a:solidFill>
                  <a:schemeClr val="tx2"/>
                </a:solidFill>
                <a:latin typeface="+mn-lt"/>
              </a:defRPr>
            </a:lvl1pPr>
          </a:lstStyle>
          <a:p>
            <a:pPr lvl="0"/>
            <a:r>
              <a:rPr lang="en-AU"/>
              <a:t>ullamco laboris nisi ut aliquip ex ea commodo Ut labore et dolore magna aliqua. Ut enim ad minim veniam, quis nostrud exercitation ullamco laboris.</a:t>
            </a:r>
            <a:endParaRPr lang="en-AU" dirty="0"/>
          </a:p>
        </p:txBody>
      </p:sp>
      <p:sp>
        <p:nvSpPr>
          <p:cNvPr id="62" name="Text Placeholder 20">
            <a:extLst>
              <a:ext uri="{FF2B5EF4-FFF2-40B4-BE49-F238E27FC236}">
                <a16:creationId xmlns:a16="http://schemas.microsoft.com/office/drawing/2014/main" id="{A5692E7A-D8CC-3B3E-80D3-1D31DC34691F}"/>
              </a:ext>
            </a:extLst>
          </p:cNvPr>
          <p:cNvSpPr>
            <a:spLocks noGrp="1"/>
          </p:cNvSpPr>
          <p:nvPr>
            <p:ph type="body" sz="quarter" idx="32" hasCustomPrompt="1"/>
          </p:nvPr>
        </p:nvSpPr>
        <p:spPr>
          <a:xfrm>
            <a:off x="2716764" y="3566745"/>
            <a:ext cx="1284174" cy="367945"/>
          </a:xfrm>
          <a:prstGeom prst="rect">
            <a:avLst/>
          </a:prstGeom>
        </p:spPr>
        <p:txBody>
          <a:bodyPr/>
          <a:lstStyle>
            <a:lvl1pPr algn="l" rtl="0">
              <a:lnSpc>
                <a:spcPct val="100000"/>
              </a:lnSpc>
              <a:defRPr sz="1200" b="1">
                <a:solidFill>
                  <a:schemeClr val="tx2"/>
                </a:solidFill>
                <a:latin typeface="+mn-lt"/>
              </a:defRPr>
            </a:lvl1pPr>
          </a:lstStyle>
          <a:p>
            <a:pPr lvl="0"/>
            <a:r>
              <a:rPr lang="en-AU"/>
              <a:t>NAME</a:t>
            </a:r>
            <a:br>
              <a:rPr lang="en-AU"/>
            </a:br>
            <a:r>
              <a:rPr lang="en-AU"/>
              <a:t>SURNAME</a:t>
            </a:r>
            <a:endParaRPr lang="en-AU" dirty="0"/>
          </a:p>
        </p:txBody>
      </p:sp>
      <p:sp>
        <p:nvSpPr>
          <p:cNvPr id="63" name="Text Placeholder 20">
            <a:extLst>
              <a:ext uri="{FF2B5EF4-FFF2-40B4-BE49-F238E27FC236}">
                <a16:creationId xmlns:a16="http://schemas.microsoft.com/office/drawing/2014/main" id="{984A9BD3-C35C-3AC0-CA9E-A23F182C91CA}"/>
              </a:ext>
            </a:extLst>
          </p:cNvPr>
          <p:cNvSpPr>
            <a:spLocks noGrp="1"/>
          </p:cNvSpPr>
          <p:nvPr>
            <p:ph type="body" sz="quarter" idx="33" hasCustomPrompt="1"/>
          </p:nvPr>
        </p:nvSpPr>
        <p:spPr>
          <a:xfrm>
            <a:off x="2716764" y="4007213"/>
            <a:ext cx="1284174" cy="124337"/>
          </a:xfrm>
          <a:prstGeom prst="rect">
            <a:avLst/>
          </a:prstGeom>
        </p:spPr>
        <p:txBody>
          <a:bodyPr/>
          <a:lstStyle>
            <a:lvl1pPr algn="l" rtl="0">
              <a:lnSpc>
                <a:spcPct val="100000"/>
              </a:lnSpc>
              <a:defRPr sz="1000" b="0" i="1">
                <a:solidFill>
                  <a:schemeClr val="tx2"/>
                </a:solidFill>
                <a:latin typeface="+mn-lt"/>
              </a:defRPr>
            </a:lvl1pPr>
          </a:lstStyle>
          <a:p>
            <a:pPr lvl="0"/>
            <a:r>
              <a:rPr lang="en-AU"/>
              <a:t>TITLE</a:t>
            </a:r>
            <a:endParaRPr lang="en-AU" dirty="0"/>
          </a:p>
        </p:txBody>
      </p:sp>
      <p:sp>
        <p:nvSpPr>
          <p:cNvPr id="64" name="Text Placeholder 20">
            <a:extLst>
              <a:ext uri="{FF2B5EF4-FFF2-40B4-BE49-F238E27FC236}">
                <a16:creationId xmlns:a16="http://schemas.microsoft.com/office/drawing/2014/main" id="{22FAC3EC-9F4C-05D9-C92D-28BD997050EB}"/>
              </a:ext>
            </a:extLst>
          </p:cNvPr>
          <p:cNvSpPr>
            <a:spLocks noGrp="1"/>
          </p:cNvSpPr>
          <p:nvPr>
            <p:ph type="body" sz="quarter" idx="34" hasCustomPrompt="1"/>
          </p:nvPr>
        </p:nvSpPr>
        <p:spPr>
          <a:xfrm>
            <a:off x="4540296" y="4267163"/>
            <a:ext cx="1284174" cy="1698661"/>
          </a:xfrm>
          <a:prstGeom prst="rect">
            <a:avLst/>
          </a:prstGeom>
        </p:spPr>
        <p:txBody>
          <a:bodyPr/>
          <a:lstStyle>
            <a:lvl1pPr algn="l" rtl="0">
              <a:lnSpc>
                <a:spcPct val="100000"/>
              </a:lnSpc>
              <a:defRPr sz="1000">
                <a:solidFill>
                  <a:schemeClr val="tx2"/>
                </a:solidFill>
                <a:latin typeface="+mn-lt"/>
              </a:defRPr>
            </a:lvl1pPr>
          </a:lstStyle>
          <a:p>
            <a:pPr lvl="0"/>
            <a:r>
              <a:rPr lang="en-AU"/>
              <a:t>ullamco laboris nisi ut aliquip ex ea commodo Ut labore et dolore magna aliqua. Ut enim ad minim veniam, quis nostrud exercitation ullamco laboris.</a:t>
            </a:r>
            <a:endParaRPr lang="en-AU" dirty="0"/>
          </a:p>
        </p:txBody>
      </p:sp>
      <p:sp>
        <p:nvSpPr>
          <p:cNvPr id="65" name="Text Placeholder 20">
            <a:extLst>
              <a:ext uri="{FF2B5EF4-FFF2-40B4-BE49-F238E27FC236}">
                <a16:creationId xmlns:a16="http://schemas.microsoft.com/office/drawing/2014/main" id="{126BC016-F244-AEE3-8353-01AB3DB6B506}"/>
              </a:ext>
            </a:extLst>
          </p:cNvPr>
          <p:cNvSpPr>
            <a:spLocks noGrp="1"/>
          </p:cNvSpPr>
          <p:nvPr>
            <p:ph type="body" sz="quarter" idx="35" hasCustomPrompt="1"/>
          </p:nvPr>
        </p:nvSpPr>
        <p:spPr>
          <a:xfrm>
            <a:off x="4540295" y="3566745"/>
            <a:ext cx="1284174" cy="367945"/>
          </a:xfrm>
          <a:prstGeom prst="rect">
            <a:avLst/>
          </a:prstGeom>
        </p:spPr>
        <p:txBody>
          <a:bodyPr/>
          <a:lstStyle>
            <a:lvl1pPr algn="l" rtl="0">
              <a:lnSpc>
                <a:spcPct val="100000"/>
              </a:lnSpc>
              <a:defRPr sz="1200" b="1">
                <a:solidFill>
                  <a:schemeClr val="tx2"/>
                </a:solidFill>
                <a:latin typeface="+mn-lt"/>
              </a:defRPr>
            </a:lvl1pPr>
          </a:lstStyle>
          <a:p>
            <a:pPr lvl="0"/>
            <a:r>
              <a:rPr lang="en-AU"/>
              <a:t>NAME</a:t>
            </a:r>
            <a:br>
              <a:rPr lang="en-AU"/>
            </a:br>
            <a:r>
              <a:rPr lang="en-AU"/>
              <a:t>SURNAME</a:t>
            </a:r>
            <a:endParaRPr lang="en-AU" dirty="0"/>
          </a:p>
        </p:txBody>
      </p:sp>
      <p:sp>
        <p:nvSpPr>
          <p:cNvPr id="66" name="Text Placeholder 20">
            <a:extLst>
              <a:ext uri="{FF2B5EF4-FFF2-40B4-BE49-F238E27FC236}">
                <a16:creationId xmlns:a16="http://schemas.microsoft.com/office/drawing/2014/main" id="{23F95B98-40A5-4AC3-89F5-6B4134804996}"/>
              </a:ext>
            </a:extLst>
          </p:cNvPr>
          <p:cNvSpPr>
            <a:spLocks noGrp="1"/>
          </p:cNvSpPr>
          <p:nvPr>
            <p:ph type="body" sz="quarter" idx="36" hasCustomPrompt="1"/>
          </p:nvPr>
        </p:nvSpPr>
        <p:spPr>
          <a:xfrm>
            <a:off x="4540295" y="4007213"/>
            <a:ext cx="1284174" cy="124337"/>
          </a:xfrm>
          <a:prstGeom prst="rect">
            <a:avLst/>
          </a:prstGeom>
        </p:spPr>
        <p:txBody>
          <a:bodyPr/>
          <a:lstStyle>
            <a:lvl1pPr algn="l" rtl="0">
              <a:lnSpc>
                <a:spcPct val="100000"/>
              </a:lnSpc>
              <a:defRPr sz="1000" b="0" i="1">
                <a:solidFill>
                  <a:schemeClr val="tx2"/>
                </a:solidFill>
                <a:latin typeface="+mn-lt"/>
              </a:defRPr>
            </a:lvl1pPr>
          </a:lstStyle>
          <a:p>
            <a:pPr lvl="0"/>
            <a:r>
              <a:rPr lang="en-AU"/>
              <a:t>TITLE</a:t>
            </a:r>
            <a:endParaRPr lang="en-AU" dirty="0"/>
          </a:p>
        </p:txBody>
      </p:sp>
      <p:sp>
        <p:nvSpPr>
          <p:cNvPr id="67" name="Text Placeholder 20">
            <a:extLst>
              <a:ext uri="{FF2B5EF4-FFF2-40B4-BE49-F238E27FC236}">
                <a16:creationId xmlns:a16="http://schemas.microsoft.com/office/drawing/2014/main" id="{7F0011A5-ABBB-F7D3-C27C-325CC4EF97DE}"/>
              </a:ext>
            </a:extLst>
          </p:cNvPr>
          <p:cNvSpPr>
            <a:spLocks noGrp="1"/>
          </p:cNvSpPr>
          <p:nvPr>
            <p:ph type="body" sz="quarter" idx="37" hasCustomPrompt="1"/>
          </p:nvPr>
        </p:nvSpPr>
        <p:spPr>
          <a:xfrm>
            <a:off x="6363827" y="4267163"/>
            <a:ext cx="1284174" cy="1698661"/>
          </a:xfrm>
          <a:prstGeom prst="rect">
            <a:avLst/>
          </a:prstGeom>
        </p:spPr>
        <p:txBody>
          <a:bodyPr/>
          <a:lstStyle>
            <a:lvl1pPr algn="l" rtl="0">
              <a:lnSpc>
                <a:spcPct val="100000"/>
              </a:lnSpc>
              <a:defRPr sz="1000">
                <a:solidFill>
                  <a:schemeClr val="tx2"/>
                </a:solidFill>
                <a:latin typeface="+mn-lt"/>
              </a:defRPr>
            </a:lvl1pPr>
          </a:lstStyle>
          <a:p>
            <a:pPr lvl="0"/>
            <a:r>
              <a:rPr lang="en-AU"/>
              <a:t>ullamco laboris nisi ut aliquip ex ea commodo Ut labore et dolore magna aliqua. Ut enim ad minim veniam, quis nostrud exercitation ullamco laboris.</a:t>
            </a:r>
            <a:endParaRPr lang="en-AU" dirty="0"/>
          </a:p>
        </p:txBody>
      </p:sp>
      <p:sp>
        <p:nvSpPr>
          <p:cNvPr id="68" name="Text Placeholder 20">
            <a:extLst>
              <a:ext uri="{FF2B5EF4-FFF2-40B4-BE49-F238E27FC236}">
                <a16:creationId xmlns:a16="http://schemas.microsoft.com/office/drawing/2014/main" id="{173D15AE-121E-48B6-7E81-06E23A7641A9}"/>
              </a:ext>
            </a:extLst>
          </p:cNvPr>
          <p:cNvSpPr>
            <a:spLocks noGrp="1"/>
          </p:cNvSpPr>
          <p:nvPr>
            <p:ph type="body" sz="quarter" idx="38" hasCustomPrompt="1"/>
          </p:nvPr>
        </p:nvSpPr>
        <p:spPr>
          <a:xfrm>
            <a:off x="6363826" y="3566745"/>
            <a:ext cx="1284174" cy="367945"/>
          </a:xfrm>
          <a:prstGeom prst="rect">
            <a:avLst/>
          </a:prstGeom>
        </p:spPr>
        <p:txBody>
          <a:bodyPr/>
          <a:lstStyle>
            <a:lvl1pPr algn="l" rtl="0">
              <a:lnSpc>
                <a:spcPct val="100000"/>
              </a:lnSpc>
              <a:defRPr sz="1200" b="1">
                <a:solidFill>
                  <a:schemeClr val="tx2"/>
                </a:solidFill>
                <a:latin typeface="+mn-lt"/>
              </a:defRPr>
            </a:lvl1pPr>
          </a:lstStyle>
          <a:p>
            <a:pPr lvl="0"/>
            <a:r>
              <a:rPr lang="en-AU"/>
              <a:t>NAME</a:t>
            </a:r>
            <a:br>
              <a:rPr lang="en-AU"/>
            </a:br>
            <a:r>
              <a:rPr lang="en-AU"/>
              <a:t>SURNAME</a:t>
            </a:r>
            <a:endParaRPr lang="en-AU" dirty="0"/>
          </a:p>
        </p:txBody>
      </p:sp>
      <p:sp>
        <p:nvSpPr>
          <p:cNvPr id="69" name="Text Placeholder 20">
            <a:extLst>
              <a:ext uri="{FF2B5EF4-FFF2-40B4-BE49-F238E27FC236}">
                <a16:creationId xmlns:a16="http://schemas.microsoft.com/office/drawing/2014/main" id="{F7F7E4EC-1326-3F2E-EEBC-01E0274B7E67}"/>
              </a:ext>
            </a:extLst>
          </p:cNvPr>
          <p:cNvSpPr>
            <a:spLocks noGrp="1"/>
          </p:cNvSpPr>
          <p:nvPr>
            <p:ph type="body" sz="quarter" idx="39" hasCustomPrompt="1"/>
          </p:nvPr>
        </p:nvSpPr>
        <p:spPr>
          <a:xfrm>
            <a:off x="6363826" y="4007213"/>
            <a:ext cx="1284174" cy="124337"/>
          </a:xfrm>
          <a:prstGeom prst="rect">
            <a:avLst/>
          </a:prstGeom>
        </p:spPr>
        <p:txBody>
          <a:bodyPr/>
          <a:lstStyle>
            <a:lvl1pPr algn="l" rtl="0">
              <a:lnSpc>
                <a:spcPct val="100000"/>
              </a:lnSpc>
              <a:defRPr sz="1000" b="0" i="1">
                <a:solidFill>
                  <a:schemeClr val="tx2"/>
                </a:solidFill>
                <a:latin typeface="+mn-lt"/>
              </a:defRPr>
            </a:lvl1pPr>
          </a:lstStyle>
          <a:p>
            <a:pPr lvl="0"/>
            <a:r>
              <a:rPr lang="en-AU"/>
              <a:t>TITLE</a:t>
            </a:r>
            <a:endParaRPr lang="en-AU" dirty="0"/>
          </a:p>
        </p:txBody>
      </p:sp>
      <p:sp>
        <p:nvSpPr>
          <p:cNvPr id="70" name="Text Placeholder 20">
            <a:extLst>
              <a:ext uri="{FF2B5EF4-FFF2-40B4-BE49-F238E27FC236}">
                <a16:creationId xmlns:a16="http://schemas.microsoft.com/office/drawing/2014/main" id="{0CB18522-70A2-8D97-B579-6FE5831A5D50}"/>
              </a:ext>
            </a:extLst>
          </p:cNvPr>
          <p:cNvSpPr>
            <a:spLocks noGrp="1"/>
          </p:cNvSpPr>
          <p:nvPr>
            <p:ph type="body" sz="quarter" idx="40" hasCustomPrompt="1"/>
          </p:nvPr>
        </p:nvSpPr>
        <p:spPr>
          <a:xfrm>
            <a:off x="8187358" y="4267163"/>
            <a:ext cx="1284174" cy="1698661"/>
          </a:xfrm>
          <a:prstGeom prst="rect">
            <a:avLst/>
          </a:prstGeom>
        </p:spPr>
        <p:txBody>
          <a:bodyPr/>
          <a:lstStyle>
            <a:lvl1pPr algn="l" rtl="0">
              <a:lnSpc>
                <a:spcPct val="100000"/>
              </a:lnSpc>
              <a:defRPr sz="1000">
                <a:solidFill>
                  <a:schemeClr val="tx2"/>
                </a:solidFill>
                <a:latin typeface="+mn-lt"/>
              </a:defRPr>
            </a:lvl1pPr>
          </a:lstStyle>
          <a:p>
            <a:pPr lvl="0"/>
            <a:r>
              <a:rPr lang="en-AU"/>
              <a:t>ullamco laboris nisi ut aliquip ex ea commodo Ut labore et dolore magna aliqua. Ut enim ad minim veniam, quis nostrud exercitation ullamco laboris.</a:t>
            </a:r>
            <a:endParaRPr lang="en-AU" dirty="0"/>
          </a:p>
        </p:txBody>
      </p:sp>
      <p:sp>
        <p:nvSpPr>
          <p:cNvPr id="71" name="Text Placeholder 20">
            <a:extLst>
              <a:ext uri="{FF2B5EF4-FFF2-40B4-BE49-F238E27FC236}">
                <a16:creationId xmlns:a16="http://schemas.microsoft.com/office/drawing/2014/main" id="{C5D0BDE0-A95D-EE44-A4B0-CC1AAC92C941}"/>
              </a:ext>
            </a:extLst>
          </p:cNvPr>
          <p:cNvSpPr>
            <a:spLocks noGrp="1"/>
          </p:cNvSpPr>
          <p:nvPr>
            <p:ph type="body" sz="quarter" idx="41" hasCustomPrompt="1"/>
          </p:nvPr>
        </p:nvSpPr>
        <p:spPr>
          <a:xfrm>
            <a:off x="8187357" y="3566745"/>
            <a:ext cx="1284174" cy="367945"/>
          </a:xfrm>
          <a:prstGeom prst="rect">
            <a:avLst/>
          </a:prstGeom>
        </p:spPr>
        <p:txBody>
          <a:bodyPr/>
          <a:lstStyle>
            <a:lvl1pPr algn="l" rtl="0">
              <a:lnSpc>
                <a:spcPct val="100000"/>
              </a:lnSpc>
              <a:defRPr sz="1200" b="1">
                <a:solidFill>
                  <a:schemeClr val="tx2"/>
                </a:solidFill>
                <a:latin typeface="+mn-lt"/>
              </a:defRPr>
            </a:lvl1pPr>
          </a:lstStyle>
          <a:p>
            <a:pPr lvl="0"/>
            <a:r>
              <a:rPr lang="en-AU"/>
              <a:t>NAME</a:t>
            </a:r>
            <a:br>
              <a:rPr lang="en-AU"/>
            </a:br>
            <a:r>
              <a:rPr lang="en-AU"/>
              <a:t>SURNAME</a:t>
            </a:r>
            <a:endParaRPr lang="en-AU" dirty="0"/>
          </a:p>
        </p:txBody>
      </p:sp>
      <p:sp>
        <p:nvSpPr>
          <p:cNvPr id="72" name="Text Placeholder 20">
            <a:extLst>
              <a:ext uri="{FF2B5EF4-FFF2-40B4-BE49-F238E27FC236}">
                <a16:creationId xmlns:a16="http://schemas.microsoft.com/office/drawing/2014/main" id="{2C77933A-7A08-C089-6DFB-44E38C6DE661}"/>
              </a:ext>
            </a:extLst>
          </p:cNvPr>
          <p:cNvSpPr>
            <a:spLocks noGrp="1"/>
          </p:cNvSpPr>
          <p:nvPr>
            <p:ph type="body" sz="quarter" idx="42" hasCustomPrompt="1"/>
          </p:nvPr>
        </p:nvSpPr>
        <p:spPr>
          <a:xfrm>
            <a:off x="8187357" y="4007213"/>
            <a:ext cx="1284174" cy="124337"/>
          </a:xfrm>
          <a:prstGeom prst="rect">
            <a:avLst/>
          </a:prstGeom>
        </p:spPr>
        <p:txBody>
          <a:bodyPr/>
          <a:lstStyle>
            <a:lvl1pPr algn="l" rtl="0">
              <a:lnSpc>
                <a:spcPct val="100000"/>
              </a:lnSpc>
              <a:defRPr sz="1000" b="0" i="1">
                <a:solidFill>
                  <a:schemeClr val="tx2"/>
                </a:solidFill>
                <a:latin typeface="+mn-lt"/>
              </a:defRPr>
            </a:lvl1pPr>
          </a:lstStyle>
          <a:p>
            <a:pPr lvl="0"/>
            <a:r>
              <a:rPr lang="en-AU"/>
              <a:t>TITLE</a:t>
            </a:r>
            <a:endParaRPr lang="en-AU" dirty="0"/>
          </a:p>
        </p:txBody>
      </p:sp>
      <p:sp>
        <p:nvSpPr>
          <p:cNvPr id="73" name="Text Placeholder 20">
            <a:extLst>
              <a:ext uri="{FF2B5EF4-FFF2-40B4-BE49-F238E27FC236}">
                <a16:creationId xmlns:a16="http://schemas.microsoft.com/office/drawing/2014/main" id="{742EC8EC-7BBA-6C07-97D7-FF2A70DFD422}"/>
              </a:ext>
            </a:extLst>
          </p:cNvPr>
          <p:cNvSpPr>
            <a:spLocks noGrp="1"/>
          </p:cNvSpPr>
          <p:nvPr>
            <p:ph type="body" sz="quarter" idx="43" hasCustomPrompt="1"/>
          </p:nvPr>
        </p:nvSpPr>
        <p:spPr>
          <a:xfrm>
            <a:off x="10010889" y="4267163"/>
            <a:ext cx="1284174" cy="1698661"/>
          </a:xfrm>
          <a:prstGeom prst="rect">
            <a:avLst/>
          </a:prstGeom>
        </p:spPr>
        <p:txBody>
          <a:bodyPr/>
          <a:lstStyle>
            <a:lvl1pPr algn="l" rtl="0">
              <a:lnSpc>
                <a:spcPct val="100000"/>
              </a:lnSpc>
              <a:defRPr sz="1000">
                <a:solidFill>
                  <a:schemeClr val="tx2"/>
                </a:solidFill>
                <a:latin typeface="+mn-lt"/>
              </a:defRPr>
            </a:lvl1pPr>
          </a:lstStyle>
          <a:p>
            <a:pPr lvl="0"/>
            <a:r>
              <a:rPr lang="en-AU"/>
              <a:t>ullamco laboris nisi ut aliquip ex ea commodo Ut labore et dolore magna aliqua. Ut enim ad minim veniam, quis nostrud exercitation ullamco laboris.</a:t>
            </a:r>
            <a:endParaRPr lang="en-AU" dirty="0"/>
          </a:p>
        </p:txBody>
      </p:sp>
      <p:sp>
        <p:nvSpPr>
          <p:cNvPr id="74" name="Text Placeholder 20">
            <a:extLst>
              <a:ext uri="{FF2B5EF4-FFF2-40B4-BE49-F238E27FC236}">
                <a16:creationId xmlns:a16="http://schemas.microsoft.com/office/drawing/2014/main" id="{8AF8BECC-ABF7-3CD4-5F19-685BFEE25A7C}"/>
              </a:ext>
            </a:extLst>
          </p:cNvPr>
          <p:cNvSpPr>
            <a:spLocks noGrp="1"/>
          </p:cNvSpPr>
          <p:nvPr>
            <p:ph type="body" sz="quarter" idx="44" hasCustomPrompt="1"/>
          </p:nvPr>
        </p:nvSpPr>
        <p:spPr>
          <a:xfrm>
            <a:off x="10010888" y="3566745"/>
            <a:ext cx="1284174" cy="367945"/>
          </a:xfrm>
          <a:prstGeom prst="rect">
            <a:avLst/>
          </a:prstGeom>
        </p:spPr>
        <p:txBody>
          <a:bodyPr/>
          <a:lstStyle>
            <a:lvl1pPr algn="l" rtl="0">
              <a:lnSpc>
                <a:spcPct val="100000"/>
              </a:lnSpc>
              <a:defRPr sz="1200" b="1">
                <a:solidFill>
                  <a:schemeClr val="tx2"/>
                </a:solidFill>
                <a:latin typeface="+mn-lt"/>
              </a:defRPr>
            </a:lvl1pPr>
          </a:lstStyle>
          <a:p>
            <a:pPr lvl="0"/>
            <a:r>
              <a:rPr lang="en-AU"/>
              <a:t>NAME</a:t>
            </a:r>
            <a:br>
              <a:rPr lang="en-AU"/>
            </a:br>
            <a:r>
              <a:rPr lang="en-AU"/>
              <a:t>SURNAME</a:t>
            </a:r>
            <a:endParaRPr lang="en-AU" dirty="0"/>
          </a:p>
        </p:txBody>
      </p:sp>
      <p:sp>
        <p:nvSpPr>
          <p:cNvPr id="75" name="Text Placeholder 20">
            <a:extLst>
              <a:ext uri="{FF2B5EF4-FFF2-40B4-BE49-F238E27FC236}">
                <a16:creationId xmlns:a16="http://schemas.microsoft.com/office/drawing/2014/main" id="{A958844A-F1E4-D132-7C3C-3420CD2F9E67}"/>
              </a:ext>
            </a:extLst>
          </p:cNvPr>
          <p:cNvSpPr>
            <a:spLocks noGrp="1"/>
          </p:cNvSpPr>
          <p:nvPr>
            <p:ph type="body" sz="quarter" idx="45" hasCustomPrompt="1"/>
          </p:nvPr>
        </p:nvSpPr>
        <p:spPr>
          <a:xfrm>
            <a:off x="10010888" y="4007213"/>
            <a:ext cx="1284174" cy="124337"/>
          </a:xfrm>
          <a:prstGeom prst="rect">
            <a:avLst/>
          </a:prstGeom>
        </p:spPr>
        <p:txBody>
          <a:bodyPr/>
          <a:lstStyle>
            <a:lvl1pPr algn="l" rtl="0">
              <a:lnSpc>
                <a:spcPct val="100000"/>
              </a:lnSpc>
              <a:defRPr sz="1000" b="0" i="1">
                <a:solidFill>
                  <a:schemeClr val="tx2"/>
                </a:solidFill>
                <a:latin typeface="+mn-lt"/>
              </a:defRPr>
            </a:lvl1pPr>
          </a:lstStyle>
          <a:p>
            <a:pPr lvl="0"/>
            <a:r>
              <a:rPr lang="en-AU"/>
              <a:t>TITLE</a:t>
            </a:r>
            <a:endParaRPr lang="en-AU" dirty="0"/>
          </a:p>
        </p:txBody>
      </p:sp>
      <p:sp>
        <p:nvSpPr>
          <p:cNvPr id="77" name="Footer Placeholder 7">
            <a:extLst>
              <a:ext uri="{FF2B5EF4-FFF2-40B4-BE49-F238E27FC236}">
                <a16:creationId xmlns:a16="http://schemas.microsoft.com/office/drawing/2014/main" id="{2EAC66E1-2DA2-6771-B62C-B1A824A8BF18}"/>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C313A775-24B7-7515-3559-841467C2C1D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27545550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E00AB87A-0697-6D36-2AF6-B79381B3EB97}"/>
              </a:ext>
            </a:extLst>
          </p:cNvPr>
          <p:cNvGraphicFramePr>
            <a:graphicFrameLocks noChangeAspect="1"/>
          </p:cNvGraphicFramePr>
          <p:nvPr userDrawn="1">
            <p:custDataLst>
              <p:tags r:id="rId1"/>
            </p:custDataLst>
            <p:extLst>
              <p:ext uri="{D42A27DB-BD31-4B8C-83A1-F6EECF244321}">
                <p14:modId xmlns:p14="http://schemas.microsoft.com/office/powerpoint/2010/main" val="500708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think-cell data - do not delete" hidden="1">
                        <a:extLst>
                          <a:ext uri="{FF2B5EF4-FFF2-40B4-BE49-F238E27FC236}">
                            <a16:creationId xmlns:a16="http://schemas.microsoft.com/office/drawing/2014/main" id="{E00AB87A-0697-6D36-2AF6-B79381B3EB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3792FF49-F1E4-5FCE-1190-808ABD400030}"/>
              </a:ext>
            </a:extLst>
          </p:cNvPr>
          <p:cNvSpPr/>
          <p:nvPr userDrawn="1"/>
        </p:nvSpPr>
        <p:spPr>
          <a:xfrm>
            <a:off x="0" y="3745471"/>
            <a:ext cx="12192000" cy="3198255"/>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algn="l" rtl="0" latinLnBrk="1" hangingPunct="0"/>
            <a:endParaRPr lang="en-AU" sz="1600" dirty="0">
              <a:solidFill>
                <a:srgbClr val="FFFFFF"/>
              </a:solidFill>
            </a:endParaRPr>
          </a:p>
        </p:txBody>
      </p:sp>
      <p:sp>
        <p:nvSpPr>
          <p:cNvPr id="25" name="Title Placeholder 1">
            <a:extLst>
              <a:ext uri="{FF2B5EF4-FFF2-40B4-BE49-F238E27FC236}">
                <a16:creationId xmlns:a16="http://schemas.microsoft.com/office/drawing/2014/main" id="{8B698040-36E7-D812-A70A-DB7BFB6F9864}"/>
              </a:ext>
            </a:extLst>
          </p:cNvPr>
          <p:cNvSpPr>
            <a:spLocks noGrp="1"/>
          </p:cNvSpPr>
          <p:nvPr>
            <p:ph type="title" hasCustomPrompt="1"/>
          </p:nvPr>
        </p:nvSpPr>
        <p:spPr>
          <a:xfrm>
            <a:off x="3494882" y="873125"/>
            <a:ext cx="5202236" cy="362228"/>
          </a:xfrm>
          <a:prstGeom prst="rect">
            <a:avLst/>
          </a:prstGeom>
        </p:spPr>
        <p:txBody>
          <a:bodyPr vert="horz" lIns="0" tIns="0" rIns="0" bIns="0" rtlCol="0" anchor="b">
            <a:noAutofit/>
          </a:bodyPr>
          <a:lstStyle>
            <a:lvl1pPr algn="ctr" rtl="0">
              <a:lnSpc>
                <a:spcPct val="90000"/>
              </a:lnSpc>
              <a:defRPr sz="2800">
                <a:solidFill>
                  <a:schemeClr val="tx2"/>
                </a:solidFill>
              </a:defRPr>
            </a:lvl1pPr>
          </a:lstStyle>
          <a:p>
            <a:r>
              <a:rPr lang="en-AU"/>
              <a:t>Meet the Team</a:t>
            </a:r>
            <a:endParaRPr lang="en-AU" dirty="0"/>
          </a:p>
        </p:txBody>
      </p:sp>
      <p:sp>
        <p:nvSpPr>
          <p:cNvPr id="49" name="Picture Placeholder 39">
            <a:extLst>
              <a:ext uri="{FF2B5EF4-FFF2-40B4-BE49-F238E27FC236}">
                <a16:creationId xmlns:a16="http://schemas.microsoft.com/office/drawing/2014/main" id="{D99AA914-4041-8437-8E30-797CA494A642}"/>
              </a:ext>
            </a:extLst>
          </p:cNvPr>
          <p:cNvSpPr>
            <a:spLocks noGrp="1"/>
          </p:cNvSpPr>
          <p:nvPr>
            <p:ph type="pic" sz="quarter" idx="24" hasCustomPrompt="1"/>
          </p:nvPr>
        </p:nvSpPr>
        <p:spPr>
          <a:xfrm>
            <a:off x="893763" y="1526268"/>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0" name="Picture Placeholder 39">
            <a:extLst>
              <a:ext uri="{FF2B5EF4-FFF2-40B4-BE49-F238E27FC236}">
                <a16:creationId xmlns:a16="http://schemas.microsoft.com/office/drawing/2014/main" id="{55C156AF-0ADC-3253-219B-AAEEF68689AC}"/>
              </a:ext>
            </a:extLst>
          </p:cNvPr>
          <p:cNvSpPr>
            <a:spLocks noGrp="1"/>
          </p:cNvSpPr>
          <p:nvPr>
            <p:ph type="pic" sz="quarter" idx="25" hasCustomPrompt="1"/>
          </p:nvPr>
        </p:nvSpPr>
        <p:spPr>
          <a:xfrm>
            <a:off x="2672876" y="1526268"/>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1" name="Picture Placeholder 39">
            <a:extLst>
              <a:ext uri="{FF2B5EF4-FFF2-40B4-BE49-F238E27FC236}">
                <a16:creationId xmlns:a16="http://schemas.microsoft.com/office/drawing/2014/main" id="{10495980-2FB2-C2F6-BFF9-DC69E306715B}"/>
              </a:ext>
            </a:extLst>
          </p:cNvPr>
          <p:cNvSpPr>
            <a:spLocks noGrp="1"/>
          </p:cNvSpPr>
          <p:nvPr>
            <p:ph type="pic" sz="quarter" idx="26" hasCustomPrompt="1"/>
          </p:nvPr>
        </p:nvSpPr>
        <p:spPr>
          <a:xfrm>
            <a:off x="4451989" y="1526268"/>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2" name="Picture Placeholder 39">
            <a:extLst>
              <a:ext uri="{FF2B5EF4-FFF2-40B4-BE49-F238E27FC236}">
                <a16:creationId xmlns:a16="http://schemas.microsoft.com/office/drawing/2014/main" id="{940A4722-FF91-8173-E029-770F5EB5488B}"/>
              </a:ext>
            </a:extLst>
          </p:cNvPr>
          <p:cNvSpPr>
            <a:spLocks noGrp="1"/>
          </p:cNvSpPr>
          <p:nvPr>
            <p:ph type="pic" sz="quarter" idx="27" hasCustomPrompt="1"/>
          </p:nvPr>
        </p:nvSpPr>
        <p:spPr>
          <a:xfrm>
            <a:off x="6228745" y="1526268"/>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3" name="Picture Placeholder 39">
            <a:extLst>
              <a:ext uri="{FF2B5EF4-FFF2-40B4-BE49-F238E27FC236}">
                <a16:creationId xmlns:a16="http://schemas.microsoft.com/office/drawing/2014/main" id="{FA2B5B95-7153-7A09-DE17-0382E7B8386C}"/>
              </a:ext>
            </a:extLst>
          </p:cNvPr>
          <p:cNvSpPr>
            <a:spLocks noGrp="1"/>
          </p:cNvSpPr>
          <p:nvPr>
            <p:ph type="pic" sz="quarter" idx="28" hasCustomPrompt="1"/>
          </p:nvPr>
        </p:nvSpPr>
        <p:spPr>
          <a:xfrm>
            <a:off x="8005501" y="1526268"/>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4" name="Picture Placeholder 39">
            <a:extLst>
              <a:ext uri="{FF2B5EF4-FFF2-40B4-BE49-F238E27FC236}">
                <a16:creationId xmlns:a16="http://schemas.microsoft.com/office/drawing/2014/main" id="{AA66F570-F712-D0A3-5ADD-903CBE9F1326}"/>
              </a:ext>
            </a:extLst>
          </p:cNvPr>
          <p:cNvSpPr>
            <a:spLocks noGrp="1"/>
          </p:cNvSpPr>
          <p:nvPr>
            <p:ph type="pic" sz="quarter" idx="29" hasCustomPrompt="1"/>
          </p:nvPr>
        </p:nvSpPr>
        <p:spPr>
          <a:xfrm>
            <a:off x="9791458" y="1526268"/>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59" name="Text Placeholder 20">
            <a:extLst>
              <a:ext uri="{FF2B5EF4-FFF2-40B4-BE49-F238E27FC236}">
                <a16:creationId xmlns:a16="http://schemas.microsoft.com/office/drawing/2014/main" id="{7AE0120E-E127-31E7-A4A8-2823B642B56B}"/>
              </a:ext>
            </a:extLst>
          </p:cNvPr>
          <p:cNvSpPr>
            <a:spLocks noGrp="1"/>
          </p:cNvSpPr>
          <p:nvPr>
            <p:ph type="body" sz="quarter" idx="20" hasCustomPrompt="1"/>
          </p:nvPr>
        </p:nvSpPr>
        <p:spPr>
          <a:xfrm>
            <a:off x="893232" y="2918138"/>
            <a:ext cx="1503603" cy="367945"/>
          </a:xfrm>
          <a:prstGeom prst="rect">
            <a:avLst/>
          </a:prstGeom>
        </p:spPr>
        <p:txBody>
          <a:bodyPr/>
          <a:lstStyle>
            <a:lvl1pPr algn="l" rtl="0">
              <a:lnSpc>
                <a:spcPct val="100000"/>
              </a:lnSpc>
              <a:defRPr sz="1400" b="1">
                <a:solidFill>
                  <a:schemeClr val="tx2"/>
                </a:solidFill>
                <a:latin typeface="+mn-lt"/>
              </a:defRPr>
            </a:lvl1pPr>
          </a:lstStyle>
          <a:p>
            <a:pPr lvl="0"/>
            <a:r>
              <a:rPr lang="en-AU"/>
              <a:t>NAME</a:t>
            </a:r>
            <a:br>
              <a:rPr lang="en-AU"/>
            </a:br>
            <a:r>
              <a:rPr lang="en-AU"/>
              <a:t>SURNAME</a:t>
            </a:r>
            <a:endParaRPr lang="en-AU" dirty="0"/>
          </a:p>
        </p:txBody>
      </p:sp>
      <p:sp>
        <p:nvSpPr>
          <p:cNvPr id="60" name="Text Placeholder 20">
            <a:extLst>
              <a:ext uri="{FF2B5EF4-FFF2-40B4-BE49-F238E27FC236}">
                <a16:creationId xmlns:a16="http://schemas.microsoft.com/office/drawing/2014/main" id="{E0D45D32-EFC7-E134-AB01-F9E8A218C717}"/>
              </a:ext>
            </a:extLst>
          </p:cNvPr>
          <p:cNvSpPr>
            <a:spLocks noGrp="1"/>
          </p:cNvSpPr>
          <p:nvPr>
            <p:ph type="body" sz="quarter" idx="30" hasCustomPrompt="1"/>
          </p:nvPr>
        </p:nvSpPr>
        <p:spPr>
          <a:xfrm>
            <a:off x="893232" y="3358607"/>
            <a:ext cx="1503603" cy="232624"/>
          </a:xfrm>
          <a:prstGeom prst="rect">
            <a:avLst/>
          </a:prstGeom>
        </p:spPr>
        <p:txBody>
          <a:bodyPr/>
          <a:lstStyle>
            <a:lvl1pPr algn="l" rtl="0">
              <a:lnSpc>
                <a:spcPct val="100000"/>
              </a:lnSpc>
              <a:defRPr sz="1200" b="0" i="1">
                <a:solidFill>
                  <a:schemeClr val="tx2"/>
                </a:solidFill>
                <a:latin typeface="+mn-lt"/>
              </a:defRPr>
            </a:lvl1pPr>
          </a:lstStyle>
          <a:p>
            <a:pPr lvl="0"/>
            <a:r>
              <a:rPr lang="en-AU"/>
              <a:t>TITLE</a:t>
            </a:r>
            <a:endParaRPr lang="en-AU" dirty="0"/>
          </a:p>
        </p:txBody>
      </p:sp>
      <p:sp>
        <p:nvSpPr>
          <p:cNvPr id="24" name="Picture Placeholder 39">
            <a:extLst>
              <a:ext uri="{FF2B5EF4-FFF2-40B4-BE49-F238E27FC236}">
                <a16:creationId xmlns:a16="http://schemas.microsoft.com/office/drawing/2014/main" id="{D3728905-279E-7106-8B1D-772BD533C104}"/>
              </a:ext>
            </a:extLst>
          </p:cNvPr>
          <p:cNvSpPr>
            <a:spLocks noGrp="1"/>
          </p:cNvSpPr>
          <p:nvPr>
            <p:ph type="pic" sz="quarter" idx="46" hasCustomPrompt="1"/>
          </p:nvPr>
        </p:nvSpPr>
        <p:spPr>
          <a:xfrm>
            <a:off x="893763" y="391841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27" name="Picture Placeholder 39">
            <a:extLst>
              <a:ext uri="{FF2B5EF4-FFF2-40B4-BE49-F238E27FC236}">
                <a16:creationId xmlns:a16="http://schemas.microsoft.com/office/drawing/2014/main" id="{1ED0DF56-B9E0-DAA3-47FC-F661E47340CA}"/>
              </a:ext>
            </a:extLst>
          </p:cNvPr>
          <p:cNvSpPr>
            <a:spLocks noGrp="1"/>
          </p:cNvSpPr>
          <p:nvPr>
            <p:ph type="pic" sz="quarter" idx="47" hasCustomPrompt="1"/>
          </p:nvPr>
        </p:nvSpPr>
        <p:spPr>
          <a:xfrm>
            <a:off x="2672876" y="391841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28" name="Picture Placeholder 39">
            <a:extLst>
              <a:ext uri="{FF2B5EF4-FFF2-40B4-BE49-F238E27FC236}">
                <a16:creationId xmlns:a16="http://schemas.microsoft.com/office/drawing/2014/main" id="{CAE5A476-9B3B-C2D2-72A9-97737B2457CC}"/>
              </a:ext>
            </a:extLst>
          </p:cNvPr>
          <p:cNvSpPr>
            <a:spLocks noGrp="1"/>
          </p:cNvSpPr>
          <p:nvPr>
            <p:ph type="pic" sz="quarter" idx="48" hasCustomPrompt="1"/>
          </p:nvPr>
        </p:nvSpPr>
        <p:spPr>
          <a:xfrm>
            <a:off x="4451989" y="391841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29" name="Picture Placeholder 39">
            <a:extLst>
              <a:ext uri="{FF2B5EF4-FFF2-40B4-BE49-F238E27FC236}">
                <a16:creationId xmlns:a16="http://schemas.microsoft.com/office/drawing/2014/main" id="{962CEC72-2679-C0CA-FD2E-252C3E04A791}"/>
              </a:ext>
            </a:extLst>
          </p:cNvPr>
          <p:cNvSpPr>
            <a:spLocks noGrp="1"/>
          </p:cNvSpPr>
          <p:nvPr>
            <p:ph type="pic" sz="quarter" idx="49" hasCustomPrompt="1"/>
          </p:nvPr>
        </p:nvSpPr>
        <p:spPr>
          <a:xfrm>
            <a:off x="6228745" y="391841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30" name="Picture Placeholder 39">
            <a:extLst>
              <a:ext uri="{FF2B5EF4-FFF2-40B4-BE49-F238E27FC236}">
                <a16:creationId xmlns:a16="http://schemas.microsoft.com/office/drawing/2014/main" id="{1363E1E9-D92E-3756-9A2C-FDB20B386488}"/>
              </a:ext>
            </a:extLst>
          </p:cNvPr>
          <p:cNvSpPr>
            <a:spLocks noGrp="1"/>
          </p:cNvSpPr>
          <p:nvPr>
            <p:ph type="pic" sz="quarter" idx="50" hasCustomPrompt="1"/>
          </p:nvPr>
        </p:nvSpPr>
        <p:spPr>
          <a:xfrm>
            <a:off x="8005501" y="391841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31" name="Picture Placeholder 39">
            <a:extLst>
              <a:ext uri="{FF2B5EF4-FFF2-40B4-BE49-F238E27FC236}">
                <a16:creationId xmlns:a16="http://schemas.microsoft.com/office/drawing/2014/main" id="{A620C6E8-1ECB-76DC-4135-D60A3565287E}"/>
              </a:ext>
            </a:extLst>
          </p:cNvPr>
          <p:cNvSpPr>
            <a:spLocks noGrp="1"/>
          </p:cNvSpPr>
          <p:nvPr>
            <p:ph type="pic" sz="quarter" idx="51" hasCustomPrompt="1"/>
          </p:nvPr>
        </p:nvSpPr>
        <p:spPr>
          <a:xfrm>
            <a:off x="9791458" y="3918415"/>
            <a:ext cx="1258146" cy="1258146"/>
          </a:xfrm>
          <a:prstGeom prst="ellipse">
            <a:avLst/>
          </a:prstGeom>
          <a:solidFill>
            <a:schemeClr val="bg1">
              <a:lumMod val="85000"/>
            </a:schemeClr>
          </a:solidFill>
        </p:spPr>
        <p:txBody>
          <a:bodyPr vert="horz" lIns="0" tIns="504000" rIns="0" bIns="0" rtlCol="0" anchor="ctr">
            <a:noAutofit/>
          </a:bodyPr>
          <a:lstStyle>
            <a:lvl1pPr rtl="0">
              <a:lnSpc>
                <a:spcPct val="100000"/>
              </a:lnSpc>
              <a:defRPr lang="en-AU" sz="11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a:t>Click icon to insert image</a:t>
            </a:r>
            <a:endParaRPr lang="en-AU" dirty="0"/>
          </a:p>
        </p:txBody>
      </p:sp>
      <p:sp>
        <p:nvSpPr>
          <p:cNvPr id="45" name="Footer Placeholder 7">
            <a:extLst>
              <a:ext uri="{FF2B5EF4-FFF2-40B4-BE49-F238E27FC236}">
                <a16:creationId xmlns:a16="http://schemas.microsoft.com/office/drawing/2014/main" id="{9885D681-9985-A8EE-F842-543CEA8B256A}"/>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Text Placeholder 20">
            <a:extLst>
              <a:ext uri="{FF2B5EF4-FFF2-40B4-BE49-F238E27FC236}">
                <a16:creationId xmlns:a16="http://schemas.microsoft.com/office/drawing/2014/main" id="{7649A1A6-8BB2-3DB0-6528-1A97023D826E}"/>
              </a:ext>
            </a:extLst>
          </p:cNvPr>
          <p:cNvSpPr>
            <a:spLocks noGrp="1"/>
          </p:cNvSpPr>
          <p:nvPr>
            <p:ph type="body" sz="quarter" idx="54" hasCustomPrompt="1"/>
          </p:nvPr>
        </p:nvSpPr>
        <p:spPr>
          <a:xfrm>
            <a:off x="2672876" y="2918138"/>
            <a:ext cx="1503603" cy="367945"/>
          </a:xfrm>
          <a:prstGeom prst="rect">
            <a:avLst/>
          </a:prstGeom>
        </p:spPr>
        <p:txBody>
          <a:bodyPr/>
          <a:lstStyle>
            <a:lvl1pPr algn="l" rtl="0">
              <a:lnSpc>
                <a:spcPct val="100000"/>
              </a:lnSpc>
              <a:defRPr sz="1400" b="1">
                <a:solidFill>
                  <a:schemeClr val="tx2"/>
                </a:solidFill>
                <a:latin typeface="+mn-lt"/>
              </a:defRPr>
            </a:lvl1pPr>
          </a:lstStyle>
          <a:p>
            <a:pPr lvl="0"/>
            <a:r>
              <a:rPr lang="en-AU"/>
              <a:t>NAME</a:t>
            </a:r>
            <a:br>
              <a:rPr lang="en-AU"/>
            </a:br>
            <a:r>
              <a:rPr lang="en-AU"/>
              <a:t>SURNAME</a:t>
            </a:r>
            <a:endParaRPr lang="en-AU" dirty="0"/>
          </a:p>
        </p:txBody>
      </p:sp>
      <p:sp>
        <p:nvSpPr>
          <p:cNvPr id="4" name="Text Placeholder 20">
            <a:extLst>
              <a:ext uri="{FF2B5EF4-FFF2-40B4-BE49-F238E27FC236}">
                <a16:creationId xmlns:a16="http://schemas.microsoft.com/office/drawing/2014/main" id="{1738C416-A771-006E-7A9A-E71192A3B51C}"/>
              </a:ext>
            </a:extLst>
          </p:cNvPr>
          <p:cNvSpPr>
            <a:spLocks noGrp="1"/>
          </p:cNvSpPr>
          <p:nvPr>
            <p:ph type="body" sz="quarter" idx="55" hasCustomPrompt="1"/>
          </p:nvPr>
        </p:nvSpPr>
        <p:spPr>
          <a:xfrm>
            <a:off x="2672876" y="3358607"/>
            <a:ext cx="1503603" cy="232624"/>
          </a:xfrm>
          <a:prstGeom prst="rect">
            <a:avLst/>
          </a:prstGeom>
        </p:spPr>
        <p:txBody>
          <a:bodyPr/>
          <a:lstStyle>
            <a:lvl1pPr algn="l" rtl="0">
              <a:lnSpc>
                <a:spcPct val="100000"/>
              </a:lnSpc>
              <a:defRPr sz="1200" b="0" i="1">
                <a:solidFill>
                  <a:schemeClr val="tx2"/>
                </a:solidFill>
                <a:latin typeface="+mn-lt"/>
              </a:defRPr>
            </a:lvl1pPr>
          </a:lstStyle>
          <a:p>
            <a:pPr lvl="0"/>
            <a:r>
              <a:rPr lang="en-AU"/>
              <a:t>TITLE</a:t>
            </a:r>
            <a:endParaRPr lang="en-AU" dirty="0"/>
          </a:p>
        </p:txBody>
      </p:sp>
      <p:sp>
        <p:nvSpPr>
          <p:cNvPr id="6" name="Text Placeholder 20">
            <a:extLst>
              <a:ext uri="{FF2B5EF4-FFF2-40B4-BE49-F238E27FC236}">
                <a16:creationId xmlns:a16="http://schemas.microsoft.com/office/drawing/2014/main" id="{ECDBDF55-EDA1-3C1A-2807-7DF7B554A4BC}"/>
              </a:ext>
            </a:extLst>
          </p:cNvPr>
          <p:cNvSpPr>
            <a:spLocks noGrp="1"/>
          </p:cNvSpPr>
          <p:nvPr>
            <p:ph type="body" sz="quarter" idx="56" hasCustomPrompt="1"/>
          </p:nvPr>
        </p:nvSpPr>
        <p:spPr>
          <a:xfrm>
            <a:off x="4451989" y="2918138"/>
            <a:ext cx="1503603" cy="367945"/>
          </a:xfrm>
          <a:prstGeom prst="rect">
            <a:avLst/>
          </a:prstGeom>
        </p:spPr>
        <p:txBody>
          <a:bodyPr/>
          <a:lstStyle>
            <a:lvl1pPr algn="l" rtl="0">
              <a:lnSpc>
                <a:spcPct val="100000"/>
              </a:lnSpc>
              <a:defRPr sz="1400" b="1">
                <a:solidFill>
                  <a:schemeClr val="tx2"/>
                </a:solidFill>
                <a:latin typeface="+mn-lt"/>
              </a:defRPr>
            </a:lvl1pPr>
          </a:lstStyle>
          <a:p>
            <a:pPr lvl="0"/>
            <a:r>
              <a:rPr lang="en-AU"/>
              <a:t>NAME</a:t>
            </a:r>
            <a:br>
              <a:rPr lang="en-AU"/>
            </a:br>
            <a:r>
              <a:rPr lang="en-AU"/>
              <a:t>SURNAME</a:t>
            </a:r>
            <a:endParaRPr lang="en-AU" dirty="0"/>
          </a:p>
        </p:txBody>
      </p:sp>
      <p:sp>
        <p:nvSpPr>
          <p:cNvPr id="7" name="Text Placeholder 20">
            <a:extLst>
              <a:ext uri="{FF2B5EF4-FFF2-40B4-BE49-F238E27FC236}">
                <a16:creationId xmlns:a16="http://schemas.microsoft.com/office/drawing/2014/main" id="{B3E24485-5EB1-BEE2-0B83-8304CC4B126F}"/>
              </a:ext>
            </a:extLst>
          </p:cNvPr>
          <p:cNvSpPr>
            <a:spLocks noGrp="1"/>
          </p:cNvSpPr>
          <p:nvPr>
            <p:ph type="body" sz="quarter" idx="57" hasCustomPrompt="1"/>
          </p:nvPr>
        </p:nvSpPr>
        <p:spPr>
          <a:xfrm>
            <a:off x="4451989" y="3358607"/>
            <a:ext cx="1503603" cy="232624"/>
          </a:xfrm>
          <a:prstGeom prst="rect">
            <a:avLst/>
          </a:prstGeom>
        </p:spPr>
        <p:txBody>
          <a:bodyPr/>
          <a:lstStyle>
            <a:lvl1pPr algn="l" rtl="0">
              <a:lnSpc>
                <a:spcPct val="100000"/>
              </a:lnSpc>
              <a:defRPr sz="1200" b="0" i="1">
                <a:solidFill>
                  <a:schemeClr val="tx2"/>
                </a:solidFill>
                <a:latin typeface="+mn-lt"/>
              </a:defRPr>
            </a:lvl1pPr>
          </a:lstStyle>
          <a:p>
            <a:pPr lvl="0"/>
            <a:r>
              <a:rPr lang="en-AU"/>
              <a:t>TITLE</a:t>
            </a:r>
            <a:endParaRPr lang="en-AU" dirty="0"/>
          </a:p>
        </p:txBody>
      </p:sp>
      <p:sp>
        <p:nvSpPr>
          <p:cNvPr id="8" name="Text Placeholder 20">
            <a:extLst>
              <a:ext uri="{FF2B5EF4-FFF2-40B4-BE49-F238E27FC236}">
                <a16:creationId xmlns:a16="http://schemas.microsoft.com/office/drawing/2014/main" id="{EBA985A7-3FB2-1F69-0441-292FCF882154}"/>
              </a:ext>
            </a:extLst>
          </p:cNvPr>
          <p:cNvSpPr>
            <a:spLocks noGrp="1"/>
          </p:cNvSpPr>
          <p:nvPr>
            <p:ph type="body" sz="quarter" idx="58" hasCustomPrompt="1"/>
          </p:nvPr>
        </p:nvSpPr>
        <p:spPr>
          <a:xfrm>
            <a:off x="6228745" y="2918138"/>
            <a:ext cx="1503603" cy="367945"/>
          </a:xfrm>
          <a:prstGeom prst="rect">
            <a:avLst/>
          </a:prstGeom>
        </p:spPr>
        <p:txBody>
          <a:bodyPr/>
          <a:lstStyle>
            <a:lvl1pPr algn="l" rtl="0">
              <a:lnSpc>
                <a:spcPct val="100000"/>
              </a:lnSpc>
              <a:defRPr sz="1400" b="1">
                <a:solidFill>
                  <a:schemeClr val="tx2"/>
                </a:solidFill>
                <a:latin typeface="+mn-lt"/>
              </a:defRPr>
            </a:lvl1pPr>
          </a:lstStyle>
          <a:p>
            <a:pPr lvl="0"/>
            <a:r>
              <a:rPr lang="en-AU"/>
              <a:t>NAME</a:t>
            </a:r>
            <a:br>
              <a:rPr lang="en-AU"/>
            </a:br>
            <a:r>
              <a:rPr lang="en-AU"/>
              <a:t>SURNAME</a:t>
            </a:r>
            <a:endParaRPr lang="en-AU" dirty="0"/>
          </a:p>
        </p:txBody>
      </p:sp>
      <p:sp>
        <p:nvSpPr>
          <p:cNvPr id="9" name="Text Placeholder 20">
            <a:extLst>
              <a:ext uri="{FF2B5EF4-FFF2-40B4-BE49-F238E27FC236}">
                <a16:creationId xmlns:a16="http://schemas.microsoft.com/office/drawing/2014/main" id="{26DB58EA-9851-EC30-69C3-FEAED68F59CE}"/>
              </a:ext>
            </a:extLst>
          </p:cNvPr>
          <p:cNvSpPr>
            <a:spLocks noGrp="1"/>
          </p:cNvSpPr>
          <p:nvPr>
            <p:ph type="body" sz="quarter" idx="59" hasCustomPrompt="1"/>
          </p:nvPr>
        </p:nvSpPr>
        <p:spPr>
          <a:xfrm>
            <a:off x="6228745" y="3358607"/>
            <a:ext cx="1503603" cy="232624"/>
          </a:xfrm>
          <a:prstGeom prst="rect">
            <a:avLst/>
          </a:prstGeom>
        </p:spPr>
        <p:txBody>
          <a:bodyPr/>
          <a:lstStyle>
            <a:lvl1pPr algn="l" rtl="0">
              <a:lnSpc>
                <a:spcPct val="100000"/>
              </a:lnSpc>
              <a:defRPr sz="1200" b="0" i="1">
                <a:solidFill>
                  <a:schemeClr val="tx2"/>
                </a:solidFill>
                <a:latin typeface="+mn-lt"/>
              </a:defRPr>
            </a:lvl1pPr>
          </a:lstStyle>
          <a:p>
            <a:pPr lvl="0"/>
            <a:r>
              <a:rPr lang="en-AU"/>
              <a:t>TITLE</a:t>
            </a:r>
            <a:endParaRPr lang="en-AU" dirty="0"/>
          </a:p>
        </p:txBody>
      </p:sp>
      <p:sp>
        <p:nvSpPr>
          <p:cNvPr id="10" name="Text Placeholder 20">
            <a:extLst>
              <a:ext uri="{FF2B5EF4-FFF2-40B4-BE49-F238E27FC236}">
                <a16:creationId xmlns:a16="http://schemas.microsoft.com/office/drawing/2014/main" id="{2F853119-3291-86C9-8134-3B62F6BB7CDC}"/>
              </a:ext>
            </a:extLst>
          </p:cNvPr>
          <p:cNvSpPr>
            <a:spLocks noGrp="1"/>
          </p:cNvSpPr>
          <p:nvPr>
            <p:ph type="body" sz="quarter" idx="60" hasCustomPrompt="1"/>
          </p:nvPr>
        </p:nvSpPr>
        <p:spPr>
          <a:xfrm>
            <a:off x="8005501" y="2918138"/>
            <a:ext cx="1503603" cy="367945"/>
          </a:xfrm>
          <a:prstGeom prst="rect">
            <a:avLst/>
          </a:prstGeom>
        </p:spPr>
        <p:txBody>
          <a:bodyPr/>
          <a:lstStyle>
            <a:lvl1pPr algn="l" rtl="0">
              <a:lnSpc>
                <a:spcPct val="100000"/>
              </a:lnSpc>
              <a:defRPr sz="1400" b="1">
                <a:solidFill>
                  <a:schemeClr val="tx2"/>
                </a:solidFill>
                <a:latin typeface="+mn-lt"/>
              </a:defRPr>
            </a:lvl1pPr>
          </a:lstStyle>
          <a:p>
            <a:pPr lvl="0"/>
            <a:r>
              <a:rPr lang="en-AU"/>
              <a:t>NAME</a:t>
            </a:r>
            <a:br>
              <a:rPr lang="en-AU"/>
            </a:br>
            <a:r>
              <a:rPr lang="en-AU"/>
              <a:t>SURNAME</a:t>
            </a:r>
            <a:endParaRPr lang="en-AU" dirty="0"/>
          </a:p>
        </p:txBody>
      </p:sp>
      <p:sp>
        <p:nvSpPr>
          <p:cNvPr id="11" name="Text Placeholder 20">
            <a:extLst>
              <a:ext uri="{FF2B5EF4-FFF2-40B4-BE49-F238E27FC236}">
                <a16:creationId xmlns:a16="http://schemas.microsoft.com/office/drawing/2014/main" id="{493A258E-0A77-8AE7-85C4-BB05BA8EC428}"/>
              </a:ext>
            </a:extLst>
          </p:cNvPr>
          <p:cNvSpPr>
            <a:spLocks noGrp="1"/>
          </p:cNvSpPr>
          <p:nvPr>
            <p:ph type="body" sz="quarter" idx="61" hasCustomPrompt="1"/>
          </p:nvPr>
        </p:nvSpPr>
        <p:spPr>
          <a:xfrm>
            <a:off x="8005501" y="3358607"/>
            <a:ext cx="1503603" cy="232624"/>
          </a:xfrm>
          <a:prstGeom prst="rect">
            <a:avLst/>
          </a:prstGeom>
        </p:spPr>
        <p:txBody>
          <a:bodyPr/>
          <a:lstStyle>
            <a:lvl1pPr algn="l" rtl="0">
              <a:lnSpc>
                <a:spcPct val="100000"/>
              </a:lnSpc>
              <a:defRPr sz="1200" b="0" i="1">
                <a:solidFill>
                  <a:schemeClr val="tx2"/>
                </a:solidFill>
                <a:latin typeface="+mn-lt"/>
              </a:defRPr>
            </a:lvl1pPr>
          </a:lstStyle>
          <a:p>
            <a:pPr lvl="0"/>
            <a:r>
              <a:rPr lang="en-AU"/>
              <a:t>TITLE</a:t>
            </a:r>
            <a:endParaRPr lang="en-AU" dirty="0"/>
          </a:p>
        </p:txBody>
      </p:sp>
      <p:sp>
        <p:nvSpPr>
          <p:cNvPr id="12" name="Text Placeholder 20">
            <a:extLst>
              <a:ext uri="{FF2B5EF4-FFF2-40B4-BE49-F238E27FC236}">
                <a16:creationId xmlns:a16="http://schemas.microsoft.com/office/drawing/2014/main" id="{E9F9926B-198E-36E7-647E-63E5B57AF738}"/>
              </a:ext>
            </a:extLst>
          </p:cNvPr>
          <p:cNvSpPr>
            <a:spLocks noGrp="1"/>
          </p:cNvSpPr>
          <p:nvPr>
            <p:ph type="body" sz="quarter" idx="62" hasCustomPrompt="1"/>
          </p:nvPr>
        </p:nvSpPr>
        <p:spPr>
          <a:xfrm>
            <a:off x="9791458" y="2918138"/>
            <a:ext cx="1503603" cy="367945"/>
          </a:xfrm>
          <a:prstGeom prst="rect">
            <a:avLst/>
          </a:prstGeom>
        </p:spPr>
        <p:txBody>
          <a:bodyPr/>
          <a:lstStyle>
            <a:lvl1pPr algn="l" rtl="0">
              <a:lnSpc>
                <a:spcPct val="100000"/>
              </a:lnSpc>
              <a:defRPr sz="1400" b="1">
                <a:solidFill>
                  <a:schemeClr val="tx2"/>
                </a:solidFill>
                <a:latin typeface="+mn-lt"/>
              </a:defRPr>
            </a:lvl1pPr>
          </a:lstStyle>
          <a:p>
            <a:pPr lvl="0"/>
            <a:r>
              <a:rPr lang="en-AU"/>
              <a:t>NAME</a:t>
            </a:r>
            <a:br>
              <a:rPr lang="en-AU"/>
            </a:br>
            <a:r>
              <a:rPr lang="en-AU"/>
              <a:t>SURNAME</a:t>
            </a:r>
            <a:endParaRPr lang="en-AU" dirty="0"/>
          </a:p>
        </p:txBody>
      </p:sp>
      <p:sp>
        <p:nvSpPr>
          <p:cNvPr id="13" name="Text Placeholder 20">
            <a:extLst>
              <a:ext uri="{FF2B5EF4-FFF2-40B4-BE49-F238E27FC236}">
                <a16:creationId xmlns:a16="http://schemas.microsoft.com/office/drawing/2014/main" id="{250E494B-E345-E6BD-B49A-1A9FC7B08FAB}"/>
              </a:ext>
            </a:extLst>
          </p:cNvPr>
          <p:cNvSpPr>
            <a:spLocks noGrp="1"/>
          </p:cNvSpPr>
          <p:nvPr>
            <p:ph type="body" sz="quarter" idx="63" hasCustomPrompt="1"/>
          </p:nvPr>
        </p:nvSpPr>
        <p:spPr>
          <a:xfrm>
            <a:off x="9791458" y="3358607"/>
            <a:ext cx="1503603" cy="232624"/>
          </a:xfrm>
          <a:prstGeom prst="rect">
            <a:avLst/>
          </a:prstGeom>
        </p:spPr>
        <p:txBody>
          <a:bodyPr/>
          <a:lstStyle>
            <a:lvl1pPr algn="l" rtl="0">
              <a:lnSpc>
                <a:spcPct val="100000"/>
              </a:lnSpc>
              <a:defRPr sz="1200" b="0" i="1">
                <a:solidFill>
                  <a:schemeClr val="tx2"/>
                </a:solidFill>
                <a:latin typeface="+mn-lt"/>
              </a:defRPr>
            </a:lvl1pPr>
          </a:lstStyle>
          <a:p>
            <a:pPr lvl="0"/>
            <a:r>
              <a:rPr lang="en-AU"/>
              <a:t>TITLE</a:t>
            </a:r>
            <a:endParaRPr lang="en-AU" dirty="0"/>
          </a:p>
        </p:txBody>
      </p:sp>
      <p:sp>
        <p:nvSpPr>
          <p:cNvPr id="14" name="Text Placeholder 20">
            <a:extLst>
              <a:ext uri="{FF2B5EF4-FFF2-40B4-BE49-F238E27FC236}">
                <a16:creationId xmlns:a16="http://schemas.microsoft.com/office/drawing/2014/main" id="{2CD66ACD-B71C-0AEF-4BE6-5EF3D4A29E75}"/>
              </a:ext>
            </a:extLst>
          </p:cNvPr>
          <p:cNvSpPr>
            <a:spLocks noGrp="1"/>
          </p:cNvSpPr>
          <p:nvPr>
            <p:ph type="body" sz="quarter" idx="64" hasCustomPrompt="1"/>
          </p:nvPr>
        </p:nvSpPr>
        <p:spPr>
          <a:xfrm>
            <a:off x="893232" y="5303883"/>
            <a:ext cx="1503603" cy="367945"/>
          </a:xfrm>
          <a:prstGeom prst="rect">
            <a:avLst/>
          </a:prstGeom>
        </p:spPr>
        <p:txBody>
          <a:bodyPr/>
          <a:lstStyle>
            <a:lvl1pPr algn="l" rtl="0">
              <a:lnSpc>
                <a:spcPct val="100000"/>
              </a:lnSpc>
              <a:defRPr sz="1400" b="1">
                <a:solidFill>
                  <a:schemeClr val="bg1"/>
                </a:solidFill>
                <a:latin typeface="+mn-lt"/>
              </a:defRPr>
            </a:lvl1pPr>
          </a:lstStyle>
          <a:p>
            <a:pPr lvl="0"/>
            <a:r>
              <a:rPr lang="en-AU"/>
              <a:t>NAME</a:t>
            </a:r>
            <a:br>
              <a:rPr lang="en-AU"/>
            </a:br>
            <a:r>
              <a:rPr lang="en-AU"/>
              <a:t>SURNAME</a:t>
            </a:r>
            <a:endParaRPr lang="en-AU" dirty="0"/>
          </a:p>
        </p:txBody>
      </p:sp>
      <p:sp>
        <p:nvSpPr>
          <p:cNvPr id="15" name="Text Placeholder 20">
            <a:extLst>
              <a:ext uri="{FF2B5EF4-FFF2-40B4-BE49-F238E27FC236}">
                <a16:creationId xmlns:a16="http://schemas.microsoft.com/office/drawing/2014/main" id="{1950AAF4-78B3-C752-E949-B9316B4F1C86}"/>
              </a:ext>
            </a:extLst>
          </p:cNvPr>
          <p:cNvSpPr>
            <a:spLocks noGrp="1"/>
          </p:cNvSpPr>
          <p:nvPr>
            <p:ph type="body" sz="quarter" idx="65" hasCustomPrompt="1"/>
          </p:nvPr>
        </p:nvSpPr>
        <p:spPr>
          <a:xfrm>
            <a:off x="893232" y="5744352"/>
            <a:ext cx="1503603" cy="232624"/>
          </a:xfrm>
          <a:prstGeom prst="rect">
            <a:avLst/>
          </a:prstGeom>
        </p:spPr>
        <p:txBody>
          <a:bodyPr/>
          <a:lstStyle>
            <a:lvl1pPr algn="l" rtl="0">
              <a:lnSpc>
                <a:spcPct val="100000"/>
              </a:lnSpc>
              <a:defRPr sz="1200" b="0" i="1">
                <a:solidFill>
                  <a:schemeClr val="bg1"/>
                </a:solidFill>
                <a:latin typeface="+mn-lt"/>
              </a:defRPr>
            </a:lvl1pPr>
          </a:lstStyle>
          <a:p>
            <a:pPr lvl="0"/>
            <a:r>
              <a:rPr lang="en-AU"/>
              <a:t>TITLE</a:t>
            </a:r>
            <a:endParaRPr lang="en-AU" dirty="0"/>
          </a:p>
        </p:txBody>
      </p:sp>
      <p:sp>
        <p:nvSpPr>
          <p:cNvPr id="16" name="Text Placeholder 20">
            <a:extLst>
              <a:ext uri="{FF2B5EF4-FFF2-40B4-BE49-F238E27FC236}">
                <a16:creationId xmlns:a16="http://schemas.microsoft.com/office/drawing/2014/main" id="{04D71DD2-22B2-C435-107B-73D8758A9908}"/>
              </a:ext>
            </a:extLst>
          </p:cNvPr>
          <p:cNvSpPr>
            <a:spLocks noGrp="1"/>
          </p:cNvSpPr>
          <p:nvPr>
            <p:ph type="body" sz="quarter" idx="66" hasCustomPrompt="1"/>
          </p:nvPr>
        </p:nvSpPr>
        <p:spPr>
          <a:xfrm>
            <a:off x="2672876" y="5303883"/>
            <a:ext cx="1503603" cy="367945"/>
          </a:xfrm>
          <a:prstGeom prst="rect">
            <a:avLst/>
          </a:prstGeom>
        </p:spPr>
        <p:txBody>
          <a:bodyPr/>
          <a:lstStyle>
            <a:lvl1pPr algn="l" rtl="0">
              <a:lnSpc>
                <a:spcPct val="100000"/>
              </a:lnSpc>
              <a:defRPr sz="1400" b="1">
                <a:solidFill>
                  <a:schemeClr val="bg1"/>
                </a:solidFill>
                <a:latin typeface="+mn-lt"/>
              </a:defRPr>
            </a:lvl1pPr>
          </a:lstStyle>
          <a:p>
            <a:pPr lvl="0"/>
            <a:r>
              <a:rPr lang="en-AU"/>
              <a:t>NAME</a:t>
            </a:r>
            <a:br>
              <a:rPr lang="en-AU"/>
            </a:br>
            <a:r>
              <a:rPr lang="en-AU"/>
              <a:t>SURNAME</a:t>
            </a:r>
            <a:endParaRPr lang="en-AU" dirty="0"/>
          </a:p>
        </p:txBody>
      </p:sp>
      <p:sp>
        <p:nvSpPr>
          <p:cNvPr id="17" name="Text Placeholder 20">
            <a:extLst>
              <a:ext uri="{FF2B5EF4-FFF2-40B4-BE49-F238E27FC236}">
                <a16:creationId xmlns:a16="http://schemas.microsoft.com/office/drawing/2014/main" id="{11E20692-FD6B-DD81-B97D-82799DF4D4B8}"/>
              </a:ext>
            </a:extLst>
          </p:cNvPr>
          <p:cNvSpPr>
            <a:spLocks noGrp="1"/>
          </p:cNvSpPr>
          <p:nvPr>
            <p:ph type="body" sz="quarter" idx="67" hasCustomPrompt="1"/>
          </p:nvPr>
        </p:nvSpPr>
        <p:spPr>
          <a:xfrm>
            <a:off x="2672876" y="5744352"/>
            <a:ext cx="1503603" cy="232624"/>
          </a:xfrm>
          <a:prstGeom prst="rect">
            <a:avLst/>
          </a:prstGeom>
        </p:spPr>
        <p:txBody>
          <a:bodyPr/>
          <a:lstStyle>
            <a:lvl1pPr algn="l" rtl="0">
              <a:lnSpc>
                <a:spcPct val="100000"/>
              </a:lnSpc>
              <a:defRPr sz="1200" b="0" i="1">
                <a:solidFill>
                  <a:schemeClr val="bg1"/>
                </a:solidFill>
                <a:latin typeface="+mn-lt"/>
              </a:defRPr>
            </a:lvl1pPr>
          </a:lstStyle>
          <a:p>
            <a:pPr lvl="0"/>
            <a:r>
              <a:rPr lang="en-AU"/>
              <a:t>TITLE</a:t>
            </a:r>
            <a:endParaRPr lang="en-AU" dirty="0"/>
          </a:p>
        </p:txBody>
      </p:sp>
      <p:sp>
        <p:nvSpPr>
          <p:cNvPr id="18" name="Text Placeholder 20">
            <a:extLst>
              <a:ext uri="{FF2B5EF4-FFF2-40B4-BE49-F238E27FC236}">
                <a16:creationId xmlns:a16="http://schemas.microsoft.com/office/drawing/2014/main" id="{8FDECBDA-66FC-A8E8-2C03-F007071D5422}"/>
              </a:ext>
            </a:extLst>
          </p:cNvPr>
          <p:cNvSpPr>
            <a:spLocks noGrp="1"/>
          </p:cNvSpPr>
          <p:nvPr>
            <p:ph type="body" sz="quarter" idx="68" hasCustomPrompt="1"/>
          </p:nvPr>
        </p:nvSpPr>
        <p:spPr>
          <a:xfrm>
            <a:off x="4451989" y="5303883"/>
            <a:ext cx="1503603" cy="367945"/>
          </a:xfrm>
          <a:prstGeom prst="rect">
            <a:avLst/>
          </a:prstGeom>
        </p:spPr>
        <p:txBody>
          <a:bodyPr/>
          <a:lstStyle>
            <a:lvl1pPr algn="l" rtl="0">
              <a:lnSpc>
                <a:spcPct val="100000"/>
              </a:lnSpc>
              <a:defRPr sz="1400" b="1">
                <a:solidFill>
                  <a:schemeClr val="bg1"/>
                </a:solidFill>
                <a:latin typeface="+mn-lt"/>
              </a:defRPr>
            </a:lvl1pPr>
          </a:lstStyle>
          <a:p>
            <a:pPr lvl="0"/>
            <a:r>
              <a:rPr lang="en-AU"/>
              <a:t>NAME</a:t>
            </a:r>
            <a:br>
              <a:rPr lang="en-AU"/>
            </a:br>
            <a:r>
              <a:rPr lang="en-AU"/>
              <a:t>SURNAME</a:t>
            </a:r>
            <a:endParaRPr lang="en-AU" dirty="0"/>
          </a:p>
        </p:txBody>
      </p:sp>
      <p:sp>
        <p:nvSpPr>
          <p:cNvPr id="19" name="Text Placeholder 20">
            <a:extLst>
              <a:ext uri="{FF2B5EF4-FFF2-40B4-BE49-F238E27FC236}">
                <a16:creationId xmlns:a16="http://schemas.microsoft.com/office/drawing/2014/main" id="{5AFE9389-47EC-1485-99AA-0DFBFCBD52A7}"/>
              </a:ext>
            </a:extLst>
          </p:cNvPr>
          <p:cNvSpPr>
            <a:spLocks noGrp="1"/>
          </p:cNvSpPr>
          <p:nvPr>
            <p:ph type="body" sz="quarter" idx="69" hasCustomPrompt="1"/>
          </p:nvPr>
        </p:nvSpPr>
        <p:spPr>
          <a:xfrm>
            <a:off x="4451989" y="5744352"/>
            <a:ext cx="1503603" cy="232624"/>
          </a:xfrm>
          <a:prstGeom prst="rect">
            <a:avLst/>
          </a:prstGeom>
        </p:spPr>
        <p:txBody>
          <a:bodyPr/>
          <a:lstStyle>
            <a:lvl1pPr algn="l" rtl="0">
              <a:lnSpc>
                <a:spcPct val="100000"/>
              </a:lnSpc>
              <a:defRPr sz="1200" b="0" i="1">
                <a:solidFill>
                  <a:schemeClr val="bg1"/>
                </a:solidFill>
                <a:latin typeface="+mn-lt"/>
              </a:defRPr>
            </a:lvl1pPr>
          </a:lstStyle>
          <a:p>
            <a:pPr lvl="0"/>
            <a:r>
              <a:rPr lang="en-AU"/>
              <a:t>TITLE</a:t>
            </a:r>
            <a:endParaRPr lang="en-AU" dirty="0"/>
          </a:p>
        </p:txBody>
      </p:sp>
      <p:sp>
        <p:nvSpPr>
          <p:cNvPr id="20" name="Text Placeholder 20">
            <a:extLst>
              <a:ext uri="{FF2B5EF4-FFF2-40B4-BE49-F238E27FC236}">
                <a16:creationId xmlns:a16="http://schemas.microsoft.com/office/drawing/2014/main" id="{DD2EDAE5-82CD-B42A-EBD6-EA42BB0AAED5}"/>
              </a:ext>
            </a:extLst>
          </p:cNvPr>
          <p:cNvSpPr>
            <a:spLocks noGrp="1"/>
          </p:cNvSpPr>
          <p:nvPr>
            <p:ph type="body" sz="quarter" idx="70" hasCustomPrompt="1"/>
          </p:nvPr>
        </p:nvSpPr>
        <p:spPr>
          <a:xfrm>
            <a:off x="6228745" y="5303883"/>
            <a:ext cx="1503603" cy="367945"/>
          </a:xfrm>
          <a:prstGeom prst="rect">
            <a:avLst/>
          </a:prstGeom>
        </p:spPr>
        <p:txBody>
          <a:bodyPr/>
          <a:lstStyle>
            <a:lvl1pPr algn="l" rtl="0">
              <a:lnSpc>
                <a:spcPct val="100000"/>
              </a:lnSpc>
              <a:defRPr sz="1400" b="1">
                <a:solidFill>
                  <a:schemeClr val="bg1"/>
                </a:solidFill>
                <a:latin typeface="+mn-lt"/>
              </a:defRPr>
            </a:lvl1pPr>
          </a:lstStyle>
          <a:p>
            <a:pPr lvl="0"/>
            <a:r>
              <a:rPr lang="en-AU"/>
              <a:t>NAME</a:t>
            </a:r>
            <a:br>
              <a:rPr lang="en-AU"/>
            </a:br>
            <a:r>
              <a:rPr lang="en-AU"/>
              <a:t>SURNAME</a:t>
            </a:r>
            <a:endParaRPr lang="en-AU" dirty="0"/>
          </a:p>
        </p:txBody>
      </p:sp>
      <p:sp>
        <p:nvSpPr>
          <p:cNvPr id="21" name="Text Placeholder 20">
            <a:extLst>
              <a:ext uri="{FF2B5EF4-FFF2-40B4-BE49-F238E27FC236}">
                <a16:creationId xmlns:a16="http://schemas.microsoft.com/office/drawing/2014/main" id="{42E6E8BB-7E42-497F-DD49-2F4FF8BC292D}"/>
              </a:ext>
            </a:extLst>
          </p:cNvPr>
          <p:cNvSpPr>
            <a:spLocks noGrp="1"/>
          </p:cNvSpPr>
          <p:nvPr>
            <p:ph type="body" sz="quarter" idx="71" hasCustomPrompt="1"/>
          </p:nvPr>
        </p:nvSpPr>
        <p:spPr>
          <a:xfrm>
            <a:off x="6228745" y="5744352"/>
            <a:ext cx="1503603" cy="232624"/>
          </a:xfrm>
          <a:prstGeom prst="rect">
            <a:avLst/>
          </a:prstGeom>
        </p:spPr>
        <p:txBody>
          <a:bodyPr/>
          <a:lstStyle>
            <a:lvl1pPr algn="l" rtl="0">
              <a:lnSpc>
                <a:spcPct val="100000"/>
              </a:lnSpc>
              <a:defRPr sz="1200" b="0" i="1">
                <a:solidFill>
                  <a:schemeClr val="bg1"/>
                </a:solidFill>
                <a:latin typeface="+mn-lt"/>
              </a:defRPr>
            </a:lvl1pPr>
          </a:lstStyle>
          <a:p>
            <a:pPr lvl="0"/>
            <a:r>
              <a:rPr lang="en-AU"/>
              <a:t>TITLE</a:t>
            </a:r>
            <a:endParaRPr lang="en-AU" dirty="0"/>
          </a:p>
        </p:txBody>
      </p:sp>
      <p:sp>
        <p:nvSpPr>
          <p:cNvPr id="23" name="Text Placeholder 20">
            <a:extLst>
              <a:ext uri="{FF2B5EF4-FFF2-40B4-BE49-F238E27FC236}">
                <a16:creationId xmlns:a16="http://schemas.microsoft.com/office/drawing/2014/main" id="{0ADE6EDB-87B4-CB37-D731-1FA3DAFDC36E}"/>
              </a:ext>
            </a:extLst>
          </p:cNvPr>
          <p:cNvSpPr>
            <a:spLocks noGrp="1"/>
          </p:cNvSpPr>
          <p:nvPr>
            <p:ph type="body" sz="quarter" idx="72" hasCustomPrompt="1"/>
          </p:nvPr>
        </p:nvSpPr>
        <p:spPr>
          <a:xfrm>
            <a:off x="8005501" y="5303883"/>
            <a:ext cx="1503603" cy="367945"/>
          </a:xfrm>
          <a:prstGeom prst="rect">
            <a:avLst/>
          </a:prstGeom>
        </p:spPr>
        <p:txBody>
          <a:bodyPr/>
          <a:lstStyle>
            <a:lvl1pPr algn="l" rtl="0">
              <a:lnSpc>
                <a:spcPct val="100000"/>
              </a:lnSpc>
              <a:defRPr sz="1400" b="1">
                <a:solidFill>
                  <a:schemeClr val="bg1"/>
                </a:solidFill>
                <a:latin typeface="+mn-lt"/>
              </a:defRPr>
            </a:lvl1pPr>
          </a:lstStyle>
          <a:p>
            <a:pPr lvl="0"/>
            <a:r>
              <a:rPr lang="en-AU"/>
              <a:t>NAME</a:t>
            </a:r>
            <a:br>
              <a:rPr lang="en-AU"/>
            </a:br>
            <a:r>
              <a:rPr lang="en-AU"/>
              <a:t>SURNAME</a:t>
            </a:r>
            <a:endParaRPr lang="en-AU" dirty="0"/>
          </a:p>
        </p:txBody>
      </p:sp>
      <p:sp>
        <p:nvSpPr>
          <p:cNvPr id="26" name="Text Placeholder 20">
            <a:extLst>
              <a:ext uri="{FF2B5EF4-FFF2-40B4-BE49-F238E27FC236}">
                <a16:creationId xmlns:a16="http://schemas.microsoft.com/office/drawing/2014/main" id="{35649A95-ED9B-E46F-7E22-94FDF8CEFBAF}"/>
              </a:ext>
            </a:extLst>
          </p:cNvPr>
          <p:cNvSpPr>
            <a:spLocks noGrp="1"/>
          </p:cNvSpPr>
          <p:nvPr>
            <p:ph type="body" sz="quarter" idx="73" hasCustomPrompt="1"/>
          </p:nvPr>
        </p:nvSpPr>
        <p:spPr>
          <a:xfrm>
            <a:off x="8005501" y="5744352"/>
            <a:ext cx="1503603" cy="232624"/>
          </a:xfrm>
          <a:prstGeom prst="rect">
            <a:avLst/>
          </a:prstGeom>
        </p:spPr>
        <p:txBody>
          <a:bodyPr/>
          <a:lstStyle>
            <a:lvl1pPr algn="l" rtl="0">
              <a:lnSpc>
                <a:spcPct val="100000"/>
              </a:lnSpc>
              <a:defRPr sz="1200" b="0" i="1">
                <a:solidFill>
                  <a:schemeClr val="bg1"/>
                </a:solidFill>
                <a:latin typeface="+mn-lt"/>
              </a:defRPr>
            </a:lvl1pPr>
          </a:lstStyle>
          <a:p>
            <a:pPr lvl="0"/>
            <a:r>
              <a:rPr lang="en-AU"/>
              <a:t>TITLE</a:t>
            </a:r>
            <a:endParaRPr lang="en-AU" dirty="0"/>
          </a:p>
        </p:txBody>
      </p:sp>
      <p:sp>
        <p:nvSpPr>
          <p:cNvPr id="44" name="Text Placeholder 20">
            <a:extLst>
              <a:ext uri="{FF2B5EF4-FFF2-40B4-BE49-F238E27FC236}">
                <a16:creationId xmlns:a16="http://schemas.microsoft.com/office/drawing/2014/main" id="{B8B5D2EC-52FC-BB73-B15C-EA481A29B0E0}"/>
              </a:ext>
            </a:extLst>
          </p:cNvPr>
          <p:cNvSpPr>
            <a:spLocks noGrp="1"/>
          </p:cNvSpPr>
          <p:nvPr>
            <p:ph type="body" sz="quarter" idx="74" hasCustomPrompt="1"/>
          </p:nvPr>
        </p:nvSpPr>
        <p:spPr>
          <a:xfrm>
            <a:off x="9791458" y="5303883"/>
            <a:ext cx="1503603" cy="367945"/>
          </a:xfrm>
          <a:prstGeom prst="rect">
            <a:avLst/>
          </a:prstGeom>
        </p:spPr>
        <p:txBody>
          <a:bodyPr/>
          <a:lstStyle>
            <a:lvl1pPr algn="l" rtl="0">
              <a:lnSpc>
                <a:spcPct val="100000"/>
              </a:lnSpc>
              <a:defRPr sz="1400" b="1">
                <a:solidFill>
                  <a:schemeClr val="bg1"/>
                </a:solidFill>
                <a:latin typeface="+mn-lt"/>
              </a:defRPr>
            </a:lvl1pPr>
          </a:lstStyle>
          <a:p>
            <a:pPr lvl="0"/>
            <a:r>
              <a:rPr lang="en-AU"/>
              <a:t>NAME</a:t>
            </a:r>
            <a:br>
              <a:rPr lang="en-AU"/>
            </a:br>
            <a:r>
              <a:rPr lang="en-AU"/>
              <a:t>SURNAME</a:t>
            </a:r>
            <a:endParaRPr lang="en-AU" dirty="0"/>
          </a:p>
        </p:txBody>
      </p:sp>
      <p:sp>
        <p:nvSpPr>
          <p:cNvPr id="46" name="Text Placeholder 20">
            <a:extLst>
              <a:ext uri="{FF2B5EF4-FFF2-40B4-BE49-F238E27FC236}">
                <a16:creationId xmlns:a16="http://schemas.microsoft.com/office/drawing/2014/main" id="{562C6F34-CE29-0702-1B0B-3269EC161FDA}"/>
              </a:ext>
            </a:extLst>
          </p:cNvPr>
          <p:cNvSpPr>
            <a:spLocks noGrp="1"/>
          </p:cNvSpPr>
          <p:nvPr>
            <p:ph type="body" sz="quarter" idx="75" hasCustomPrompt="1"/>
          </p:nvPr>
        </p:nvSpPr>
        <p:spPr>
          <a:xfrm>
            <a:off x="9791458" y="5744352"/>
            <a:ext cx="1503603" cy="232624"/>
          </a:xfrm>
          <a:prstGeom prst="rect">
            <a:avLst/>
          </a:prstGeom>
        </p:spPr>
        <p:txBody>
          <a:bodyPr/>
          <a:lstStyle>
            <a:lvl1pPr algn="l" rtl="0">
              <a:lnSpc>
                <a:spcPct val="100000"/>
              </a:lnSpc>
              <a:defRPr sz="1200" b="0" i="1">
                <a:solidFill>
                  <a:schemeClr val="bg1"/>
                </a:solidFill>
                <a:latin typeface="+mn-lt"/>
              </a:defRPr>
            </a:lvl1pPr>
          </a:lstStyle>
          <a:p>
            <a:pPr lvl="0"/>
            <a:r>
              <a:rPr lang="en-AU"/>
              <a:t>TITLE</a:t>
            </a:r>
            <a:endParaRPr lang="en-AU" dirty="0"/>
          </a:p>
        </p:txBody>
      </p:sp>
      <p:sp>
        <p:nvSpPr>
          <p:cNvPr id="2" name="Slide Number Placeholder 3">
            <a:extLst>
              <a:ext uri="{FF2B5EF4-FFF2-40B4-BE49-F238E27FC236}">
                <a16:creationId xmlns:a16="http://schemas.microsoft.com/office/drawing/2014/main" id="{35AF1F35-2BC9-E6D3-D3C7-92029F1C2E45}"/>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80531785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tement 1">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84CA9F7-8056-DE6A-4F29-B3650D381527}"/>
              </a:ext>
            </a:extLst>
          </p:cNvPr>
          <p:cNvGraphicFramePr>
            <a:graphicFrameLocks noChangeAspect="1"/>
          </p:cNvGraphicFramePr>
          <p:nvPr userDrawn="1">
            <p:custDataLst>
              <p:tags r:id="rId1"/>
            </p:custDataLst>
            <p:extLst>
              <p:ext uri="{D42A27DB-BD31-4B8C-83A1-F6EECF244321}">
                <p14:modId xmlns:p14="http://schemas.microsoft.com/office/powerpoint/2010/main" val="2189489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684CA9F7-8056-DE6A-4F29-B3650D3815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16">
            <a:extLst>
              <a:ext uri="{FF2B5EF4-FFF2-40B4-BE49-F238E27FC236}">
                <a16:creationId xmlns:a16="http://schemas.microsoft.com/office/drawing/2014/main" id="{3B62C90E-8EFA-E7E0-0A1B-913878EADB5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890589"/>
            <a:ext cx="12192000" cy="5076825"/>
          </a:xfrm>
          <a:prstGeom prst="rect">
            <a:avLst/>
          </a:prstGeom>
          <a:solidFill>
            <a:schemeClr val="tx1">
              <a:lumMod val="85000"/>
              <a:lumOff val="15000"/>
            </a:schemeClr>
          </a:solidFill>
          <a:ln>
            <a:noFill/>
          </a:ln>
        </p:spPr>
      </p:pic>
      <p:sp>
        <p:nvSpPr>
          <p:cNvPr id="13" name="Text Placeholder 23">
            <a:extLst>
              <a:ext uri="{FF2B5EF4-FFF2-40B4-BE49-F238E27FC236}">
                <a16:creationId xmlns:a16="http://schemas.microsoft.com/office/drawing/2014/main" id="{0CFDD0B2-98AA-E7B4-C3A8-5D434B8CF249}"/>
              </a:ext>
            </a:extLst>
          </p:cNvPr>
          <p:cNvSpPr>
            <a:spLocks noGrp="1"/>
          </p:cNvSpPr>
          <p:nvPr>
            <p:ph type="body" sz="quarter" idx="16" hasCustomPrompt="1"/>
          </p:nvPr>
        </p:nvSpPr>
        <p:spPr>
          <a:xfrm>
            <a:off x="8602913" y="2059117"/>
            <a:ext cx="1016000" cy="87313"/>
          </a:xfrm>
          <a:prstGeom prst="rect">
            <a:avLst/>
          </a:prstGeom>
          <a:solidFill>
            <a:schemeClr val="accent2"/>
          </a:solidFill>
        </p:spPr>
        <p:txBody>
          <a:bodyPr/>
          <a:lstStyle>
            <a:lvl1pPr rtl="0">
              <a:defRPr sz="800">
                <a:noFill/>
              </a:defRPr>
            </a:lvl1pPr>
          </a:lstStyle>
          <a:p>
            <a:pPr lvl="0"/>
            <a:r>
              <a:rPr lang="en-AU"/>
              <a:t>.</a:t>
            </a:r>
            <a:endParaRPr lang="en-AU" dirty="0"/>
          </a:p>
        </p:txBody>
      </p:sp>
      <p:sp>
        <p:nvSpPr>
          <p:cNvPr id="14" name="Text Placeholder 23">
            <a:extLst>
              <a:ext uri="{FF2B5EF4-FFF2-40B4-BE49-F238E27FC236}">
                <a16:creationId xmlns:a16="http://schemas.microsoft.com/office/drawing/2014/main" id="{A2BD8B16-8809-1FB9-3239-D9BBDBB7FDA7}"/>
              </a:ext>
            </a:extLst>
          </p:cNvPr>
          <p:cNvSpPr>
            <a:spLocks noGrp="1"/>
          </p:cNvSpPr>
          <p:nvPr>
            <p:ph type="body" sz="quarter" idx="17" hasCustomPrompt="1"/>
          </p:nvPr>
        </p:nvSpPr>
        <p:spPr>
          <a:xfrm>
            <a:off x="8602913" y="4791806"/>
            <a:ext cx="1016000" cy="87313"/>
          </a:xfrm>
          <a:prstGeom prst="rect">
            <a:avLst/>
          </a:prstGeom>
          <a:solidFill>
            <a:schemeClr val="accent2"/>
          </a:solidFill>
        </p:spPr>
        <p:txBody>
          <a:bodyPr/>
          <a:lstStyle>
            <a:lvl1pPr rtl="0">
              <a:defRPr sz="800">
                <a:noFill/>
              </a:defRPr>
            </a:lvl1pPr>
          </a:lstStyle>
          <a:p>
            <a:pPr lvl="0"/>
            <a:r>
              <a:rPr lang="en-AU"/>
              <a:t>.</a:t>
            </a:r>
            <a:endParaRPr lang="en-AU" dirty="0"/>
          </a:p>
        </p:txBody>
      </p:sp>
      <p:sp>
        <p:nvSpPr>
          <p:cNvPr id="18" name="Title Placeholder 1">
            <a:extLst>
              <a:ext uri="{FF2B5EF4-FFF2-40B4-BE49-F238E27FC236}">
                <a16:creationId xmlns:a16="http://schemas.microsoft.com/office/drawing/2014/main" id="{119FA088-DFEE-420F-B9C8-B0CC1F767DE6}"/>
              </a:ext>
            </a:extLst>
          </p:cNvPr>
          <p:cNvSpPr>
            <a:spLocks noGrp="1"/>
          </p:cNvSpPr>
          <p:nvPr>
            <p:ph type="title" hasCustomPrompt="1"/>
          </p:nvPr>
        </p:nvSpPr>
        <p:spPr>
          <a:xfrm>
            <a:off x="6926763" y="2424169"/>
            <a:ext cx="4368300" cy="2089898"/>
          </a:xfrm>
          <a:prstGeom prst="rect">
            <a:avLst/>
          </a:prstGeom>
        </p:spPr>
        <p:txBody>
          <a:bodyPr vert="horz" lIns="0" tIns="0" rIns="0" bIns="0" rtlCol="0" anchor="ctr">
            <a:noAutofit/>
          </a:bodyPr>
          <a:lstStyle>
            <a:lvl1pPr algn="ctr" rtl="0">
              <a:lnSpc>
                <a:spcPct val="90000"/>
              </a:lnSpc>
              <a:spcAft>
                <a:spcPts val="0"/>
              </a:spcAft>
              <a:defRPr sz="2400" b="0">
                <a:solidFill>
                  <a:schemeClr val="bg1"/>
                </a:solidFill>
                <a:latin typeface="+mn-lt"/>
              </a:defRPr>
            </a:lvl1pPr>
          </a:lstStyle>
          <a:p>
            <a:r>
              <a:rPr lang="en-AU"/>
              <a:t>The biggest challenge the world has ever faced needs change.</a:t>
            </a:r>
            <a:br>
              <a:rPr lang="en-AU"/>
            </a:br>
            <a:br>
              <a:rPr lang="en-AU"/>
            </a:br>
            <a:r>
              <a:rPr lang="en-AU"/>
              <a:t>Change is powerful. </a:t>
            </a:r>
            <a:br>
              <a:rPr lang="en-AU"/>
            </a:br>
            <a:r>
              <a:rPr lang="en-AU"/>
              <a:t>It’s what moves us forward.</a:t>
            </a:r>
            <a:endParaRPr lang="en-AU" dirty="0"/>
          </a:p>
        </p:txBody>
      </p:sp>
      <p:sp>
        <p:nvSpPr>
          <p:cNvPr id="4" name="Footer Placeholder 7">
            <a:extLst>
              <a:ext uri="{FF2B5EF4-FFF2-40B4-BE49-F238E27FC236}">
                <a16:creationId xmlns:a16="http://schemas.microsoft.com/office/drawing/2014/main" id="{BCE88927-8E0C-DE71-A13B-8A9F4D7F370F}"/>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Slide Number Placeholder 3">
            <a:extLst>
              <a:ext uri="{FF2B5EF4-FFF2-40B4-BE49-F238E27FC236}">
                <a16:creationId xmlns:a16="http://schemas.microsoft.com/office/drawing/2014/main" id="{F3EF7426-DD1A-D509-A7DD-62E9A16BACA8}"/>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37202227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D3A5378-7C27-3086-D0E5-BCFF25C88350}"/>
              </a:ext>
            </a:extLst>
          </p:cNvPr>
          <p:cNvGraphicFramePr>
            <a:graphicFrameLocks noChangeAspect="1"/>
          </p:cNvGraphicFramePr>
          <p:nvPr userDrawn="1">
            <p:custDataLst>
              <p:tags r:id="rId1"/>
            </p:custDataLst>
            <p:extLst>
              <p:ext uri="{D42A27DB-BD31-4B8C-83A1-F6EECF244321}">
                <p14:modId xmlns:p14="http://schemas.microsoft.com/office/powerpoint/2010/main" val="1913085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FD3A5378-7C27-3086-D0E5-BCFF25C883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16">
            <a:extLst>
              <a:ext uri="{FF2B5EF4-FFF2-40B4-BE49-F238E27FC236}">
                <a16:creationId xmlns:a16="http://schemas.microsoft.com/office/drawing/2014/main" id="{13C1BBD9-65F3-2CBC-165E-0429B3DE363E}"/>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890589"/>
            <a:ext cx="12192000" cy="5076825"/>
          </a:xfrm>
          <a:prstGeom prst="rect">
            <a:avLst/>
          </a:prstGeom>
          <a:solidFill>
            <a:schemeClr val="tx1">
              <a:lumMod val="85000"/>
              <a:lumOff val="15000"/>
            </a:schemeClr>
          </a:solidFill>
          <a:ln>
            <a:noFill/>
          </a:ln>
        </p:spPr>
      </p:pic>
      <p:sp>
        <p:nvSpPr>
          <p:cNvPr id="7" name="Text Placeholder 23">
            <a:extLst>
              <a:ext uri="{FF2B5EF4-FFF2-40B4-BE49-F238E27FC236}">
                <a16:creationId xmlns:a16="http://schemas.microsoft.com/office/drawing/2014/main" id="{CA9C773E-C5EB-9262-D02D-CEC2DBF78CB3}"/>
              </a:ext>
            </a:extLst>
          </p:cNvPr>
          <p:cNvSpPr>
            <a:spLocks noGrp="1"/>
          </p:cNvSpPr>
          <p:nvPr>
            <p:ph type="body" sz="quarter" idx="16" hasCustomPrompt="1"/>
          </p:nvPr>
        </p:nvSpPr>
        <p:spPr>
          <a:xfrm>
            <a:off x="2393500" y="2059117"/>
            <a:ext cx="1016000" cy="87313"/>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10" name="Text Placeholder 23">
            <a:extLst>
              <a:ext uri="{FF2B5EF4-FFF2-40B4-BE49-F238E27FC236}">
                <a16:creationId xmlns:a16="http://schemas.microsoft.com/office/drawing/2014/main" id="{705993B7-4CE1-BAEA-6EE7-BDA9C2739705}"/>
              </a:ext>
            </a:extLst>
          </p:cNvPr>
          <p:cNvSpPr>
            <a:spLocks noGrp="1"/>
          </p:cNvSpPr>
          <p:nvPr>
            <p:ph type="body" sz="quarter" idx="17" hasCustomPrompt="1"/>
          </p:nvPr>
        </p:nvSpPr>
        <p:spPr>
          <a:xfrm>
            <a:off x="2393500" y="4791806"/>
            <a:ext cx="1016000" cy="87313"/>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11" name="Title Placeholder 1">
            <a:extLst>
              <a:ext uri="{FF2B5EF4-FFF2-40B4-BE49-F238E27FC236}">
                <a16:creationId xmlns:a16="http://schemas.microsoft.com/office/drawing/2014/main" id="{47B86A2E-2427-CF9A-1C0A-F1FF3580AF0C}"/>
              </a:ext>
            </a:extLst>
          </p:cNvPr>
          <p:cNvSpPr>
            <a:spLocks noGrp="1"/>
          </p:cNvSpPr>
          <p:nvPr>
            <p:ph type="title" hasCustomPrompt="1"/>
          </p:nvPr>
        </p:nvSpPr>
        <p:spPr>
          <a:xfrm>
            <a:off x="895181" y="2286000"/>
            <a:ext cx="4012638" cy="2366236"/>
          </a:xfrm>
          <a:prstGeom prst="rect">
            <a:avLst/>
          </a:prstGeom>
        </p:spPr>
        <p:txBody>
          <a:bodyPr vert="horz" lIns="0" tIns="0" rIns="0" bIns="0" rtlCol="0" anchor="ctr">
            <a:noAutofit/>
          </a:bodyPr>
          <a:lstStyle>
            <a:lvl1pPr algn="ctr" rtl="0">
              <a:lnSpc>
                <a:spcPct val="90000"/>
              </a:lnSpc>
              <a:defRPr sz="2400" b="0">
                <a:solidFill>
                  <a:schemeClr val="bg1"/>
                </a:solidFill>
                <a:latin typeface="+mn-lt"/>
              </a:defRPr>
            </a:lvl1pPr>
          </a:lstStyle>
          <a:p>
            <a:r>
              <a:rPr lang="en-AU"/>
              <a:t>For Worley, real change</a:t>
            </a:r>
            <a:br>
              <a:rPr lang="en-AU"/>
            </a:br>
            <a:r>
              <a:rPr lang="en-AU"/>
              <a:t>is in our DNA.​</a:t>
            </a:r>
            <a:br>
              <a:rPr lang="en-AU"/>
            </a:br>
            <a:br>
              <a:rPr lang="en-AU"/>
            </a:br>
            <a:r>
              <a:rPr lang="en-AU"/>
              <a:t>It began 50 years ago,​</a:t>
            </a:r>
            <a:br>
              <a:rPr lang="en-AU"/>
            </a:br>
            <a:r>
              <a:rPr lang="en-AU"/>
              <a:t>and will continue for the next 50 years and beyond. ​</a:t>
            </a:r>
            <a:endParaRPr lang="en-AU" dirty="0"/>
          </a:p>
        </p:txBody>
      </p:sp>
      <p:sp>
        <p:nvSpPr>
          <p:cNvPr id="4" name="Footer Placeholder 7">
            <a:extLst>
              <a:ext uri="{FF2B5EF4-FFF2-40B4-BE49-F238E27FC236}">
                <a16:creationId xmlns:a16="http://schemas.microsoft.com/office/drawing/2014/main" id="{3411DECD-2D04-ECE5-C926-8D940DB78AFF}"/>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2C23915F-00B5-05A2-7E0B-A15917A463ED}"/>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590013183"/>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tement 3">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8055809-0FDA-8DE3-FA12-E5A4F9122A0A}"/>
              </a:ext>
            </a:extLst>
          </p:cNvPr>
          <p:cNvGraphicFramePr>
            <a:graphicFrameLocks noChangeAspect="1"/>
          </p:cNvGraphicFramePr>
          <p:nvPr userDrawn="1">
            <p:custDataLst>
              <p:tags r:id="rId1"/>
            </p:custDataLst>
            <p:extLst>
              <p:ext uri="{D42A27DB-BD31-4B8C-83A1-F6EECF244321}">
                <p14:modId xmlns:p14="http://schemas.microsoft.com/office/powerpoint/2010/main" val="207138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think-cell data - do not delete" hidden="1">
                        <a:extLst>
                          <a:ext uri="{FF2B5EF4-FFF2-40B4-BE49-F238E27FC236}">
                            <a16:creationId xmlns:a16="http://schemas.microsoft.com/office/drawing/2014/main" id="{18055809-0FDA-8DE3-FA12-E5A4F912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5AD8B54-9B27-AAC2-1081-AE1A4A5342D0}"/>
              </a:ext>
            </a:extLst>
          </p:cNvPr>
          <p:cNvSpPr/>
          <p:nvPr userDrawn="1"/>
        </p:nvSpPr>
        <p:spPr>
          <a:xfrm>
            <a:off x="0" y="891118"/>
            <a:ext cx="12192000" cy="5075765"/>
          </a:xfrm>
          <a:prstGeom prst="rect">
            <a:avLst/>
          </a:prstGeom>
          <a:solidFill>
            <a:srgbClr val="29C8C1"/>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4989" tIns="34989" rIns="34989" bIns="34989" numCol="1" spcCol="38100" rtlCol="0" anchor="ctr">
            <a:noAutofit/>
          </a:bodyPr>
          <a:lstStyle/>
          <a:p>
            <a:pPr defTabSz="292093" rtl="0" latinLnBrk="1" hangingPunct="0"/>
            <a:endParaRPr lang="en-AU" sz="1600" kern="0" dirty="0">
              <a:solidFill>
                <a:srgbClr val="FFFFFF"/>
              </a:solidFill>
              <a:latin typeface="Helvetica Light"/>
              <a:sym typeface="Helvetica Light"/>
            </a:endParaRPr>
          </a:p>
        </p:txBody>
      </p:sp>
      <p:pic>
        <p:nvPicPr>
          <p:cNvPr id="4" name="Graphic 3">
            <a:extLst>
              <a:ext uri="{FF2B5EF4-FFF2-40B4-BE49-F238E27FC236}">
                <a16:creationId xmlns:a16="http://schemas.microsoft.com/office/drawing/2014/main" id="{1D6E8973-949C-CBEC-65E1-569059B6612E}"/>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6064" t="13573" r="-6064" b="9056"/>
          <a:stretch/>
        </p:blipFill>
        <p:spPr>
          <a:xfrm>
            <a:off x="0" y="890589"/>
            <a:ext cx="6561640" cy="5076825"/>
          </a:xfrm>
          <a:prstGeom prst="rect">
            <a:avLst/>
          </a:prstGeom>
        </p:spPr>
      </p:pic>
      <p:sp>
        <p:nvSpPr>
          <p:cNvPr id="5" name="Text Placeholder 23">
            <a:extLst>
              <a:ext uri="{FF2B5EF4-FFF2-40B4-BE49-F238E27FC236}">
                <a16:creationId xmlns:a16="http://schemas.microsoft.com/office/drawing/2014/main" id="{4CCA0459-03EA-3914-A7F9-DDFFB0EFB08F}"/>
              </a:ext>
            </a:extLst>
          </p:cNvPr>
          <p:cNvSpPr>
            <a:spLocks noGrp="1"/>
          </p:cNvSpPr>
          <p:nvPr>
            <p:ph type="body" sz="quarter" idx="16" hasCustomPrompt="1"/>
          </p:nvPr>
        </p:nvSpPr>
        <p:spPr>
          <a:xfrm>
            <a:off x="8602913" y="2059117"/>
            <a:ext cx="1016000" cy="87313"/>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6" name="Text Placeholder 23">
            <a:extLst>
              <a:ext uri="{FF2B5EF4-FFF2-40B4-BE49-F238E27FC236}">
                <a16:creationId xmlns:a16="http://schemas.microsoft.com/office/drawing/2014/main" id="{E61F6500-2285-A3FF-A1E6-690AB9B16E96}"/>
              </a:ext>
            </a:extLst>
          </p:cNvPr>
          <p:cNvSpPr>
            <a:spLocks noGrp="1"/>
          </p:cNvSpPr>
          <p:nvPr>
            <p:ph type="body" sz="quarter" idx="17" hasCustomPrompt="1"/>
          </p:nvPr>
        </p:nvSpPr>
        <p:spPr>
          <a:xfrm>
            <a:off x="8602913" y="4791806"/>
            <a:ext cx="1016000" cy="87313"/>
          </a:xfrm>
          <a:prstGeom prst="rect">
            <a:avLst/>
          </a:prstGeom>
          <a:solidFill>
            <a:schemeClr val="accent1"/>
          </a:solidFill>
        </p:spPr>
        <p:txBody>
          <a:bodyPr/>
          <a:lstStyle>
            <a:lvl1pPr rtl="0">
              <a:defRPr sz="800">
                <a:noFill/>
              </a:defRPr>
            </a:lvl1pPr>
          </a:lstStyle>
          <a:p>
            <a:pPr lvl="0"/>
            <a:r>
              <a:rPr lang="en-AU"/>
              <a:t>.</a:t>
            </a:r>
            <a:endParaRPr lang="en-AU" dirty="0"/>
          </a:p>
        </p:txBody>
      </p:sp>
      <p:sp>
        <p:nvSpPr>
          <p:cNvPr id="12" name="Title Placeholder 1">
            <a:extLst>
              <a:ext uri="{FF2B5EF4-FFF2-40B4-BE49-F238E27FC236}">
                <a16:creationId xmlns:a16="http://schemas.microsoft.com/office/drawing/2014/main" id="{ADA52984-60F2-016E-DC50-EC518796E1F1}"/>
              </a:ext>
            </a:extLst>
          </p:cNvPr>
          <p:cNvSpPr>
            <a:spLocks noGrp="1"/>
          </p:cNvSpPr>
          <p:nvPr>
            <p:ph type="title" hasCustomPrompt="1"/>
          </p:nvPr>
        </p:nvSpPr>
        <p:spPr>
          <a:xfrm>
            <a:off x="6926763" y="2424169"/>
            <a:ext cx="4368300" cy="2089898"/>
          </a:xfrm>
          <a:prstGeom prst="rect">
            <a:avLst/>
          </a:prstGeom>
        </p:spPr>
        <p:txBody>
          <a:bodyPr vert="horz" lIns="0" tIns="0" rIns="0" bIns="0" rtlCol="0" anchor="ctr">
            <a:noAutofit/>
          </a:bodyPr>
          <a:lstStyle>
            <a:lvl1pPr algn="ctr" rtl="0">
              <a:lnSpc>
                <a:spcPct val="90000"/>
              </a:lnSpc>
              <a:defRPr sz="2400" b="0">
                <a:solidFill>
                  <a:schemeClr val="bg1"/>
                </a:solidFill>
                <a:latin typeface="+mn-lt"/>
              </a:defRPr>
            </a:lvl1pPr>
          </a:lstStyle>
          <a:p>
            <a:r>
              <a:rPr lang="en-AU"/>
              <a:t>But as change leaders,</a:t>
            </a:r>
            <a:br>
              <a:rPr lang="en-AU"/>
            </a:br>
            <a:r>
              <a:rPr lang="en-AU"/>
              <a:t>we too must change.​</a:t>
            </a:r>
            <a:br>
              <a:rPr lang="en-AU"/>
            </a:br>
            <a:r>
              <a:rPr lang="en-AU"/>
              <a:t>To reposition our brand, </a:t>
            </a:r>
            <a:br>
              <a:rPr lang="en-AU"/>
            </a:br>
            <a:r>
              <a:rPr lang="en-AU"/>
              <a:t>for all. ​</a:t>
            </a:r>
            <a:br>
              <a:rPr lang="en-AU"/>
            </a:br>
            <a:r>
              <a:rPr lang="en-AU"/>
              <a:t>By learning from our past, we’ll change our future – ​</a:t>
            </a:r>
            <a:endParaRPr lang="en-AU" dirty="0"/>
          </a:p>
        </p:txBody>
      </p:sp>
      <p:sp>
        <p:nvSpPr>
          <p:cNvPr id="7" name="Footer Placeholder 7">
            <a:extLst>
              <a:ext uri="{FF2B5EF4-FFF2-40B4-BE49-F238E27FC236}">
                <a16:creationId xmlns:a16="http://schemas.microsoft.com/office/drawing/2014/main" id="{37B32966-20A9-5A16-1B84-9DECE7A06601}"/>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Slide Number Placeholder 3">
            <a:extLst>
              <a:ext uri="{FF2B5EF4-FFF2-40B4-BE49-F238E27FC236}">
                <a16:creationId xmlns:a16="http://schemas.microsoft.com/office/drawing/2014/main" id="{B49E8B1A-B1CA-E22D-A39E-37065DEAC5FF}"/>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51437349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tement 4">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B54820-EDA9-09BD-87D1-5F9152A14194}"/>
              </a:ext>
            </a:extLst>
          </p:cNvPr>
          <p:cNvGraphicFramePr>
            <a:graphicFrameLocks noChangeAspect="1"/>
          </p:cNvGraphicFramePr>
          <p:nvPr userDrawn="1">
            <p:custDataLst>
              <p:tags r:id="rId1"/>
            </p:custDataLst>
            <p:extLst>
              <p:ext uri="{D42A27DB-BD31-4B8C-83A1-F6EECF244321}">
                <p14:modId xmlns:p14="http://schemas.microsoft.com/office/powerpoint/2010/main" val="223726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1AB54820-EDA9-09BD-87D1-5F9152A14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CC24C0A-E053-3A78-7489-897E3900DBB2}"/>
              </a:ext>
            </a:extLst>
          </p:cNvPr>
          <p:cNvSpPr/>
          <p:nvPr userDrawn="1"/>
        </p:nvSpPr>
        <p:spPr>
          <a:xfrm>
            <a:off x="0" y="891117"/>
            <a:ext cx="12192000" cy="5075767"/>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FFFFFF"/>
              </a:solidFill>
              <a:latin typeface="Helvetica Light"/>
              <a:sym typeface="Helvetica Light"/>
            </a:endParaRPr>
          </a:p>
        </p:txBody>
      </p:sp>
      <p:pic>
        <p:nvPicPr>
          <p:cNvPr id="7" name="Picture 6">
            <a:extLst>
              <a:ext uri="{FF2B5EF4-FFF2-40B4-BE49-F238E27FC236}">
                <a16:creationId xmlns:a16="http://schemas.microsoft.com/office/drawing/2014/main" id="{8D989D90-C232-2AE9-BB26-31C2CF5F31F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3867" r="18522" b="18975"/>
          <a:stretch/>
        </p:blipFill>
        <p:spPr>
          <a:xfrm>
            <a:off x="3748216" y="888431"/>
            <a:ext cx="8443784" cy="5075765"/>
          </a:xfrm>
          <a:prstGeom prst="rect">
            <a:avLst/>
          </a:prstGeom>
        </p:spPr>
      </p:pic>
      <p:sp>
        <p:nvSpPr>
          <p:cNvPr id="10" name="Text Placeholder 23">
            <a:extLst>
              <a:ext uri="{FF2B5EF4-FFF2-40B4-BE49-F238E27FC236}">
                <a16:creationId xmlns:a16="http://schemas.microsoft.com/office/drawing/2014/main" id="{8049461A-8423-79C0-A62B-B0720279DC70}"/>
              </a:ext>
            </a:extLst>
          </p:cNvPr>
          <p:cNvSpPr>
            <a:spLocks noGrp="1"/>
          </p:cNvSpPr>
          <p:nvPr>
            <p:ph type="body" sz="quarter" idx="16" hasCustomPrompt="1"/>
          </p:nvPr>
        </p:nvSpPr>
        <p:spPr>
          <a:xfrm>
            <a:off x="2393500" y="2059117"/>
            <a:ext cx="1016000" cy="87313"/>
          </a:xfrm>
          <a:prstGeom prst="rect">
            <a:avLst/>
          </a:prstGeom>
          <a:solidFill>
            <a:schemeClr val="accent2"/>
          </a:solidFill>
        </p:spPr>
        <p:txBody>
          <a:bodyPr/>
          <a:lstStyle>
            <a:lvl1pPr rtl="0">
              <a:defRPr sz="800">
                <a:noFill/>
              </a:defRPr>
            </a:lvl1pPr>
          </a:lstStyle>
          <a:p>
            <a:pPr lvl="0"/>
            <a:r>
              <a:rPr lang="en-AU"/>
              <a:t>.</a:t>
            </a:r>
            <a:endParaRPr lang="en-AU" dirty="0"/>
          </a:p>
        </p:txBody>
      </p:sp>
      <p:sp>
        <p:nvSpPr>
          <p:cNvPr id="11" name="Text Placeholder 23">
            <a:extLst>
              <a:ext uri="{FF2B5EF4-FFF2-40B4-BE49-F238E27FC236}">
                <a16:creationId xmlns:a16="http://schemas.microsoft.com/office/drawing/2014/main" id="{0A01DA0A-959D-B395-A263-8F3732FEE921}"/>
              </a:ext>
            </a:extLst>
          </p:cNvPr>
          <p:cNvSpPr>
            <a:spLocks noGrp="1"/>
          </p:cNvSpPr>
          <p:nvPr>
            <p:ph type="body" sz="quarter" idx="17" hasCustomPrompt="1"/>
          </p:nvPr>
        </p:nvSpPr>
        <p:spPr>
          <a:xfrm>
            <a:off x="2393500" y="4791806"/>
            <a:ext cx="1016000" cy="87313"/>
          </a:xfrm>
          <a:prstGeom prst="rect">
            <a:avLst/>
          </a:prstGeom>
          <a:solidFill>
            <a:schemeClr val="accent2"/>
          </a:solidFill>
        </p:spPr>
        <p:txBody>
          <a:bodyPr/>
          <a:lstStyle>
            <a:lvl1pPr rtl="0">
              <a:defRPr sz="800">
                <a:noFill/>
              </a:defRPr>
            </a:lvl1pPr>
          </a:lstStyle>
          <a:p>
            <a:pPr lvl="0"/>
            <a:r>
              <a:rPr lang="en-AU"/>
              <a:t>.</a:t>
            </a:r>
            <a:endParaRPr lang="en-AU" dirty="0"/>
          </a:p>
        </p:txBody>
      </p:sp>
      <p:sp>
        <p:nvSpPr>
          <p:cNvPr id="13" name="Title Placeholder 1">
            <a:extLst>
              <a:ext uri="{FF2B5EF4-FFF2-40B4-BE49-F238E27FC236}">
                <a16:creationId xmlns:a16="http://schemas.microsoft.com/office/drawing/2014/main" id="{09FFCCFB-2E2A-89D7-D40F-4B82E119D7A7}"/>
              </a:ext>
            </a:extLst>
          </p:cNvPr>
          <p:cNvSpPr>
            <a:spLocks noGrp="1"/>
          </p:cNvSpPr>
          <p:nvPr>
            <p:ph type="title" hasCustomPrompt="1"/>
          </p:nvPr>
        </p:nvSpPr>
        <p:spPr>
          <a:xfrm>
            <a:off x="887088" y="2277908"/>
            <a:ext cx="4028824" cy="2382420"/>
          </a:xfrm>
          <a:prstGeom prst="rect">
            <a:avLst/>
          </a:prstGeom>
        </p:spPr>
        <p:txBody>
          <a:bodyPr vert="horz" lIns="0" tIns="0" rIns="0" bIns="0" rtlCol="0" anchor="ctr">
            <a:noAutofit/>
          </a:bodyPr>
          <a:lstStyle>
            <a:lvl1pPr algn="ctr" rtl="0">
              <a:lnSpc>
                <a:spcPct val="90000"/>
              </a:lnSpc>
              <a:defRPr sz="2400" b="0">
                <a:solidFill>
                  <a:schemeClr val="bg1"/>
                </a:solidFill>
                <a:latin typeface="+mn-lt"/>
              </a:defRPr>
            </a:lvl1pPr>
          </a:lstStyle>
          <a:p>
            <a:r>
              <a:rPr lang="en-AU"/>
              <a:t>For Worley, real change</a:t>
            </a:r>
            <a:br>
              <a:rPr lang="en-AU"/>
            </a:br>
            <a:r>
              <a:rPr lang="en-AU"/>
              <a:t>is in our DNA.​</a:t>
            </a:r>
            <a:br>
              <a:rPr lang="en-AU"/>
            </a:br>
            <a:br>
              <a:rPr lang="en-AU"/>
            </a:br>
            <a:r>
              <a:rPr lang="en-AU"/>
              <a:t>It began 50 years ago,​</a:t>
            </a:r>
            <a:br>
              <a:rPr lang="en-AU"/>
            </a:br>
            <a:r>
              <a:rPr lang="en-AU"/>
              <a:t>and will continue for the next 50 years and beyond. ​</a:t>
            </a:r>
            <a:endParaRPr lang="en-AU" dirty="0"/>
          </a:p>
        </p:txBody>
      </p:sp>
      <p:sp>
        <p:nvSpPr>
          <p:cNvPr id="4" name="Footer Placeholder 7">
            <a:extLst>
              <a:ext uri="{FF2B5EF4-FFF2-40B4-BE49-F238E27FC236}">
                <a16:creationId xmlns:a16="http://schemas.microsoft.com/office/drawing/2014/main" id="{992D864C-0737-C0E0-E551-D224A693703A}"/>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58FA9EA6-BB9D-B8E3-921D-BE0DD74F5EF1}"/>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72491433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165B29-9255-1376-CC3A-9D21EF36A6DE}"/>
              </a:ext>
            </a:extLst>
          </p:cNvPr>
          <p:cNvGraphicFramePr>
            <a:graphicFrameLocks noChangeAspect="1"/>
          </p:cNvGraphicFramePr>
          <p:nvPr userDrawn="1">
            <p:custDataLst>
              <p:tags r:id="rId1"/>
            </p:custDataLst>
            <p:extLst>
              <p:ext uri="{D42A27DB-BD31-4B8C-83A1-F6EECF244321}">
                <p14:modId xmlns:p14="http://schemas.microsoft.com/office/powerpoint/2010/main" val="2112362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19165B29-9255-1376-CC3A-9D21EF36A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040B863-A0FD-0191-6DCA-07EB2749AF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767696"/>
            <a:ext cx="8630134" cy="3322608"/>
          </a:xfrm>
          <a:prstGeom prst="rect">
            <a:avLst/>
          </a:prstGeom>
        </p:spPr>
      </p:pic>
      <p:sp>
        <p:nvSpPr>
          <p:cNvPr id="12" name="Rectangle 11">
            <a:extLst>
              <a:ext uri="{FF2B5EF4-FFF2-40B4-BE49-F238E27FC236}">
                <a16:creationId xmlns:a16="http://schemas.microsoft.com/office/drawing/2014/main" id="{DA312167-BFD5-2532-32DF-0B0223C7B215}"/>
              </a:ext>
            </a:extLst>
          </p:cNvPr>
          <p:cNvSpPr/>
          <p:nvPr userDrawn="1"/>
        </p:nvSpPr>
        <p:spPr>
          <a:xfrm>
            <a:off x="6096000" y="-27384"/>
            <a:ext cx="6120680" cy="6971109"/>
          </a:xfrm>
          <a:prstGeom prst="rect">
            <a:avLst/>
          </a:prstGeom>
          <a:solidFill>
            <a:srgbClr val="003645"/>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algn="l" rtl="0" latinLnBrk="1" hangingPunct="0"/>
            <a:endParaRPr lang="en-AU" sz="1600" dirty="0">
              <a:solidFill>
                <a:srgbClr val="FFFFFF"/>
              </a:solidFill>
            </a:endParaRPr>
          </a:p>
        </p:txBody>
      </p:sp>
      <p:sp>
        <p:nvSpPr>
          <p:cNvPr id="19" name="Text Placeholder 20">
            <a:extLst>
              <a:ext uri="{FF2B5EF4-FFF2-40B4-BE49-F238E27FC236}">
                <a16:creationId xmlns:a16="http://schemas.microsoft.com/office/drawing/2014/main" id="{7CC8F8D9-9685-4080-86C2-8080534AE1C2}"/>
              </a:ext>
            </a:extLst>
          </p:cNvPr>
          <p:cNvSpPr>
            <a:spLocks noGrp="1"/>
          </p:cNvSpPr>
          <p:nvPr>
            <p:ph type="body" sz="quarter" idx="14" hasCustomPrompt="1"/>
          </p:nvPr>
        </p:nvSpPr>
        <p:spPr>
          <a:xfrm>
            <a:off x="6996792" y="1631600"/>
            <a:ext cx="4297845" cy="2603516"/>
          </a:xfrm>
          <a:prstGeom prst="rect">
            <a:avLst/>
          </a:prstGeom>
        </p:spPr>
        <p:txBody>
          <a:bodyPr/>
          <a:lstStyle>
            <a:lvl1pPr rtl="0">
              <a:lnSpc>
                <a:spcPct val="120000"/>
              </a:lnSpc>
              <a:defRPr sz="1400">
                <a:solidFill>
                  <a:schemeClr val="bg1"/>
                </a:solidFill>
              </a:defRPr>
            </a:lvl1pPr>
          </a:lstStyle>
          <a:p>
            <a:pPr lvl="0"/>
            <a:r>
              <a:rPr lang="en-AU"/>
              <a:t>Or you can also use this one if you want to include a little more visual interest to the page. arismollaborpor rem ut expe reic te verfere mporum est taeperm re. Ut volore plis maiostio vercimi nctatas rehent. Itaspe parum dolupic ipsame cus, volut es di arismollaborpor rem ut expe reic te verfere mporum est taeperm. Ut volore plis maiostio vercimi nctatas rehent. Itaspe parum dolupic ipsame cus, volut es di arismollaborpor rem ut expe reic te verfere.</a:t>
            </a:r>
            <a:endParaRPr lang="en-AU" dirty="0"/>
          </a:p>
        </p:txBody>
      </p:sp>
      <p:sp>
        <p:nvSpPr>
          <p:cNvPr id="20" name="Picture Placeholder 39">
            <a:extLst>
              <a:ext uri="{FF2B5EF4-FFF2-40B4-BE49-F238E27FC236}">
                <a16:creationId xmlns:a16="http://schemas.microsoft.com/office/drawing/2014/main" id="{31120E53-78B3-C204-53DA-8FC95F691EA8}"/>
              </a:ext>
            </a:extLst>
          </p:cNvPr>
          <p:cNvSpPr>
            <a:spLocks noGrp="1"/>
          </p:cNvSpPr>
          <p:nvPr>
            <p:ph type="pic" sz="quarter" idx="24"/>
          </p:nvPr>
        </p:nvSpPr>
        <p:spPr>
          <a:xfrm>
            <a:off x="6996792" y="4519184"/>
            <a:ext cx="1423988" cy="1423988"/>
          </a:xfrm>
          <a:prstGeom prst="ellipse">
            <a:avLst/>
          </a:prstGeom>
          <a:solidFill>
            <a:schemeClr val="bg1">
              <a:lumMod val="85000"/>
            </a:schemeClr>
          </a:solidFill>
        </p:spPr>
        <p:txBody>
          <a:bodyPr vert="horz" lIns="0" tIns="504000" rIns="0" bIns="0" rtlCol="0" anchor="ctr">
            <a:noAutofit/>
          </a:bodyPr>
          <a:lstStyle>
            <a:lvl1pPr algn="ctr" rtl="0">
              <a:lnSpc>
                <a:spcPct val="100000"/>
              </a:lnSpc>
              <a:defRPr lang="en-AU" sz="1100"/>
            </a:lvl1pPr>
          </a:lstStyle>
          <a:p>
            <a:pPr lvl="0" algn="ctr">
              <a:lnSpc>
                <a:spcPct val="100000"/>
              </a:lnSpc>
            </a:pPr>
            <a:r>
              <a:rPr lang="en-AU"/>
              <a:t>Click icon to add picture</a:t>
            </a:r>
            <a:endParaRPr lang="en-AU" dirty="0"/>
          </a:p>
        </p:txBody>
      </p:sp>
      <p:sp>
        <p:nvSpPr>
          <p:cNvPr id="21" name="Text Placeholder 20">
            <a:extLst>
              <a:ext uri="{FF2B5EF4-FFF2-40B4-BE49-F238E27FC236}">
                <a16:creationId xmlns:a16="http://schemas.microsoft.com/office/drawing/2014/main" id="{A41E5BDE-0D34-F7A0-CD73-E2E4D4E83FF1}"/>
              </a:ext>
            </a:extLst>
          </p:cNvPr>
          <p:cNvSpPr>
            <a:spLocks noGrp="1"/>
          </p:cNvSpPr>
          <p:nvPr>
            <p:ph type="body" sz="quarter" idx="25" hasCustomPrompt="1"/>
          </p:nvPr>
        </p:nvSpPr>
        <p:spPr>
          <a:xfrm>
            <a:off x="8596754" y="5073423"/>
            <a:ext cx="1255067" cy="230927"/>
          </a:xfrm>
          <a:prstGeom prst="rect">
            <a:avLst/>
          </a:prstGeom>
        </p:spPr>
        <p:txBody>
          <a:bodyPr/>
          <a:lstStyle>
            <a:lvl1pPr rtl="0">
              <a:lnSpc>
                <a:spcPct val="120000"/>
              </a:lnSpc>
              <a:defRPr sz="1200" b="1">
                <a:solidFill>
                  <a:schemeClr val="bg1"/>
                </a:solidFill>
              </a:defRPr>
            </a:lvl1pPr>
          </a:lstStyle>
          <a:p>
            <a:pPr lvl="0"/>
            <a:r>
              <a:rPr lang="en-AU"/>
              <a:t>NAME</a:t>
            </a:r>
            <a:endParaRPr lang="en-AU" dirty="0"/>
          </a:p>
        </p:txBody>
      </p:sp>
      <p:sp>
        <p:nvSpPr>
          <p:cNvPr id="22" name="Text Placeholder 20">
            <a:extLst>
              <a:ext uri="{FF2B5EF4-FFF2-40B4-BE49-F238E27FC236}">
                <a16:creationId xmlns:a16="http://schemas.microsoft.com/office/drawing/2014/main" id="{043E8A05-1419-59E5-197F-0E88F6CAE464}"/>
              </a:ext>
            </a:extLst>
          </p:cNvPr>
          <p:cNvSpPr>
            <a:spLocks noGrp="1"/>
          </p:cNvSpPr>
          <p:nvPr>
            <p:ph type="body" sz="quarter" idx="26" hasCustomPrompt="1"/>
          </p:nvPr>
        </p:nvSpPr>
        <p:spPr>
          <a:xfrm>
            <a:off x="8596754" y="5304350"/>
            <a:ext cx="1255067" cy="132087"/>
          </a:xfrm>
          <a:prstGeom prst="rect">
            <a:avLst/>
          </a:prstGeom>
        </p:spPr>
        <p:txBody>
          <a:bodyPr/>
          <a:lstStyle>
            <a:lvl1pPr rtl="0">
              <a:lnSpc>
                <a:spcPct val="120000"/>
              </a:lnSpc>
              <a:defRPr sz="800">
                <a:solidFill>
                  <a:schemeClr val="bg1"/>
                </a:solidFill>
              </a:defRPr>
            </a:lvl1pPr>
          </a:lstStyle>
          <a:p>
            <a:pPr lvl="0"/>
            <a:r>
              <a:rPr lang="en-AU"/>
              <a:t>TITLE</a:t>
            </a:r>
            <a:endParaRPr lang="en-AU" dirty="0"/>
          </a:p>
        </p:txBody>
      </p:sp>
      <p:sp>
        <p:nvSpPr>
          <p:cNvPr id="28" name="Text Placeholder 27">
            <a:extLst>
              <a:ext uri="{FF2B5EF4-FFF2-40B4-BE49-F238E27FC236}">
                <a16:creationId xmlns:a16="http://schemas.microsoft.com/office/drawing/2014/main" id="{12126CE7-924E-D9DB-7B1E-8895BAFF58BE}"/>
              </a:ext>
            </a:extLst>
          </p:cNvPr>
          <p:cNvSpPr>
            <a:spLocks noGrp="1"/>
          </p:cNvSpPr>
          <p:nvPr>
            <p:ph type="body" sz="quarter" idx="27" hasCustomPrompt="1"/>
          </p:nvPr>
        </p:nvSpPr>
        <p:spPr>
          <a:xfrm rot="10800000" flipH="1">
            <a:off x="6996792" y="899688"/>
            <a:ext cx="971900" cy="580254"/>
          </a:xfrm>
          <a:prstGeom prst="rect">
            <a:avLst/>
          </a:prstGeom>
          <a:blipFill>
            <a:blip r:embed="rId6">
              <a:extLst>
                <a:ext uri="{96DAC541-7B7A-43D3-8B79-37D633B846F1}">
                  <asvg:svgBlip xmlns:asvg="http://schemas.microsoft.com/office/drawing/2016/SVG/main" r:embed="rId7"/>
                </a:ext>
              </a:extLst>
            </a:blip>
            <a:stretch>
              <a:fillRect/>
            </a:stretch>
          </a:blipFill>
        </p:spPr>
        <p:txBody>
          <a:bodyPr/>
          <a:lstStyle>
            <a:lvl1pPr rtl="0">
              <a:defRPr sz="100">
                <a:noFill/>
              </a:defRPr>
            </a:lvl1pPr>
          </a:lstStyle>
          <a:p>
            <a:pPr lvl="0"/>
            <a:r>
              <a:rPr lang="en-AU"/>
              <a:t>.</a:t>
            </a:r>
            <a:endParaRPr lang="en-AU" dirty="0"/>
          </a:p>
        </p:txBody>
      </p:sp>
      <p:sp>
        <p:nvSpPr>
          <p:cNvPr id="31" name="Text Placeholder 27">
            <a:extLst>
              <a:ext uri="{FF2B5EF4-FFF2-40B4-BE49-F238E27FC236}">
                <a16:creationId xmlns:a16="http://schemas.microsoft.com/office/drawing/2014/main" id="{FDBC914A-C4C3-5D42-242A-B232DFA089E5}"/>
              </a:ext>
            </a:extLst>
          </p:cNvPr>
          <p:cNvSpPr>
            <a:spLocks noGrp="1"/>
          </p:cNvSpPr>
          <p:nvPr>
            <p:ph type="body" sz="quarter" idx="28" hasCustomPrompt="1"/>
          </p:nvPr>
        </p:nvSpPr>
        <p:spPr>
          <a:xfrm flipH="1">
            <a:off x="10322737" y="4560158"/>
            <a:ext cx="971900" cy="580254"/>
          </a:xfrm>
          <a:prstGeom prst="rect">
            <a:avLst/>
          </a:prstGeom>
          <a:blipFill>
            <a:blip r:embed="rId6">
              <a:extLst>
                <a:ext uri="{96DAC541-7B7A-43D3-8B79-37D633B846F1}">
                  <asvg:svgBlip xmlns:asvg="http://schemas.microsoft.com/office/drawing/2016/SVG/main" r:embed="rId7"/>
                </a:ext>
              </a:extLst>
            </a:blip>
            <a:stretch>
              <a:fillRect/>
            </a:stretch>
          </a:blipFill>
        </p:spPr>
        <p:txBody>
          <a:bodyPr/>
          <a:lstStyle>
            <a:lvl1pPr rtl="0">
              <a:defRPr sz="100">
                <a:noFill/>
              </a:defRPr>
            </a:lvl1pPr>
          </a:lstStyle>
          <a:p>
            <a:pPr lvl="0"/>
            <a:r>
              <a:rPr lang="en-AU"/>
              <a:t>.</a:t>
            </a:r>
            <a:endParaRPr lang="en-AU" dirty="0"/>
          </a:p>
        </p:txBody>
      </p:sp>
      <p:sp>
        <p:nvSpPr>
          <p:cNvPr id="33" name="Footer Placeholder 7">
            <a:extLst>
              <a:ext uri="{FF2B5EF4-FFF2-40B4-BE49-F238E27FC236}">
                <a16:creationId xmlns:a16="http://schemas.microsoft.com/office/drawing/2014/main" id="{E4BD650E-0A40-18F5-163D-7D7F158C16DC}"/>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8EDCD539-9F0A-0753-3160-3109FCF62208}"/>
              </a:ext>
            </a:extLst>
          </p:cNvPr>
          <p:cNvSpPr>
            <a:spLocks noGrp="1"/>
          </p:cNvSpPr>
          <p:nvPr>
            <p:ph type="sldNum" sz="quarter" idx="4"/>
          </p:nvPr>
        </p:nvSpPr>
        <p:spPr>
          <a:xfrm>
            <a:off x="11298236" y="6332642"/>
            <a:ext cx="91844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49299647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A6726F-5CEA-06DD-A697-04B25A85AAC0}"/>
              </a:ext>
            </a:extLst>
          </p:cNvPr>
          <p:cNvGraphicFramePr>
            <a:graphicFrameLocks noChangeAspect="1"/>
          </p:cNvGraphicFramePr>
          <p:nvPr userDrawn="1">
            <p:custDataLst>
              <p:tags r:id="rId1"/>
            </p:custDataLst>
            <p:extLst>
              <p:ext uri="{D42A27DB-BD31-4B8C-83A1-F6EECF244321}">
                <p14:modId xmlns:p14="http://schemas.microsoft.com/office/powerpoint/2010/main" val="20481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0AA6726F-5CEA-06DD-A697-04B25A85AA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F24BDE54-040B-039F-9FFD-3A6639F9D1BA}"/>
              </a:ext>
            </a:extLst>
          </p:cNvPr>
          <p:cNvGrpSpPr/>
          <p:nvPr userDrawn="1"/>
        </p:nvGrpSpPr>
        <p:grpSpPr>
          <a:xfrm>
            <a:off x="2448599" y="1770555"/>
            <a:ext cx="9789439" cy="3316892"/>
            <a:chOff x="5212093" y="2480103"/>
            <a:chExt cx="19578877" cy="6633784"/>
          </a:xfrm>
        </p:grpSpPr>
        <p:pic>
          <p:nvPicPr>
            <p:cNvPr id="7" name="Graphic 6">
              <a:extLst>
                <a:ext uri="{FF2B5EF4-FFF2-40B4-BE49-F238E27FC236}">
                  <a16:creationId xmlns:a16="http://schemas.microsoft.com/office/drawing/2014/main" id="{9FED40C1-19FF-4991-9F86-6DA7397482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2093" y="2480103"/>
              <a:ext cx="19578877" cy="3316892"/>
            </a:xfrm>
            <a:prstGeom prst="rect">
              <a:avLst/>
            </a:prstGeom>
          </p:spPr>
        </p:pic>
        <p:pic>
          <p:nvPicPr>
            <p:cNvPr id="8" name="Graphic 7">
              <a:extLst>
                <a:ext uri="{FF2B5EF4-FFF2-40B4-BE49-F238E27FC236}">
                  <a16:creationId xmlns:a16="http://schemas.microsoft.com/office/drawing/2014/main" id="{FFC232E7-04E7-8EF3-F356-E88D2FB22A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212093" y="5796995"/>
              <a:ext cx="19578877" cy="3316892"/>
            </a:xfrm>
            <a:prstGeom prst="rect">
              <a:avLst/>
            </a:prstGeom>
          </p:spPr>
        </p:pic>
      </p:grpSp>
      <p:sp>
        <p:nvSpPr>
          <p:cNvPr id="12" name="Rectangle 11">
            <a:extLst>
              <a:ext uri="{FF2B5EF4-FFF2-40B4-BE49-F238E27FC236}">
                <a16:creationId xmlns:a16="http://schemas.microsoft.com/office/drawing/2014/main" id="{DA312167-BFD5-2532-32DF-0B0223C7B215}"/>
              </a:ext>
            </a:extLst>
          </p:cNvPr>
          <p:cNvSpPr/>
          <p:nvPr userDrawn="1"/>
        </p:nvSpPr>
        <p:spPr>
          <a:xfrm>
            <a:off x="0" y="-27384"/>
            <a:ext cx="6120680" cy="6971109"/>
          </a:xfrm>
          <a:prstGeom prst="rect">
            <a:avLst/>
          </a:prstGeom>
          <a:solidFill>
            <a:schemeClr val="accent1"/>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algn="l" rtl="0" latinLnBrk="1" hangingPunct="0"/>
            <a:endParaRPr lang="en-AU" sz="1600" dirty="0">
              <a:solidFill>
                <a:srgbClr val="FFFFFF"/>
              </a:solidFill>
            </a:endParaRPr>
          </a:p>
        </p:txBody>
      </p:sp>
      <p:sp>
        <p:nvSpPr>
          <p:cNvPr id="19" name="Text Placeholder 20">
            <a:extLst>
              <a:ext uri="{FF2B5EF4-FFF2-40B4-BE49-F238E27FC236}">
                <a16:creationId xmlns:a16="http://schemas.microsoft.com/office/drawing/2014/main" id="{7CC8F8D9-9685-4080-86C2-8080534AE1C2}"/>
              </a:ext>
            </a:extLst>
          </p:cNvPr>
          <p:cNvSpPr>
            <a:spLocks noGrp="1"/>
          </p:cNvSpPr>
          <p:nvPr>
            <p:ph type="body" sz="quarter" idx="14" hasCustomPrompt="1"/>
          </p:nvPr>
        </p:nvSpPr>
        <p:spPr>
          <a:xfrm>
            <a:off x="900792" y="1631600"/>
            <a:ext cx="4297845" cy="2603516"/>
          </a:xfrm>
          <a:prstGeom prst="rect">
            <a:avLst/>
          </a:prstGeom>
        </p:spPr>
        <p:txBody>
          <a:bodyPr/>
          <a:lstStyle>
            <a:lvl1pPr rtl="0">
              <a:lnSpc>
                <a:spcPct val="120000"/>
              </a:lnSpc>
              <a:defRPr sz="1400">
                <a:solidFill>
                  <a:schemeClr val="bg1"/>
                </a:solidFill>
              </a:defRPr>
            </a:lvl1pPr>
          </a:lstStyle>
          <a:p>
            <a:pPr lvl="0"/>
            <a:r>
              <a:rPr lang="en-AU"/>
              <a:t>Or you can also use this one if you want to include a little more visual interest to the page. arismollaborpor rem ut expe reic te verfere mporum est taeperm re. Ut volore plis maiostio vercimi nctatas rehent. Itaspe parum dolupic ipsame cus, volut es di arismollaborpor rem ut expe reic te verfere mporum est taeperm. Ut volore plis maiostio vercimi nctatas rehent. Itaspe parum dolupic ipsame cus, volut es di arismollaborpor rem ut expe reic te verfere.</a:t>
            </a:r>
            <a:endParaRPr lang="en-AU" dirty="0"/>
          </a:p>
        </p:txBody>
      </p:sp>
      <p:sp>
        <p:nvSpPr>
          <p:cNvPr id="20" name="Picture Placeholder 39">
            <a:extLst>
              <a:ext uri="{FF2B5EF4-FFF2-40B4-BE49-F238E27FC236}">
                <a16:creationId xmlns:a16="http://schemas.microsoft.com/office/drawing/2014/main" id="{31120E53-78B3-C204-53DA-8FC95F691EA8}"/>
              </a:ext>
            </a:extLst>
          </p:cNvPr>
          <p:cNvSpPr>
            <a:spLocks noGrp="1"/>
          </p:cNvSpPr>
          <p:nvPr>
            <p:ph type="pic" sz="quarter" idx="24"/>
          </p:nvPr>
        </p:nvSpPr>
        <p:spPr>
          <a:xfrm>
            <a:off x="900792" y="4519184"/>
            <a:ext cx="1423988" cy="1423988"/>
          </a:xfrm>
          <a:prstGeom prst="ellipse">
            <a:avLst/>
          </a:prstGeom>
          <a:solidFill>
            <a:schemeClr val="bg1">
              <a:lumMod val="85000"/>
            </a:schemeClr>
          </a:solidFill>
        </p:spPr>
        <p:txBody>
          <a:bodyPr vert="horz" lIns="0" tIns="504000" rIns="0" bIns="0" rtlCol="0" anchor="ctr">
            <a:noAutofit/>
          </a:bodyPr>
          <a:lstStyle>
            <a:lvl1pPr algn="ctr" rtl="0">
              <a:lnSpc>
                <a:spcPct val="100000"/>
              </a:lnSpc>
              <a:defRPr lang="en-AU" sz="1100"/>
            </a:lvl1pPr>
          </a:lstStyle>
          <a:p>
            <a:pPr lvl="0" algn="ctr">
              <a:lnSpc>
                <a:spcPct val="100000"/>
              </a:lnSpc>
            </a:pPr>
            <a:r>
              <a:rPr lang="en-AU"/>
              <a:t>Click icon to add picture</a:t>
            </a:r>
            <a:endParaRPr lang="en-AU" dirty="0"/>
          </a:p>
        </p:txBody>
      </p:sp>
      <p:sp>
        <p:nvSpPr>
          <p:cNvPr id="21" name="Text Placeholder 20">
            <a:extLst>
              <a:ext uri="{FF2B5EF4-FFF2-40B4-BE49-F238E27FC236}">
                <a16:creationId xmlns:a16="http://schemas.microsoft.com/office/drawing/2014/main" id="{A41E5BDE-0D34-F7A0-CD73-E2E4D4E83FF1}"/>
              </a:ext>
            </a:extLst>
          </p:cNvPr>
          <p:cNvSpPr>
            <a:spLocks noGrp="1"/>
          </p:cNvSpPr>
          <p:nvPr>
            <p:ph type="body" sz="quarter" idx="25" hasCustomPrompt="1"/>
          </p:nvPr>
        </p:nvSpPr>
        <p:spPr>
          <a:xfrm>
            <a:off x="2500754" y="5073423"/>
            <a:ext cx="1255067" cy="230927"/>
          </a:xfrm>
          <a:prstGeom prst="rect">
            <a:avLst/>
          </a:prstGeom>
        </p:spPr>
        <p:txBody>
          <a:bodyPr/>
          <a:lstStyle>
            <a:lvl1pPr rtl="0">
              <a:lnSpc>
                <a:spcPct val="120000"/>
              </a:lnSpc>
              <a:defRPr sz="1200" b="1">
                <a:solidFill>
                  <a:schemeClr val="bg1"/>
                </a:solidFill>
              </a:defRPr>
            </a:lvl1pPr>
          </a:lstStyle>
          <a:p>
            <a:pPr lvl="0"/>
            <a:r>
              <a:rPr lang="en-AU"/>
              <a:t>NAME</a:t>
            </a:r>
            <a:endParaRPr lang="en-AU" dirty="0"/>
          </a:p>
        </p:txBody>
      </p:sp>
      <p:sp>
        <p:nvSpPr>
          <p:cNvPr id="22" name="Text Placeholder 20">
            <a:extLst>
              <a:ext uri="{FF2B5EF4-FFF2-40B4-BE49-F238E27FC236}">
                <a16:creationId xmlns:a16="http://schemas.microsoft.com/office/drawing/2014/main" id="{043E8A05-1419-59E5-197F-0E88F6CAE464}"/>
              </a:ext>
            </a:extLst>
          </p:cNvPr>
          <p:cNvSpPr>
            <a:spLocks noGrp="1"/>
          </p:cNvSpPr>
          <p:nvPr>
            <p:ph type="body" sz="quarter" idx="26" hasCustomPrompt="1"/>
          </p:nvPr>
        </p:nvSpPr>
        <p:spPr>
          <a:xfrm>
            <a:off x="2500754" y="5304350"/>
            <a:ext cx="1255067" cy="132087"/>
          </a:xfrm>
          <a:prstGeom prst="rect">
            <a:avLst/>
          </a:prstGeom>
        </p:spPr>
        <p:txBody>
          <a:bodyPr/>
          <a:lstStyle>
            <a:lvl1pPr rtl="0">
              <a:lnSpc>
                <a:spcPct val="120000"/>
              </a:lnSpc>
              <a:defRPr sz="800">
                <a:solidFill>
                  <a:schemeClr val="bg1"/>
                </a:solidFill>
              </a:defRPr>
            </a:lvl1pPr>
          </a:lstStyle>
          <a:p>
            <a:pPr lvl="0"/>
            <a:r>
              <a:rPr lang="en-AU"/>
              <a:t>TITLE</a:t>
            </a:r>
            <a:endParaRPr lang="en-AU" dirty="0"/>
          </a:p>
        </p:txBody>
      </p:sp>
      <p:sp>
        <p:nvSpPr>
          <p:cNvPr id="28" name="Text Placeholder 27">
            <a:extLst>
              <a:ext uri="{FF2B5EF4-FFF2-40B4-BE49-F238E27FC236}">
                <a16:creationId xmlns:a16="http://schemas.microsoft.com/office/drawing/2014/main" id="{12126CE7-924E-D9DB-7B1E-8895BAFF58BE}"/>
              </a:ext>
            </a:extLst>
          </p:cNvPr>
          <p:cNvSpPr>
            <a:spLocks noGrp="1"/>
          </p:cNvSpPr>
          <p:nvPr>
            <p:ph type="body" sz="quarter" idx="27" hasCustomPrompt="1"/>
          </p:nvPr>
        </p:nvSpPr>
        <p:spPr>
          <a:xfrm rot="10800000" flipH="1">
            <a:off x="900792" y="899688"/>
            <a:ext cx="971900" cy="580254"/>
          </a:xfrm>
          <a:prstGeom prst="rect">
            <a:avLst/>
          </a:prstGeom>
          <a:blipFill>
            <a:blip r:embed="rId7">
              <a:extLst>
                <a:ext uri="{96DAC541-7B7A-43D3-8B79-37D633B846F1}">
                  <asvg:svgBlip xmlns:asvg="http://schemas.microsoft.com/office/drawing/2016/SVG/main" r:embed="rId8"/>
                </a:ext>
              </a:extLst>
            </a:blip>
            <a:stretch>
              <a:fillRect/>
            </a:stretch>
          </a:blipFill>
        </p:spPr>
        <p:txBody>
          <a:bodyPr/>
          <a:lstStyle>
            <a:lvl1pPr rtl="0">
              <a:defRPr sz="100">
                <a:noFill/>
              </a:defRPr>
            </a:lvl1pPr>
          </a:lstStyle>
          <a:p>
            <a:pPr lvl="0"/>
            <a:r>
              <a:rPr lang="en-AU"/>
              <a:t>.</a:t>
            </a:r>
            <a:endParaRPr lang="en-AU" dirty="0"/>
          </a:p>
        </p:txBody>
      </p:sp>
      <p:sp>
        <p:nvSpPr>
          <p:cNvPr id="31" name="Text Placeholder 27">
            <a:extLst>
              <a:ext uri="{FF2B5EF4-FFF2-40B4-BE49-F238E27FC236}">
                <a16:creationId xmlns:a16="http://schemas.microsoft.com/office/drawing/2014/main" id="{FDBC914A-C4C3-5D42-242A-B232DFA089E5}"/>
              </a:ext>
            </a:extLst>
          </p:cNvPr>
          <p:cNvSpPr>
            <a:spLocks noGrp="1"/>
          </p:cNvSpPr>
          <p:nvPr>
            <p:ph type="body" sz="quarter" idx="28" hasCustomPrompt="1"/>
          </p:nvPr>
        </p:nvSpPr>
        <p:spPr>
          <a:xfrm flipH="1">
            <a:off x="4226737" y="4560158"/>
            <a:ext cx="971900" cy="580254"/>
          </a:xfrm>
          <a:prstGeom prst="rect">
            <a:avLst/>
          </a:prstGeom>
          <a:blipFill>
            <a:blip r:embed="rId7">
              <a:extLst>
                <a:ext uri="{96DAC541-7B7A-43D3-8B79-37D633B846F1}">
                  <asvg:svgBlip xmlns:asvg="http://schemas.microsoft.com/office/drawing/2016/SVG/main" r:embed="rId8"/>
                </a:ext>
              </a:extLst>
            </a:blip>
            <a:stretch>
              <a:fillRect/>
            </a:stretch>
          </a:blipFill>
        </p:spPr>
        <p:txBody>
          <a:bodyPr/>
          <a:lstStyle>
            <a:lvl1pPr rtl="0">
              <a:defRPr sz="100">
                <a:noFill/>
              </a:defRPr>
            </a:lvl1pPr>
          </a:lstStyle>
          <a:p>
            <a:pPr lvl="0"/>
            <a:r>
              <a:rPr lang="en-AU"/>
              <a:t>.</a:t>
            </a:r>
            <a:endParaRPr lang="en-AU" dirty="0"/>
          </a:p>
        </p:txBody>
      </p:sp>
      <p:sp>
        <p:nvSpPr>
          <p:cNvPr id="5" name="Footer Placeholder 7">
            <a:extLst>
              <a:ext uri="{FF2B5EF4-FFF2-40B4-BE49-F238E27FC236}">
                <a16:creationId xmlns:a16="http://schemas.microsoft.com/office/drawing/2014/main" id="{1A49D53A-8AEC-3ACB-BEF9-EF37A4E7C7E0}"/>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0B0A5F25-9D82-9DB6-7ADC-FDD791D32B9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414886763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3D4A87-4737-E9CD-B23E-323CB0AE8DDE}"/>
              </a:ext>
            </a:extLst>
          </p:cNvPr>
          <p:cNvGraphicFramePr>
            <a:graphicFrameLocks noChangeAspect="1"/>
          </p:cNvGraphicFramePr>
          <p:nvPr userDrawn="1">
            <p:custDataLst>
              <p:tags r:id="rId1"/>
            </p:custDataLst>
            <p:extLst>
              <p:ext uri="{D42A27DB-BD31-4B8C-83A1-F6EECF244321}">
                <p14:modId xmlns:p14="http://schemas.microsoft.com/office/powerpoint/2010/main" val="346890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DE3D4A87-4737-E9CD-B23E-323CB0AE8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1">
            <a:extLst>
              <a:ext uri="{FF2B5EF4-FFF2-40B4-BE49-F238E27FC236}">
                <a16:creationId xmlns:a16="http://schemas.microsoft.com/office/drawing/2014/main" id="{DDA998BF-A44A-3873-BF38-6808A0FFAC9A}"/>
              </a:ext>
            </a:extLst>
          </p:cNvPr>
          <p:cNvSpPr>
            <a:spLocks noGrp="1"/>
          </p:cNvSpPr>
          <p:nvPr>
            <p:ph type="pic" sz="quarter" idx="15" hasCustomPrompt="1"/>
          </p:nvPr>
        </p:nvSpPr>
        <p:spPr>
          <a:xfrm>
            <a:off x="4349750" y="0"/>
            <a:ext cx="7849017" cy="6858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 then Right Click and Send to Back</a:t>
            </a:r>
            <a:endParaRPr lang="en-AU" dirty="0"/>
          </a:p>
        </p:txBody>
      </p:sp>
      <p:sp>
        <p:nvSpPr>
          <p:cNvPr id="7" name="Footer Placeholder 7">
            <a:extLst>
              <a:ext uri="{FF2B5EF4-FFF2-40B4-BE49-F238E27FC236}">
                <a16:creationId xmlns:a16="http://schemas.microsoft.com/office/drawing/2014/main" id="{30A66767-E7BB-34D3-1698-BAD5850680EF}"/>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0" name="Text Placeholder 20">
            <a:extLst>
              <a:ext uri="{FF2B5EF4-FFF2-40B4-BE49-F238E27FC236}">
                <a16:creationId xmlns:a16="http://schemas.microsoft.com/office/drawing/2014/main" id="{AD0F7AA4-CE32-A25D-8D25-9049CB814A98}"/>
              </a:ext>
            </a:extLst>
          </p:cNvPr>
          <p:cNvSpPr>
            <a:spLocks noGrp="1"/>
          </p:cNvSpPr>
          <p:nvPr>
            <p:ph type="body" sz="quarter" idx="25" hasCustomPrompt="1"/>
          </p:nvPr>
        </p:nvSpPr>
        <p:spPr>
          <a:xfrm>
            <a:off x="893763" y="4789643"/>
            <a:ext cx="1255067" cy="230927"/>
          </a:xfrm>
          <a:prstGeom prst="rect">
            <a:avLst/>
          </a:prstGeom>
        </p:spPr>
        <p:txBody>
          <a:bodyPr/>
          <a:lstStyle>
            <a:lvl1pPr rtl="0">
              <a:lnSpc>
                <a:spcPct val="120000"/>
              </a:lnSpc>
              <a:defRPr sz="1200" b="1">
                <a:solidFill>
                  <a:schemeClr val="tx2"/>
                </a:solidFill>
              </a:defRPr>
            </a:lvl1pPr>
          </a:lstStyle>
          <a:p>
            <a:pPr lvl="0"/>
            <a:r>
              <a:rPr lang="en-AU"/>
              <a:t>NAME</a:t>
            </a:r>
            <a:endParaRPr lang="en-AU" dirty="0"/>
          </a:p>
        </p:txBody>
      </p:sp>
      <p:sp>
        <p:nvSpPr>
          <p:cNvPr id="11" name="Text Placeholder 20">
            <a:extLst>
              <a:ext uri="{FF2B5EF4-FFF2-40B4-BE49-F238E27FC236}">
                <a16:creationId xmlns:a16="http://schemas.microsoft.com/office/drawing/2014/main" id="{292C9018-41E6-B9CA-1941-54A4B430CA49}"/>
              </a:ext>
            </a:extLst>
          </p:cNvPr>
          <p:cNvSpPr>
            <a:spLocks noGrp="1"/>
          </p:cNvSpPr>
          <p:nvPr>
            <p:ph type="body" sz="quarter" idx="26" hasCustomPrompt="1"/>
          </p:nvPr>
        </p:nvSpPr>
        <p:spPr>
          <a:xfrm>
            <a:off x="893763" y="5020570"/>
            <a:ext cx="1255067" cy="132087"/>
          </a:xfrm>
          <a:prstGeom prst="rect">
            <a:avLst/>
          </a:prstGeom>
        </p:spPr>
        <p:txBody>
          <a:bodyPr/>
          <a:lstStyle>
            <a:lvl1pPr rtl="0">
              <a:lnSpc>
                <a:spcPct val="120000"/>
              </a:lnSpc>
              <a:defRPr sz="800">
                <a:solidFill>
                  <a:schemeClr val="tx2"/>
                </a:solidFill>
              </a:defRPr>
            </a:lvl1pPr>
          </a:lstStyle>
          <a:p>
            <a:pPr lvl="0"/>
            <a:r>
              <a:rPr lang="en-AU"/>
              <a:t>TITLE</a:t>
            </a:r>
            <a:endParaRPr lang="en-AU" dirty="0"/>
          </a:p>
        </p:txBody>
      </p:sp>
      <p:sp>
        <p:nvSpPr>
          <p:cNvPr id="12" name="Text Placeholder 20">
            <a:extLst>
              <a:ext uri="{FF2B5EF4-FFF2-40B4-BE49-F238E27FC236}">
                <a16:creationId xmlns:a16="http://schemas.microsoft.com/office/drawing/2014/main" id="{71DB033B-8A87-603D-17CD-A5270186EAE3}"/>
              </a:ext>
            </a:extLst>
          </p:cNvPr>
          <p:cNvSpPr>
            <a:spLocks noGrp="1"/>
          </p:cNvSpPr>
          <p:nvPr>
            <p:ph type="body" sz="quarter" idx="14" hasCustomPrompt="1"/>
          </p:nvPr>
        </p:nvSpPr>
        <p:spPr>
          <a:xfrm>
            <a:off x="893763" y="1914611"/>
            <a:ext cx="3101599" cy="2603516"/>
          </a:xfrm>
          <a:prstGeom prst="rect">
            <a:avLst/>
          </a:prstGeom>
        </p:spPr>
        <p:txBody>
          <a:bodyPr/>
          <a:lstStyle>
            <a:lvl1pPr rtl="0">
              <a:lnSpc>
                <a:spcPct val="120000"/>
              </a:lnSpc>
              <a:defRPr sz="1400">
                <a:solidFill>
                  <a:schemeClr val="tx2"/>
                </a:solidFill>
              </a:defRPr>
            </a:lvl1pPr>
          </a:lstStyle>
          <a:p>
            <a:pPr lvl="0"/>
            <a:r>
              <a:rPr lang="en-AU"/>
              <a:t>Ut volore plis maiostio vercimi nctatas rehent. Itaspe parum dolupic ipsame cus, volut es di arismollaborpor rem ut expe reic te verfere mporum est taeperm re. Ut volore plis maiostio vercimi nctatas rehent. Itaspe parum dolupic ipsame cus, volut es di arismollaborpor rem ut expe reic te verfere mporum est taeperm.</a:t>
            </a:r>
            <a:endParaRPr lang="en-AU" dirty="0"/>
          </a:p>
        </p:txBody>
      </p:sp>
      <p:sp>
        <p:nvSpPr>
          <p:cNvPr id="13" name="Text Placeholder 27">
            <a:extLst>
              <a:ext uri="{FF2B5EF4-FFF2-40B4-BE49-F238E27FC236}">
                <a16:creationId xmlns:a16="http://schemas.microsoft.com/office/drawing/2014/main" id="{1D551B8E-C568-639E-0ECF-96D10CEAB48E}"/>
              </a:ext>
            </a:extLst>
          </p:cNvPr>
          <p:cNvSpPr>
            <a:spLocks noGrp="1"/>
          </p:cNvSpPr>
          <p:nvPr>
            <p:ph type="body" sz="quarter" idx="27" hasCustomPrompt="1"/>
          </p:nvPr>
        </p:nvSpPr>
        <p:spPr>
          <a:xfrm rot="10800000" flipH="1">
            <a:off x="893763" y="869391"/>
            <a:ext cx="1348949" cy="805364"/>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rtl="0">
              <a:defRPr sz="100">
                <a:noFill/>
              </a:defRPr>
            </a:lvl1pPr>
          </a:lstStyle>
          <a:p>
            <a:pPr lvl="0"/>
            <a:r>
              <a:rPr lang="en-AU"/>
              <a:t>.</a:t>
            </a:r>
            <a:endParaRPr lang="en-AU" dirty="0"/>
          </a:p>
        </p:txBody>
      </p:sp>
      <p:sp>
        <p:nvSpPr>
          <p:cNvPr id="15" name="Text Placeholder 27">
            <a:extLst>
              <a:ext uri="{FF2B5EF4-FFF2-40B4-BE49-F238E27FC236}">
                <a16:creationId xmlns:a16="http://schemas.microsoft.com/office/drawing/2014/main" id="{847909D6-FEBC-924D-8EFE-96717820D7CF}"/>
              </a:ext>
            </a:extLst>
          </p:cNvPr>
          <p:cNvSpPr>
            <a:spLocks noGrp="1"/>
          </p:cNvSpPr>
          <p:nvPr>
            <p:ph type="body" sz="quarter" idx="28" hasCustomPrompt="1"/>
          </p:nvPr>
        </p:nvSpPr>
        <p:spPr>
          <a:xfrm flipH="1">
            <a:off x="3675275" y="4789643"/>
            <a:ext cx="1348949" cy="805364"/>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rtl="0">
              <a:defRPr sz="100">
                <a:noFill/>
              </a:defRPr>
            </a:lvl1pPr>
          </a:lstStyle>
          <a:p>
            <a:pPr lvl="0"/>
            <a:r>
              <a:rPr lang="en-AU"/>
              <a:t>.</a:t>
            </a:r>
            <a:endParaRPr lang="en-AU" dirty="0"/>
          </a:p>
        </p:txBody>
      </p:sp>
      <p:sp>
        <p:nvSpPr>
          <p:cNvPr id="2" name="Slide Number Placeholder 3">
            <a:extLst>
              <a:ext uri="{FF2B5EF4-FFF2-40B4-BE49-F238E27FC236}">
                <a16:creationId xmlns:a16="http://schemas.microsoft.com/office/drawing/2014/main" id="{4AECF381-002B-6064-180D-059ABE568FE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66839234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Cover">
    <p:bg>
      <p:bgPr>
        <a:solidFill>
          <a:schemeClr val="tx2"/>
        </a:solidFill>
        <a:effectLst/>
      </p:bgPr>
    </p:bg>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81E68B11-5621-A86A-7BC4-C3B5B0FF446E}"/>
              </a:ext>
            </a:extLst>
          </p:cNvPr>
          <p:cNvGraphicFramePr>
            <a:graphicFrameLocks noChangeAspect="1"/>
          </p:cNvGraphicFramePr>
          <p:nvPr userDrawn="1">
            <p:custDataLst>
              <p:tags r:id="rId1"/>
            </p:custDataLst>
            <p:extLst>
              <p:ext uri="{D42A27DB-BD31-4B8C-83A1-F6EECF244321}">
                <p14:modId xmlns:p14="http://schemas.microsoft.com/office/powerpoint/2010/main" val="380393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6" name="think-cell data - do not delete" hidden="1">
                        <a:extLst>
                          <a:ext uri="{FF2B5EF4-FFF2-40B4-BE49-F238E27FC236}">
                            <a16:creationId xmlns:a16="http://schemas.microsoft.com/office/drawing/2014/main" id="{81E68B11-5621-A86A-7BC4-C3B5B0FF44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04935328-5165-4BEA-58F2-DFB9A3D2CC52}"/>
              </a:ext>
            </a:extLst>
          </p:cNvPr>
          <p:cNvSpPr>
            <a:spLocks noGrp="1"/>
          </p:cNvSpPr>
          <p:nvPr>
            <p:ph type="title" hasCustomPrompt="1"/>
          </p:nvPr>
        </p:nvSpPr>
        <p:spPr>
          <a:xfrm>
            <a:off x="893234" y="1323235"/>
            <a:ext cx="4818592" cy="1892036"/>
          </a:xfrm>
          <a:prstGeom prst="rect">
            <a:avLst/>
          </a:prstGeom>
        </p:spPr>
        <p:txBody>
          <a:bodyPr vert="horz" lIns="0" tIns="0" rIns="0" bIns="0" rtlCol="0" anchor="b">
            <a:noAutofit/>
          </a:bodyPr>
          <a:lstStyle>
            <a:lvl1pPr rtl="0">
              <a:lnSpc>
                <a:spcPct val="90000"/>
              </a:lnSpc>
              <a:defRPr lang="en-US" sz="4800" b="1" kern="1200" dirty="0">
                <a:solidFill>
                  <a:schemeClr val="bg1"/>
                </a:solidFill>
                <a:latin typeface="+mj-lt"/>
                <a:ea typeface="Verdana" panose="020B0604030504040204" pitchFamily="34" charset="0"/>
                <a:cs typeface="Verdana" panose="020B0604030504040204" pitchFamily="34" charset="0"/>
              </a:defRPr>
            </a:lvl1pPr>
          </a:lstStyle>
          <a:p>
            <a:r>
              <a:rPr lang="en-AU"/>
              <a:t>Headlines are to be</a:t>
            </a:r>
            <a:br>
              <a:rPr lang="en-AU"/>
            </a:br>
            <a:r>
              <a:rPr lang="en-AU"/>
              <a:t>Title Case</a:t>
            </a:r>
            <a:endParaRPr lang="en-AU" dirty="0"/>
          </a:p>
        </p:txBody>
      </p:sp>
      <p:sp>
        <p:nvSpPr>
          <p:cNvPr id="17" name="Text Placeholder 15">
            <a:extLst>
              <a:ext uri="{FF2B5EF4-FFF2-40B4-BE49-F238E27FC236}">
                <a16:creationId xmlns:a16="http://schemas.microsoft.com/office/drawing/2014/main" id="{58C64552-3CC2-033A-D0B2-40559B174871}"/>
              </a:ext>
            </a:extLst>
          </p:cNvPr>
          <p:cNvSpPr>
            <a:spLocks noGrp="1"/>
          </p:cNvSpPr>
          <p:nvPr>
            <p:ph type="body" sz="quarter" idx="11" hasCustomPrompt="1"/>
          </p:nvPr>
        </p:nvSpPr>
        <p:spPr>
          <a:xfrm>
            <a:off x="893232" y="5341383"/>
            <a:ext cx="4287837" cy="163314"/>
          </a:xfrm>
          <a:prstGeom prst="rect">
            <a:avLst/>
          </a:prstGeom>
        </p:spPr>
        <p:txBody>
          <a:bodyPr anchor="ctr"/>
          <a:lstStyle>
            <a:lvl1pPr rtl="0">
              <a:defRPr b="1" spc="100" baseline="0">
                <a:solidFill>
                  <a:schemeClr val="accent2"/>
                </a:solidFill>
              </a:defRPr>
            </a:lvl1pPr>
            <a:lvl2pPr>
              <a:lnSpc>
                <a:spcPct val="100000"/>
              </a:lnSpc>
              <a:defRPr lang="en-US" sz="1333" b="1" kern="0" spc="4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ATION NAME</a:t>
            </a:r>
            <a:endParaRPr lang="en-AU" dirty="0"/>
          </a:p>
        </p:txBody>
      </p:sp>
      <p:sp>
        <p:nvSpPr>
          <p:cNvPr id="18" name="Text Placeholder 15">
            <a:extLst>
              <a:ext uri="{FF2B5EF4-FFF2-40B4-BE49-F238E27FC236}">
                <a16:creationId xmlns:a16="http://schemas.microsoft.com/office/drawing/2014/main" id="{49723328-F83F-E36F-A23C-C63BA0452F08}"/>
              </a:ext>
            </a:extLst>
          </p:cNvPr>
          <p:cNvSpPr>
            <a:spLocks noGrp="1"/>
          </p:cNvSpPr>
          <p:nvPr>
            <p:ph type="body" sz="quarter" idx="12" hasCustomPrompt="1"/>
          </p:nvPr>
        </p:nvSpPr>
        <p:spPr>
          <a:xfrm>
            <a:off x="893232" y="5572952"/>
            <a:ext cx="4287837" cy="163314"/>
          </a:xfrm>
          <a:prstGeom prst="rect">
            <a:avLst/>
          </a:prstGeom>
        </p:spPr>
        <p:txBody>
          <a:bodyPr anchor="ctr"/>
          <a:lstStyle>
            <a:lvl1pPr rtl="0">
              <a:defRPr b="0" spc="100" baseline="0">
                <a:solidFill>
                  <a:schemeClr val="bg1"/>
                </a:solidFill>
              </a:defRPr>
            </a:lvl1pPr>
            <a:lvl2pPr>
              <a:lnSpc>
                <a:spcPct val="100000"/>
              </a:lnSpc>
              <a:defRPr lang="en-US" sz="1333" b="0" kern="0" spc="4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ER</a:t>
            </a:r>
            <a:endParaRPr lang="en-AU" dirty="0"/>
          </a:p>
        </p:txBody>
      </p:sp>
      <p:sp>
        <p:nvSpPr>
          <p:cNvPr id="19" name="Text Placeholder 15">
            <a:extLst>
              <a:ext uri="{FF2B5EF4-FFF2-40B4-BE49-F238E27FC236}">
                <a16:creationId xmlns:a16="http://schemas.microsoft.com/office/drawing/2014/main" id="{10F85AFF-0099-B004-10E7-3264A4FAD960}"/>
              </a:ext>
            </a:extLst>
          </p:cNvPr>
          <p:cNvSpPr>
            <a:spLocks noGrp="1"/>
          </p:cNvSpPr>
          <p:nvPr>
            <p:ph type="body" sz="quarter" idx="13" hasCustomPrompt="1"/>
          </p:nvPr>
        </p:nvSpPr>
        <p:spPr>
          <a:xfrm>
            <a:off x="893232" y="5804521"/>
            <a:ext cx="4287837" cy="163314"/>
          </a:xfrm>
          <a:prstGeom prst="rect">
            <a:avLst/>
          </a:prstGeom>
        </p:spPr>
        <p:txBody>
          <a:bodyPr anchor="ctr"/>
          <a:lstStyle>
            <a:lvl1pPr rtl="0">
              <a:defRPr sz="1000">
                <a:solidFill>
                  <a:schemeClr val="bg1"/>
                </a:solidFill>
              </a:defRPr>
            </a:lvl1pPr>
            <a:lvl2pPr marL="0" algn="l" defTabSz="292093" rtl="0" eaLnBrk="1" latinLnBrk="0" hangingPunct="1">
              <a:lnSpc>
                <a:spcPct val="90000"/>
              </a:lnSpc>
              <a:defRPr lang="en-US" sz="1000" b="0" kern="0" spc="0" dirty="0" smtClean="0">
                <a:solidFill>
                  <a:schemeClr val="bg1"/>
                </a:solidFill>
                <a:latin typeface="Verdana" panose="020B0604030504040204" pitchFamily="34" charset="0"/>
                <a:ea typeface="Verdana" panose="020B0604030504040204" pitchFamily="34" charset="0"/>
                <a:cs typeface="Verdana" panose="020B0604030504040204" pitchFamily="34" charset="0"/>
                <a:sym typeface="TeX Gyre Adventor"/>
              </a:defRPr>
            </a:lvl2pPr>
            <a:lvl3pPr marL="0" indent="0">
              <a:buNone/>
              <a:defRPr/>
            </a:lvl3pPr>
          </a:lstStyle>
          <a:p>
            <a:pPr lvl="0"/>
            <a:r>
              <a:rPr lang="en-AU"/>
              <a:t>DD MONTH YYYY</a:t>
            </a:r>
            <a:endParaRPr lang="en-AU" dirty="0"/>
          </a:p>
        </p:txBody>
      </p:sp>
      <p:sp>
        <p:nvSpPr>
          <p:cNvPr id="21" name="Text Placeholder 20">
            <a:extLst>
              <a:ext uri="{FF2B5EF4-FFF2-40B4-BE49-F238E27FC236}">
                <a16:creationId xmlns:a16="http://schemas.microsoft.com/office/drawing/2014/main" id="{4FCEAD4B-3D9E-1FE1-F7EA-4DF4F676AA75}"/>
              </a:ext>
            </a:extLst>
          </p:cNvPr>
          <p:cNvSpPr>
            <a:spLocks noGrp="1"/>
          </p:cNvSpPr>
          <p:nvPr>
            <p:ph type="body" sz="quarter" idx="14" hasCustomPrompt="1"/>
          </p:nvPr>
        </p:nvSpPr>
        <p:spPr>
          <a:xfrm>
            <a:off x="893232" y="3800475"/>
            <a:ext cx="4287837" cy="1341438"/>
          </a:xfrm>
          <a:prstGeom prst="rect">
            <a:avLst/>
          </a:prstGeom>
        </p:spPr>
        <p:txBody>
          <a:bodyPr>
            <a:normAutofit/>
          </a:bodyPr>
          <a:lstStyle>
            <a:lvl1pPr rtl="0">
              <a:lnSpc>
                <a:spcPct val="100000"/>
              </a:lnSpc>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000">
                <a:solidFill>
                  <a:schemeClr val="bg1"/>
                </a:solidFill>
              </a:defRPr>
            </a:lvl5pPr>
          </a:lstStyle>
          <a:p>
            <a:pPr lvl="0"/>
            <a:r>
              <a:rPr lang="en-AU"/>
              <a:t>Subtitle</a:t>
            </a:r>
            <a:endParaRPr lang="en-AU" dirty="0"/>
          </a:p>
        </p:txBody>
      </p:sp>
      <p:pic>
        <p:nvPicPr>
          <p:cNvPr id="13" name="Graphic 12">
            <a:extLst>
              <a:ext uri="{FF2B5EF4-FFF2-40B4-BE49-F238E27FC236}">
                <a16:creationId xmlns:a16="http://schemas.microsoft.com/office/drawing/2014/main" id="{56D1D554-1376-6AD2-A976-3E2F56BF950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16131" r="14622"/>
          <a:stretch>
            <a:fillRect/>
          </a:stretch>
        </p:blipFill>
        <p:spPr>
          <a:xfrm rot="1381265">
            <a:off x="6393380" y="-771356"/>
            <a:ext cx="6509854" cy="7153151"/>
          </a:xfrm>
          <a:custGeom>
            <a:avLst/>
            <a:gdLst>
              <a:gd name="connsiteX0" fmla="*/ 0 w 6509854"/>
              <a:gd name="connsiteY0" fmla="*/ 1911670 h 7153151"/>
              <a:gd name="connsiteX1" fmla="*/ 4499007 w 6509854"/>
              <a:gd name="connsiteY1" fmla="*/ 0 h 7153151"/>
              <a:gd name="connsiteX2" fmla="*/ 6509854 w 6509854"/>
              <a:gd name="connsiteY2" fmla="*/ 4732417 h 7153151"/>
              <a:gd name="connsiteX3" fmla="*/ 812791 w 6509854"/>
              <a:gd name="connsiteY3" fmla="*/ 7153151 h 7153151"/>
              <a:gd name="connsiteX4" fmla="*/ 0 w 6509854"/>
              <a:gd name="connsiteY4" fmla="*/ 7153151 h 715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9854" h="7153151">
                <a:moveTo>
                  <a:pt x="0" y="1911670"/>
                </a:moveTo>
                <a:lnTo>
                  <a:pt x="4499007" y="0"/>
                </a:lnTo>
                <a:lnTo>
                  <a:pt x="6509854" y="4732417"/>
                </a:lnTo>
                <a:lnTo>
                  <a:pt x="812791" y="7153151"/>
                </a:lnTo>
                <a:lnTo>
                  <a:pt x="0" y="7153151"/>
                </a:lnTo>
                <a:close/>
              </a:path>
            </a:pathLst>
          </a:custGeom>
        </p:spPr>
      </p:pic>
      <p:sp>
        <p:nvSpPr>
          <p:cNvPr id="20" name="Text Placeholder 23">
            <a:extLst>
              <a:ext uri="{FF2B5EF4-FFF2-40B4-BE49-F238E27FC236}">
                <a16:creationId xmlns:a16="http://schemas.microsoft.com/office/drawing/2014/main" id="{86467467-6BC9-60F4-6891-3F8DB889CA4F}"/>
              </a:ext>
            </a:extLst>
          </p:cNvPr>
          <p:cNvSpPr>
            <a:spLocks noGrp="1"/>
          </p:cNvSpPr>
          <p:nvPr>
            <p:ph type="body" sz="quarter" idx="15" hasCustomPrompt="1"/>
          </p:nvPr>
        </p:nvSpPr>
        <p:spPr>
          <a:xfrm>
            <a:off x="893233" y="3429000"/>
            <a:ext cx="1009988" cy="129745"/>
          </a:xfrm>
          <a:prstGeom prst="rect">
            <a:avLst/>
          </a:prstGeom>
          <a:solidFill>
            <a:schemeClr val="accent2"/>
          </a:solidFill>
        </p:spPr>
        <p:txBody>
          <a:bodyPr/>
          <a:lstStyle>
            <a:lvl1pPr rtl="0">
              <a:defRPr sz="800">
                <a:noFill/>
              </a:defRPr>
            </a:lvl1pPr>
          </a:lstStyle>
          <a:p>
            <a:pPr lvl="0"/>
            <a:r>
              <a:rPr lang="en-AU"/>
              <a:t>.</a:t>
            </a:r>
            <a:endParaRPr lang="en-AU" dirty="0"/>
          </a:p>
        </p:txBody>
      </p:sp>
      <p:grpSp>
        <p:nvGrpSpPr>
          <p:cNvPr id="3" name="Group 2">
            <a:extLst>
              <a:ext uri="{FF2B5EF4-FFF2-40B4-BE49-F238E27FC236}">
                <a16:creationId xmlns:a16="http://schemas.microsoft.com/office/drawing/2014/main" id="{57CD667C-46CE-375E-75AC-3BC9F417A05D}"/>
              </a:ext>
            </a:extLst>
          </p:cNvPr>
          <p:cNvGrpSpPr/>
          <p:nvPr userDrawn="1"/>
        </p:nvGrpSpPr>
        <p:grpSpPr>
          <a:xfrm>
            <a:off x="8837890" y="5392616"/>
            <a:ext cx="2467878" cy="576705"/>
            <a:chOff x="3230032" y="2757677"/>
            <a:chExt cx="5712037" cy="1334815"/>
          </a:xfrm>
        </p:grpSpPr>
        <p:grpSp>
          <p:nvGrpSpPr>
            <p:cNvPr id="4" name="Graphic 3">
              <a:extLst>
                <a:ext uri="{FF2B5EF4-FFF2-40B4-BE49-F238E27FC236}">
                  <a16:creationId xmlns:a16="http://schemas.microsoft.com/office/drawing/2014/main" id="{2EE78FB1-1724-763D-8A04-BB909E3763EF}"/>
                </a:ext>
              </a:extLst>
            </p:cNvPr>
            <p:cNvGrpSpPr/>
            <p:nvPr/>
          </p:nvGrpSpPr>
          <p:grpSpPr>
            <a:xfrm>
              <a:off x="4764309" y="2832258"/>
              <a:ext cx="4177760" cy="1188624"/>
              <a:chOff x="4764309" y="2832258"/>
              <a:chExt cx="4177760" cy="1188624"/>
            </a:xfrm>
            <a:solidFill>
              <a:srgbClr val="FFFFFF"/>
            </a:solidFill>
          </p:grpSpPr>
          <p:sp>
            <p:nvSpPr>
              <p:cNvPr id="50" name="Freeform: Shape 49">
                <a:extLst>
                  <a:ext uri="{FF2B5EF4-FFF2-40B4-BE49-F238E27FC236}">
                    <a16:creationId xmlns:a16="http://schemas.microsoft.com/office/drawing/2014/main" id="{144454EE-82F7-0A79-0CB5-CF1C8FE937E6}"/>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FFFFFF"/>
              </a:solidFill>
              <a:ln w="9525" cap="flat">
                <a:noFill/>
                <a:prstDash val="solid"/>
                <a:miter/>
              </a:ln>
            </p:spPr>
            <p:txBody>
              <a:bodyPr rtlCol="0" anchor="ctr"/>
              <a:lstStyle/>
              <a:p>
                <a:pPr rtl="0"/>
                <a:endParaRPr lang="en-AU" dirty="0"/>
              </a:p>
            </p:txBody>
          </p:sp>
          <p:sp>
            <p:nvSpPr>
              <p:cNvPr id="51" name="Freeform: Shape 50">
                <a:extLst>
                  <a:ext uri="{FF2B5EF4-FFF2-40B4-BE49-F238E27FC236}">
                    <a16:creationId xmlns:a16="http://schemas.microsoft.com/office/drawing/2014/main" id="{8C091BD2-5FB0-D816-7964-C671D1EE660B}"/>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FFFFFF"/>
              </a:solidFill>
              <a:ln w="9525" cap="flat">
                <a:noFill/>
                <a:prstDash val="solid"/>
                <a:miter/>
              </a:ln>
            </p:spPr>
            <p:txBody>
              <a:bodyPr rtlCol="0" anchor="ctr"/>
              <a:lstStyle/>
              <a:p>
                <a:pPr rtl="0"/>
                <a:endParaRPr lang="en-AU" dirty="0"/>
              </a:p>
            </p:txBody>
          </p:sp>
          <p:sp>
            <p:nvSpPr>
              <p:cNvPr id="52" name="Freeform: Shape 51">
                <a:extLst>
                  <a:ext uri="{FF2B5EF4-FFF2-40B4-BE49-F238E27FC236}">
                    <a16:creationId xmlns:a16="http://schemas.microsoft.com/office/drawing/2014/main" id="{77338D1E-3C7C-9231-2972-F8AC07B4CE90}"/>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FFFFFF"/>
              </a:solidFill>
              <a:ln w="9525" cap="flat">
                <a:noFill/>
                <a:prstDash val="solid"/>
                <a:miter/>
              </a:ln>
            </p:spPr>
            <p:txBody>
              <a:bodyPr rtlCol="0" anchor="ctr"/>
              <a:lstStyle/>
              <a:p>
                <a:pPr rtl="0"/>
                <a:endParaRPr lang="en-AU" dirty="0"/>
              </a:p>
            </p:txBody>
          </p:sp>
          <p:sp>
            <p:nvSpPr>
              <p:cNvPr id="53" name="Freeform: Shape 52">
                <a:extLst>
                  <a:ext uri="{FF2B5EF4-FFF2-40B4-BE49-F238E27FC236}">
                    <a16:creationId xmlns:a16="http://schemas.microsoft.com/office/drawing/2014/main" id="{544F3E84-68FE-112D-A978-25DBA5252A29}"/>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FFFFFF"/>
              </a:solidFill>
              <a:ln w="9525" cap="flat">
                <a:noFill/>
                <a:prstDash val="solid"/>
                <a:miter/>
              </a:ln>
            </p:spPr>
            <p:txBody>
              <a:bodyPr rtlCol="0" anchor="ctr"/>
              <a:lstStyle/>
              <a:p>
                <a:pPr rtl="0"/>
                <a:endParaRPr lang="en-AU" dirty="0"/>
              </a:p>
            </p:txBody>
          </p:sp>
          <p:sp>
            <p:nvSpPr>
              <p:cNvPr id="54" name="Freeform: Shape 53">
                <a:extLst>
                  <a:ext uri="{FF2B5EF4-FFF2-40B4-BE49-F238E27FC236}">
                    <a16:creationId xmlns:a16="http://schemas.microsoft.com/office/drawing/2014/main" id="{18F30F52-9576-07BC-9C19-88C21DF9CFCA}"/>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FFFFFF"/>
              </a:solidFill>
              <a:ln w="9525"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780A7D81-587C-8BC2-F26B-620ED39B8A23}"/>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FFFFFF"/>
              </a:solidFill>
              <a:ln w="9525" cap="flat">
                <a:noFill/>
                <a:prstDash val="solid"/>
                <a:miter/>
              </a:ln>
            </p:spPr>
            <p:txBody>
              <a:bodyPr rtlCol="0" anchor="ctr"/>
              <a:lstStyle/>
              <a:p>
                <a:pPr rtl="0"/>
                <a:endParaRPr lang="en-AU" dirty="0"/>
              </a:p>
            </p:txBody>
          </p:sp>
        </p:grpSp>
        <p:grpSp>
          <p:nvGrpSpPr>
            <p:cNvPr id="5" name="Graphic 3">
              <a:extLst>
                <a:ext uri="{FF2B5EF4-FFF2-40B4-BE49-F238E27FC236}">
                  <a16:creationId xmlns:a16="http://schemas.microsoft.com/office/drawing/2014/main" id="{F857FC7B-3E4C-5014-8FA4-B031117D482F}"/>
                </a:ext>
              </a:extLst>
            </p:cNvPr>
            <p:cNvGrpSpPr/>
            <p:nvPr/>
          </p:nvGrpSpPr>
          <p:grpSpPr>
            <a:xfrm>
              <a:off x="3230032" y="2757677"/>
              <a:ext cx="1336243" cy="1334815"/>
              <a:chOff x="3230032" y="2757677"/>
              <a:chExt cx="1336243" cy="1334815"/>
            </a:xfrm>
          </p:grpSpPr>
          <p:sp>
            <p:nvSpPr>
              <p:cNvPr id="41" name="Freeform: Shape 40">
                <a:extLst>
                  <a:ext uri="{FF2B5EF4-FFF2-40B4-BE49-F238E27FC236}">
                    <a16:creationId xmlns:a16="http://schemas.microsoft.com/office/drawing/2014/main" id="{3CAA8B08-E6FD-A0AA-5695-7046D139209D}"/>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42" name="Freeform: Shape 41">
                <a:extLst>
                  <a:ext uri="{FF2B5EF4-FFF2-40B4-BE49-F238E27FC236}">
                    <a16:creationId xmlns:a16="http://schemas.microsoft.com/office/drawing/2014/main" id="{92E25552-FD15-576D-EA9B-24E8BA58CC58}"/>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43" name="Freeform: Shape 42">
                <a:extLst>
                  <a:ext uri="{FF2B5EF4-FFF2-40B4-BE49-F238E27FC236}">
                    <a16:creationId xmlns:a16="http://schemas.microsoft.com/office/drawing/2014/main" id="{F47EC620-3525-38C1-6A07-08AC8A739AC9}"/>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44" name="Freeform: Shape 43">
                <a:extLst>
                  <a:ext uri="{FF2B5EF4-FFF2-40B4-BE49-F238E27FC236}">
                    <a16:creationId xmlns:a16="http://schemas.microsoft.com/office/drawing/2014/main" id="{01819518-391F-E762-99B2-C0EFF75DAD41}"/>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45" name="Freeform: Shape 44">
                <a:extLst>
                  <a:ext uri="{FF2B5EF4-FFF2-40B4-BE49-F238E27FC236}">
                    <a16:creationId xmlns:a16="http://schemas.microsoft.com/office/drawing/2014/main" id="{6EA4ACC2-7477-D803-1AA6-35906FED63D1}"/>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46" name="Freeform: Shape 45">
                <a:extLst>
                  <a:ext uri="{FF2B5EF4-FFF2-40B4-BE49-F238E27FC236}">
                    <a16:creationId xmlns:a16="http://schemas.microsoft.com/office/drawing/2014/main" id="{8484CFFC-B393-03D9-1FE5-F6DEB4C9DD88}"/>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47" name="Freeform: Shape 46">
                <a:extLst>
                  <a:ext uri="{FF2B5EF4-FFF2-40B4-BE49-F238E27FC236}">
                    <a16:creationId xmlns:a16="http://schemas.microsoft.com/office/drawing/2014/main" id="{5C9C66C5-C3DE-DF85-FBF4-A9BF796BACE1}"/>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48" name="Freeform: Shape 47">
                <a:extLst>
                  <a:ext uri="{FF2B5EF4-FFF2-40B4-BE49-F238E27FC236}">
                    <a16:creationId xmlns:a16="http://schemas.microsoft.com/office/drawing/2014/main" id="{864DDB72-8669-6988-B0EC-9DBE80E13B0B}"/>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49" name="Freeform: Shape 48">
                <a:extLst>
                  <a:ext uri="{FF2B5EF4-FFF2-40B4-BE49-F238E27FC236}">
                    <a16:creationId xmlns:a16="http://schemas.microsoft.com/office/drawing/2014/main" id="{67D38A52-33FA-3672-37F0-BBDE3FC7657E}"/>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6" name="Graphic 3">
              <a:extLst>
                <a:ext uri="{FF2B5EF4-FFF2-40B4-BE49-F238E27FC236}">
                  <a16:creationId xmlns:a16="http://schemas.microsoft.com/office/drawing/2014/main" id="{D5EFE07F-9895-D988-9791-4026550FE14A}"/>
                </a:ext>
              </a:extLst>
            </p:cNvPr>
            <p:cNvGrpSpPr/>
            <p:nvPr/>
          </p:nvGrpSpPr>
          <p:grpSpPr>
            <a:xfrm>
              <a:off x="4765071" y="3903725"/>
              <a:ext cx="3369468" cy="119443"/>
              <a:chOff x="4765071" y="3903725"/>
              <a:chExt cx="3369468" cy="119443"/>
            </a:xfrm>
            <a:solidFill>
              <a:srgbClr val="FFFFFF"/>
            </a:solidFill>
          </p:grpSpPr>
          <p:sp>
            <p:nvSpPr>
              <p:cNvPr id="7" name="Freeform: Shape 6">
                <a:extLst>
                  <a:ext uri="{FF2B5EF4-FFF2-40B4-BE49-F238E27FC236}">
                    <a16:creationId xmlns:a16="http://schemas.microsoft.com/office/drawing/2014/main" id="{97D5B6EC-D471-5379-95AF-AAE8B767F710}"/>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FFFFFF"/>
              </a:solidFill>
              <a:ln w="9525" cap="flat">
                <a:noFill/>
                <a:prstDash val="solid"/>
                <a:miter/>
              </a:ln>
            </p:spPr>
            <p:txBody>
              <a:bodyPr rtlCol="0" anchor="ctr"/>
              <a:lstStyle/>
              <a:p>
                <a:pPr rtl="0"/>
                <a:endParaRPr lang="en-AU" dirty="0"/>
              </a:p>
            </p:txBody>
          </p:sp>
          <p:sp>
            <p:nvSpPr>
              <p:cNvPr id="8" name="Freeform: Shape 7">
                <a:extLst>
                  <a:ext uri="{FF2B5EF4-FFF2-40B4-BE49-F238E27FC236}">
                    <a16:creationId xmlns:a16="http://schemas.microsoft.com/office/drawing/2014/main" id="{DDB9D466-B687-0F33-0951-79117926A9BB}"/>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9" name="Freeform: Shape 8">
                <a:extLst>
                  <a:ext uri="{FF2B5EF4-FFF2-40B4-BE49-F238E27FC236}">
                    <a16:creationId xmlns:a16="http://schemas.microsoft.com/office/drawing/2014/main" id="{36BD6197-015B-FA03-81AC-3F2F47E51216}"/>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10" name="Freeform: Shape 9">
                <a:extLst>
                  <a:ext uri="{FF2B5EF4-FFF2-40B4-BE49-F238E27FC236}">
                    <a16:creationId xmlns:a16="http://schemas.microsoft.com/office/drawing/2014/main" id="{5EEB2EF8-DCCE-1153-88CD-D49C8E08E4CB}"/>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11" name="Freeform: Shape 10">
                <a:extLst>
                  <a:ext uri="{FF2B5EF4-FFF2-40B4-BE49-F238E27FC236}">
                    <a16:creationId xmlns:a16="http://schemas.microsoft.com/office/drawing/2014/main" id="{0526D0AE-1673-6275-F6C3-3BA2C949A45D}"/>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FFFFFF"/>
              </a:solidFill>
              <a:ln w="9525" cap="flat">
                <a:noFill/>
                <a:prstDash val="solid"/>
                <a:miter/>
              </a:ln>
            </p:spPr>
            <p:txBody>
              <a:bodyPr rtlCol="0" anchor="ctr"/>
              <a:lstStyle/>
              <a:p>
                <a:pPr rtl="0"/>
                <a:endParaRPr lang="en-AU" dirty="0"/>
              </a:p>
            </p:txBody>
          </p:sp>
          <p:sp>
            <p:nvSpPr>
              <p:cNvPr id="12" name="Freeform: Shape 11">
                <a:extLst>
                  <a:ext uri="{FF2B5EF4-FFF2-40B4-BE49-F238E27FC236}">
                    <a16:creationId xmlns:a16="http://schemas.microsoft.com/office/drawing/2014/main" id="{43368ADF-DA03-3BDE-EB40-1E4A9D508FA7}"/>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15" name="Freeform: Shape 14">
                <a:extLst>
                  <a:ext uri="{FF2B5EF4-FFF2-40B4-BE49-F238E27FC236}">
                    <a16:creationId xmlns:a16="http://schemas.microsoft.com/office/drawing/2014/main" id="{3F432167-288B-EEDC-E20B-3E424DDDB48B}"/>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FFFFFF"/>
              </a:solidFill>
              <a:ln w="9525" cap="flat">
                <a:noFill/>
                <a:prstDash val="solid"/>
                <a:miter/>
              </a:ln>
            </p:spPr>
            <p:txBody>
              <a:bodyPr rtlCol="0" anchor="ctr"/>
              <a:lstStyle/>
              <a:p>
                <a:pPr rtl="0"/>
                <a:endParaRPr lang="en-AU" dirty="0"/>
              </a:p>
            </p:txBody>
          </p:sp>
          <p:sp>
            <p:nvSpPr>
              <p:cNvPr id="16" name="Freeform: Shape 15">
                <a:extLst>
                  <a:ext uri="{FF2B5EF4-FFF2-40B4-BE49-F238E27FC236}">
                    <a16:creationId xmlns:a16="http://schemas.microsoft.com/office/drawing/2014/main" id="{5743A059-C943-1940-31A4-A8F9CD15467C}"/>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22" name="Freeform: Shape 21">
                <a:extLst>
                  <a:ext uri="{FF2B5EF4-FFF2-40B4-BE49-F238E27FC236}">
                    <a16:creationId xmlns:a16="http://schemas.microsoft.com/office/drawing/2014/main" id="{FDE21FBD-FD2F-1170-A302-F50B33E3C5AA}"/>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23" name="Freeform: Shape 22">
                <a:extLst>
                  <a:ext uri="{FF2B5EF4-FFF2-40B4-BE49-F238E27FC236}">
                    <a16:creationId xmlns:a16="http://schemas.microsoft.com/office/drawing/2014/main" id="{7A53D91C-8608-8331-0EC1-9090885F6486}"/>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24" name="Freeform: Shape 23">
                <a:extLst>
                  <a:ext uri="{FF2B5EF4-FFF2-40B4-BE49-F238E27FC236}">
                    <a16:creationId xmlns:a16="http://schemas.microsoft.com/office/drawing/2014/main" id="{6318CE33-44EA-2E40-52A1-9830E9A00A7C}"/>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25" name="Freeform: Shape 24">
                <a:extLst>
                  <a:ext uri="{FF2B5EF4-FFF2-40B4-BE49-F238E27FC236}">
                    <a16:creationId xmlns:a16="http://schemas.microsoft.com/office/drawing/2014/main" id="{C0543327-283B-4A1D-7B29-D59A8CCC6F45}"/>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FFFFFF"/>
              </a:solidFill>
              <a:ln w="9525" cap="flat">
                <a:noFill/>
                <a:prstDash val="solid"/>
                <a:miter/>
              </a:ln>
            </p:spPr>
            <p:txBody>
              <a:bodyPr rtlCol="0" anchor="ctr"/>
              <a:lstStyle/>
              <a:p>
                <a:pPr rtl="0"/>
                <a:endParaRPr lang="en-AU" dirty="0"/>
              </a:p>
            </p:txBody>
          </p:sp>
          <p:sp>
            <p:nvSpPr>
              <p:cNvPr id="26" name="Freeform: Shape 25">
                <a:extLst>
                  <a:ext uri="{FF2B5EF4-FFF2-40B4-BE49-F238E27FC236}">
                    <a16:creationId xmlns:a16="http://schemas.microsoft.com/office/drawing/2014/main" id="{0012F419-8216-C362-0CC4-A1D40AF4781E}"/>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27" name="Freeform: Shape 26">
                <a:extLst>
                  <a:ext uri="{FF2B5EF4-FFF2-40B4-BE49-F238E27FC236}">
                    <a16:creationId xmlns:a16="http://schemas.microsoft.com/office/drawing/2014/main" id="{A03377E5-49A7-6C01-1816-782C12FC79C1}"/>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FFFFFF"/>
              </a:solidFill>
              <a:ln w="9525" cap="flat">
                <a:noFill/>
                <a:prstDash val="solid"/>
                <a:miter/>
              </a:ln>
            </p:spPr>
            <p:txBody>
              <a:bodyPr rtlCol="0" anchor="ctr"/>
              <a:lstStyle/>
              <a:p>
                <a:pPr rtl="0"/>
                <a:endParaRPr lang="en-AU" dirty="0"/>
              </a:p>
            </p:txBody>
          </p:sp>
          <p:sp>
            <p:nvSpPr>
              <p:cNvPr id="28" name="Freeform: Shape 27">
                <a:extLst>
                  <a:ext uri="{FF2B5EF4-FFF2-40B4-BE49-F238E27FC236}">
                    <a16:creationId xmlns:a16="http://schemas.microsoft.com/office/drawing/2014/main" id="{BE9F055F-AB28-B84E-098A-E9F1D0655BF0}"/>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29" name="Freeform: Shape 28">
                <a:extLst>
                  <a:ext uri="{FF2B5EF4-FFF2-40B4-BE49-F238E27FC236}">
                    <a16:creationId xmlns:a16="http://schemas.microsoft.com/office/drawing/2014/main" id="{C94BBB24-E80E-6E4F-EDD8-DEE25A064E5F}"/>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30" name="Freeform: Shape 29">
                <a:extLst>
                  <a:ext uri="{FF2B5EF4-FFF2-40B4-BE49-F238E27FC236}">
                    <a16:creationId xmlns:a16="http://schemas.microsoft.com/office/drawing/2014/main" id="{33B32092-F183-19E7-D5D5-4FA19BC1E41A}"/>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31" name="Freeform: Shape 30">
                <a:extLst>
                  <a:ext uri="{FF2B5EF4-FFF2-40B4-BE49-F238E27FC236}">
                    <a16:creationId xmlns:a16="http://schemas.microsoft.com/office/drawing/2014/main" id="{0AE10CB7-F517-C862-8B80-6825DA00EECD}"/>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FFFFFF"/>
              </a:solidFill>
              <a:ln w="9525" cap="flat">
                <a:noFill/>
                <a:prstDash val="solid"/>
                <a:miter/>
              </a:ln>
            </p:spPr>
            <p:txBody>
              <a:bodyPr rtlCol="0" anchor="ctr"/>
              <a:lstStyle/>
              <a:p>
                <a:pPr rtl="0"/>
                <a:endParaRPr lang="en-AU" dirty="0"/>
              </a:p>
            </p:txBody>
          </p:sp>
          <p:sp>
            <p:nvSpPr>
              <p:cNvPr id="32" name="Freeform: Shape 31">
                <a:extLst>
                  <a:ext uri="{FF2B5EF4-FFF2-40B4-BE49-F238E27FC236}">
                    <a16:creationId xmlns:a16="http://schemas.microsoft.com/office/drawing/2014/main" id="{FED9F1A8-28EB-714E-8D78-33545F1D31F2}"/>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FFFFFF"/>
              </a:solidFill>
              <a:ln w="9525" cap="flat">
                <a:noFill/>
                <a:prstDash val="solid"/>
                <a:miter/>
              </a:ln>
            </p:spPr>
            <p:txBody>
              <a:bodyPr rtlCol="0" anchor="ctr"/>
              <a:lstStyle/>
              <a:p>
                <a:pPr rtl="0"/>
                <a:endParaRPr lang="en-AU" dirty="0"/>
              </a:p>
            </p:txBody>
          </p:sp>
          <p:sp>
            <p:nvSpPr>
              <p:cNvPr id="33" name="Freeform: Shape 32">
                <a:extLst>
                  <a:ext uri="{FF2B5EF4-FFF2-40B4-BE49-F238E27FC236}">
                    <a16:creationId xmlns:a16="http://schemas.microsoft.com/office/drawing/2014/main" id="{7FA8208B-3265-5088-6442-055913CCB1DE}"/>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34" name="Freeform: Shape 33">
                <a:extLst>
                  <a:ext uri="{FF2B5EF4-FFF2-40B4-BE49-F238E27FC236}">
                    <a16:creationId xmlns:a16="http://schemas.microsoft.com/office/drawing/2014/main" id="{AF207F04-9811-D671-40EA-84D92650ED28}"/>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35" name="Freeform: Shape 34">
                <a:extLst>
                  <a:ext uri="{FF2B5EF4-FFF2-40B4-BE49-F238E27FC236}">
                    <a16:creationId xmlns:a16="http://schemas.microsoft.com/office/drawing/2014/main" id="{87D42387-84DB-2956-9B82-9C1C7DE54D5A}"/>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FFFFFF"/>
              </a:solidFill>
              <a:ln w="9525" cap="flat">
                <a:noFill/>
                <a:prstDash val="solid"/>
                <a:miter/>
              </a:ln>
            </p:spPr>
            <p:txBody>
              <a:bodyPr rtlCol="0" anchor="ctr"/>
              <a:lstStyle/>
              <a:p>
                <a:pPr rtl="0"/>
                <a:endParaRPr lang="en-AU" dirty="0"/>
              </a:p>
            </p:txBody>
          </p:sp>
          <p:sp>
            <p:nvSpPr>
              <p:cNvPr id="36" name="Freeform: Shape 35">
                <a:extLst>
                  <a:ext uri="{FF2B5EF4-FFF2-40B4-BE49-F238E27FC236}">
                    <a16:creationId xmlns:a16="http://schemas.microsoft.com/office/drawing/2014/main" id="{11329F96-1270-D4E6-E760-CB97BEFE4065}"/>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FFFFFF"/>
              </a:solidFill>
              <a:ln w="9525" cap="flat">
                <a:noFill/>
                <a:prstDash val="solid"/>
                <a:miter/>
              </a:ln>
            </p:spPr>
            <p:txBody>
              <a:bodyPr rtlCol="0" anchor="ctr"/>
              <a:lstStyle/>
              <a:p>
                <a:pPr rtl="0"/>
                <a:endParaRPr lang="en-AU" dirty="0"/>
              </a:p>
            </p:txBody>
          </p:sp>
          <p:sp>
            <p:nvSpPr>
              <p:cNvPr id="37" name="Freeform: Shape 36">
                <a:extLst>
                  <a:ext uri="{FF2B5EF4-FFF2-40B4-BE49-F238E27FC236}">
                    <a16:creationId xmlns:a16="http://schemas.microsoft.com/office/drawing/2014/main" id="{729E27E8-0F51-2ED1-402E-6F518BFEDBE7}"/>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38" name="Freeform: Shape 37">
                <a:extLst>
                  <a:ext uri="{FF2B5EF4-FFF2-40B4-BE49-F238E27FC236}">
                    <a16:creationId xmlns:a16="http://schemas.microsoft.com/office/drawing/2014/main" id="{B1BD6A8B-A93F-0E20-94CD-D925BAD1649E}"/>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39" name="Freeform: Shape 38">
                <a:extLst>
                  <a:ext uri="{FF2B5EF4-FFF2-40B4-BE49-F238E27FC236}">
                    <a16:creationId xmlns:a16="http://schemas.microsoft.com/office/drawing/2014/main" id="{C453D192-EAA9-004E-49EF-328EA23DE6B4}"/>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40" name="Freeform: Shape 39">
                <a:extLst>
                  <a:ext uri="{FF2B5EF4-FFF2-40B4-BE49-F238E27FC236}">
                    <a16:creationId xmlns:a16="http://schemas.microsoft.com/office/drawing/2014/main" id="{5E5A0A33-E014-7BC5-1899-F044A8DFA25F}"/>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339326399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4">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DFBAFDD-D4EF-BFA7-178B-8C5629CE839C}"/>
              </a:ext>
            </a:extLst>
          </p:cNvPr>
          <p:cNvGraphicFramePr>
            <a:graphicFrameLocks noChangeAspect="1"/>
          </p:cNvGraphicFramePr>
          <p:nvPr userDrawn="1">
            <p:custDataLst>
              <p:tags r:id="rId1"/>
            </p:custDataLst>
            <p:extLst>
              <p:ext uri="{D42A27DB-BD31-4B8C-83A1-F6EECF244321}">
                <p14:modId xmlns:p14="http://schemas.microsoft.com/office/powerpoint/2010/main" val="2505884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CDFBAFDD-D4EF-BFA7-178B-8C5629CE83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1">
            <a:extLst>
              <a:ext uri="{FF2B5EF4-FFF2-40B4-BE49-F238E27FC236}">
                <a16:creationId xmlns:a16="http://schemas.microsoft.com/office/drawing/2014/main" id="{DDA998BF-A44A-3873-BF38-6808A0FFAC9A}"/>
              </a:ext>
            </a:extLst>
          </p:cNvPr>
          <p:cNvSpPr>
            <a:spLocks noGrp="1"/>
          </p:cNvSpPr>
          <p:nvPr>
            <p:ph type="pic" sz="quarter" idx="15" hasCustomPrompt="1"/>
          </p:nvPr>
        </p:nvSpPr>
        <p:spPr>
          <a:xfrm>
            <a:off x="0" y="0"/>
            <a:ext cx="7849017" cy="6858000"/>
          </a:xfrm>
          <a:prstGeom prst="rect">
            <a:avLst/>
          </a:prstGeom>
          <a:solidFill>
            <a:schemeClr val="bg1">
              <a:lumMod val="85000"/>
            </a:schemeClr>
          </a:solidFill>
        </p:spPr>
        <p:txBody>
          <a:bodyPr tIns="1224000" anchor="ctr"/>
          <a:lstStyle>
            <a:lvl1pPr algn="ctr" rtl="0">
              <a:lnSpc>
                <a:spcPct val="100000"/>
              </a:lnSpc>
              <a:defRPr sz="1400"/>
            </a:lvl1pPr>
          </a:lstStyle>
          <a:p>
            <a:r>
              <a:rPr lang="en-AU"/>
              <a:t>Click icon to insert image, then Right Click and Send to Back</a:t>
            </a:r>
            <a:endParaRPr lang="en-AU" dirty="0"/>
          </a:p>
        </p:txBody>
      </p:sp>
      <p:sp>
        <p:nvSpPr>
          <p:cNvPr id="7" name="Footer Placeholder 7">
            <a:extLst>
              <a:ext uri="{FF2B5EF4-FFF2-40B4-BE49-F238E27FC236}">
                <a16:creationId xmlns:a16="http://schemas.microsoft.com/office/drawing/2014/main" id="{30A66767-E7BB-34D3-1698-BAD5850680EF}"/>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0" name="Text Placeholder 20">
            <a:extLst>
              <a:ext uri="{FF2B5EF4-FFF2-40B4-BE49-F238E27FC236}">
                <a16:creationId xmlns:a16="http://schemas.microsoft.com/office/drawing/2014/main" id="{AD0F7AA4-CE32-A25D-8D25-9049CB814A98}"/>
              </a:ext>
            </a:extLst>
          </p:cNvPr>
          <p:cNvSpPr>
            <a:spLocks noGrp="1"/>
          </p:cNvSpPr>
          <p:nvPr>
            <p:ph type="body" sz="quarter" idx="25" hasCustomPrompt="1"/>
          </p:nvPr>
        </p:nvSpPr>
        <p:spPr>
          <a:xfrm>
            <a:off x="8187942" y="4789643"/>
            <a:ext cx="1255067" cy="230927"/>
          </a:xfrm>
          <a:prstGeom prst="rect">
            <a:avLst/>
          </a:prstGeom>
        </p:spPr>
        <p:txBody>
          <a:bodyPr/>
          <a:lstStyle>
            <a:lvl1pPr rtl="0">
              <a:lnSpc>
                <a:spcPct val="120000"/>
              </a:lnSpc>
              <a:defRPr sz="1200" b="1">
                <a:solidFill>
                  <a:schemeClr val="tx2"/>
                </a:solidFill>
              </a:defRPr>
            </a:lvl1pPr>
          </a:lstStyle>
          <a:p>
            <a:pPr lvl="0"/>
            <a:r>
              <a:rPr lang="en-AU"/>
              <a:t>NAME</a:t>
            </a:r>
            <a:endParaRPr lang="en-AU" dirty="0"/>
          </a:p>
        </p:txBody>
      </p:sp>
      <p:sp>
        <p:nvSpPr>
          <p:cNvPr id="11" name="Text Placeholder 20">
            <a:extLst>
              <a:ext uri="{FF2B5EF4-FFF2-40B4-BE49-F238E27FC236}">
                <a16:creationId xmlns:a16="http://schemas.microsoft.com/office/drawing/2014/main" id="{292C9018-41E6-B9CA-1941-54A4B430CA49}"/>
              </a:ext>
            </a:extLst>
          </p:cNvPr>
          <p:cNvSpPr>
            <a:spLocks noGrp="1"/>
          </p:cNvSpPr>
          <p:nvPr>
            <p:ph type="body" sz="quarter" idx="26" hasCustomPrompt="1"/>
          </p:nvPr>
        </p:nvSpPr>
        <p:spPr>
          <a:xfrm>
            <a:off x="8187942" y="5020570"/>
            <a:ext cx="1255067" cy="132087"/>
          </a:xfrm>
          <a:prstGeom prst="rect">
            <a:avLst/>
          </a:prstGeom>
        </p:spPr>
        <p:txBody>
          <a:bodyPr/>
          <a:lstStyle>
            <a:lvl1pPr rtl="0">
              <a:lnSpc>
                <a:spcPct val="120000"/>
              </a:lnSpc>
              <a:defRPr sz="800">
                <a:solidFill>
                  <a:schemeClr val="tx2"/>
                </a:solidFill>
              </a:defRPr>
            </a:lvl1pPr>
          </a:lstStyle>
          <a:p>
            <a:pPr lvl="0"/>
            <a:r>
              <a:rPr lang="en-AU"/>
              <a:t>TITLE</a:t>
            </a:r>
            <a:endParaRPr lang="en-AU" dirty="0"/>
          </a:p>
        </p:txBody>
      </p:sp>
      <p:sp>
        <p:nvSpPr>
          <p:cNvPr id="12" name="Text Placeholder 20">
            <a:extLst>
              <a:ext uri="{FF2B5EF4-FFF2-40B4-BE49-F238E27FC236}">
                <a16:creationId xmlns:a16="http://schemas.microsoft.com/office/drawing/2014/main" id="{71DB033B-8A87-603D-17CD-A5270186EAE3}"/>
              </a:ext>
            </a:extLst>
          </p:cNvPr>
          <p:cNvSpPr>
            <a:spLocks noGrp="1"/>
          </p:cNvSpPr>
          <p:nvPr>
            <p:ph type="body" sz="quarter" idx="14" hasCustomPrompt="1"/>
          </p:nvPr>
        </p:nvSpPr>
        <p:spPr>
          <a:xfrm>
            <a:off x="8187942" y="1914611"/>
            <a:ext cx="3101599" cy="2603516"/>
          </a:xfrm>
          <a:prstGeom prst="rect">
            <a:avLst/>
          </a:prstGeom>
        </p:spPr>
        <p:txBody>
          <a:bodyPr/>
          <a:lstStyle>
            <a:lvl1pPr rtl="0">
              <a:lnSpc>
                <a:spcPct val="120000"/>
              </a:lnSpc>
              <a:defRPr sz="1400">
                <a:solidFill>
                  <a:schemeClr val="tx2"/>
                </a:solidFill>
              </a:defRPr>
            </a:lvl1pPr>
          </a:lstStyle>
          <a:p>
            <a:pPr lvl="0"/>
            <a:r>
              <a:rPr lang="en-AU"/>
              <a:t>Ut volore plis maiostio vercimi nctatas rehent. Itaspe parum dolupic ipsame cus, volut es di arismollaborpor rem ut expe reic te verfere mporum est taeperm re. Ut volore plis maiostio vercimi nctatas rehent. Itaspe parum dolupic ipsame cus, volut es di arismollaborpor rem ut expe reic te verfere mporum est taeperm.</a:t>
            </a:r>
            <a:endParaRPr lang="en-AU" dirty="0"/>
          </a:p>
        </p:txBody>
      </p:sp>
      <p:sp>
        <p:nvSpPr>
          <p:cNvPr id="13" name="Text Placeholder 27">
            <a:extLst>
              <a:ext uri="{FF2B5EF4-FFF2-40B4-BE49-F238E27FC236}">
                <a16:creationId xmlns:a16="http://schemas.microsoft.com/office/drawing/2014/main" id="{1D551B8E-C568-639E-0ECF-96D10CEAB48E}"/>
              </a:ext>
            </a:extLst>
          </p:cNvPr>
          <p:cNvSpPr>
            <a:spLocks noGrp="1"/>
          </p:cNvSpPr>
          <p:nvPr>
            <p:ph type="body" sz="quarter" idx="27" hasCustomPrompt="1"/>
          </p:nvPr>
        </p:nvSpPr>
        <p:spPr>
          <a:xfrm rot="10800000" flipH="1">
            <a:off x="7185052" y="869391"/>
            <a:ext cx="1348949" cy="805364"/>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rtl="0">
              <a:defRPr sz="100">
                <a:noFill/>
              </a:defRPr>
            </a:lvl1pPr>
          </a:lstStyle>
          <a:p>
            <a:pPr lvl="0"/>
            <a:r>
              <a:rPr lang="en-AU"/>
              <a:t>.</a:t>
            </a:r>
            <a:endParaRPr lang="en-AU" dirty="0"/>
          </a:p>
        </p:txBody>
      </p:sp>
      <p:sp>
        <p:nvSpPr>
          <p:cNvPr id="15" name="Text Placeholder 27">
            <a:extLst>
              <a:ext uri="{FF2B5EF4-FFF2-40B4-BE49-F238E27FC236}">
                <a16:creationId xmlns:a16="http://schemas.microsoft.com/office/drawing/2014/main" id="{847909D6-FEBC-924D-8EFE-96717820D7CF}"/>
              </a:ext>
            </a:extLst>
          </p:cNvPr>
          <p:cNvSpPr>
            <a:spLocks noGrp="1"/>
          </p:cNvSpPr>
          <p:nvPr>
            <p:ph type="body" sz="quarter" idx="28" hasCustomPrompt="1"/>
          </p:nvPr>
        </p:nvSpPr>
        <p:spPr>
          <a:xfrm flipH="1">
            <a:off x="9946114" y="4789643"/>
            <a:ext cx="1348949" cy="805364"/>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rtl="0">
              <a:defRPr sz="100">
                <a:noFill/>
              </a:defRPr>
            </a:lvl1pPr>
          </a:lstStyle>
          <a:p>
            <a:pPr lvl="0"/>
            <a:r>
              <a:rPr lang="en-AU"/>
              <a:t>.</a:t>
            </a:r>
            <a:endParaRPr lang="en-AU" dirty="0"/>
          </a:p>
        </p:txBody>
      </p:sp>
      <p:sp>
        <p:nvSpPr>
          <p:cNvPr id="2" name="Slide Number Placeholder 3">
            <a:extLst>
              <a:ext uri="{FF2B5EF4-FFF2-40B4-BE49-F238E27FC236}">
                <a16:creationId xmlns:a16="http://schemas.microsoft.com/office/drawing/2014/main" id="{192F01DF-30EF-AF76-E7DC-E38C2C0FD5F6}"/>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97995301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5">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80E75D-4044-45D1-4AC9-B770B3CF9D0C}"/>
              </a:ext>
            </a:extLst>
          </p:cNvPr>
          <p:cNvGraphicFramePr>
            <a:graphicFrameLocks noChangeAspect="1"/>
          </p:cNvGraphicFramePr>
          <p:nvPr userDrawn="1">
            <p:custDataLst>
              <p:tags r:id="rId1"/>
            </p:custDataLst>
            <p:extLst>
              <p:ext uri="{D42A27DB-BD31-4B8C-83A1-F6EECF244321}">
                <p14:modId xmlns:p14="http://schemas.microsoft.com/office/powerpoint/2010/main" val="248113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C180E75D-4044-45D1-4AC9-B770B3CF9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63064CB-E480-13D7-997D-A2A2CF889C37}"/>
              </a:ext>
            </a:extLst>
          </p:cNvPr>
          <p:cNvSpPr>
            <a:spLocks noGrp="1"/>
          </p:cNvSpPr>
          <p:nvPr>
            <p:ph type="pic" sz="quarter" idx="15" hasCustomPrompt="1"/>
          </p:nvPr>
        </p:nvSpPr>
        <p:spPr>
          <a:xfrm>
            <a:off x="-1476" y="0"/>
            <a:ext cx="12193476" cy="6858000"/>
          </a:xfrm>
          <a:custGeom>
            <a:avLst/>
            <a:gdLst>
              <a:gd name="connsiteX0" fmla="*/ 0 w 12193476"/>
              <a:gd name="connsiteY0" fmla="*/ 0 h 6858000"/>
              <a:gd name="connsiteX1" fmla="*/ 2611326 w 12193476"/>
              <a:gd name="connsiteY1" fmla="*/ 0 h 6858000"/>
              <a:gd name="connsiteX2" fmla="*/ 2611326 w 12193476"/>
              <a:gd name="connsiteY2" fmla="*/ 5965825 h 6858000"/>
              <a:gd name="connsiteX3" fmla="*/ 6091126 w 12193476"/>
              <a:gd name="connsiteY3" fmla="*/ 5965825 h 6858000"/>
              <a:gd name="connsiteX4" fmla="*/ 6091126 w 12193476"/>
              <a:gd name="connsiteY4" fmla="*/ 0 h 6858000"/>
              <a:gd name="connsiteX5" fmla="*/ 12193476 w 12193476"/>
              <a:gd name="connsiteY5" fmla="*/ 0 h 6858000"/>
              <a:gd name="connsiteX6" fmla="*/ 12193476 w 12193476"/>
              <a:gd name="connsiteY6" fmla="*/ 6858000 h 6858000"/>
              <a:gd name="connsiteX7" fmla="*/ 0 w 1219347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476" h="6858000">
                <a:moveTo>
                  <a:pt x="0" y="0"/>
                </a:moveTo>
                <a:lnTo>
                  <a:pt x="2611326" y="0"/>
                </a:lnTo>
                <a:lnTo>
                  <a:pt x="2611326" y="5965825"/>
                </a:lnTo>
                <a:lnTo>
                  <a:pt x="6091126" y="5965825"/>
                </a:lnTo>
                <a:lnTo>
                  <a:pt x="6091126" y="0"/>
                </a:lnTo>
                <a:lnTo>
                  <a:pt x="12193476" y="0"/>
                </a:lnTo>
                <a:lnTo>
                  <a:pt x="12193476" y="6858000"/>
                </a:lnTo>
                <a:lnTo>
                  <a:pt x="0" y="6858000"/>
                </a:lnTo>
                <a:close/>
              </a:path>
            </a:pathLst>
          </a:custGeom>
          <a:solidFill>
            <a:schemeClr val="bg1">
              <a:lumMod val="85000"/>
            </a:schemeClr>
          </a:solidFill>
        </p:spPr>
        <p:txBody>
          <a:bodyPr wrap="square" lIns="5724000" tIns="0" anchor="ctr">
            <a:noAutofit/>
          </a:bodyPr>
          <a:lstStyle>
            <a:lvl1pPr algn="ctr" rtl="0">
              <a:lnSpc>
                <a:spcPct val="100000"/>
              </a:lnSpc>
              <a:defRPr sz="1400"/>
            </a:lvl1pPr>
          </a:lstStyle>
          <a:p>
            <a:r>
              <a:rPr lang="en-AU"/>
              <a:t>Drag an image from outside of PowerPoint</a:t>
            </a:r>
            <a:br>
              <a:rPr lang="en-AU"/>
            </a:br>
            <a:r>
              <a:rPr lang="en-AU"/>
              <a:t>into this container, then Right Click and Send to Back</a:t>
            </a:r>
            <a:endParaRPr lang="en-AU" dirty="0"/>
          </a:p>
        </p:txBody>
      </p:sp>
      <p:sp>
        <p:nvSpPr>
          <p:cNvPr id="9" name="Rectangle 8">
            <a:extLst>
              <a:ext uri="{FF2B5EF4-FFF2-40B4-BE49-F238E27FC236}">
                <a16:creationId xmlns:a16="http://schemas.microsoft.com/office/drawing/2014/main" id="{D3F205F7-A4D8-8117-551A-6B3F1D157222}"/>
              </a:ext>
            </a:extLst>
          </p:cNvPr>
          <p:cNvSpPr/>
          <p:nvPr userDrawn="1"/>
        </p:nvSpPr>
        <p:spPr>
          <a:xfrm>
            <a:off x="2609094" y="0"/>
            <a:ext cx="3481313" cy="5965826"/>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algn="l" rtl="0" latinLnBrk="1" hangingPunct="0"/>
            <a:endParaRPr lang="en-AU" sz="1600" dirty="0">
              <a:solidFill>
                <a:srgbClr val="FFFFFF"/>
              </a:solidFill>
            </a:endParaRPr>
          </a:p>
        </p:txBody>
      </p:sp>
      <p:sp>
        <p:nvSpPr>
          <p:cNvPr id="19" name="Text Placeholder 20">
            <a:extLst>
              <a:ext uri="{FF2B5EF4-FFF2-40B4-BE49-F238E27FC236}">
                <a16:creationId xmlns:a16="http://schemas.microsoft.com/office/drawing/2014/main" id="{7CC8F8D9-9685-4080-86C2-8080534AE1C2}"/>
              </a:ext>
            </a:extLst>
          </p:cNvPr>
          <p:cNvSpPr>
            <a:spLocks noGrp="1"/>
          </p:cNvSpPr>
          <p:nvPr>
            <p:ph type="body" sz="quarter" idx="14" hasCustomPrompt="1"/>
          </p:nvPr>
        </p:nvSpPr>
        <p:spPr>
          <a:xfrm>
            <a:off x="3012973" y="1631599"/>
            <a:ext cx="2673555" cy="3322429"/>
          </a:xfrm>
          <a:prstGeom prst="rect">
            <a:avLst/>
          </a:prstGeom>
        </p:spPr>
        <p:txBody>
          <a:bodyPr/>
          <a:lstStyle>
            <a:lvl1pPr rtl="0">
              <a:lnSpc>
                <a:spcPct val="120000"/>
              </a:lnSpc>
              <a:defRPr sz="1400">
                <a:solidFill>
                  <a:schemeClr val="bg1"/>
                </a:solidFill>
              </a:defRPr>
            </a:lvl1pPr>
          </a:lstStyle>
          <a:p>
            <a:pPr lvl="0"/>
            <a:r>
              <a:rPr lang="en-AU"/>
              <a:t>Ut volore plis maiostio vercimi nctatas rehent. Itaspe parum dolupic ipsame cus, volut es di arismollaborpor rem ut expe reic te verfere mporum est taeperm re. Ut volore plis maiostio vercimi nctatas rehent. Itaspe parum dolupic ipsame cus, volut es di arismollaborpor rem ut expe reic te verfere mporum est taeperm.</a:t>
            </a:r>
            <a:endParaRPr lang="en-AU" dirty="0"/>
          </a:p>
        </p:txBody>
      </p:sp>
      <p:sp>
        <p:nvSpPr>
          <p:cNvPr id="21" name="Text Placeholder 20">
            <a:extLst>
              <a:ext uri="{FF2B5EF4-FFF2-40B4-BE49-F238E27FC236}">
                <a16:creationId xmlns:a16="http://schemas.microsoft.com/office/drawing/2014/main" id="{A41E5BDE-0D34-F7A0-CD73-E2E4D4E83FF1}"/>
              </a:ext>
            </a:extLst>
          </p:cNvPr>
          <p:cNvSpPr>
            <a:spLocks noGrp="1"/>
          </p:cNvSpPr>
          <p:nvPr>
            <p:ph type="body" sz="quarter" idx="25" hasCustomPrompt="1"/>
          </p:nvPr>
        </p:nvSpPr>
        <p:spPr>
          <a:xfrm>
            <a:off x="3012973" y="5073423"/>
            <a:ext cx="1255067" cy="230927"/>
          </a:xfrm>
          <a:prstGeom prst="rect">
            <a:avLst/>
          </a:prstGeom>
        </p:spPr>
        <p:txBody>
          <a:bodyPr/>
          <a:lstStyle>
            <a:lvl1pPr rtl="0">
              <a:lnSpc>
                <a:spcPct val="120000"/>
              </a:lnSpc>
              <a:defRPr sz="1200" b="1">
                <a:solidFill>
                  <a:schemeClr val="tx2"/>
                </a:solidFill>
              </a:defRPr>
            </a:lvl1pPr>
          </a:lstStyle>
          <a:p>
            <a:pPr lvl="0"/>
            <a:r>
              <a:rPr lang="en-AU"/>
              <a:t>NAME</a:t>
            </a:r>
            <a:endParaRPr lang="en-AU" dirty="0"/>
          </a:p>
        </p:txBody>
      </p:sp>
      <p:sp>
        <p:nvSpPr>
          <p:cNvPr id="22" name="Text Placeholder 20">
            <a:extLst>
              <a:ext uri="{FF2B5EF4-FFF2-40B4-BE49-F238E27FC236}">
                <a16:creationId xmlns:a16="http://schemas.microsoft.com/office/drawing/2014/main" id="{043E8A05-1419-59E5-197F-0E88F6CAE464}"/>
              </a:ext>
            </a:extLst>
          </p:cNvPr>
          <p:cNvSpPr>
            <a:spLocks noGrp="1"/>
          </p:cNvSpPr>
          <p:nvPr>
            <p:ph type="body" sz="quarter" idx="26" hasCustomPrompt="1"/>
          </p:nvPr>
        </p:nvSpPr>
        <p:spPr>
          <a:xfrm>
            <a:off x="3012973" y="5304350"/>
            <a:ext cx="1255067" cy="132087"/>
          </a:xfrm>
          <a:prstGeom prst="rect">
            <a:avLst/>
          </a:prstGeom>
        </p:spPr>
        <p:txBody>
          <a:bodyPr/>
          <a:lstStyle>
            <a:lvl1pPr rtl="0">
              <a:lnSpc>
                <a:spcPct val="120000"/>
              </a:lnSpc>
              <a:defRPr sz="800">
                <a:solidFill>
                  <a:schemeClr val="tx2"/>
                </a:solidFill>
              </a:defRPr>
            </a:lvl1pPr>
          </a:lstStyle>
          <a:p>
            <a:pPr lvl="0"/>
            <a:r>
              <a:rPr lang="en-AU"/>
              <a:t>TITLE</a:t>
            </a:r>
            <a:endParaRPr lang="en-AU" dirty="0"/>
          </a:p>
        </p:txBody>
      </p:sp>
      <p:sp>
        <p:nvSpPr>
          <p:cNvPr id="5" name="Footer Placeholder 7">
            <a:extLst>
              <a:ext uri="{FF2B5EF4-FFF2-40B4-BE49-F238E27FC236}">
                <a16:creationId xmlns:a16="http://schemas.microsoft.com/office/drawing/2014/main" id="{1A49D53A-8AEC-3ACB-BEF9-EF37A4E7C7E0}"/>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4" name="Text Placeholder 27">
            <a:extLst>
              <a:ext uri="{FF2B5EF4-FFF2-40B4-BE49-F238E27FC236}">
                <a16:creationId xmlns:a16="http://schemas.microsoft.com/office/drawing/2014/main" id="{20306413-04ED-0FB9-EA4A-01B67ADAC01C}"/>
              </a:ext>
            </a:extLst>
          </p:cNvPr>
          <p:cNvSpPr>
            <a:spLocks noGrp="1"/>
          </p:cNvSpPr>
          <p:nvPr>
            <p:ph type="body" sz="quarter" idx="29" hasCustomPrompt="1"/>
          </p:nvPr>
        </p:nvSpPr>
        <p:spPr>
          <a:xfrm flipH="1">
            <a:off x="5803904" y="5141468"/>
            <a:ext cx="1380763" cy="824358"/>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rtl="0">
              <a:defRPr sz="100">
                <a:noFill/>
              </a:defRPr>
            </a:lvl1pPr>
          </a:lstStyle>
          <a:p>
            <a:pPr lvl="0"/>
            <a:r>
              <a:rPr lang="en-AU"/>
              <a:t>.</a:t>
            </a:r>
            <a:endParaRPr lang="en-AU" dirty="0"/>
          </a:p>
        </p:txBody>
      </p:sp>
      <p:sp>
        <p:nvSpPr>
          <p:cNvPr id="13" name="Text Placeholder 27">
            <a:extLst>
              <a:ext uri="{FF2B5EF4-FFF2-40B4-BE49-F238E27FC236}">
                <a16:creationId xmlns:a16="http://schemas.microsoft.com/office/drawing/2014/main" id="{DE43A5AB-C08C-E886-713E-050F8FA098A1}"/>
              </a:ext>
            </a:extLst>
          </p:cNvPr>
          <p:cNvSpPr>
            <a:spLocks noGrp="1"/>
          </p:cNvSpPr>
          <p:nvPr>
            <p:ph type="body" sz="quarter" idx="30" hasCustomPrompt="1"/>
          </p:nvPr>
        </p:nvSpPr>
        <p:spPr>
          <a:xfrm>
            <a:off x="12310" y="0"/>
            <a:ext cx="2596784" cy="5382706"/>
          </a:xfrm>
          <a:prstGeom prst="rect">
            <a:avLst/>
          </a:prstGeom>
          <a:blipFill>
            <a:blip r:embed="rId7" cstate="screen">
              <a:extLst>
                <a:ext uri="{28A0092B-C50C-407E-A947-70E740481C1C}">
                  <a14:useLocalDpi xmlns:a14="http://schemas.microsoft.com/office/drawing/2010/main"/>
                </a:ext>
              </a:extLst>
            </a:blip>
            <a:stretch>
              <a:fillRect/>
            </a:stretch>
          </a:blipFill>
        </p:spPr>
        <p:txBody>
          <a:bodyPr/>
          <a:lstStyle>
            <a:lvl1pPr rtl="0">
              <a:defRPr sz="100">
                <a:noFill/>
              </a:defRPr>
            </a:lvl1pPr>
          </a:lstStyle>
          <a:p>
            <a:pPr lvl="0"/>
            <a:r>
              <a:rPr lang="en-AU"/>
              <a:t>.</a:t>
            </a:r>
            <a:endParaRPr lang="en-AU" dirty="0"/>
          </a:p>
        </p:txBody>
      </p:sp>
      <p:sp>
        <p:nvSpPr>
          <p:cNvPr id="28" name="Text Placeholder 27">
            <a:extLst>
              <a:ext uri="{FF2B5EF4-FFF2-40B4-BE49-F238E27FC236}">
                <a16:creationId xmlns:a16="http://schemas.microsoft.com/office/drawing/2014/main" id="{12126CE7-924E-D9DB-7B1E-8895BAFF58BE}"/>
              </a:ext>
            </a:extLst>
          </p:cNvPr>
          <p:cNvSpPr>
            <a:spLocks noGrp="1"/>
          </p:cNvSpPr>
          <p:nvPr>
            <p:ph type="body" sz="quarter" idx="27" hasCustomPrompt="1"/>
          </p:nvPr>
        </p:nvSpPr>
        <p:spPr>
          <a:xfrm rot="10800000" flipH="1">
            <a:off x="1467540" y="878668"/>
            <a:ext cx="1380763" cy="824358"/>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rtl="0">
              <a:defRPr sz="100">
                <a:noFill/>
              </a:defRPr>
            </a:lvl1pPr>
          </a:lstStyle>
          <a:p>
            <a:pPr lvl="0"/>
            <a:r>
              <a:rPr lang="en-AU"/>
              <a:t>.</a:t>
            </a:r>
            <a:endParaRPr lang="en-AU" dirty="0"/>
          </a:p>
        </p:txBody>
      </p:sp>
      <p:sp>
        <p:nvSpPr>
          <p:cNvPr id="2" name="Slide Number Placeholder 3">
            <a:extLst>
              <a:ext uri="{FF2B5EF4-FFF2-40B4-BE49-F238E27FC236}">
                <a16:creationId xmlns:a16="http://schemas.microsoft.com/office/drawing/2014/main" id="{61B8F575-0DD2-09C3-48A2-63815EE46197}"/>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424976426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6">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F5461C-9CD7-A385-A38B-F254305B587D}"/>
              </a:ext>
            </a:extLst>
          </p:cNvPr>
          <p:cNvGraphicFramePr>
            <a:graphicFrameLocks noChangeAspect="1"/>
          </p:cNvGraphicFramePr>
          <p:nvPr userDrawn="1">
            <p:custDataLst>
              <p:tags r:id="rId1"/>
            </p:custDataLst>
            <p:extLst>
              <p:ext uri="{D42A27DB-BD31-4B8C-83A1-F6EECF244321}">
                <p14:modId xmlns:p14="http://schemas.microsoft.com/office/powerpoint/2010/main" val="2763775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58F5461C-9CD7-A385-A38B-F254305B58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E48806D0-829B-6D10-ABDD-6596E85B014F}"/>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6095715 w 12192000"/>
              <a:gd name="connsiteY1" fmla="*/ 0 h 6858000"/>
              <a:gd name="connsiteX2" fmla="*/ 6095715 w 12192000"/>
              <a:gd name="connsiteY2" fmla="*/ 5965825 h 6858000"/>
              <a:gd name="connsiteX3" fmla="*/ 9602788 w 12192000"/>
              <a:gd name="connsiteY3" fmla="*/ 5965825 h 6858000"/>
              <a:gd name="connsiteX4" fmla="*/ 9602788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6095715" y="0"/>
                </a:lnTo>
                <a:lnTo>
                  <a:pt x="6095715" y="5965825"/>
                </a:lnTo>
                <a:lnTo>
                  <a:pt x="9602788" y="5965825"/>
                </a:lnTo>
                <a:lnTo>
                  <a:pt x="9602788" y="0"/>
                </a:lnTo>
                <a:lnTo>
                  <a:pt x="12192000" y="0"/>
                </a:lnTo>
                <a:lnTo>
                  <a:pt x="12192000" y="6858000"/>
                </a:lnTo>
                <a:lnTo>
                  <a:pt x="0" y="6858000"/>
                </a:lnTo>
                <a:close/>
              </a:path>
            </a:pathLst>
          </a:custGeom>
          <a:solidFill>
            <a:schemeClr val="bg1">
              <a:lumMod val="85000"/>
            </a:schemeClr>
          </a:solidFill>
        </p:spPr>
        <p:txBody>
          <a:bodyPr wrap="square" tIns="0" rIns="5544000" anchor="ctr">
            <a:noAutofit/>
          </a:bodyPr>
          <a:lstStyle>
            <a:lvl1pPr algn="ctr" rtl="0">
              <a:lnSpc>
                <a:spcPct val="100000"/>
              </a:lnSpc>
              <a:defRPr sz="1400"/>
            </a:lvl1pPr>
          </a:lstStyle>
          <a:p>
            <a:r>
              <a:rPr lang="en-AU"/>
              <a:t>Drag an image from outside of PowerPoint</a:t>
            </a:r>
            <a:br>
              <a:rPr lang="en-AU"/>
            </a:br>
            <a:r>
              <a:rPr lang="en-AU"/>
              <a:t>into this container, then Right Click and Send to Back</a:t>
            </a:r>
            <a:endParaRPr lang="en-AU" dirty="0"/>
          </a:p>
        </p:txBody>
      </p:sp>
      <p:sp>
        <p:nvSpPr>
          <p:cNvPr id="3" name="Text Placeholder 27">
            <a:extLst>
              <a:ext uri="{FF2B5EF4-FFF2-40B4-BE49-F238E27FC236}">
                <a16:creationId xmlns:a16="http://schemas.microsoft.com/office/drawing/2014/main" id="{E09C989C-1B9E-EFED-A345-0964940BE567}"/>
              </a:ext>
            </a:extLst>
          </p:cNvPr>
          <p:cNvSpPr>
            <a:spLocks noGrp="1"/>
          </p:cNvSpPr>
          <p:nvPr>
            <p:ph type="body" sz="quarter" idx="30" hasCustomPrompt="1"/>
          </p:nvPr>
        </p:nvSpPr>
        <p:spPr>
          <a:xfrm>
            <a:off x="6368225" y="886980"/>
            <a:ext cx="5823775" cy="5984874"/>
          </a:xfrm>
          <a:prstGeom prst="rect">
            <a:avLst/>
          </a:prstGeom>
          <a:blipFill>
            <a:blip r:embed="rId5"/>
            <a:stretch>
              <a:fillRect/>
            </a:stretch>
          </a:blipFill>
        </p:spPr>
        <p:txBody>
          <a:bodyPr/>
          <a:lstStyle>
            <a:lvl1pPr rtl="0">
              <a:defRPr sz="100">
                <a:noFill/>
              </a:defRPr>
            </a:lvl1pPr>
          </a:lstStyle>
          <a:p>
            <a:pPr lvl="0"/>
            <a:r>
              <a:rPr lang="en-AU"/>
              <a:t>.</a:t>
            </a:r>
            <a:endParaRPr lang="en-AU" dirty="0"/>
          </a:p>
        </p:txBody>
      </p:sp>
      <p:sp>
        <p:nvSpPr>
          <p:cNvPr id="7" name="Rectangle 6">
            <a:extLst>
              <a:ext uri="{FF2B5EF4-FFF2-40B4-BE49-F238E27FC236}">
                <a16:creationId xmlns:a16="http://schemas.microsoft.com/office/drawing/2014/main" id="{061A326B-A000-F0A4-6429-8AD684D64522}"/>
              </a:ext>
            </a:extLst>
          </p:cNvPr>
          <p:cNvSpPr/>
          <p:nvPr userDrawn="1"/>
        </p:nvSpPr>
        <p:spPr>
          <a:xfrm>
            <a:off x="6096001" y="-1"/>
            <a:ext cx="3507073" cy="5966883"/>
          </a:xfrm>
          <a:prstGeom prst="rect">
            <a:avLst/>
          </a:prstGeom>
          <a:solidFill>
            <a:srgbClr val="29C8C1"/>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algn="l" rtl="0" latinLnBrk="1" hangingPunct="0"/>
            <a:endParaRPr lang="en-AU" sz="1600" dirty="0">
              <a:solidFill>
                <a:srgbClr val="FFFFFF"/>
              </a:solidFill>
            </a:endParaRPr>
          </a:p>
        </p:txBody>
      </p:sp>
      <p:sp>
        <p:nvSpPr>
          <p:cNvPr id="19" name="Text Placeholder 20">
            <a:extLst>
              <a:ext uri="{FF2B5EF4-FFF2-40B4-BE49-F238E27FC236}">
                <a16:creationId xmlns:a16="http://schemas.microsoft.com/office/drawing/2014/main" id="{7CC8F8D9-9685-4080-86C2-8080534AE1C2}"/>
              </a:ext>
            </a:extLst>
          </p:cNvPr>
          <p:cNvSpPr>
            <a:spLocks noGrp="1"/>
          </p:cNvSpPr>
          <p:nvPr>
            <p:ph type="body" sz="quarter" idx="14" hasCustomPrompt="1"/>
          </p:nvPr>
        </p:nvSpPr>
        <p:spPr>
          <a:xfrm>
            <a:off x="6512760" y="1631599"/>
            <a:ext cx="2673555" cy="3322429"/>
          </a:xfrm>
          <a:prstGeom prst="rect">
            <a:avLst/>
          </a:prstGeom>
        </p:spPr>
        <p:txBody>
          <a:bodyPr/>
          <a:lstStyle>
            <a:lvl1pPr rtl="0">
              <a:lnSpc>
                <a:spcPct val="120000"/>
              </a:lnSpc>
              <a:defRPr sz="1400">
                <a:solidFill>
                  <a:schemeClr val="bg1"/>
                </a:solidFill>
              </a:defRPr>
            </a:lvl1pPr>
          </a:lstStyle>
          <a:p>
            <a:pPr lvl="0"/>
            <a:r>
              <a:rPr lang="en-AU"/>
              <a:t>Ut volore plis maiostio vercimi nctatas rehent. Itaspe parum dolupic ipsame cus, volut es di arismollaborpor rem ut expe reic te verfere mporum est taeperm re. Ut volore plis maiostio vercimi nctatas rehent. Itaspe parum dolupic ipsame cus, volut es di arismollaborpor rem ut expe reic te verfere mporum est taeperm.</a:t>
            </a:r>
            <a:endParaRPr lang="en-AU" dirty="0"/>
          </a:p>
        </p:txBody>
      </p:sp>
      <p:sp>
        <p:nvSpPr>
          <p:cNvPr id="21" name="Text Placeholder 20">
            <a:extLst>
              <a:ext uri="{FF2B5EF4-FFF2-40B4-BE49-F238E27FC236}">
                <a16:creationId xmlns:a16="http://schemas.microsoft.com/office/drawing/2014/main" id="{A41E5BDE-0D34-F7A0-CD73-E2E4D4E83FF1}"/>
              </a:ext>
            </a:extLst>
          </p:cNvPr>
          <p:cNvSpPr>
            <a:spLocks noGrp="1"/>
          </p:cNvSpPr>
          <p:nvPr>
            <p:ph type="body" sz="quarter" idx="25" hasCustomPrompt="1"/>
          </p:nvPr>
        </p:nvSpPr>
        <p:spPr>
          <a:xfrm>
            <a:off x="6512760" y="5073423"/>
            <a:ext cx="1255067" cy="230927"/>
          </a:xfrm>
          <a:prstGeom prst="rect">
            <a:avLst/>
          </a:prstGeom>
        </p:spPr>
        <p:txBody>
          <a:bodyPr/>
          <a:lstStyle>
            <a:lvl1pPr rtl="0">
              <a:lnSpc>
                <a:spcPct val="120000"/>
              </a:lnSpc>
              <a:defRPr sz="1200" b="1">
                <a:solidFill>
                  <a:schemeClr val="tx2"/>
                </a:solidFill>
              </a:defRPr>
            </a:lvl1pPr>
          </a:lstStyle>
          <a:p>
            <a:pPr lvl="0"/>
            <a:r>
              <a:rPr lang="en-AU"/>
              <a:t>NAME</a:t>
            </a:r>
            <a:endParaRPr lang="en-AU" dirty="0"/>
          </a:p>
        </p:txBody>
      </p:sp>
      <p:sp>
        <p:nvSpPr>
          <p:cNvPr id="22" name="Text Placeholder 20">
            <a:extLst>
              <a:ext uri="{FF2B5EF4-FFF2-40B4-BE49-F238E27FC236}">
                <a16:creationId xmlns:a16="http://schemas.microsoft.com/office/drawing/2014/main" id="{043E8A05-1419-59E5-197F-0E88F6CAE464}"/>
              </a:ext>
            </a:extLst>
          </p:cNvPr>
          <p:cNvSpPr>
            <a:spLocks noGrp="1"/>
          </p:cNvSpPr>
          <p:nvPr>
            <p:ph type="body" sz="quarter" idx="26" hasCustomPrompt="1"/>
          </p:nvPr>
        </p:nvSpPr>
        <p:spPr>
          <a:xfrm>
            <a:off x="6512760" y="5304350"/>
            <a:ext cx="1255067" cy="132087"/>
          </a:xfrm>
          <a:prstGeom prst="rect">
            <a:avLst/>
          </a:prstGeom>
        </p:spPr>
        <p:txBody>
          <a:bodyPr/>
          <a:lstStyle>
            <a:lvl1pPr rtl="0">
              <a:lnSpc>
                <a:spcPct val="120000"/>
              </a:lnSpc>
              <a:defRPr sz="800">
                <a:solidFill>
                  <a:schemeClr val="tx2"/>
                </a:solidFill>
              </a:defRPr>
            </a:lvl1pPr>
          </a:lstStyle>
          <a:p>
            <a:pPr lvl="0"/>
            <a:r>
              <a:rPr lang="en-AU"/>
              <a:t>TITLE</a:t>
            </a:r>
            <a:endParaRPr lang="en-AU" dirty="0"/>
          </a:p>
        </p:txBody>
      </p:sp>
      <p:sp>
        <p:nvSpPr>
          <p:cNvPr id="28" name="Text Placeholder 27">
            <a:extLst>
              <a:ext uri="{FF2B5EF4-FFF2-40B4-BE49-F238E27FC236}">
                <a16:creationId xmlns:a16="http://schemas.microsoft.com/office/drawing/2014/main" id="{12126CE7-924E-D9DB-7B1E-8895BAFF58BE}"/>
              </a:ext>
            </a:extLst>
          </p:cNvPr>
          <p:cNvSpPr>
            <a:spLocks noGrp="1"/>
          </p:cNvSpPr>
          <p:nvPr>
            <p:ph type="body" sz="quarter" idx="27" hasCustomPrompt="1"/>
          </p:nvPr>
        </p:nvSpPr>
        <p:spPr>
          <a:xfrm rot="10800000" flipH="1">
            <a:off x="5419429" y="878668"/>
            <a:ext cx="1380763" cy="824358"/>
          </a:xfrm>
          <a:prstGeom prst="rect">
            <a:avLst/>
          </a:prstGeom>
          <a:blipFill>
            <a:blip r:embed="rId6">
              <a:extLst>
                <a:ext uri="{96DAC541-7B7A-43D3-8B79-37D633B846F1}">
                  <asvg:svgBlip xmlns:asvg="http://schemas.microsoft.com/office/drawing/2016/SVG/main" r:embed="rId7"/>
                </a:ext>
              </a:extLst>
            </a:blip>
            <a:stretch>
              <a:fillRect/>
            </a:stretch>
          </a:blipFill>
        </p:spPr>
        <p:txBody>
          <a:bodyPr/>
          <a:lstStyle>
            <a:lvl1pPr rtl="0">
              <a:defRPr sz="100">
                <a:noFill/>
              </a:defRPr>
            </a:lvl1pPr>
          </a:lstStyle>
          <a:p>
            <a:pPr lvl="0"/>
            <a:r>
              <a:rPr lang="en-AU"/>
              <a:t>.</a:t>
            </a:r>
            <a:endParaRPr lang="en-AU" dirty="0"/>
          </a:p>
        </p:txBody>
      </p:sp>
      <p:sp>
        <p:nvSpPr>
          <p:cNvPr id="5" name="Footer Placeholder 7">
            <a:extLst>
              <a:ext uri="{FF2B5EF4-FFF2-40B4-BE49-F238E27FC236}">
                <a16:creationId xmlns:a16="http://schemas.microsoft.com/office/drawing/2014/main" id="{1A49D53A-8AEC-3ACB-BEF9-EF37A4E7C7E0}"/>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4" name="Text Placeholder 27">
            <a:extLst>
              <a:ext uri="{FF2B5EF4-FFF2-40B4-BE49-F238E27FC236}">
                <a16:creationId xmlns:a16="http://schemas.microsoft.com/office/drawing/2014/main" id="{20306413-04ED-0FB9-EA4A-01B67ADAC01C}"/>
              </a:ext>
            </a:extLst>
          </p:cNvPr>
          <p:cNvSpPr>
            <a:spLocks noGrp="1"/>
          </p:cNvSpPr>
          <p:nvPr>
            <p:ph type="body" sz="quarter" idx="29" hasCustomPrompt="1"/>
          </p:nvPr>
        </p:nvSpPr>
        <p:spPr>
          <a:xfrm flipH="1">
            <a:off x="9366910" y="5141468"/>
            <a:ext cx="1380763" cy="824358"/>
          </a:xfrm>
          <a:prstGeom prst="rect">
            <a:avLst/>
          </a:prstGeom>
          <a:blipFill>
            <a:blip r:embed="rId6">
              <a:extLst>
                <a:ext uri="{96DAC541-7B7A-43D3-8B79-37D633B846F1}">
                  <asvg:svgBlip xmlns:asvg="http://schemas.microsoft.com/office/drawing/2016/SVG/main" r:embed="rId7"/>
                </a:ext>
              </a:extLst>
            </a:blip>
            <a:stretch>
              <a:fillRect/>
            </a:stretch>
          </a:blipFill>
        </p:spPr>
        <p:txBody>
          <a:bodyPr/>
          <a:lstStyle>
            <a:lvl1pPr rtl="0">
              <a:defRPr sz="100">
                <a:noFill/>
              </a:defRPr>
            </a:lvl1pPr>
          </a:lstStyle>
          <a:p>
            <a:pPr lvl="0"/>
            <a:r>
              <a:rPr lang="en-AU"/>
              <a:t>.</a:t>
            </a:r>
            <a:endParaRPr lang="en-AU" dirty="0"/>
          </a:p>
        </p:txBody>
      </p:sp>
      <p:sp>
        <p:nvSpPr>
          <p:cNvPr id="2" name="Slide Number Placeholder 3">
            <a:extLst>
              <a:ext uri="{FF2B5EF4-FFF2-40B4-BE49-F238E27FC236}">
                <a16:creationId xmlns:a16="http://schemas.microsoft.com/office/drawing/2014/main" id="{1CE8D044-6AF3-8C27-80FE-EDE648733753}"/>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57118935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40BDB2-3100-19CC-AEA9-11672D61484F}"/>
              </a:ext>
            </a:extLst>
          </p:cNvPr>
          <p:cNvGraphicFramePr>
            <a:graphicFrameLocks noChangeAspect="1"/>
          </p:cNvGraphicFramePr>
          <p:nvPr userDrawn="1">
            <p:custDataLst>
              <p:tags r:id="rId1"/>
            </p:custDataLst>
            <p:extLst>
              <p:ext uri="{D42A27DB-BD31-4B8C-83A1-F6EECF244321}">
                <p14:modId xmlns:p14="http://schemas.microsoft.com/office/powerpoint/2010/main" val="3434992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DE40BDB2-3100-19CC-AEA9-11672D6148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884F5D3-5E0E-5F2B-BAB4-702F57222D66}"/>
              </a:ext>
            </a:extLst>
          </p:cNvPr>
          <p:cNvSpPr/>
          <p:nvPr userDrawn="1"/>
        </p:nvSpPr>
        <p:spPr>
          <a:xfrm>
            <a:off x="893763" y="1"/>
            <a:ext cx="3455988" cy="5965824"/>
          </a:xfrm>
          <a:prstGeom prst="rect">
            <a:avLst/>
          </a:prstGeom>
          <a:solidFill>
            <a:schemeClr val="tx2"/>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29C8C1"/>
              </a:solidFill>
              <a:latin typeface="Helvetica Light"/>
              <a:sym typeface="Helvetica Light"/>
            </a:endParaRPr>
          </a:p>
        </p:txBody>
      </p:sp>
      <p:sp>
        <p:nvSpPr>
          <p:cNvPr id="7" name="Freeform: Shape 6">
            <a:extLst>
              <a:ext uri="{FF2B5EF4-FFF2-40B4-BE49-F238E27FC236}">
                <a16:creationId xmlns:a16="http://schemas.microsoft.com/office/drawing/2014/main" id="{D6AF893B-08DC-370F-6B4A-FB85421C3F9D}"/>
              </a:ext>
            </a:extLst>
          </p:cNvPr>
          <p:cNvSpPr/>
          <p:nvPr/>
        </p:nvSpPr>
        <p:spPr>
          <a:xfrm>
            <a:off x="8497229" y="1366850"/>
            <a:ext cx="500318" cy="351729"/>
          </a:xfrm>
          <a:custGeom>
            <a:avLst/>
            <a:gdLst>
              <a:gd name="connsiteX0" fmla="*/ 129654 w 500318"/>
              <a:gd name="connsiteY0" fmla="*/ 232622 h 351729"/>
              <a:gd name="connsiteX1" fmla="*/ 219622 w 500318"/>
              <a:gd name="connsiteY1" fmla="*/ 295371 h 351729"/>
              <a:gd name="connsiteX2" fmla="*/ 273575 w 500318"/>
              <a:gd name="connsiteY2" fmla="*/ 320393 h 351729"/>
              <a:gd name="connsiteX3" fmla="*/ 331999 w 500318"/>
              <a:gd name="connsiteY3" fmla="*/ 340748 h 351729"/>
              <a:gd name="connsiteX4" fmla="*/ 363159 w 500318"/>
              <a:gd name="connsiteY4" fmla="*/ 348351 h 351729"/>
              <a:gd name="connsiteX5" fmla="*/ 396097 w 500318"/>
              <a:gd name="connsiteY5" fmla="*/ 351720 h 351729"/>
              <a:gd name="connsiteX6" fmla="*/ 429998 w 500318"/>
              <a:gd name="connsiteY6" fmla="*/ 342240 h 351729"/>
              <a:gd name="connsiteX7" fmla="*/ 442356 w 500318"/>
              <a:gd name="connsiteY7" fmla="*/ 328333 h 351729"/>
              <a:gd name="connsiteX8" fmla="*/ 448944 w 500318"/>
              <a:gd name="connsiteY8" fmla="*/ 311780 h 351729"/>
              <a:gd name="connsiteX9" fmla="*/ 456590 w 500318"/>
              <a:gd name="connsiteY9" fmla="*/ 279732 h 351729"/>
              <a:gd name="connsiteX10" fmla="*/ 462264 w 500318"/>
              <a:gd name="connsiteY10" fmla="*/ 266066 h 351729"/>
              <a:gd name="connsiteX11" fmla="*/ 472265 w 500318"/>
              <a:gd name="connsiteY11" fmla="*/ 256057 h 351729"/>
              <a:gd name="connsiteX12" fmla="*/ 485489 w 500318"/>
              <a:gd name="connsiteY12" fmla="*/ 247106 h 351729"/>
              <a:gd name="connsiteX13" fmla="*/ 498280 w 500318"/>
              <a:gd name="connsiteY13" fmla="*/ 233729 h 351729"/>
              <a:gd name="connsiteX14" fmla="*/ 500299 w 500318"/>
              <a:gd name="connsiteY14" fmla="*/ 223527 h 351729"/>
              <a:gd name="connsiteX15" fmla="*/ 498232 w 500318"/>
              <a:gd name="connsiteY15" fmla="*/ 214192 h 351729"/>
              <a:gd name="connsiteX16" fmla="*/ 489720 w 500318"/>
              <a:gd name="connsiteY16" fmla="*/ 199371 h 351729"/>
              <a:gd name="connsiteX17" fmla="*/ 445241 w 500318"/>
              <a:gd name="connsiteY17" fmla="*/ 155245 h 351729"/>
              <a:gd name="connsiteX18" fmla="*/ 395088 w 500318"/>
              <a:gd name="connsiteY18" fmla="*/ 122619 h 351729"/>
              <a:gd name="connsiteX19" fmla="*/ 291751 w 500318"/>
              <a:gd name="connsiteY19" fmla="*/ 85952 h 351729"/>
              <a:gd name="connsiteX20" fmla="*/ 200821 w 500318"/>
              <a:gd name="connsiteY20" fmla="*/ 59390 h 351729"/>
              <a:gd name="connsiteX21" fmla="*/ 161727 w 500318"/>
              <a:gd name="connsiteY21" fmla="*/ 46301 h 351729"/>
              <a:gd name="connsiteX22" fmla="*/ 127490 w 500318"/>
              <a:gd name="connsiteY22" fmla="*/ 32827 h 351729"/>
              <a:gd name="connsiteX23" fmla="*/ 72480 w 500318"/>
              <a:gd name="connsiteY23" fmla="*/ 10884 h 351729"/>
              <a:gd name="connsiteX24" fmla="*/ 36175 w 500318"/>
              <a:gd name="connsiteY24" fmla="*/ 1116 h 351729"/>
              <a:gd name="connsiteX25" fmla="*/ 26462 w 500318"/>
              <a:gd name="connsiteY25" fmla="*/ 9 h 351729"/>
              <a:gd name="connsiteX26" fmla="*/ 23144 w 500318"/>
              <a:gd name="connsiteY26" fmla="*/ 924 h 351729"/>
              <a:gd name="connsiteX27" fmla="*/ 26414 w 500318"/>
              <a:gd name="connsiteY27" fmla="*/ 1116 h 351729"/>
              <a:gd name="connsiteX28" fmla="*/ 35839 w 500318"/>
              <a:gd name="connsiteY28" fmla="*/ 3281 h 351729"/>
              <a:gd name="connsiteX29" fmla="*/ 71037 w 500318"/>
              <a:gd name="connsiteY29" fmla="*/ 14830 h 351729"/>
              <a:gd name="connsiteX30" fmla="*/ 125182 w 500318"/>
              <a:gd name="connsiteY30" fmla="*/ 38361 h 351729"/>
              <a:gd name="connsiteX31" fmla="*/ 159323 w 500318"/>
              <a:gd name="connsiteY31" fmla="*/ 52653 h 351729"/>
              <a:gd name="connsiteX32" fmla="*/ 198465 w 500318"/>
              <a:gd name="connsiteY32" fmla="*/ 66559 h 351729"/>
              <a:gd name="connsiteX33" fmla="*/ 289299 w 500318"/>
              <a:gd name="connsiteY33" fmla="*/ 94469 h 351729"/>
              <a:gd name="connsiteX34" fmla="*/ 390616 w 500318"/>
              <a:gd name="connsiteY34" fmla="*/ 131425 h 351729"/>
              <a:gd name="connsiteX35" fmla="*/ 438798 w 500318"/>
              <a:gd name="connsiteY35" fmla="*/ 163233 h 351729"/>
              <a:gd name="connsiteX36" fmla="*/ 481258 w 500318"/>
              <a:gd name="connsiteY36" fmla="*/ 205627 h 351729"/>
              <a:gd name="connsiteX37" fmla="*/ 488759 w 500318"/>
              <a:gd name="connsiteY37" fmla="*/ 229254 h 351729"/>
              <a:gd name="connsiteX38" fmla="*/ 479430 w 500318"/>
              <a:gd name="connsiteY38" fmla="*/ 238493 h 351729"/>
              <a:gd name="connsiteX39" fmla="*/ 465966 w 500318"/>
              <a:gd name="connsiteY39" fmla="*/ 247539 h 351729"/>
              <a:gd name="connsiteX40" fmla="*/ 453272 w 500318"/>
              <a:gd name="connsiteY40" fmla="*/ 260436 h 351729"/>
              <a:gd name="connsiteX41" fmla="*/ 446347 w 500318"/>
              <a:gd name="connsiteY41" fmla="*/ 276796 h 351729"/>
              <a:gd name="connsiteX42" fmla="*/ 438653 w 500318"/>
              <a:gd name="connsiteY42" fmla="*/ 308941 h 351729"/>
              <a:gd name="connsiteX43" fmla="*/ 423747 w 500318"/>
              <a:gd name="connsiteY43" fmla="*/ 333626 h 351729"/>
              <a:gd name="connsiteX44" fmla="*/ 395857 w 500318"/>
              <a:gd name="connsiteY44" fmla="*/ 341181 h 351729"/>
              <a:gd name="connsiteX45" fmla="*/ 365082 w 500318"/>
              <a:gd name="connsiteY45" fmla="*/ 338102 h 351729"/>
              <a:gd name="connsiteX46" fmla="*/ 334884 w 500318"/>
              <a:gd name="connsiteY46" fmla="*/ 330835 h 351729"/>
              <a:gd name="connsiteX47" fmla="*/ 277229 w 500318"/>
              <a:gd name="connsiteY47" fmla="*/ 311010 h 351729"/>
              <a:gd name="connsiteX48" fmla="*/ 224239 w 500318"/>
              <a:gd name="connsiteY48" fmla="*/ 286854 h 351729"/>
              <a:gd name="connsiteX49" fmla="*/ 69018 w 500318"/>
              <a:gd name="connsiteY49" fmla="*/ 159287 h 351729"/>
              <a:gd name="connsiteX50" fmla="*/ 24971 w 500318"/>
              <a:gd name="connsiteY50" fmla="*/ 95480 h 351729"/>
              <a:gd name="connsiteX51" fmla="*/ 4583 w 500318"/>
              <a:gd name="connsiteY51" fmla="*/ 41200 h 351729"/>
              <a:gd name="connsiteX52" fmla="*/ 5015 w 500318"/>
              <a:gd name="connsiteY52" fmla="*/ 20508 h 351729"/>
              <a:gd name="connsiteX53" fmla="*/ 12276 w 500318"/>
              <a:gd name="connsiteY53" fmla="*/ 7612 h 351729"/>
              <a:gd name="connsiteX54" fmla="*/ 23144 w 500318"/>
              <a:gd name="connsiteY54" fmla="*/ 1020 h 351729"/>
              <a:gd name="connsiteX55" fmla="*/ 19778 w 500318"/>
              <a:gd name="connsiteY55" fmla="*/ 1453 h 351729"/>
              <a:gd name="connsiteX56" fmla="*/ 10882 w 500318"/>
              <a:gd name="connsiteY56" fmla="*/ 5976 h 351729"/>
              <a:gd name="connsiteX57" fmla="*/ 1938 w 500318"/>
              <a:gd name="connsiteY57" fmla="*/ 19642 h 351729"/>
              <a:gd name="connsiteX58" fmla="*/ 447 w 500318"/>
              <a:gd name="connsiteY58" fmla="*/ 41729 h 351729"/>
              <a:gd name="connsiteX59" fmla="*/ 19682 w 500318"/>
              <a:gd name="connsiteY59" fmla="*/ 98271 h 351729"/>
              <a:gd name="connsiteX60" fmla="*/ 63151 w 500318"/>
              <a:gd name="connsiteY60" fmla="*/ 164051 h 351729"/>
              <a:gd name="connsiteX61" fmla="*/ 129558 w 500318"/>
              <a:gd name="connsiteY61" fmla="*/ 232718 h 35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0318" h="351729">
                <a:moveTo>
                  <a:pt x="129654" y="232622"/>
                </a:moveTo>
                <a:cubicBezTo>
                  <a:pt x="155668" y="255094"/>
                  <a:pt x="185626" y="276796"/>
                  <a:pt x="219622" y="295371"/>
                </a:cubicBezTo>
                <a:cubicBezTo>
                  <a:pt x="236597" y="304658"/>
                  <a:pt x="254677" y="313127"/>
                  <a:pt x="273575" y="320393"/>
                </a:cubicBezTo>
                <a:cubicBezTo>
                  <a:pt x="292328" y="327804"/>
                  <a:pt x="311755" y="334829"/>
                  <a:pt x="331999" y="340748"/>
                </a:cubicBezTo>
                <a:cubicBezTo>
                  <a:pt x="342145" y="343635"/>
                  <a:pt x="352484" y="346378"/>
                  <a:pt x="363159" y="348351"/>
                </a:cubicBezTo>
                <a:cubicBezTo>
                  <a:pt x="373786" y="350420"/>
                  <a:pt x="384749" y="351864"/>
                  <a:pt x="396097" y="351720"/>
                </a:cubicBezTo>
                <a:cubicBezTo>
                  <a:pt x="407302" y="351575"/>
                  <a:pt x="419611" y="349506"/>
                  <a:pt x="429998" y="342240"/>
                </a:cubicBezTo>
                <a:cubicBezTo>
                  <a:pt x="435143" y="338631"/>
                  <a:pt x="439375" y="333674"/>
                  <a:pt x="442356" y="328333"/>
                </a:cubicBezTo>
                <a:cubicBezTo>
                  <a:pt x="445385" y="322992"/>
                  <a:pt x="447357" y="317362"/>
                  <a:pt x="448944" y="311780"/>
                </a:cubicBezTo>
                <a:cubicBezTo>
                  <a:pt x="452069" y="300616"/>
                  <a:pt x="453608" y="289741"/>
                  <a:pt x="456590" y="279732"/>
                </a:cubicBezTo>
                <a:cubicBezTo>
                  <a:pt x="458032" y="274824"/>
                  <a:pt x="459955" y="269915"/>
                  <a:pt x="462264" y="266066"/>
                </a:cubicBezTo>
                <a:cubicBezTo>
                  <a:pt x="464620" y="262264"/>
                  <a:pt x="468226" y="259040"/>
                  <a:pt x="472265" y="256057"/>
                </a:cubicBezTo>
                <a:cubicBezTo>
                  <a:pt x="476353" y="253073"/>
                  <a:pt x="480873" y="250330"/>
                  <a:pt x="485489" y="247106"/>
                </a:cubicBezTo>
                <a:cubicBezTo>
                  <a:pt x="490009" y="243882"/>
                  <a:pt x="495058" y="240081"/>
                  <a:pt x="498280" y="233729"/>
                </a:cubicBezTo>
                <a:cubicBezTo>
                  <a:pt x="499770" y="230553"/>
                  <a:pt x="500444" y="226896"/>
                  <a:pt x="500299" y="223527"/>
                </a:cubicBezTo>
                <a:cubicBezTo>
                  <a:pt x="500107" y="220111"/>
                  <a:pt x="499290" y="217031"/>
                  <a:pt x="498232" y="214192"/>
                </a:cubicBezTo>
                <a:cubicBezTo>
                  <a:pt x="496020" y="208514"/>
                  <a:pt x="492942" y="203846"/>
                  <a:pt x="489720" y="199371"/>
                </a:cubicBezTo>
                <a:cubicBezTo>
                  <a:pt x="476449" y="181952"/>
                  <a:pt x="460965" y="168334"/>
                  <a:pt x="445241" y="155245"/>
                </a:cubicBezTo>
                <a:cubicBezTo>
                  <a:pt x="429373" y="142445"/>
                  <a:pt x="412591" y="131233"/>
                  <a:pt x="395088" y="122619"/>
                </a:cubicBezTo>
                <a:cubicBezTo>
                  <a:pt x="360129" y="105104"/>
                  <a:pt x="324498" y="95335"/>
                  <a:pt x="291751" y="85952"/>
                </a:cubicBezTo>
                <a:cubicBezTo>
                  <a:pt x="258908" y="76761"/>
                  <a:pt x="228422" y="68051"/>
                  <a:pt x="200821" y="59390"/>
                </a:cubicBezTo>
                <a:cubicBezTo>
                  <a:pt x="187068" y="54866"/>
                  <a:pt x="173893" y="50872"/>
                  <a:pt x="161727" y="46301"/>
                </a:cubicBezTo>
                <a:cubicBezTo>
                  <a:pt x="149561" y="41826"/>
                  <a:pt x="138165" y="37206"/>
                  <a:pt x="127490" y="32827"/>
                </a:cubicBezTo>
                <a:cubicBezTo>
                  <a:pt x="106188" y="24069"/>
                  <a:pt x="87868" y="16418"/>
                  <a:pt x="72480" y="10884"/>
                </a:cubicBezTo>
                <a:cubicBezTo>
                  <a:pt x="57141" y="5399"/>
                  <a:pt x="44783" y="2078"/>
                  <a:pt x="36175" y="1116"/>
                </a:cubicBezTo>
                <a:cubicBezTo>
                  <a:pt x="31992" y="587"/>
                  <a:pt x="28770" y="-87"/>
                  <a:pt x="26462" y="9"/>
                </a:cubicBezTo>
                <a:cubicBezTo>
                  <a:pt x="24154" y="106"/>
                  <a:pt x="23144" y="779"/>
                  <a:pt x="23144" y="924"/>
                </a:cubicBezTo>
                <a:cubicBezTo>
                  <a:pt x="23144" y="1164"/>
                  <a:pt x="24346" y="875"/>
                  <a:pt x="26414" y="1116"/>
                </a:cubicBezTo>
                <a:cubicBezTo>
                  <a:pt x="28481" y="1405"/>
                  <a:pt x="31607" y="2367"/>
                  <a:pt x="35839" y="3281"/>
                </a:cubicBezTo>
                <a:cubicBezTo>
                  <a:pt x="44157" y="4918"/>
                  <a:pt x="56034" y="8767"/>
                  <a:pt x="71037" y="14830"/>
                </a:cubicBezTo>
                <a:cubicBezTo>
                  <a:pt x="86040" y="20893"/>
                  <a:pt x="104072" y="29074"/>
                  <a:pt x="125182" y="38361"/>
                </a:cubicBezTo>
                <a:cubicBezTo>
                  <a:pt x="135761" y="42981"/>
                  <a:pt x="147109" y="47889"/>
                  <a:pt x="159323" y="52653"/>
                </a:cubicBezTo>
                <a:cubicBezTo>
                  <a:pt x="171585" y="57513"/>
                  <a:pt x="184760" y="61796"/>
                  <a:pt x="198465" y="66559"/>
                </a:cubicBezTo>
                <a:cubicBezTo>
                  <a:pt x="226018" y="75750"/>
                  <a:pt x="256552" y="84893"/>
                  <a:pt x="289299" y="94469"/>
                </a:cubicBezTo>
                <a:cubicBezTo>
                  <a:pt x="321901" y="104238"/>
                  <a:pt x="356956" y="114247"/>
                  <a:pt x="390616" y="131425"/>
                </a:cubicBezTo>
                <a:cubicBezTo>
                  <a:pt x="407494" y="139895"/>
                  <a:pt x="423555" y="150722"/>
                  <a:pt x="438798" y="163233"/>
                </a:cubicBezTo>
                <a:cubicBezTo>
                  <a:pt x="453849" y="175792"/>
                  <a:pt x="469236" y="189699"/>
                  <a:pt x="481258" y="205627"/>
                </a:cubicBezTo>
                <a:cubicBezTo>
                  <a:pt x="486980" y="213374"/>
                  <a:pt x="492029" y="222998"/>
                  <a:pt x="488759" y="229254"/>
                </a:cubicBezTo>
                <a:cubicBezTo>
                  <a:pt x="487172" y="232526"/>
                  <a:pt x="483614" y="235654"/>
                  <a:pt x="479430" y="238493"/>
                </a:cubicBezTo>
                <a:cubicBezTo>
                  <a:pt x="475295" y="241380"/>
                  <a:pt x="470582" y="244171"/>
                  <a:pt x="465966" y="247539"/>
                </a:cubicBezTo>
                <a:cubicBezTo>
                  <a:pt x="461398" y="250956"/>
                  <a:pt x="456685" y="254950"/>
                  <a:pt x="453272" y="260436"/>
                </a:cubicBezTo>
                <a:cubicBezTo>
                  <a:pt x="450002" y="265921"/>
                  <a:pt x="448030" y="271263"/>
                  <a:pt x="446347" y="276796"/>
                </a:cubicBezTo>
                <a:cubicBezTo>
                  <a:pt x="443125" y="287768"/>
                  <a:pt x="441539" y="298787"/>
                  <a:pt x="438653" y="308941"/>
                </a:cubicBezTo>
                <a:cubicBezTo>
                  <a:pt x="435816" y="319046"/>
                  <a:pt x="431537" y="328333"/>
                  <a:pt x="423747" y="333626"/>
                </a:cubicBezTo>
                <a:cubicBezTo>
                  <a:pt x="416149" y="339016"/>
                  <a:pt x="406003" y="341037"/>
                  <a:pt x="395857" y="341181"/>
                </a:cubicBezTo>
                <a:cubicBezTo>
                  <a:pt x="385663" y="341374"/>
                  <a:pt x="375276" y="340074"/>
                  <a:pt x="365082" y="338102"/>
                </a:cubicBezTo>
                <a:cubicBezTo>
                  <a:pt x="354888" y="336225"/>
                  <a:pt x="344838" y="333578"/>
                  <a:pt x="334884" y="330835"/>
                </a:cubicBezTo>
                <a:cubicBezTo>
                  <a:pt x="315073" y="325109"/>
                  <a:pt x="295839" y="318276"/>
                  <a:pt x="277229" y="311010"/>
                </a:cubicBezTo>
                <a:cubicBezTo>
                  <a:pt x="258572" y="303984"/>
                  <a:pt x="240973" y="295852"/>
                  <a:pt x="224239" y="286854"/>
                </a:cubicBezTo>
                <a:cubicBezTo>
                  <a:pt x="157303" y="250715"/>
                  <a:pt x="105852" y="203365"/>
                  <a:pt x="69018" y="159287"/>
                </a:cubicBezTo>
                <a:cubicBezTo>
                  <a:pt x="50649" y="137152"/>
                  <a:pt x="35886" y="115546"/>
                  <a:pt x="24971" y="95480"/>
                </a:cubicBezTo>
                <a:cubicBezTo>
                  <a:pt x="14056" y="75462"/>
                  <a:pt x="6987" y="56887"/>
                  <a:pt x="4583" y="41200"/>
                </a:cubicBezTo>
                <a:cubicBezTo>
                  <a:pt x="3429" y="33357"/>
                  <a:pt x="3525" y="26283"/>
                  <a:pt x="5015" y="20508"/>
                </a:cubicBezTo>
                <a:cubicBezTo>
                  <a:pt x="6458" y="14686"/>
                  <a:pt x="9343" y="10403"/>
                  <a:pt x="12276" y="7612"/>
                </a:cubicBezTo>
                <a:cubicBezTo>
                  <a:pt x="18528" y="2175"/>
                  <a:pt x="23384" y="1597"/>
                  <a:pt x="23144" y="1020"/>
                </a:cubicBezTo>
                <a:cubicBezTo>
                  <a:pt x="23144" y="827"/>
                  <a:pt x="21990" y="1020"/>
                  <a:pt x="19778" y="1453"/>
                </a:cubicBezTo>
                <a:cubicBezTo>
                  <a:pt x="17662" y="2127"/>
                  <a:pt x="14392" y="3137"/>
                  <a:pt x="10882" y="5976"/>
                </a:cubicBezTo>
                <a:cubicBezTo>
                  <a:pt x="7372" y="8719"/>
                  <a:pt x="3861" y="13387"/>
                  <a:pt x="1938" y="19642"/>
                </a:cubicBezTo>
                <a:cubicBezTo>
                  <a:pt x="15" y="25898"/>
                  <a:pt x="-466" y="33501"/>
                  <a:pt x="447" y="41729"/>
                </a:cubicBezTo>
                <a:cubicBezTo>
                  <a:pt x="2275" y="58283"/>
                  <a:pt x="9007" y="77579"/>
                  <a:pt x="19682" y="98271"/>
                </a:cubicBezTo>
                <a:cubicBezTo>
                  <a:pt x="30309" y="119010"/>
                  <a:pt x="44879" y="141242"/>
                  <a:pt x="63151" y="164051"/>
                </a:cubicBezTo>
                <a:cubicBezTo>
                  <a:pt x="81472" y="186860"/>
                  <a:pt x="103543" y="210198"/>
                  <a:pt x="129558" y="232718"/>
                </a:cubicBezTo>
                <a:close/>
              </a:path>
            </a:pathLst>
          </a:custGeom>
          <a:solidFill>
            <a:srgbClr val="29C8C1"/>
          </a:solidFill>
          <a:ln w="0" cap="flat">
            <a:noFill/>
            <a:prstDash val="solid"/>
            <a:miter/>
          </a:ln>
        </p:spPr>
        <p:txBody>
          <a:bodyPr rtlCol="0" anchor="ctr"/>
          <a:lstStyle/>
          <a:p>
            <a:pPr rtl="0"/>
            <a:endParaRPr lang="en-AU" dirty="0"/>
          </a:p>
        </p:txBody>
      </p:sp>
      <p:sp>
        <p:nvSpPr>
          <p:cNvPr id="8" name="Freeform: Shape 7">
            <a:extLst>
              <a:ext uri="{FF2B5EF4-FFF2-40B4-BE49-F238E27FC236}">
                <a16:creationId xmlns:a16="http://schemas.microsoft.com/office/drawing/2014/main" id="{981B3B10-ECFD-E6F1-2389-0DA512390912}"/>
              </a:ext>
            </a:extLst>
          </p:cNvPr>
          <p:cNvSpPr/>
          <p:nvPr/>
        </p:nvSpPr>
        <p:spPr>
          <a:xfrm>
            <a:off x="7088455" y="1194734"/>
            <a:ext cx="452313" cy="196075"/>
          </a:xfrm>
          <a:custGeom>
            <a:avLst/>
            <a:gdLst>
              <a:gd name="connsiteX0" fmla="*/ 105711 w 452313"/>
              <a:gd name="connsiteY0" fmla="*/ 94171 h 196075"/>
              <a:gd name="connsiteX1" fmla="*/ 116290 w 452313"/>
              <a:gd name="connsiteY1" fmla="*/ 90707 h 196075"/>
              <a:gd name="connsiteX2" fmla="*/ 146248 w 452313"/>
              <a:gd name="connsiteY2" fmla="*/ 80409 h 196075"/>
              <a:gd name="connsiteX3" fmla="*/ 189092 w 452313"/>
              <a:gd name="connsiteY3" fmla="*/ 66261 h 196075"/>
              <a:gd name="connsiteX4" fmla="*/ 103836 w 452313"/>
              <a:gd name="connsiteY4" fmla="*/ 102688 h 196075"/>
              <a:gd name="connsiteX5" fmla="*/ 74792 w 452313"/>
              <a:gd name="connsiteY5" fmla="*/ 118376 h 196075"/>
              <a:gd name="connsiteX6" fmla="*/ 60270 w 452313"/>
              <a:gd name="connsiteY6" fmla="*/ 127663 h 196075"/>
              <a:gd name="connsiteX7" fmla="*/ 46229 w 452313"/>
              <a:gd name="connsiteY7" fmla="*/ 139164 h 196075"/>
              <a:gd name="connsiteX8" fmla="*/ 42959 w 452313"/>
              <a:gd name="connsiteY8" fmla="*/ 142869 h 196075"/>
              <a:gd name="connsiteX9" fmla="*/ 41420 w 452313"/>
              <a:gd name="connsiteY9" fmla="*/ 144938 h 196075"/>
              <a:gd name="connsiteX10" fmla="*/ 40026 w 452313"/>
              <a:gd name="connsiteY10" fmla="*/ 147488 h 196075"/>
              <a:gd name="connsiteX11" fmla="*/ 38343 w 452313"/>
              <a:gd name="connsiteY11" fmla="*/ 153936 h 196075"/>
              <a:gd name="connsiteX12" fmla="*/ 40843 w 452313"/>
              <a:gd name="connsiteY12" fmla="*/ 161203 h 196075"/>
              <a:gd name="connsiteX13" fmla="*/ 51230 w 452313"/>
              <a:gd name="connsiteY13" fmla="*/ 167410 h 196075"/>
              <a:gd name="connsiteX14" fmla="*/ 61232 w 452313"/>
              <a:gd name="connsiteY14" fmla="*/ 168757 h 196075"/>
              <a:gd name="connsiteX15" fmla="*/ 80274 w 452313"/>
              <a:gd name="connsiteY15" fmla="*/ 167218 h 196075"/>
              <a:gd name="connsiteX16" fmla="*/ 98546 w 452313"/>
              <a:gd name="connsiteY16" fmla="*/ 163320 h 196075"/>
              <a:gd name="connsiteX17" fmla="*/ 167213 w 452313"/>
              <a:gd name="connsiteY17" fmla="*/ 140944 h 196075"/>
              <a:gd name="connsiteX18" fmla="*/ 229003 w 452313"/>
              <a:gd name="connsiteY18" fmla="*/ 115103 h 196075"/>
              <a:gd name="connsiteX19" fmla="*/ 330320 w 452313"/>
              <a:gd name="connsiteY19" fmla="*/ 64385 h 196075"/>
              <a:gd name="connsiteX20" fmla="*/ 350179 w 452313"/>
              <a:gd name="connsiteY20" fmla="*/ 52499 h 196075"/>
              <a:gd name="connsiteX21" fmla="*/ 359075 w 452313"/>
              <a:gd name="connsiteY21" fmla="*/ 46292 h 196075"/>
              <a:gd name="connsiteX22" fmla="*/ 363115 w 452313"/>
              <a:gd name="connsiteY22" fmla="*/ 42779 h 196075"/>
              <a:gd name="connsiteX23" fmla="*/ 364990 w 452313"/>
              <a:gd name="connsiteY23" fmla="*/ 40806 h 196075"/>
              <a:gd name="connsiteX24" fmla="*/ 367009 w 452313"/>
              <a:gd name="connsiteY24" fmla="*/ 37774 h 196075"/>
              <a:gd name="connsiteX25" fmla="*/ 367202 w 452313"/>
              <a:gd name="connsiteY25" fmla="*/ 31230 h 196075"/>
              <a:gd name="connsiteX26" fmla="*/ 361816 w 452313"/>
              <a:gd name="connsiteY26" fmla="*/ 27621 h 196075"/>
              <a:gd name="connsiteX27" fmla="*/ 360277 w 452313"/>
              <a:gd name="connsiteY27" fmla="*/ 27236 h 196075"/>
              <a:gd name="connsiteX28" fmla="*/ 359075 w 452313"/>
              <a:gd name="connsiteY28" fmla="*/ 27044 h 196075"/>
              <a:gd name="connsiteX29" fmla="*/ 356767 w 452313"/>
              <a:gd name="connsiteY29" fmla="*/ 26755 h 196075"/>
              <a:gd name="connsiteX30" fmla="*/ 352391 w 452313"/>
              <a:gd name="connsiteY30" fmla="*/ 26562 h 196075"/>
              <a:gd name="connsiteX31" fmla="*/ 337196 w 452313"/>
              <a:gd name="connsiteY31" fmla="*/ 27717 h 196075"/>
              <a:gd name="connsiteX32" fmla="*/ 309787 w 452313"/>
              <a:gd name="connsiteY32" fmla="*/ 33780 h 196075"/>
              <a:gd name="connsiteX33" fmla="*/ 337629 w 452313"/>
              <a:gd name="connsiteY33" fmla="*/ 31856 h 196075"/>
              <a:gd name="connsiteX34" fmla="*/ 352295 w 452313"/>
              <a:gd name="connsiteY34" fmla="*/ 31663 h 196075"/>
              <a:gd name="connsiteX35" fmla="*/ 356238 w 452313"/>
              <a:gd name="connsiteY35" fmla="*/ 32048 h 196075"/>
              <a:gd name="connsiteX36" fmla="*/ 358210 w 452313"/>
              <a:gd name="connsiteY36" fmla="*/ 32385 h 196075"/>
              <a:gd name="connsiteX37" fmla="*/ 359172 w 452313"/>
              <a:gd name="connsiteY37" fmla="*/ 32577 h 196075"/>
              <a:gd name="connsiteX38" fmla="*/ 359797 w 452313"/>
              <a:gd name="connsiteY38" fmla="*/ 32770 h 196075"/>
              <a:gd name="connsiteX39" fmla="*/ 361528 w 452313"/>
              <a:gd name="connsiteY39" fmla="*/ 33925 h 196075"/>
              <a:gd name="connsiteX40" fmla="*/ 361239 w 452313"/>
              <a:gd name="connsiteY40" fmla="*/ 35898 h 196075"/>
              <a:gd name="connsiteX41" fmla="*/ 360518 w 452313"/>
              <a:gd name="connsiteY41" fmla="*/ 36764 h 196075"/>
              <a:gd name="connsiteX42" fmla="*/ 358931 w 452313"/>
              <a:gd name="connsiteY42" fmla="*/ 38256 h 196075"/>
              <a:gd name="connsiteX43" fmla="*/ 355229 w 452313"/>
              <a:gd name="connsiteY43" fmla="*/ 41191 h 196075"/>
              <a:gd name="connsiteX44" fmla="*/ 346621 w 452313"/>
              <a:gd name="connsiteY44" fmla="*/ 46725 h 196075"/>
              <a:gd name="connsiteX45" fmla="*/ 326714 w 452313"/>
              <a:gd name="connsiteY45" fmla="*/ 57744 h 196075"/>
              <a:gd name="connsiteX46" fmla="*/ 225060 w 452313"/>
              <a:gd name="connsiteY46" fmla="*/ 106105 h 196075"/>
              <a:gd name="connsiteX47" fmla="*/ 163558 w 452313"/>
              <a:gd name="connsiteY47" fmla="*/ 131176 h 196075"/>
              <a:gd name="connsiteX48" fmla="*/ 96094 w 452313"/>
              <a:gd name="connsiteY48" fmla="*/ 152974 h 196075"/>
              <a:gd name="connsiteX49" fmla="*/ 78591 w 452313"/>
              <a:gd name="connsiteY49" fmla="*/ 156727 h 196075"/>
              <a:gd name="connsiteX50" fmla="*/ 61713 w 452313"/>
              <a:gd name="connsiteY50" fmla="*/ 158171 h 196075"/>
              <a:gd name="connsiteX51" fmla="*/ 54067 w 452313"/>
              <a:gd name="connsiteY51" fmla="*/ 157209 h 196075"/>
              <a:gd name="connsiteX52" fmla="*/ 49355 w 452313"/>
              <a:gd name="connsiteY52" fmla="*/ 154803 h 196075"/>
              <a:gd name="connsiteX53" fmla="*/ 49018 w 452313"/>
              <a:gd name="connsiteY53" fmla="*/ 153936 h 196075"/>
              <a:gd name="connsiteX54" fmla="*/ 49643 w 452313"/>
              <a:gd name="connsiteY54" fmla="*/ 152012 h 196075"/>
              <a:gd name="connsiteX55" fmla="*/ 50316 w 452313"/>
              <a:gd name="connsiteY55" fmla="*/ 150712 h 196075"/>
              <a:gd name="connsiteX56" fmla="*/ 51422 w 452313"/>
              <a:gd name="connsiteY56" fmla="*/ 149317 h 196075"/>
              <a:gd name="connsiteX57" fmla="*/ 53875 w 452313"/>
              <a:gd name="connsiteY57" fmla="*/ 146526 h 196075"/>
              <a:gd name="connsiteX58" fmla="*/ 80178 w 452313"/>
              <a:gd name="connsiteY58" fmla="*/ 127230 h 196075"/>
              <a:gd name="connsiteX59" fmla="*/ 108404 w 452313"/>
              <a:gd name="connsiteY59" fmla="*/ 111591 h 196075"/>
              <a:gd name="connsiteX60" fmla="*/ 211308 w 452313"/>
              <a:gd name="connsiteY60" fmla="*/ 66454 h 196075"/>
              <a:gd name="connsiteX61" fmla="*/ 283100 w 452313"/>
              <a:gd name="connsiteY61" fmla="*/ 41961 h 196075"/>
              <a:gd name="connsiteX62" fmla="*/ 309787 w 452313"/>
              <a:gd name="connsiteY62" fmla="*/ 33780 h 196075"/>
              <a:gd name="connsiteX63" fmla="*/ 282042 w 452313"/>
              <a:gd name="connsiteY63" fmla="*/ 37919 h 196075"/>
              <a:gd name="connsiteX64" fmla="*/ 234245 w 452313"/>
              <a:gd name="connsiteY64" fmla="*/ 50959 h 196075"/>
              <a:gd name="connsiteX65" fmla="*/ 239774 w 452313"/>
              <a:gd name="connsiteY65" fmla="*/ 48794 h 196075"/>
              <a:gd name="connsiteX66" fmla="*/ 241986 w 452313"/>
              <a:gd name="connsiteY66" fmla="*/ 47735 h 196075"/>
              <a:gd name="connsiteX67" fmla="*/ 243333 w 452313"/>
              <a:gd name="connsiteY67" fmla="*/ 46917 h 196075"/>
              <a:gd name="connsiteX68" fmla="*/ 244343 w 452313"/>
              <a:gd name="connsiteY68" fmla="*/ 45907 h 196075"/>
              <a:gd name="connsiteX69" fmla="*/ 244631 w 452313"/>
              <a:gd name="connsiteY69" fmla="*/ 45522 h 196075"/>
              <a:gd name="connsiteX70" fmla="*/ 244631 w 452313"/>
              <a:gd name="connsiteY70" fmla="*/ 45522 h 196075"/>
              <a:gd name="connsiteX71" fmla="*/ 244631 w 452313"/>
              <a:gd name="connsiteY71" fmla="*/ 45425 h 196075"/>
              <a:gd name="connsiteX72" fmla="*/ 243381 w 452313"/>
              <a:gd name="connsiteY72" fmla="*/ 45425 h 196075"/>
              <a:gd name="connsiteX73" fmla="*/ 242804 w 452313"/>
              <a:gd name="connsiteY73" fmla="*/ 45618 h 196075"/>
              <a:gd name="connsiteX74" fmla="*/ 242515 w 452313"/>
              <a:gd name="connsiteY74" fmla="*/ 45618 h 196075"/>
              <a:gd name="connsiteX75" fmla="*/ 242852 w 452313"/>
              <a:gd name="connsiteY75" fmla="*/ 45618 h 196075"/>
              <a:gd name="connsiteX76" fmla="*/ 244150 w 452313"/>
              <a:gd name="connsiteY76" fmla="*/ 45377 h 196075"/>
              <a:gd name="connsiteX77" fmla="*/ 262711 w 452313"/>
              <a:gd name="connsiteY77" fmla="*/ 41480 h 196075"/>
              <a:gd name="connsiteX78" fmla="*/ 286514 w 452313"/>
              <a:gd name="connsiteY78" fmla="*/ 36668 h 196075"/>
              <a:gd name="connsiteX79" fmla="*/ 337677 w 452313"/>
              <a:gd name="connsiteY79" fmla="*/ 27188 h 196075"/>
              <a:gd name="connsiteX80" fmla="*/ 410431 w 452313"/>
              <a:gd name="connsiteY80" fmla="*/ 15783 h 196075"/>
              <a:gd name="connsiteX81" fmla="*/ 410768 w 452313"/>
              <a:gd name="connsiteY81" fmla="*/ 18334 h 196075"/>
              <a:gd name="connsiteX82" fmla="*/ 413124 w 452313"/>
              <a:gd name="connsiteY82" fmla="*/ 22905 h 196075"/>
              <a:gd name="connsiteX83" fmla="*/ 413124 w 452313"/>
              <a:gd name="connsiteY83" fmla="*/ 22953 h 196075"/>
              <a:gd name="connsiteX84" fmla="*/ 408796 w 452313"/>
              <a:gd name="connsiteY84" fmla="*/ 26707 h 196075"/>
              <a:gd name="connsiteX85" fmla="*/ 402208 w 452313"/>
              <a:gd name="connsiteY85" fmla="*/ 31134 h 196075"/>
              <a:gd name="connsiteX86" fmla="*/ 372924 w 452313"/>
              <a:gd name="connsiteY86" fmla="*/ 47110 h 196075"/>
              <a:gd name="connsiteX87" fmla="*/ 342293 w 452313"/>
              <a:gd name="connsiteY87" fmla="*/ 62893 h 196075"/>
              <a:gd name="connsiteX88" fmla="*/ 163943 w 452313"/>
              <a:gd name="connsiteY88" fmla="*/ 147681 h 196075"/>
              <a:gd name="connsiteX89" fmla="*/ 83255 w 452313"/>
              <a:gd name="connsiteY89" fmla="*/ 176938 h 196075"/>
              <a:gd name="connsiteX90" fmla="*/ 73686 w 452313"/>
              <a:gd name="connsiteY90" fmla="*/ 179777 h 196075"/>
              <a:gd name="connsiteX91" fmla="*/ 64213 w 452313"/>
              <a:gd name="connsiteY91" fmla="*/ 182039 h 196075"/>
              <a:gd name="connsiteX92" fmla="*/ 45700 w 452313"/>
              <a:gd name="connsiteY92" fmla="*/ 185984 h 196075"/>
              <a:gd name="connsiteX93" fmla="*/ 27860 w 452313"/>
              <a:gd name="connsiteY93" fmla="*/ 188102 h 196075"/>
              <a:gd name="connsiteX94" fmla="*/ 11848 w 452313"/>
              <a:gd name="connsiteY94" fmla="*/ 186802 h 196075"/>
              <a:gd name="connsiteX95" fmla="*/ 15887 w 452313"/>
              <a:gd name="connsiteY95" fmla="*/ 165678 h 196075"/>
              <a:gd name="connsiteX96" fmla="*/ 36131 w 452313"/>
              <a:gd name="connsiteY96" fmla="*/ 145275 h 196075"/>
              <a:gd name="connsiteX97" fmla="*/ 72772 w 452313"/>
              <a:gd name="connsiteY97" fmla="*/ 116547 h 196075"/>
              <a:gd name="connsiteX98" fmla="*/ 97296 w 452313"/>
              <a:gd name="connsiteY98" fmla="*/ 100138 h 196075"/>
              <a:gd name="connsiteX99" fmla="*/ 105904 w 452313"/>
              <a:gd name="connsiteY99" fmla="*/ 94412 h 196075"/>
              <a:gd name="connsiteX100" fmla="*/ 96238 w 452313"/>
              <a:gd name="connsiteY100" fmla="*/ 98261 h 196075"/>
              <a:gd name="connsiteX101" fmla="*/ 70416 w 452313"/>
              <a:gd name="connsiteY101" fmla="*/ 113082 h 196075"/>
              <a:gd name="connsiteX102" fmla="*/ 32188 w 452313"/>
              <a:gd name="connsiteY102" fmla="*/ 140751 h 196075"/>
              <a:gd name="connsiteX103" fmla="*/ 10646 w 452313"/>
              <a:gd name="connsiteY103" fmla="*/ 161299 h 196075"/>
              <a:gd name="connsiteX104" fmla="*/ 1317 w 452313"/>
              <a:gd name="connsiteY104" fmla="*/ 175639 h 196075"/>
              <a:gd name="connsiteX105" fmla="*/ 788 w 452313"/>
              <a:gd name="connsiteY105" fmla="*/ 186369 h 196075"/>
              <a:gd name="connsiteX106" fmla="*/ 9203 w 452313"/>
              <a:gd name="connsiteY106" fmla="*/ 193924 h 196075"/>
              <a:gd name="connsiteX107" fmla="*/ 28149 w 452313"/>
              <a:gd name="connsiteY107" fmla="*/ 196042 h 196075"/>
              <a:gd name="connsiteX108" fmla="*/ 46950 w 452313"/>
              <a:gd name="connsiteY108" fmla="*/ 194165 h 196075"/>
              <a:gd name="connsiteX109" fmla="*/ 66088 w 452313"/>
              <a:gd name="connsiteY109" fmla="*/ 190460 h 196075"/>
              <a:gd name="connsiteX110" fmla="*/ 75850 w 452313"/>
              <a:gd name="connsiteY110" fmla="*/ 188294 h 196075"/>
              <a:gd name="connsiteX111" fmla="*/ 85611 w 452313"/>
              <a:gd name="connsiteY111" fmla="*/ 185551 h 196075"/>
              <a:gd name="connsiteX112" fmla="*/ 167598 w 452313"/>
              <a:gd name="connsiteY112" fmla="*/ 156872 h 196075"/>
              <a:gd name="connsiteX113" fmla="*/ 347102 w 452313"/>
              <a:gd name="connsiteY113" fmla="*/ 72469 h 196075"/>
              <a:gd name="connsiteX114" fmla="*/ 377685 w 452313"/>
              <a:gd name="connsiteY114" fmla="*/ 56686 h 196075"/>
              <a:gd name="connsiteX115" fmla="*/ 407738 w 452313"/>
              <a:gd name="connsiteY115" fmla="*/ 40180 h 196075"/>
              <a:gd name="connsiteX116" fmla="*/ 414999 w 452313"/>
              <a:gd name="connsiteY116" fmla="*/ 35272 h 196075"/>
              <a:gd name="connsiteX117" fmla="*/ 418606 w 452313"/>
              <a:gd name="connsiteY117" fmla="*/ 32385 h 196075"/>
              <a:gd name="connsiteX118" fmla="*/ 419519 w 452313"/>
              <a:gd name="connsiteY118" fmla="*/ 31567 h 196075"/>
              <a:gd name="connsiteX119" fmla="*/ 420577 w 452313"/>
              <a:gd name="connsiteY119" fmla="*/ 30412 h 196075"/>
              <a:gd name="connsiteX120" fmla="*/ 421587 w 452313"/>
              <a:gd name="connsiteY120" fmla="*/ 29257 h 196075"/>
              <a:gd name="connsiteX121" fmla="*/ 422501 w 452313"/>
              <a:gd name="connsiteY121" fmla="*/ 27525 h 196075"/>
              <a:gd name="connsiteX122" fmla="*/ 423078 w 452313"/>
              <a:gd name="connsiteY122" fmla="*/ 19633 h 196075"/>
              <a:gd name="connsiteX123" fmla="*/ 422404 w 452313"/>
              <a:gd name="connsiteY123" fmla="*/ 17997 h 196075"/>
              <a:gd name="connsiteX124" fmla="*/ 421924 w 452313"/>
              <a:gd name="connsiteY124" fmla="*/ 17083 h 196075"/>
              <a:gd name="connsiteX125" fmla="*/ 421779 w 452313"/>
              <a:gd name="connsiteY125" fmla="*/ 16890 h 196075"/>
              <a:gd name="connsiteX126" fmla="*/ 421779 w 452313"/>
              <a:gd name="connsiteY126" fmla="*/ 16890 h 196075"/>
              <a:gd name="connsiteX127" fmla="*/ 421779 w 452313"/>
              <a:gd name="connsiteY127" fmla="*/ 16794 h 196075"/>
              <a:gd name="connsiteX128" fmla="*/ 421779 w 452313"/>
              <a:gd name="connsiteY128" fmla="*/ 16794 h 196075"/>
              <a:gd name="connsiteX129" fmla="*/ 422116 w 452313"/>
              <a:gd name="connsiteY129" fmla="*/ 16650 h 196075"/>
              <a:gd name="connsiteX130" fmla="*/ 425290 w 452313"/>
              <a:gd name="connsiteY130" fmla="*/ 15591 h 196075"/>
              <a:gd name="connsiteX131" fmla="*/ 429040 w 452313"/>
              <a:gd name="connsiteY131" fmla="*/ 14677 h 196075"/>
              <a:gd name="connsiteX132" fmla="*/ 436830 w 452313"/>
              <a:gd name="connsiteY132" fmla="*/ 13185 h 196075"/>
              <a:gd name="connsiteX133" fmla="*/ 452314 w 452313"/>
              <a:gd name="connsiteY133" fmla="*/ 10201 h 196075"/>
              <a:gd name="connsiteX134" fmla="*/ 450871 w 452313"/>
              <a:gd name="connsiteY134" fmla="*/ 0 h 196075"/>
              <a:gd name="connsiteX135" fmla="*/ 335898 w 452313"/>
              <a:gd name="connsiteY135" fmla="*/ 18093 h 196075"/>
              <a:gd name="connsiteX136" fmla="*/ 284687 w 452313"/>
              <a:gd name="connsiteY136" fmla="*/ 28295 h 196075"/>
              <a:gd name="connsiteX137" fmla="*/ 260884 w 452313"/>
              <a:gd name="connsiteY137" fmla="*/ 33492 h 196075"/>
              <a:gd name="connsiteX138" fmla="*/ 234293 w 452313"/>
              <a:gd name="connsiteY138" fmla="*/ 39651 h 196075"/>
              <a:gd name="connsiteX139" fmla="*/ 233764 w 452313"/>
              <a:gd name="connsiteY139" fmla="*/ 42971 h 196075"/>
              <a:gd name="connsiteX140" fmla="*/ 233764 w 452313"/>
              <a:gd name="connsiteY140" fmla="*/ 43404 h 196075"/>
              <a:gd name="connsiteX141" fmla="*/ 221117 w 452313"/>
              <a:gd name="connsiteY141" fmla="*/ 48409 h 196075"/>
              <a:gd name="connsiteX142" fmla="*/ 191833 w 452313"/>
              <a:gd name="connsiteY142" fmla="*/ 59140 h 196075"/>
              <a:gd name="connsiteX143" fmla="*/ 144853 w 452313"/>
              <a:gd name="connsiteY143" fmla="*/ 76607 h 196075"/>
              <a:gd name="connsiteX144" fmla="*/ 105807 w 452313"/>
              <a:gd name="connsiteY144" fmla="*/ 94412 h 196075"/>
              <a:gd name="connsiteX145" fmla="*/ 239871 w 452313"/>
              <a:gd name="connsiteY145" fmla="*/ 42057 h 196075"/>
              <a:gd name="connsiteX146" fmla="*/ 239486 w 452313"/>
              <a:gd name="connsiteY146" fmla="*/ 41672 h 196075"/>
              <a:gd name="connsiteX147" fmla="*/ 239390 w 452313"/>
              <a:gd name="connsiteY147" fmla="*/ 41528 h 196075"/>
              <a:gd name="connsiteX148" fmla="*/ 239871 w 452313"/>
              <a:gd name="connsiteY148" fmla="*/ 42057 h 196075"/>
              <a:gd name="connsiteX149" fmla="*/ 235495 w 452313"/>
              <a:gd name="connsiteY149" fmla="*/ 39555 h 196075"/>
              <a:gd name="connsiteX150" fmla="*/ 235879 w 452313"/>
              <a:gd name="connsiteY150" fmla="*/ 39555 h 196075"/>
              <a:gd name="connsiteX151" fmla="*/ 236505 w 452313"/>
              <a:gd name="connsiteY151" fmla="*/ 39410 h 196075"/>
              <a:gd name="connsiteX152" fmla="*/ 236360 w 452313"/>
              <a:gd name="connsiteY152" fmla="*/ 39507 h 196075"/>
              <a:gd name="connsiteX153" fmla="*/ 236120 w 452313"/>
              <a:gd name="connsiteY153" fmla="*/ 39651 h 196075"/>
              <a:gd name="connsiteX154" fmla="*/ 237226 w 452313"/>
              <a:gd name="connsiteY154" fmla="*/ 40180 h 196075"/>
              <a:gd name="connsiteX155" fmla="*/ 238332 w 452313"/>
              <a:gd name="connsiteY155" fmla="*/ 40710 h 196075"/>
              <a:gd name="connsiteX156" fmla="*/ 238620 w 452313"/>
              <a:gd name="connsiteY156" fmla="*/ 40854 h 196075"/>
              <a:gd name="connsiteX157" fmla="*/ 238188 w 452313"/>
              <a:gd name="connsiteY157" fmla="*/ 41095 h 196075"/>
              <a:gd name="connsiteX158" fmla="*/ 237274 w 452313"/>
              <a:gd name="connsiteY158" fmla="*/ 41576 h 196075"/>
              <a:gd name="connsiteX159" fmla="*/ 237274 w 452313"/>
              <a:gd name="connsiteY159" fmla="*/ 41431 h 196075"/>
              <a:gd name="connsiteX160" fmla="*/ 235639 w 452313"/>
              <a:gd name="connsiteY160" fmla="*/ 39940 h 196075"/>
              <a:gd name="connsiteX161" fmla="*/ 235254 w 452313"/>
              <a:gd name="connsiteY161" fmla="*/ 39555 h 196075"/>
              <a:gd name="connsiteX162" fmla="*/ 235447 w 452313"/>
              <a:gd name="connsiteY162" fmla="*/ 39555 h 19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2313" h="196075">
                <a:moveTo>
                  <a:pt x="105711" y="94171"/>
                </a:moveTo>
                <a:cubicBezTo>
                  <a:pt x="105904" y="94508"/>
                  <a:pt x="109462" y="93161"/>
                  <a:pt x="116290" y="90707"/>
                </a:cubicBezTo>
                <a:cubicBezTo>
                  <a:pt x="123118" y="88252"/>
                  <a:pt x="133168" y="84740"/>
                  <a:pt x="146248" y="80409"/>
                </a:cubicBezTo>
                <a:cubicBezTo>
                  <a:pt x="158173" y="76463"/>
                  <a:pt x="172599" y="71699"/>
                  <a:pt x="189092" y="66261"/>
                </a:cubicBezTo>
                <a:cubicBezTo>
                  <a:pt x="163222" y="75837"/>
                  <a:pt x="134370" y="87627"/>
                  <a:pt x="103836" y="102688"/>
                </a:cubicBezTo>
                <a:cubicBezTo>
                  <a:pt x="94267" y="107452"/>
                  <a:pt x="84505" y="112601"/>
                  <a:pt x="74792" y="118376"/>
                </a:cubicBezTo>
                <a:cubicBezTo>
                  <a:pt x="69935" y="121311"/>
                  <a:pt x="65079" y="124294"/>
                  <a:pt x="60270" y="127663"/>
                </a:cubicBezTo>
                <a:cubicBezTo>
                  <a:pt x="55462" y="130983"/>
                  <a:pt x="50701" y="134640"/>
                  <a:pt x="46229" y="139164"/>
                </a:cubicBezTo>
                <a:cubicBezTo>
                  <a:pt x="45123" y="140270"/>
                  <a:pt x="43969" y="141425"/>
                  <a:pt x="42959" y="142869"/>
                </a:cubicBezTo>
                <a:lnTo>
                  <a:pt x="41420" y="144938"/>
                </a:lnTo>
                <a:lnTo>
                  <a:pt x="40026" y="147488"/>
                </a:lnTo>
                <a:cubicBezTo>
                  <a:pt x="39112" y="149028"/>
                  <a:pt x="38391" y="151434"/>
                  <a:pt x="38343" y="153936"/>
                </a:cubicBezTo>
                <a:cubicBezTo>
                  <a:pt x="38343" y="156439"/>
                  <a:pt x="39209" y="159326"/>
                  <a:pt x="40843" y="161203"/>
                </a:cubicBezTo>
                <a:cubicBezTo>
                  <a:pt x="44017" y="165197"/>
                  <a:pt x="47864" y="166400"/>
                  <a:pt x="51230" y="167410"/>
                </a:cubicBezTo>
                <a:cubicBezTo>
                  <a:pt x="54644" y="168276"/>
                  <a:pt x="57962" y="168613"/>
                  <a:pt x="61232" y="168757"/>
                </a:cubicBezTo>
                <a:cubicBezTo>
                  <a:pt x="67723" y="168950"/>
                  <a:pt x="74071" y="168276"/>
                  <a:pt x="80274" y="167218"/>
                </a:cubicBezTo>
                <a:cubicBezTo>
                  <a:pt x="86333" y="165918"/>
                  <a:pt x="92488" y="164860"/>
                  <a:pt x="98546" y="163320"/>
                </a:cubicBezTo>
                <a:cubicBezTo>
                  <a:pt x="122734" y="157353"/>
                  <a:pt x="145478" y="149269"/>
                  <a:pt x="167213" y="140944"/>
                </a:cubicBezTo>
                <a:cubicBezTo>
                  <a:pt x="188948" y="132619"/>
                  <a:pt x="209577" y="123861"/>
                  <a:pt x="229003" y="115103"/>
                </a:cubicBezTo>
                <a:cubicBezTo>
                  <a:pt x="267905" y="97588"/>
                  <a:pt x="302142" y="80216"/>
                  <a:pt x="330320" y="64385"/>
                </a:cubicBezTo>
                <a:cubicBezTo>
                  <a:pt x="337341" y="60391"/>
                  <a:pt x="343976" y="56445"/>
                  <a:pt x="350179" y="52499"/>
                </a:cubicBezTo>
                <a:cubicBezTo>
                  <a:pt x="353257" y="50430"/>
                  <a:pt x="356286" y="48457"/>
                  <a:pt x="359075" y="46292"/>
                </a:cubicBezTo>
                <a:cubicBezTo>
                  <a:pt x="360470" y="45185"/>
                  <a:pt x="361816" y="44030"/>
                  <a:pt x="363115" y="42779"/>
                </a:cubicBezTo>
                <a:cubicBezTo>
                  <a:pt x="363788" y="42201"/>
                  <a:pt x="364365" y="41431"/>
                  <a:pt x="364990" y="40806"/>
                </a:cubicBezTo>
                <a:cubicBezTo>
                  <a:pt x="365711" y="39795"/>
                  <a:pt x="366529" y="38881"/>
                  <a:pt x="367009" y="37774"/>
                </a:cubicBezTo>
                <a:cubicBezTo>
                  <a:pt x="368067" y="35705"/>
                  <a:pt x="368452" y="33155"/>
                  <a:pt x="367202" y="31230"/>
                </a:cubicBezTo>
                <a:cubicBezTo>
                  <a:pt x="366048" y="29305"/>
                  <a:pt x="363884" y="28247"/>
                  <a:pt x="361816" y="27621"/>
                </a:cubicBezTo>
                <a:lnTo>
                  <a:pt x="360277" y="27236"/>
                </a:lnTo>
                <a:lnTo>
                  <a:pt x="359075" y="27044"/>
                </a:lnTo>
                <a:cubicBezTo>
                  <a:pt x="358258" y="26899"/>
                  <a:pt x="357537" y="26851"/>
                  <a:pt x="356767" y="26755"/>
                </a:cubicBezTo>
                <a:cubicBezTo>
                  <a:pt x="355229" y="26610"/>
                  <a:pt x="353786" y="26562"/>
                  <a:pt x="352391" y="26562"/>
                </a:cubicBezTo>
                <a:cubicBezTo>
                  <a:pt x="346717" y="26562"/>
                  <a:pt x="341668" y="27092"/>
                  <a:pt x="337196" y="27717"/>
                </a:cubicBezTo>
                <a:cubicBezTo>
                  <a:pt x="319212" y="30268"/>
                  <a:pt x="309643" y="33155"/>
                  <a:pt x="309787" y="33780"/>
                </a:cubicBezTo>
                <a:cubicBezTo>
                  <a:pt x="309932" y="34598"/>
                  <a:pt x="319837" y="33059"/>
                  <a:pt x="337629" y="31856"/>
                </a:cubicBezTo>
                <a:cubicBezTo>
                  <a:pt x="342053" y="31615"/>
                  <a:pt x="347006" y="31374"/>
                  <a:pt x="352295" y="31663"/>
                </a:cubicBezTo>
                <a:cubicBezTo>
                  <a:pt x="353594" y="31759"/>
                  <a:pt x="354940" y="31856"/>
                  <a:pt x="356238" y="32048"/>
                </a:cubicBezTo>
                <a:cubicBezTo>
                  <a:pt x="356863" y="32144"/>
                  <a:pt x="357585" y="32241"/>
                  <a:pt x="358210" y="32385"/>
                </a:cubicBezTo>
                <a:lnTo>
                  <a:pt x="359172" y="32577"/>
                </a:lnTo>
                <a:lnTo>
                  <a:pt x="359797" y="32770"/>
                </a:lnTo>
                <a:cubicBezTo>
                  <a:pt x="360518" y="33010"/>
                  <a:pt x="361143" y="33299"/>
                  <a:pt x="361528" y="33925"/>
                </a:cubicBezTo>
                <a:cubicBezTo>
                  <a:pt x="361961" y="34550"/>
                  <a:pt x="361624" y="35368"/>
                  <a:pt x="361239" y="35898"/>
                </a:cubicBezTo>
                <a:lnTo>
                  <a:pt x="360518" y="36764"/>
                </a:lnTo>
                <a:cubicBezTo>
                  <a:pt x="359989" y="37245"/>
                  <a:pt x="359556" y="37774"/>
                  <a:pt x="358931" y="38256"/>
                </a:cubicBezTo>
                <a:cubicBezTo>
                  <a:pt x="357825" y="39266"/>
                  <a:pt x="356575" y="40228"/>
                  <a:pt x="355229" y="41191"/>
                </a:cubicBezTo>
                <a:cubicBezTo>
                  <a:pt x="352536" y="43068"/>
                  <a:pt x="349602" y="44848"/>
                  <a:pt x="346621" y="46725"/>
                </a:cubicBezTo>
                <a:cubicBezTo>
                  <a:pt x="340466" y="50334"/>
                  <a:pt x="333782" y="53991"/>
                  <a:pt x="326714" y="57744"/>
                </a:cubicBezTo>
                <a:cubicBezTo>
                  <a:pt x="298343" y="72565"/>
                  <a:pt x="263914" y="89167"/>
                  <a:pt x="225060" y="106105"/>
                </a:cubicBezTo>
                <a:cubicBezTo>
                  <a:pt x="205633" y="114574"/>
                  <a:pt x="185101" y="123091"/>
                  <a:pt x="163558" y="131176"/>
                </a:cubicBezTo>
                <a:cubicBezTo>
                  <a:pt x="142064" y="139260"/>
                  <a:pt x="119512" y="147151"/>
                  <a:pt x="96094" y="152974"/>
                </a:cubicBezTo>
                <a:cubicBezTo>
                  <a:pt x="90228" y="154418"/>
                  <a:pt x="84361" y="155476"/>
                  <a:pt x="78591" y="156727"/>
                </a:cubicBezTo>
                <a:cubicBezTo>
                  <a:pt x="72869" y="157738"/>
                  <a:pt x="67146" y="158315"/>
                  <a:pt x="61713" y="158171"/>
                </a:cubicBezTo>
                <a:cubicBezTo>
                  <a:pt x="59020" y="158075"/>
                  <a:pt x="56375" y="157786"/>
                  <a:pt x="54067" y="157209"/>
                </a:cubicBezTo>
                <a:cubicBezTo>
                  <a:pt x="51807" y="156631"/>
                  <a:pt x="49787" y="155572"/>
                  <a:pt x="49355" y="154803"/>
                </a:cubicBezTo>
                <a:lnTo>
                  <a:pt x="49018" y="153936"/>
                </a:lnTo>
                <a:cubicBezTo>
                  <a:pt x="49114" y="153503"/>
                  <a:pt x="49018" y="152974"/>
                  <a:pt x="49643" y="152012"/>
                </a:cubicBezTo>
                <a:lnTo>
                  <a:pt x="50316" y="150712"/>
                </a:lnTo>
                <a:lnTo>
                  <a:pt x="51422" y="149317"/>
                </a:lnTo>
                <a:cubicBezTo>
                  <a:pt x="52047" y="148354"/>
                  <a:pt x="52961" y="147440"/>
                  <a:pt x="53875" y="146526"/>
                </a:cubicBezTo>
                <a:cubicBezTo>
                  <a:pt x="61280" y="139067"/>
                  <a:pt x="70945" y="132908"/>
                  <a:pt x="80178" y="127230"/>
                </a:cubicBezTo>
                <a:cubicBezTo>
                  <a:pt x="89554" y="121552"/>
                  <a:pt x="99027" y="116403"/>
                  <a:pt x="108404" y="111591"/>
                </a:cubicBezTo>
                <a:cubicBezTo>
                  <a:pt x="146007" y="92439"/>
                  <a:pt x="181398" y="77907"/>
                  <a:pt x="211308" y="66454"/>
                </a:cubicBezTo>
                <a:cubicBezTo>
                  <a:pt x="241265" y="55049"/>
                  <a:pt x="265933" y="47062"/>
                  <a:pt x="283100" y="41961"/>
                </a:cubicBezTo>
                <a:cubicBezTo>
                  <a:pt x="300266" y="36860"/>
                  <a:pt x="309932" y="34598"/>
                  <a:pt x="309787" y="33780"/>
                </a:cubicBezTo>
                <a:cubicBezTo>
                  <a:pt x="309691" y="33107"/>
                  <a:pt x="299689" y="34021"/>
                  <a:pt x="282042" y="37919"/>
                </a:cubicBezTo>
                <a:cubicBezTo>
                  <a:pt x="269636" y="40662"/>
                  <a:pt x="253383" y="44992"/>
                  <a:pt x="234245" y="50959"/>
                </a:cubicBezTo>
                <a:cubicBezTo>
                  <a:pt x="236072" y="50237"/>
                  <a:pt x="237899" y="49564"/>
                  <a:pt x="239774" y="48794"/>
                </a:cubicBezTo>
                <a:cubicBezTo>
                  <a:pt x="240496" y="48457"/>
                  <a:pt x="241217" y="48168"/>
                  <a:pt x="241986" y="47735"/>
                </a:cubicBezTo>
                <a:cubicBezTo>
                  <a:pt x="242371" y="47543"/>
                  <a:pt x="242804" y="47302"/>
                  <a:pt x="243333" y="46917"/>
                </a:cubicBezTo>
                <a:cubicBezTo>
                  <a:pt x="243669" y="46628"/>
                  <a:pt x="243910" y="46532"/>
                  <a:pt x="244343" y="45907"/>
                </a:cubicBezTo>
                <a:lnTo>
                  <a:pt x="244631" y="45522"/>
                </a:lnTo>
                <a:lnTo>
                  <a:pt x="244631" y="45522"/>
                </a:lnTo>
                <a:cubicBezTo>
                  <a:pt x="244631" y="45522"/>
                  <a:pt x="244631" y="45425"/>
                  <a:pt x="244631" y="45425"/>
                </a:cubicBezTo>
                <a:lnTo>
                  <a:pt x="243381" y="45425"/>
                </a:lnTo>
                <a:cubicBezTo>
                  <a:pt x="243381" y="45425"/>
                  <a:pt x="242804" y="45618"/>
                  <a:pt x="242804" y="45618"/>
                </a:cubicBezTo>
                <a:lnTo>
                  <a:pt x="242515" y="45618"/>
                </a:lnTo>
                <a:cubicBezTo>
                  <a:pt x="242515" y="45618"/>
                  <a:pt x="242852" y="45618"/>
                  <a:pt x="242852" y="45618"/>
                </a:cubicBezTo>
                <a:lnTo>
                  <a:pt x="244150" y="45377"/>
                </a:lnTo>
                <a:cubicBezTo>
                  <a:pt x="250161" y="44126"/>
                  <a:pt x="256364" y="42827"/>
                  <a:pt x="262711" y="41480"/>
                </a:cubicBezTo>
                <a:cubicBezTo>
                  <a:pt x="270453" y="39940"/>
                  <a:pt x="278387" y="38304"/>
                  <a:pt x="286514" y="36668"/>
                </a:cubicBezTo>
                <a:cubicBezTo>
                  <a:pt x="302815" y="33492"/>
                  <a:pt x="319885" y="30316"/>
                  <a:pt x="337677" y="27188"/>
                </a:cubicBezTo>
                <a:cubicBezTo>
                  <a:pt x="360758" y="23194"/>
                  <a:pt x="385138" y="19344"/>
                  <a:pt x="410431" y="15783"/>
                </a:cubicBezTo>
                <a:cubicBezTo>
                  <a:pt x="410431" y="16650"/>
                  <a:pt x="410527" y="17516"/>
                  <a:pt x="410768" y="18334"/>
                </a:cubicBezTo>
                <a:cubicBezTo>
                  <a:pt x="412547" y="21847"/>
                  <a:pt x="413028" y="22713"/>
                  <a:pt x="413124" y="22905"/>
                </a:cubicBezTo>
                <a:cubicBezTo>
                  <a:pt x="413124" y="22905"/>
                  <a:pt x="413076" y="22857"/>
                  <a:pt x="413124" y="22953"/>
                </a:cubicBezTo>
                <a:cubicBezTo>
                  <a:pt x="413028" y="23098"/>
                  <a:pt x="410816" y="25359"/>
                  <a:pt x="408796" y="26707"/>
                </a:cubicBezTo>
                <a:cubicBezTo>
                  <a:pt x="406728" y="28247"/>
                  <a:pt x="404516" y="29690"/>
                  <a:pt x="402208" y="31134"/>
                </a:cubicBezTo>
                <a:cubicBezTo>
                  <a:pt x="392976" y="36860"/>
                  <a:pt x="383070" y="41961"/>
                  <a:pt x="372924" y="47110"/>
                </a:cubicBezTo>
                <a:cubicBezTo>
                  <a:pt x="362778" y="52307"/>
                  <a:pt x="352584" y="57600"/>
                  <a:pt x="342293" y="62893"/>
                </a:cubicBezTo>
                <a:cubicBezTo>
                  <a:pt x="279974" y="95037"/>
                  <a:pt x="219867" y="124294"/>
                  <a:pt x="163943" y="147681"/>
                </a:cubicBezTo>
                <a:cubicBezTo>
                  <a:pt x="135957" y="159278"/>
                  <a:pt x="108981" y="169383"/>
                  <a:pt x="83255" y="176938"/>
                </a:cubicBezTo>
                <a:cubicBezTo>
                  <a:pt x="80033" y="177900"/>
                  <a:pt x="76860" y="178815"/>
                  <a:pt x="73686" y="179777"/>
                </a:cubicBezTo>
                <a:cubicBezTo>
                  <a:pt x="70512" y="180547"/>
                  <a:pt x="67339" y="181269"/>
                  <a:pt x="64213" y="182039"/>
                </a:cubicBezTo>
                <a:cubicBezTo>
                  <a:pt x="57962" y="183530"/>
                  <a:pt x="51807" y="185022"/>
                  <a:pt x="45700" y="185984"/>
                </a:cubicBezTo>
                <a:cubicBezTo>
                  <a:pt x="39593" y="186995"/>
                  <a:pt x="33631" y="187813"/>
                  <a:pt x="27860" y="188102"/>
                </a:cubicBezTo>
                <a:cubicBezTo>
                  <a:pt x="22138" y="188390"/>
                  <a:pt x="16320" y="188294"/>
                  <a:pt x="11848" y="186802"/>
                </a:cubicBezTo>
                <a:cubicBezTo>
                  <a:pt x="2423" y="184781"/>
                  <a:pt x="9924" y="172799"/>
                  <a:pt x="15887" y="165678"/>
                </a:cubicBezTo>
                <a:cubicBezTo>
                  <a:pt x="22282" y="157930"/>
                  <a:pt x="29351" y="151290"/>
                  <a:pt x="36131" y="145275"/>
                </a:cubicBezTo>
                <a:cubicBezTo>
                  <a:pt x="49739" y="133341"/>
                  <a:pt x="62386" y="123958"/>
                  <a:pt x="72772" y="116547"/>
                </a:cubicBezTo>
                <a:cubicBezTo>
                  <a:pt x="83207" y="109137"/>
                  <a:pt x="91622" y="103747"/>
                  <a:pt x="97296" y="100138"/>
                </a:cubicBezTo>
                <a:cubicBezTo>
                  <a:pt x="103018" y="96529"/>
                  <a:pt x="106096" y="94749"/>
                  <a:pt x="105904" y="94412"/>
                </a:cubicBezTo>
                <a:cubicBezTo>
                  <a:pt x="105759" y="94075"/>
                  <a:pt x="102345" y="95278"/>
                  <a:pt x="96238" y="98261"/>
                </a:cubicBezTo>
                <a:cubicBezTo>
                  <a:pt x="90131" y="101293"/>
                  <a:pt x="81332" y="106153"/>
                  <a:pt x="70416" y="113082"/>
                </a:cubicBezTo>
                <a:cubicBezTo>
                  <a:pt x="59549" y="120060"/>
                  <a:pt x="46470" y="129010"/>
                  <a:pt x="32188" y="140751"/>
                </a:cubicBezTo>
                <a:cubicBezTo>
                  <a:pt x="25119" y="146670"/>
                  <a:pt x="17666" y="153215"/>
                  <a:pt x="10646" y="161299"/>
                </a:cubicBezTo>
                <a:cubicBezTo>
                  <a:pt x="7183" y="165389"/>
                  <a:pt x="3673" y="169768"/>
                  <a:pt x="1317" y="175639"/>
                </a:cubicBezTo>
                <a:cubicBezTo>
                  <a:pt x="259" y="178574"/>
                  <a:pt x="-751" y="182279"/>
                  <a:pt x="788" y="186369"/>
                </a:cubicBezTo>
                <a:cubicBezTo>
                  <a:pt x="2327" y="190460"/>
                  <a:pt x="6125" y="192769"/>
                  <a:pt x="9203" y="193924"/>
                </a:cubicBezTo>
                <a:cubicBezTo>
                  <a:pt x="15647" y="196186"/>
                  <a:pt x="21898" y="196138"/>
                  <a:pt x="28149" y="196042"/>
                </a:cubicBezTo>
                <a:cubicBezTo>
                  <a:pt x="34400" y="195801"/>
                  <a:pt x="40651" y="195079"/>
                  <a:pt x="46950" y="194165"/>
                </a:cubicBezTo>
                <a:cubicBezTo>
                  <a:pt x="53298" y="193299"/>
                  <a:pt x="59597" y="191903"/>
                  <a:pt x="66088" y="190460"/>
                </a:cubicBezTo>
                <a:cubicBezTo>
                  <a:pt x="69310" y="189738"/>
                  <a:pt x="72580" y="189016"/>
                  <a:pt x="75850" y="188294"/>
                </a:cubicBezTo>
                <a:cubicBezTo>
                  <a:pt x="79072" y="187380"/>
                  <a:pt x="82342" y="186466"/>
                  <a:pt x="85611" y="185551"/>
                </a:cubicBezTo>
                <a:cubicBezTo>
                  <a:pt x="111914" y="178237"/>
                  <a:pt x="139275" y="168324"/>
                  <a:pt x="167598" y="156872"/>
                </a:cubicBezTo>
                <a:cubicBezTo>
                  <a:pt x="224147" y="133822"/>
                  <a:pt x="284590" y="104709"/>
                  <a:pt x="347102" y="72469"/>
                </a:cubicBezTo>
                <a:cubicBezTo>
                  <a:pt x="357392" y="67176"/>
                  <a:pt x="367587" y="61883"/>
                  <a:pt x="377685" y="56686"/>
                </a:cubicBezTo>
                <a:cubicBezTo>
                  <a:pt x="387831" y="51489"/>
                  <a:pt x="397977" y="46292"/>
                  <a:pt x="407738" y="40180"/>
                </a:cubicBezTo>
                <a:cubicBezTo>
                  <a:pt x="410191" y="38640"/>
                  <a:pt x="412595" y="37053"/>
                  <a:pt x="414999" y="35272"/>
                </a:cubicBezTo>
                <a:cubicBezTo>
                  <a:pt x="416201" y="34358"/>
                  <a:pt x="417403" y="33444"/>
                  <a:pt x="418606" y="32385"/>
                </a:cubicBezTo>
                <a:lnTo>
                  <a:pt x="419519" y="31567"/>
                </a:lnTo>
                <a:lnTo>
                  <a:pt x="420577" y="30412"/>
                </a:lnTo>
                <a:lnTo>
                  <a:pt x="421587" y="29257"/>
                </a:lnTo>
                <a:lnTo>
                  <a:pt x="422501" y="27525"/>
                </a:lnTo>
                <a:cubicBezTo>
                  <a:pt x="423895" y="25215"/>
                  <a:pt x="423991" y="22183"/>
                  <a:pt x="423078" y="19633"/>
                </a:cubicBezTo>
                <a:cubicBezTo>
                  <a:pt x="422837" y="18911"/>
                  <a:pt x="422645" y="18478"/>
                  <a:pt x="422404" y="17997"/>
                </a:cubicBezTo>
                <a:lnTo>
                  <a:pt x="421924" y="17083"/>
                </a:lnTo>
                <a:lnTo>
                  <a:pt x="421779" y="16890"/>
                </a:lnTo>
                <a:lnTo>
                  <a:pt x="421779" y="16890"/>
                </a:lnTo>
                <a:cubicBezTo>
                  <a:pt x="421779" y="16890"/>
                  <a:pt x="421779" y="16794"/>
                  <a:pt x="421779" y="16794"/>
                </a:cubicBezTo>
                <a:lnTo>
                  <a:pt x="421779" y="16794"/>
                </a:lnTo>
                <a:cubicBezTo>
                  <a:pt x="421779" y="16794"/>
                  <a:pt x="422116" y="16650"/>
                  <a:pt x="422116" y="16650"/>
                </a:cubicBezTo>
                <a:cubicBezTo>
                  <a:pt x="423030" y="16313"/>
                  <a:pt x="423991" y="15928"/>
                  <a:pt x="425290" y="15591"/>
                </a:cubicBezTo>
                <a:cubicBezTo>
                  <a:pt x="426444" y="15206"/>
                  <a:pt x="427694" y="14917"/>
                  <a:pt x="429040" y="14677"/>
                </a:cubicBezTo>
                <a:lnTo>
                  <a:pt x="436830" y="13185"/>
                </a:lnTo>
                <a:cubicBezTo>
                  <a:pt x="442023" y="12174"/>
                  <a:pt x="447169" y="11212"/>
                  <a:pt x="452314" y="10201"/>
                </a:cubicBezTo>
                <a:lnTo>
                  <a:pt x="450871" y="0"/>
                </a:lnTo>
                <a:cubicBezTo>
                  <a:pt x="410094" y="5245"/>
                  <a:pt x="371578" y="11453"/>
                  <a:pt x="335898" y="18093"/>
                </a:cubicBezTo>
                <a:cubicBezTo>
                  <a:pt x="318058" y="21413"/>
                  <a:pt x="300988" y="24830"/>
                  <a:pt x="284687" y="28295"/>
                </a:cubicBezTo>
                <a:cubicBezTo>
                  <a:pt x="276560" y="30075"/>
                  <a:pt x="268626" y="31807"/>
                  <a:pt x="260884" y="33492"/>
                </a:cubicBezTo>
                <a:cubicBezTo>
                  <a:pt x="251796" y="35609"/>
                  <a:pt x="242900" y="37630"/>
                  <a:pt x="234293" y="39651"/>
                </a:cubicBezTo>
                <a:lnTo>
                  <a:pt x="233764" y="42971"/>
                </a:lnTo>
                <a:lnTo>
                  <a:pt x="233764" y="43404"/>
                </a:lnTo>
                <a:cubicBezTo>
                  <a:pt x="229532" y="45185"/>
                  <a:pt x="225253" y="46821"/>
                  <a:pt x="221117" y="48409"/>
                </a:cubicBezTo>
                <a:cubicBezTo>
                  <a:pt x="210779" y="52210"/>
                  <a:pt x="200969" y="55771"/>
                  <a:pt x="191833" y="59140"/>
                </a:cubicBezTo>
                <a:cubicBezTo>
                  <a:pt x="173512" y="65780"/>
                  <a:pt x="157692" y="71603"/>
                  <a:pt x="144853" y="76607"/>
                </a:cubicBezTo>
                <a:cubicBezTo>
                  <a:pt x="119079" y="86472"/>
                  <a:pt x="105423" y="93642"/>
                  <a:pt x="105807" y="94412"/>
                </a:cubicBezTo>
                <a:close/>
                <a:moveTo>
                  <a:pt x="239871" y="42057"/>
                </a:moveTo>
                <a:lnTo>
                  <a:pt x="239486" y="41672"/>
                </a:lnTo>
                <a:lnTo>
                  <a:pt x="239390" y="41528"/>
                </a:lnTo>
                <a:cubicBezTo>
                  <a:pt x="239774" y="41913"/>
                  <a:pt x="240063" y="42250"/>
                  <a:pt x="239871" y="42057"/>
                </a:cubicBezTo>
                <a:close/>
                <a:moveTo>
                  <a:pt x="235495" y="39555"/>
                </a:moveTo>
                <a:lnTo>
                  <a:pt x="235879" y="39555"/>
                </a:lnTo>
                <a:cubicBezTo>
                  <a:pt x="235879" y="39555"/>
                  <a:pt x="236505" y="39410"/>
                  <a:pt x="236505" y="39410"/>
                </a:cubicBezTo>
                <a:lnTo>
                  <a:pt x="236360" y="39507"/>
                </a:lnTo>
                <a:lnTo>
                  <a:pt x="236120" y="39651"/>
                </a:lnTo>
                <a:lnTo>
                  <a:pt x="237226" y="40180"/>
                </a:lnTo>
                <a:lnTo>
                  <a:pt x="238332" y="40710"/>
                </a:lnTo>
                <a:cubicBezTo>
                  <a:pt x="237947" y="40277"/>
                  <a:pt x="238236" y="40469"/>
                  <a:pt x="238620" y="40854"/>
                </a:cubicBezTo>
                <a:lnTo>
                  <a:pt x="238188" y="41095"/>
                </a:lnTo>
                <a:cubicBezTo>
                  <a:pt x="237947" y="41239"/>
                  <a:pt x="237563" y="41383"/>
                  <a:pt x="237274" y="41576"/>
                </a:cubicBezTo>
                <a:lnTo>
                  <a:pt x="237274" y="41431"/>
                </a:lnTo>
                <a:cubicBezTo>
                  <a:pt x="237274" y="41431"/>
                  <a:pt x="235639" y="39940"/>
                  <a:pt x="235639" y="39940"/>
                </a:cubicBezTo>
                <a:lnTo>
                  <a:pt x="235254" y="39555"/>
                </a:lnTo>
                <a:lnTo>
                  <a:pt x="235447" y="39555"/>
                </a:lnTo>
                <a:close/>
              </a:path>
            </a:pathLst>
          </a:custGeom>
          <a:solidFill>
            <a:srgbClr val="29C8C1"/>
          </a:solidFill>
          <a:ln w="0" cap="flat">
            <a:noFill/>
            <a:prstDash val="solid"/>
            <a:miter/>
          </a:ln>
        </p:spPr>
        <p:txBody>
          <a:bodyPr rtlCol="0" anchor="ctr"/>
          <a:lstStyle/>
          <a:p>
            <a:pPr rtl="0"/>
            <a:endParaRPr lang="en-AU" dirty="0"/>
          </a:p>
        </p:txBody>
      </p:sp>
      <p:sp>
        <p:nvSpPr>
          <p:cNvPr id="9" name="Freeform: Shape 8">
            <a:extLst>
              <a:ext uri="{FF2B5EF4-FFF2-40B4-BE49-F238E27FC236}">
                <a16:creationId xmlns:a16="http://schemas.microsoft.com/office/drawing/2014/main" id="{3F0DA040-B3B4-6B7F-82E6-AC9B69C8290F}"/>
              </a:ext>
            </a:extLst>
          </p:cNvPr>
          <p:cNvSpPr/>
          <p:nvPr/>
        </p:nvSpPr>
        <p:spPr>
          <a:xfrm>
            <a:off x="9227473" y="1770536"/>
            <a:ext cx="441094" cy="682035"/>
          </a:xfrm>
          <a:custGeom>
            <a:avLst/>
            <a:gdLst>
              <a:gd name="connsiteX0" fmla="*/ 17120 w 441094"/>
              <a:gd name="connsiteY0" fmla="*/ 42446 h 682035"/>
              <a:gd name="connsiteX1" fmla="*/ 127958 w 441094"/>
              <a:gd name="connsiteY1" fmla="*/ 180839 h 682035"/>
              <a:gd name="connsiteX2" fmla="*/ 163733 w 441094"/>
              <a:gd name="connsiteY2" fmla="*/ 227035 h 682035"/>
              <a:gd name="connsiteX3" fmla="*/ 180179 w 441094"/>
              <a:gd name="connsiteY3" fmla="*/ 253068 h 682035"/>
              <a:gd name="connsiteX4" fmla="*/ 187873 w 441094"/>
              <a:gd name="connsiteY4" fmla="*/ 267022 h 682035"/>
              <a:gd name="connsiteX5" fmla="*/ 195230 w 441094"/>
              <a:gd name="connsiteY5" fmla="*/ 281458 h 682035"/>
              <a:gd name="connsiteX6" fmla="*/ 243748 w 441094"/>
              <a:gd name="connsiteY6" fmla="*/ 412249 h 682035"/>
              <a:gd name="connsiteX7" fmla="*/ 264618 w 441094"/>
              <a:gd name="connsiteY7" fmla="*/ 485295 h 682035"/>
              <a:gd name="connsiteX8" fmla="*/ 290680 w 441094"/>
              <a:gd name="connsiteY8" fmla="*/ 560700 h 682035"/>
              <a:gd name="connsiteX9" fmla="*/ 308953 w 441094"/>
              <a:gd name="connsiteY9" fmla="*/ 597752 h 682035"/>
              <a:gd name="connsiteX10" fmla="*/ 332947 w 441094"/>
              <a:gd name="connsiteY10" fmla="*/ 632495 h 682035"/>
              <a:gd name="connsiteX11" fmla="*/ 363530 w 441094"/>
              <a:gd name="connsiteY11" fmla="*/ 662666 h 682035"/>
              <a:gd name="connsiteX12" fmla="*/ 372186 w 441094"/>
              <a:gd name="connsiteY12" fmla="*/ 669211 h 682035"/>
              <a:gd name="connsiteX13" fmla="*/ 376609 w 441094"/>
              <a:gd name="connsiteY13" fmla="*/ 672435 h 682035"/>
              <a:gd name="connsiteX14" fmla="*/ 381514 w 441094"/>
              <a:gd name="connsiteY14" fmla="*/ 675418 h 682035"/>
              <a:gd name="connsiteX15" fmla="*/ 404499 w 441094"/>
              <a:gd name="connsiteY15" fmla="*/ 682011 h 682035"/>
              <a:gd name="connsiteX16" fmla="*/ 410847 w 441094"/>
              <a:gd name="connsiteY16" fmla="*/ 681193 h 682035"/>
              <a:gd name="connsiteX17" fmla="*/ 416954 w 441094"/>
              <a:gd name="connsiteY17" fmla="*/ 679124 h 682035"/>
              <a:gd name="connsiteX18" fmla="*/ 422435 w 441094"/>
              <a:gd name="connsiteY18" fmla="*/ 675899 h 682035"/>
              <a:gd name="connsiteX19" fmla="*/ 427148 w 441094"/>
              <a:gd name="connsiteY19" fmla="*/ 671809 h 682035"/>
              <a:gd name="connsiteX20" fmla="*/ 438640 w 441094"/>
              <a:gd name="connsiteY20" fmla="*/ 651214 h 682035"/>
              <a:gd name="connsiteX21" fmla="*/ 440804 w 441094"/>
              <a:gd name="connsiteY21" fmla="*/ 628357 h 682035"/>
              <a:gd name="connsiteX22" fmla="*/ 439217 w 441094"/>
              <a:gd name="connsiteY22" fmla="*/ 617674 h 682035"/>
              <a:gd name="connsiteX23" fmla="*/ 438400 w 441094"/>
              <a:gd name="connsiteY23" fmla="*/ 612381 h 682035"/>
              <a:gd name="connsiteX24" fmla="*/ 437197 w 441094"/>
              <a:gd name="connsiteY24" fmla="*/ 607184 h 682035"/>
              <a:gd name="connsiteX25" fmla="*/ 409067 w 441094"/>
              <a:gd name="connsiteY25" fmla="*/ 528989 h 682035"/>
              <a:gd name="connsiteX26" fmla="*/ 372426 w 441094"/>
              <a:gd name="connsiteY26" fmla="*/ 458348 h 682035"/>
              <a:gd name="connsiteX27" fmla="*/ 334582 w 441094"/>
              <a:gd name="connsiteY27" fmla="*/ 392327 h 682035"/>
              <a:gd name="connsiteX28" fmla="*/ 264618 w 441094"/>
              <a:gd name="connsiteY28" fmla="*/ 270680 h 682035"/>
              <a:gd name="connsiteX29" fmla="*/ 203212 w 441094"/>
              <a:gd name="connsiteY29" fmla="*/ 164478 h 682035"/>
              <a:gd name="connsiteX30" fmla="*/ 138056 w 441094"/>
              <a:gd name="connsiteY30" fmla="*/ 86668 h 682035"/>
              <a:gd name="connsiteX31" fmla="*/ 79439 w 441094"/>
              <a:gd name="connsiteY31" fmla="*/ 37537 h 682035"/>
              <a:gd name="connsiteX32" fmla="*/ 38951 w 441094"/>
              <a:gd name="connsiteY32" fmla="*/ 11168 h 682035"/>
              <a:gd name="connsiteX33" fmla="*/ 27603 w 441094"/>
              <a:gd name="connsiteY33" fmla="*/ 5682 h 682035"/>
              <a:gd name="connsiteX34" fmla="*/ 23467 w 441094"/>
              <a:gd name="connsiteY34" fmla="*/ 4479 h 682035"/>
              <a:gd name="connsiteX35" fmla="*/ 37893 w 441094"/>
              <a:gd name="connsiteY35" fmla="*/ 12996 h 682035"/>
              <a:gd name="connsiteX36" fmla="*/ 76987 w 441094"/>
              <a:gd name="connsiteY36" fmla="*/ 40810 h 682035"/>
              <a:gd name="connsiteX37" fmla="*/ 133968 w 441094"/>
              <a:gd name="connsiteY37" fmla="*/ 90903 h 682035"/>
              <a:gd name="connsiteX38" fmla="*/ 196913 w 441094"/>
              <a:gd name="connsiteY38" fmla="*/ 168569 h 682035"/>
              <a:gd name="connsiteX39" fmla="*/ 256828 w 441094"/>
              <a:gd name="connsiteY39" fmla="*/ 274866 h 682035"/>
              <a:gd name="connsiteX40" fmla="*/ 326023 w 441094"/>
              <a:gd name="connsiteY40" fmla="*/ 397236 h 682035"/>
              <a:gd name="connsiteX41" fmla="*/ 363434 w 441094"/>
              <a:gd name="connsiteY41" fmla="*/ 463256 h 682035"/>
              <a:gd name="connsiteX42" fmla="*/ 399546 w 441094"/>
              <a:gd name="connsiteY42" fmla="*/ 533368 h 682035"/>
              <a:gd name="connsiteX43" fmla="*/ 426811 w 441094"/>
              <a:gd name="connsiteY43" fmla="*/ 609397 h 682035"/>
              <a:gd name="connsiteX44" fmla="*/ 427965 w 441094"/>
              <a:gd name="connsiteY44" fmla="*/ 614354 h 682035"/>
              <a:gd name="connsiteX45" fmla="*/ 428735 w 441094"/>
              <a:gd name="connsiteY45" fmla="*/ 619358 h 682035"/>
              <a:gd name="connsiteX46" fmla="*/ 430177 w 441094"/>
              <a:gd name="connsiteY46" fmla="*/ 629415 h 682035"/>
              <a:gd name="connsiteX47" fmla="*/ 428350 w 441094"/>
              <a:gd name="connsiteY47" fmla="*/ 648279 h 682035"/>
              <a:gd name="connsiteX48" fmla="*/ 404211 w 441094"/>
              <a:gd name="connsiteY48" fmla="*/ 671376 h 682035"/>
              <a:gd name="connsiteX49" fmla="*/ 370214 w 441094"/>
              <a:gd name="connsiteY49" fmla="*/ 654390 h 682035"/>
              <a:gd name="connsiteX50" fmla="*/ 341122 w 441094"/>
              <a:gd name="connsiteY50" fmla="*/ 625758 h 682035"/>
              <a:gd name="connsiteX51" fmla="*/ 318089 w 441094"/>
              <a:gd name="connsiteY51" fmla="*/ 592507 h 682035"/>
              <a:gd name="connsiteX52" fmla="*/ 300297 w 441094"/>
              <a:gd name="connsiteY52" fmla="*/ 556610 h 682035"/>
              <a:gd name="connsiteX53" fmla="*/ 274379 w 441094"/>
              <a:gd name="connsiteY53" fmla="*/ 482408 h 682035"/>
              <a:gd name="connsiteX54" fmla="*/ 253173 w 441094"/>
              <a:gd name="connsiteY54" fmla="*/ 409458 h 682035"/>
              <a:gd name="connsiteX55" fmla="*/ 203164 w 441094"/>
              <a:gd name="connsiteY55" fmla="*/ 277513 h 682035"/>
              <a:gd name="connsiteX56" fmla="*/ 195518 w 441094"/>
              <a:gd name="connsiteY56" fmla="*/ 262884 h 682035"/>
              <a:gd name="connsiteX57" fmla="*/ 187584 w 441094"/>
              <a:gd name="connsiteY57" fmla="*/ 248785 h 682035"/>
              <a:gd name="connsiteX58" fmla="*/ 170417 w 441094"/>
              <a:gd name="connsiteY58" fmla="*/ 222223 h 682035"/>
              <a:gd name="connsiteX59" fmla="*/ 133776 w 441094"/>
              <a:gd name="connsiteY59" fmla="*/ 176027 h 682035"/>
              <a:gd name="connsiteX60" fmla="*/ 20486 w 441094"/>
              <a:gd name="connsiteY60" fmla="*/ 40040 h 682035"/>
              <a:gd name="connsiteX61" fmla="*/ 5772 w 441094"/>
              <a:gd name="connsiteY61" fmla="*/ 16846 h 682035"/>
              <a:gd name="connsiteX62" fmla="*/ 2694 w 441094"/>
              <a:gd name="connsiteY62" fmla="*/ 6885 h 682035"/>
              <a:gd name="connsiteX63" fmla="*/ 3896 w 441094"/>
              <a:gd name="connsiteY63" fmla="*/ 3372 h 682035"/>
              <a:gd name="connsiteX64" fmla="*/ 7262 w 441094"/>
              <a:gd name="connsiteY64" fmla="*/ 2121 h 682035"/>
              <a:gd name="connsiteX65" fmla="*/ 19284 w 441094"/>
              <a:gd name="connsiteY65" fmla="*/ 3613 h 682035"/>
              <a:gd name="connsiteX66" fmla="*/ 23467 w 441094"/>
              <a:gd name="connsiteY66" fmla="*/ 4479 h 682035"/>
              <a:gd name="connsiteX67" fmla="*/ 19572 w 441094"/>
              <a:gd name="connsiteY67" fmla="*/ 2602 h 682035"/>
              <a:gd name="connsiteX68" fmla="*/ 7022 w 441094"/>
              <a:gd name="connsiteY68" fmla="*/ 4 h 682035"/>
              <a:gd name="connsiteX69" fmla="*/ 2261 w 441094"/>
              <a:gd name="connsiteY69" fmla="*/ 1592 h 682035"/>
              <a:gd name="connsiteX70" fmla="*/ 1 w 441094"/>
              <a:gd name="connsiteY70" fmla="*/ 6837 h 682035"/>
              <a:gd name="connsiteX71" fmla="*/ 2886 w 441094"/>
              <a:gd name="connsiteY71" fmla="*/ 18193 h 682035"/>
              <a:gd name="connsiteX72" fmla="*/ 17072 w 441094"/>
              <a:gd name="connsiteY72" fmla="*/ 42446 h 68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1094" h="682035">
                <a:moveTo>
                  <a:pt x="17120" y="42446"/>
                </a:moveTo>
                <a:cubicBezTo>
                  <a:pt x="40778" y="77285"/>
                  <a:pt x="80641" y="123095"/>
                  <a:pt x="127958" y="180839"/>
                </a:cubicBezTo>
                <a:cubicBezTo>
                  <a:pt x="139691" y="195323"/>
                  <a:pt x="151952" y="210577"/>
                  <a:pt x="163733" y="227035"/>
                </a:cubicBezTo>
                <a:cubicBezTo>
                  <a:pt x="169696" y="235263"/>
                  <a:pt x="175034" y="243829"/>
                  <a:pt x="180179" y="253068"/>
                </a:cubicBezTo>
                <a:cubicBezTo>
                  <a:pt x="182872" y="257591"/>
                  <a:pt x="185372" y="262259"/>
                  <a:pt x="187873" y="267022"/>
                </a:cubicBezTo>
                <a:cubicBezTo>
                  <a:pt x="190421" y="271738"/>
                  <a:pt x="192922" y="276550"/>
                  <a:pt x="195230" y="281458"/>
                </a:cubicBezTo>
                <a:cubicBezTo>
                  <a:pt x="214608" y="320628"/>
                  <a:pt x="229996" y="364851"/>
                  <a:pt x="243748" y="412249"/>
                </a:cubicBezTo>
                <a:cubicBezTo>
                  <a:pt x="250528" y="436020"/>
                  <a:pt x="257501" y="460417"/>
                  <a:pt x="264618" y="485295"/>
                </a:cubicBezTo>
                <a:cubicBezTo>
                  <a:pt x="272023" y="510174"/>
                  <a:pt x="279957" y="535629"/>
                  <a:pt x="290680" y="560700"/>
                </a:cubicBezTo>
                <a:cubicBezTo>
                  <a:pt x="295969" y="573259"/>
                  <a:pt x="301932" y="585722"/>
                  <a:pt x="308953" y="597752"/>
                </a:cubicBezTo>
                <a:cubicBezTo>
                  <a:pt x="315925" y="609830"/>
                  <a:pt x="323763" y="621620"/>
                  <a:pt x="332947" y="632495"/>
                </a:cubicBezTo>
                <a:cubicBezTo>
                  <a:pt x="342132" y="643370"/>
                  <a:pt x="352182" y="653716"/>
                  <a:pt x="363530" y="662666"/>
                </a:cubicBezTo>
                <a:cubicBezTo>
                  <a:pt x="366223" y="665072"/>
                  <a:pt x="369300" y="666997"/>
                  <a:pt x="372186" y="669211"/>
                </a:cubicBezTo>
                <a:lnTo>
                  <a:pt x="376609" y="672435"/>
                </a:lnTo>
                <a:cubicBezTo>
                  <a:pt x="378148" y="673445"/>
                  <a:pt x="379879" y="674408"/>
                  <a:pt x="381514" y="675418"/>
                </a:cubicBezTo>
                <a:cubicBezTo>
                  <a:pt x="388150" y="679172"/>
                  <a:pt x="395892" y="682348"/>
                  <a:pt x="404499" y="682011"/>
                </a:cubicBezTo>
                <a:cubicBezTo>
                  <a:pt x="406615" y="681914"/>
                  <a:pt x="408731" y="681530"/>
                  <a:pt x="410847" y="681193"/>
                </a:cubicBezTo>
                <a:cubicBezTo>
                  <a:pt x="412914" y="680615"/>
                  <a:pt x="414934" y="679845"/>
                  <a:pt x="416954" y="679124"/>
                </a:cubicBezTo>
                <a:cubicBezTo>
                  <a:pt x="418781" y="678065"/>
                  <a:pt x="420704" y="677054"/>
                  <a:pt x="422435" y="675899"/>
                </a:cubicBezTo>
                <a:cubicBezTo>
                  <a:pt x="424022" y="674552"/>
                  <a:pt x="425705" y="673301"/>
                  <a:pt x="427148" y="671809"/>
                </a:cubicBezTo>
                <a:cubicBezTo>
                  <a:pt x="432870" y="665842"/>
                  <a:pt x="436476" y="658624"/>
                  <a:pt x="438640" y="651214"/>
                </a:cubicBezTo>
                <a:cubicBezTo>
                  <a:pt x="440804" y="643803"/>
                  <a:pt x="441573" y="636056"/>
                  <a:pt x="440804" y="628357"/>
                </a:cubicBezTo>
                <a:cubicBezTo>
                  <a:pt x="440323" y="624748"/>
                  <a:pt x="439746" y="621235"/>
                  <a:pt x="439217" y="617674"/>
                </a:cubicBezTo>
                <a:lnTo>
                  <a:pt x="438400" y="612381"/>
                </a:lnTo>
                <a:lnTo>
                  <a:pt x="437197" y="607184"/>
                </a:lnTo>
                <a:cubicBezTo>
                  <a:pt x="430994" y="579370"/>
                  <a:pt x="420464" y="553578"/>
                  <a:pt x="409067" y="528989"/>
                </a:cubicBezTo>
                <a:cubicBezTo>
                  <a:pt x="397575" y="504399"/>
                  <a:pt x="385024" y="481013"/>
                  <a:pt x="372426" y="458348"/>
                </a:cubicBezTo>
                <a:cubicBezTo>
                  <a:pt x="359828" y="435636"/>
                  <a:pt x="347085" y="413693"/>
                  <a:pt x="334582" y="392327"/>
                </a:cubicBezTo>
                <a:cubicBezTo>
                  <a:pt x="309722" y="349549"/>
                  <a:pt x="285583" y="309224"/>
                  <a:pt x="264618" y="270680"/>
                </a:cubicBezTo>
                <a:cubicBezTo>
                  <a:pt x="243556" y="232087"/>
                  <a:pt x="223985" y="195901"/>
                  <a:pt x="203212" y="164478"/>
                </a:cubicBezTo>
                <a:cubicBezTo>
                  <a:pt x="182727" y="132863"/>
                  <a:pt x="159743" y="107119"/>
                  <a:pt x="138056" y="86668"/>
                </a:cubicBezTo>
                <a:cubicBezTo>
                  <a:pt x="116465" y="65976"/>
                  <a:pt x="96317" y="50001"/>
                  <a:pt x="79439" y="37537"/>
                </a:cubicBezTo>
                <a:cubicBezTo>
                  <a:pt x="62513" y="25074"/>
                  <a:pt x="48664" y="16461"/>
                  <a:pt x="38951" y="11168"/>
                </a:cubicBezTo>
                <a:cubicBezTo>
                  <a:pt x="34094" y="8521"/>
                  <a:pt x="30247" y="6740"/>
                  <a:pt x="27603" y="5682"/>
                </a:cubicBezTo>
                <a:cubicBezTo>
                  <a:pt x="24910" y="4719"/>
                  <a:pt x="23515" y="4334"/>
                  <a:pt x="23467" y="4479"/>
                </a:cubicBezTo>
                <a:cubicBezTo>
                  <a:pt x="23323" y="4864"/>
                  <a:pt x="28612" y="7077"/>
                  <a:pt x="37893" y="12996"/>
                </a:cubicBezTo>
                <a:cubicBezTo>
                  <a:pt x="47173" y="18867"/>
                  <a:pt x="60589" y="27961"/>
                  <a:pt x="76987" y="40810"/>
                </a:cubicBezTo>
                <a:cubicBezTo>
                  <a:pt x="93336" y="53706"/>
                  <a:pt x="113003" y="70018"/>
                  <a:pt x="133968" y="90903"/>
                </a:cubicBezTo>
                <a:cubicBezTo>
                  <a:pt x="155078" y="111594"/>
                  <a:pt x="177101" y="137098"/>
                  <a:pt x="196913" y="168569"/>
                </a:cubicBezTo>
                <a:cubicBezTo>
                  <a:pt x="217013" y="199847"/>
                  <a:pt x="236103" y="236081"/>
                  <a:pt x="256828" y="274866"/>
                </a:cubicBezTo>
                <a:cubicBezTo>
                  <a:pt x="277553" y="313795"/>
                  <a:pt x="301451" y="354361"/>
                  <a:pt x="326023" y="397236"/>
                </a:cubicBezTo>
                <a:cubicBezTo>
                  <a:pt x="338381" y="418649"/>
                  <a:pt x="350980" y="440592"/>
                  <a:pt x="363434" y="463256"/>
                </a:cubicBezTo>
                <a:cubicBezTo>
                  <a:pt x="375888" y="485873"/>
                  <a:pt x="388246" y="509163"/>
                  <a:pt x="399546" y="533368"/>
                </a:cubicBezTo>
                <a:cubicBezTo>
                  <a:pt x="410702" y="557572"/>
                  <a:pt x="420897" y="582883"/>
                  <a:pt x="426811" y="609397"/>
                </a:cubicBezTo>
                <a:lnTo>
                  <a:pt x="427965" y="614354"/>
                </a:lnTo>
                <a:lnTo>
                  <a:pt x="428735" y="619358"/>
                </a:lnTo>
                <a:lnTo>
                  <a:pt x="430177" y="629415"/>
                </a:lnTo>
                <a:cubicBezTo>
                  <a:pt x="430802" y="635671"/>
                  <a:pt x="430177" y="642167"/>
                  <a:pt x="428350" y="648279"/>
                </a:cubicBezTo>
                <a:cubicBezTo>
                  <a:pt x="424936" y="660405"/>
                  <a:pt x="415992" y="671472"/>
                  <a:pt x="404211" y="671376"/>
                </a:cubicBezTo>
                <a:cubicBezTo>
                  <a:pt x="392285" y="671761"/>
                  <a:pt x="381033" y="662666"/>
                  <a:pt x="370214" y="654390"/>
                </a:cubicBezTo>
                <a:cubicBezTo>
                  <a:pt x="359395" y="645921"/>
                  <a:pt x="349874" y="636104"/>
                  <a:pt x="341122" y="625758"/>
                </a:cubicBezTo>
                <a:cubicBezTo>
                  <a:pt x="332322" y="615412"/>
                  <a:pt x="324821" y="604152"/>
                  <a:pt x="318089" y="592507"/>
                </a:cubicBezTo>
                <a:cubicBezTo>
                  <a:pt x="311309" y="580910"/>
                  <a:pt x="305442" y="568880"/>
                  <a:pt x="300297" y="556610"/>
                </a:cubicBezTo>
                <a:cubicBezTo>
                  <a:pt x="289766" y="532213"/>
                  <a:pt x="281880" y="507094"/>
                  <a:pt x="274379" y="482408"/>
                </a:cubicBezTo>
                <a:cubicBezTo>
                  <a:pt x="267166" y="457530"/>
                  <a:pt x="260098" y="433181"/>
                  <a:pt x="253173" y="409458"/>
                </a:cubicBezTo>
                <a:cubicBezTo>
                  <a:pt x="239084" y="361915"/>
                  <a:pt x="223168" y="317164"/>
                  <a:pt x="203164" y="277513"/>
                </a:cubicBezTo>
                <a:cubicBezTo>
                  <a:pt x="200760" y="272508"/>
                  <a:pt x="198163" y="267648"/>
                  <a:pt x="195518" y="262884"/>
                </a:cubicBezTo>
                <a:cubicBezTo>
                  <a:pt x="192970" y="258072"/>
                  <a:pt x="190325" y="253356"/>
                  <a:pt x="187584" y="248785"/>
                </a:cubicBezTo>
                <a:cubicBezTo>
                  <a:pt x="182343" y="239546"/>
                  <a:pt x="176524" y="230451"/>
                  <a:pt x="170417" y="222223"/>
                </a:cubicBezTo>
                <a:cubicBezTo>
                  <a:pt x="158252" y="205573"/>
                  <a:pt x="145749" y="190415"/>
                  <a:pt x="133776" y="176027"/>
                </a:cubicBezTo>
                <a:cubicBezTo>
                  <a:pt x="85546" y="118716"/>
                  <a:pt x="44961" y="73772"/>
                  <a:pt x="20486" y="40040"/>
                </a:cubicBezTo>
                <a:cubicBezTo>
                  <a:pt x="14379" y="31619"/>
                  <a:pt x="9282" y="23919"/>
                  <a:pt x="5772" y="16846"/>
                </a:cubicBezTo>
                <a:cubicBezTo>
                  <a:pt x="4088" y="13333"/>
                  <a:pt x="2790" y="9868"/>
                  <a:pt x="2694" y="6885"/>
                </a:cubicBezTo>
                <a:cubicBezTo>
                  <a:pt x="2694" y="5441"/>
                  <a:pt x="3031" y="4238"/>
                  <a:pt x="3896" y="3372"/>
                </a:cubicBezTo>
                <a:cubicBezTo>
                  <a:pt x="4810" y="2650"/>
                  <a:pt x="5964" y="2217"/>
                  <a:pt x="7262" y="2121"/>
                </a:cubicBezTo>
                <a:cubicBezTo>
                  <a:pt x="12408" y="1736"/>
                  <a:pt x="16591" y="3083"/>
                  <a:pt x="19284" y="3613"/>
                </a:cubicBezTo>
                <a:cubicBezTo>
                  <a:pt x="21977" y="4334"/>
                  <a:pt x="23419" y="4623"/>
                  <a:pt x="23467" y="4479"/>
                </a:cubicBezTo>
                <a:cubicBezTo>
                  <a:pt x="23515" y="4286"/>
                  <a:pt x="22217" y="3661"/>
                  <a:pt x="19572" y="2602"/>
                </a:cubicBezTo>
                <a:cubicBezTo>
                  <a:pt x="16879" y="1736"/>
                  <a:pt x="12936" y="-93"/>
                  <a:pt x="7022" y="4"/>
                </a:cubicBezTo>
                <a:cubicBezTo>
                  <a:pt x="5579" y="4"/>
                  <a:pt x="3800" y="485"/>
                  <a:pt x="2261" y="1592"/>
                </a:cubicBezTo>
                <a:cubicBezTo>
                  <a:pt x="771" y="2795"/>
                  <a:pt x="49" y="4912"/>
                  <a:pt x="1" y="6837"/>
                </a:cubicBezTo>
                <a:cubicBezTo>
                  <a:pt x="-47" y="10686"/>
                  <a:pt x="1252" y="14392"/>
                  <a:pt x="2886" y="18193"/>
                </a:cubicBezTo>
                <a:cubicBezTo>
                  <a:pt x="6204" y="25748"/>
                  <a:pt x="11157" y="33736"/>
                  <a:pt x="17072" y="42446"/>
                </a:cubicBezTo>
                <a:close/>
              </a:path>
            </a:pathLst>
          </a:custGeom>
          <a:solidFill>
            <a:srgbClr val="29C8C1"/>
          </a:solidFill>
          <a:ln w="0" cap="flat">
            <a:noFill/>
            <a:prstDash val="solid"/>
            <a:miter/>
          </a:ln>
        </p:spPr>
        <p:txBody>
          <a:bodyPr rtlCol="0" anchor="ctr"/>
          <a:lstStyle/>
          <a:p>
            <a:pPr rtl="0"/>
            <a:endParaRPr lang="en-AU" dirty="0"/>
          </a:p>
        </p:txBody>
      </p:sp>
      <p:sp>
        <p:nvSpPr>
          <p:cNvPr id="10" name="Freeform: Shape 9">
            <a:extLst>
              <a:ext uri="{FF2B5EF4-FFF2-40B4-BE49-F238E27FC236}">
                <a16:creationId xmlns:a16="http://schemas.microsoft.com/office/drawing/2014/main" id="{4E893A43-CC1D-DE35-D0DC-4878D40FA0B3}"/>
              </a:ext>
            </a:extLst>
          </p:cNvPr>
          <p:cNvSpPr/>
          <p:nvPr/>
        </p:nvSpPr>
        <p:spPr>
          <a:xfrm>
            <a:off x="6974720" y="1517887"/>
            <a:ext cx="516571" cy="225726"/>
          </a:xfrm>
          <a:custGeom>
            <a:avLst/>
            <a:gdLst>
              <a:gd name="connsiteX0" fmla="*/ 38739 w 516571"/>
              <a:gd name="connsiteY0" fmla="*/ 123017 h 225726"/>
              <a:gd name="connsiteX1" fmla="*/ 26622 w 516571"/>
              <a:gd name="connsiteY1" fmla="*/ 138656 h 225726"/>
              <a:gd name="connsiteX2" fmla="*/ 19216 w 516571"/>
              <a:gd name="connsiteY2" fmla="*/ 151071 h 225726"/>
              <a:gd name="connsiteX3" fmla="*/ 14504 w 516571"/>
              <a:gd name="connsiteY3" fmla="*/ 161995 h 225726"/>
              <a:gd name="connsiteX4" fmla="*/ 21092 w 516571"/>
              <a:gd name="connsiteY4" fmla="*/ 152178 h 225726"/>
              <a:gd name="connsiteX5" fmla="*/ 29218 w 516571"/>
              <a:gd name="connsiteY5" fmla="*/ 140533 h 225726"/>
              <a:gd name="connsiteX6" fmla="*/ 41769 w 516571"/>
              <a:gd name="connsiteY6" fmla="*/ 125904 h 225726"/>
              <a:gd name="connsiteX7" fmla="*/ 84036 w 516571"/>
              <a:gd name="connsiteY7" fmla="*/ 94482 h 225726"/>
              <a:gd name="connsiteX8" fmla="*/ 149096 w 516571"/>
              <a:gd name="connsiteY8" fmla="*/ 68016 h 225726"/>
              <a:gd name="connsiteX9" fmla="*/ 328937 w 516571"/>
              <a:gd name="connsiteY9" fmla="*/ 28317 h 225726"/>
              <a:gd name="connsiteX10" fmla="*/ 436313 w 516571"/>
              <a:gd name="connsiteY10" fmla="*/ 11715 h 225726"/>
              <a:gd name="connsiteX11" fmla="*/ 464395 w 516571"/>
              <a:gd name="connsiteY11" fmla="*/ 10560 h 225726"/>
              <a:gd name="connsiteX12" fmla="*/ 491660 w 516571"/>
              <a:gd name="connsiteY12" fmla="*/ 13977 h 225726"/>
              <a:gd name="connsiteX13" fmla="*/ 502190 w 516571"/>
              <a:gd name="connsiteY13" fmla="*/ 19703 h 225726"/>
              <a:gd name="connsiteX14" fmla="*/ 503825 w 516571"/>
              <a:gd name="connsiteY14" fmla="*/ 21676 h 225726"/>
              <a:gd name="connsiteX15" fmla="*/ 504883 w 516571"/>
              <a:gd name="connsiteY15" fmla="*/ 23938 h 225726"/>
              <a:gd name="connsiteX16" fmla="*/ 505941 w 516571"/>
              <a:gd name="connsiteY16" fmla="*/ 29616 h 225726"/>
              <a:gd name="connsiteX17" fmla="*/ 505364 w 516571"/>
              <a:gd name="connsiteY17" fmla="*/ 35198 h 225726"/>
              <a:gd name="connsiteX18" fmla="*/ 502719 w 516571"/>
              <a:gd name="connsiteY18" fmla="*/ 40539 h 225726"/>
              <a:gd name="connsiteX19" fmla="*/ 493679 w 516571"/>
              <a:gd name="connsiteY19" fmla="*/ 50115 h 225726"/>
              <a:gd name="connsiteX20" fmla="*/ 468867 w 516571"/>
              <a:gd name="connsiteY20" fmla="*/ 64263 h 225726"/>
              <a:gd name="connsiteX21" fmla="*/ 441795 w 516571"/>
              <a:gd name="connsiteY21" fmla="*/ 74705 h 225726"/>
              <a:gd name="connsiteX22" fmla="*/ 386736 w 516571"/>
              <a:gd name="connsiteY22" fmla="*/ 90825 h 225726"/>
              <a:gd name="connsiteX23" fmla="*/ 280948 w 516571"/>
              <a:gd name="connsiteY23" fmla="*/ 118205 h 225726"/>
              <a:gd name="connsiteX24" fmla="*/ 232381 w 516571"/>
              <a:gd name="connsiteY24" fmla="*/ 134903 h 225726"/>
              <a:gd name="connsiteX25" fmla="*/ 188623 w 516571"/>
              <a:gd name="connsiteY25" fmla="*/ 155113 h 225726"/>
              <a:gd name="connsiteX26" fmla="*/ 111108 w 516571"/>
              <a:gd name="connsiteY26" fmla="*/ 192310 h 225726"/>
              <a:gd name="connsiteX27" fmla="*/ 45375 w 516571"/>
              <a:gd name="connsiteY27" fmla="*/ 217285 h 225726"/>
              <a:gd name="connsiteX28" fmla="*/ 17726 w 516571"/>
              <a:gd name="connsiteY28" fmla="*/ 219883 h 225726"/>
              <a:gd name="connsiteX29" fmla="*/ 7916 w 516571"/>
              <a:gd name="connsiteY29" fmla="*/ 214927 h 225726"/>
              <a:gd name="connsiteX30" fmla="*/ 4214 w 516571"/>
              <a:gd name="connsiteY30" fmla="*/ 205495 h 225726"/>
              <a:gd name="connsiteX31" fmla="*/ 6377 w 516571"/>
              <a:gd name="connsiteY31" fmla="*/ 186825 h 225726"/>
              <a:gd name="connsiteX32" fmla="*/ 10657 w 516571"/>
              <a:gd name="connsiteY32" fmla="*/ 173303 h 225726"/>
              <a:gd name="connsiteX33" fmla="*/ 14456 w 516571"/>
              <a:gd name="connsiteY33" fmla="*/ 162091 h 225726"/>
              <a:gd name="connsiteX34" fmla="*/ 8638 w 516571"/>
              <a:gd name="connsiteY34" fmla="*/ 172485 h 225726"/>
              <a:gd name="connsiteX35" fmla="*/ 3300 w 516571"/>
              <a:gd name="connsiteY35" fmla="*/ 185958 h 225726"/>
              <a:gd name="connsiteX36" fmla="*/ 30 w 516571"/>
              <a:gd name="connsiteY36" fmla="*/ 205832 h 225726"/>
              <a:gd name="connsiteX37" fmla="*/ 4310 w 516571"/>
              <a:gd name="connsiteY37" fmla="*/ 217862 h 225726"/>
              <a:gd name="connsiteX38" fmla="*/ 16620 w 516571"/>
              <a:gd name="connsiteY38" fmla="*/ 224840 h 225726"/>
              <a:gd name="connsiteX39" fmla="*/ 46625 w 516571"/>
              <a:gd name="connsiteY39" fmla="*/ 223059 h 225726"/>
              <a:gd name="connsiteX40" fmla="*/ 114042 w 516571"/>
              <a:gd name="connsiteY40" fmla="*/ 199191 h 225726"/>
              <a:gd name="connsiteX41" fmla="*/ 192277 w 516571"/>
              <a:gd name="connsiteY41" fmla="*/ 163101 h 225726"/>
              <a:gd name="connsiteX42" fmla="*/ 235843 w 516571"/>
              <a:gd name="connsiteY42" fmla="*/ 143565 h 225726"/>
              <a:gd name="connsiteX43" fmla="*/ 283496 w 516571"/>
              <a:gd name="connsiteY43" fmla="*/ 127685 h 225726"/>
              <a:gd name="connsiteX44" fmla="*/ 389237 w 516571"/>
              <a:gd name="connsiteY44" fmla="*/ 100978 h 225726"/>
              <a:gd name="connsiteX45" fmla="*/ 445064 w 516571"/>
              <a:gd name="connsiteY45" fmla="*/ 84810 h 225726"/>
              <a:gd name="connsiteX46" fmla="*/ 473098 w 516571"/>
              <a:gd name="connsiteY46" fmla="*/ 74031 h 225726"/>
              <a:gd name="connsiteX47" fmla="*/ 500123 w 516571"/>
              <a:gd name="connsiteY47" fmla="*/ 58536 h 225726"/>
              <a:gd name="connsiteX48" fmla="*/ 511567 w 516571"/>
              <a:gd name="connsiteY48" fmla="*/ 46362 h 225726"/>
              <a:gd name="connsiteX49" fmla="*/ 515462 w 516571"/>
              <a:gd name="connsiteY49" fmla="*/ 38326 h 225726"/>
              <a:gd name="connsiteX50" fmla="*/ 516472 w 516571"/>
              <a:gd name="connsiteY50" fmla="*/ 29183 h 225726"/>
              <a:gd name="connsiteX51" fmla="*/ 514789 w 516571"/>
              <a:gd name="connsiteY51" fmla="*/ 20329 h 225726"/>
              <a:gd name="connsiteX52" fmla="*/ 512673 w 516571"/>
              <a:gd name="connsiteY52" fmla="*/ 15902 h 225726"/>
              <a:gd name="connsiteX53" fmla="*/ 509644 w 516571"/>
              <a:gd name="connsiteY53" fmla="*/ 12197 h 225726"/>
              <a:gd name="connsiteX54" fmla="*/ 494689 w 516571"/>
              <a:gd name="connsiteY54" fmla="*/ 3824 h 225726"/>
              <a:gd name="connsiteX55" fmla="*/ 464395 w 516571"/>
              <a:gd name="connsiteY55" fmla="*/ 22 h 225726"/>
              <a:gd name="connsiteX56" fmla="*/ 435255 w 516571"/>
              <a:gd name="connsiteY56" fmla="*/ 1321 h 225726"/>
              <a:gd name="connsiteX57" fmla="*/ 327014 w 516571"/>
              <a:gd name="connsiteY57" fmla="*/ 18645 h 225726"/>
              <a:gd name="connsiteX58" fmla="*/ 146596 w 516571"/>
              <a:gd name="connsiteY58" fmla="*/ 60846 h 225726"/>
              <a:gd name="connsiteX59" fmla="*/ 80911 w 516571"/>
              <a:gd name="connsiteY59" fmla="*/ 89285 h 225726"/>
              <a:gd name="connsiteX60" fmla="*/ 38547 w 516571"/>
              <a:gd name="connsiteY60" fmla="*/ 123065 h 22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16571" h="225726">
                <a:moveTo>
                  <a:pt x="38739" y="123017"/>
                </a:moveTo>
                <a:cubicBezTo>
                  <a:pt x="33979" y="128792"/>
                  <a:pt x="29507" y="133652"/>
                  <a:pt x="26622" y="138656"/>
                </a:cubicBezTo>
                <a:cubicBezTo>
                  <a:pt x="23496" y="143468"/>
                  <a:pt x="20755" y="147414"/>
                  <a:pt x="19216" y="151071"/>
                </a:cubicBezTo>
                <a:cubicBezTo>
                  <a:pt x="15802" y="158097"/>
                  <a:pt x="14167" y="161850"/>
                  <a:pt x="14504" y="161995"/>
                </a:cubicBezTo>
                <a:cubicBezTo>
                  <a:pt x="14841" y="162139"/>
                  <a:pt x="17101" y="158722"/>
                  <a:pt x="21092" y="152178"/>
                </a:cubicBezTo>
                <a:cubicBezTo>
                  <a:pt x="22919" y="148762"/>
                  <a:pt x="25900" y="145056"/>
                  <a:pt x="29218" y="140533"/>
                </a:cubicBezTo>
                <a:cubicBezTo>
                  <a:pt x="32296" y="135865"/>
                  <a:pt x="36912" y="131294"/>
                  <a:pt x="41769" y="125904"/>
                </a:cubicBezTo>
                <a:cubicBezTo>
                  <a:pt x="52059" y="115703"/>
                  <a:pt x="65956" y="104443"/>
                  <a:pt x="84036" y="94482"/>
                </a:cubicBezTo>
                <a:cubicBezTo>
                  <a:pt x="102165" y="84617"/>
                  <a:pt x="124140" y="75811"/>
                  <a:pt x="149096" y="68016"/>
                </a:cubicBezTo>
                <a:cubicBezTo>
                  <a:pt x="199009" y="52329"/>
                  <a:pt x="260559" y="40636"/>
                  <a:pt x="328937" y="28317"/>
                </a:cubicBezTo>
                <a:cubicBezTo>
                  <a:pt x="363174" y="22206"/>
                  <a:pt x="398998" y="15084"/>
                  <a:pt x="436313" y="11715"/>
                </a:cubicBezTo>
                <a:cubicBezTo>
                  <a:pt x="445641" y="10897"/>
                  <a:pt x="455018" y="10416"/>
                  <a:pt x="464395" y="10560"/>
                </a:cubicBezTo>
                <a:cubicBezTo>
                  <a:pt x="473724" y="10705"/>
                  <a:pt x="483196" y="11427"/>
                  <a:pt x="491660" y="13977"/>
                </a:cubicBezTo>
                <a:cubicBezTo>
                  <a:pt x="495795" y="15276"/>
                  <a:pt x="499690" y="17153"/>
                  <a:pt x="502190" y="19703"/>
                </a:cubicBezTo>
                <a:cubicBezTo>
                  <a:pt x="502864" y="20329"/>
                  <a:pt x="503248" y="21051"/>
                  <a:pt x="503825" y="21676"/>
                </a:cubicBezTo>
                <a:cubicBezTo>
                  <a:pt x="504162" y="22446"/>
                  <a:pt x="504595" y="23072"/>
                  <a:pt x="504883" y="23938"/>
                </a:cubicBezTo>
                <a:cubicBezTo>
                  <a:pt x="505268" y="25863"/>
                  <a:pt x="506133" y="27739"/>
                  <a:pt x="505941" y="29616"/>
                </a:cubicBezTo>
                <a:cubicBezTo>
                  <a:pt x="506278" y="31541"/>
                  <a:pt x="505604" y="33321"/>
                  <a:pt x="505364" y="35198"/>
                </a:cubicBezTo>
                <a:cubicBezTo>
                  <a:pt x="504498" y="36978"/>
                  <a:pt x="504066" y="38855"/>
                  <a:pt x="502719" y="40539"/>
                </a:cubicBezTo>
                <a:cubicBezTo>
                  <a:pt x="500603" y="44100"/>
                  <a:pt x="497141" y="47132"/>
                  <a:pt x="493679" y="50115"/>
                </a:cubicBezTo>
                <a:cubicBezTo>
                  <a:pt x="486322" y="55841"/>
                  <a:pt x="477667" y="60317"/>
                  <a:pt x="468867" y="64263"/>
                </a:cubicBezTo>
                <a:cubicBezTo>
                  <a:pt x="460019" y="68160"/>
                  <a:pt x="450931" y="71577"/>
                  <a:pt x="441795" y="74705"/>
                </a:cubicBezTo>
                <a:cubicBezTo>
                  <a:pt x="423474" y="80864"/>
                  <a:pt x="405009" y="86013"/>
                  <a:pt x="386736" y="90825"/>
                </a:cubicBezTo>
                <a:cubicBezTo>
                  <a:pt x="350239" y="100401"/>
                  <a:pt x="314608" y="108533"/>
                  <a:pt x="280948" y="118205"/>
                </a:cubicBezTo>
                <a:cubicBezTo>
                  <a:pt x="264214" y="123065"/>
                  <a:pt x="247720" y="128214"/>
                  <a:pt x="232381" y="134903"/>
                </a:cubicBezTo>
                <a:cubicBezTo>
                  <a:pt x="217041" y="141399"/>
                  <a:pt x="202616" y="148377"/>
                  <a:pt x="188623" y="155113"/>
                </a:cubicBezTo>
                <a:cubicBezTo>
                  <a:pt x="160733" y="168635"/>
                  <a:pt x="135007" y="181483"/>
                  <a:pt x="111108" y="192310"/>
                </a:cubicBezTo>
                <a:cubicBezTo>
                  <a:pt x="87258" y="203089"/>
                  <a:pt x="65283" y="212184"/>
                  <a:pt x="45375" y="217285"/>
                </a:cubicBezTo>
                <a:cubicBezTo>
                  <a:pt x="35469" y="219691"/>
                  <a:pt x="25900" y="221279"/>
                  <a:pt x="17726" y="219883"/>
                </a:cubicBezTo>
                <a:cubicBezTo>
                  <a:pt x="13687" y="219209"/>
                  <a:pt x="10176" y="217525"/>
                  <a:pt x="7916" y="214927"/>
                </a:cubicBezTo>
                <a:cubicBezTo>
                  <a:pt x="5608" y="212328"/>
                  <a:pt x="4502" y="208912"/>
                  <a:pt x="4214" y="205495"/>
                </a:cubicBezTo>
                <a:cubicBezTo>
                  <a:pt x="3637" y="198614"/>
                  <a:pt x="4983" y="192214"/>
                  <a:pt x="6377" y="186825"/>
                </a:cubicBezTo>
                <a:cubicBezTo>
                  <a:pt x="7820" y="181435"/>
                  <a:pt x="9359" y="176912"/>
                  <a:pt x="10657" y="173303"/>
                </a:cubicBezTo>
                <a:cubicBezTo>
                  <a:pt x="13302" y="166037"/>
                  <a:pt x="14841" y="162283"/>
                  <a:pt x="14456" y="162091"/>
                </a:cubicBezTo>
                <a:cubicBezTo>
                  <a:pt x="14167" y="161946"/>
                  <a:pt x="11955" y="165411"/>
                  <a:pt x="8638" y="172485"/>
                </a:cubicBezTo>
                <a:cubicBezTo>
                  <a:pt x="7003" y="175998"/>
                  <a:pt x="5079" y="180473"/>
                  <a:pt x="3300" y="185958"/>
                </a:cubicBezTo>
                <a:cubicBezTo>
                  <a:pt x="1569" y="191444"/>
                  <a:pt x="-258" y="197988"/>
                  <a:pt x="30" y="205832"/>
                </a:cubicBezTo>
                <a:cubicBezTo>
                  <a:pt x="223" y="209730"/>
                  <a:pt x="1329" y="214157"/>
                  <a:pt x="4310" y="217862"/>
                </a:cubicBezTo>
                <a:cubicBezTo>
                  <a:pt x="7291" y="221615"/>
                  <a:pt x="11907" y="223925"/>
                  <a:pt x="16620" y="224840"/>
                </a:cubicBezTo>
                <a:cubicBezTo>
                  <a:pt x="26189" y="226764"/>
                  <a:pt x="36287" y="225273"/>
                  <a:pt x="46625" y="223059"/>
                </a:cubicBezTo>
                <a:cubicBezTo>
                  <a:pt x="67398" y="218343"/>
                  <a:pt x="89806" y="209585"/>
                  <a:pt x="114042" y="199191"/>
                </a:cubicBezTo>
                <a:cubicBezTo>
                  <a:pt x="138277" y="188749"/>
                  <a:pt x="164339" y="176238"/>
                  <a:pt x="192277" y="163101"/>
                </a:cubicBezTo>
                <a:cubicBezTo>
                  <a:pt x="206270" y="156557"/>
                  <a:pt x="220744" y="149820"/>
                  <a:pt x="235843" y="143565"/>
                </a:cubicBezTo>
                <a:cubicBezTo>
                  <a:pt x="250846" y="137213"/>
                  <a:pt x="266810" y="132353"/>
                  <a:pt x="283496" y="127685"/>
                </a:cubicBezTo>
                <a:cubicBezTo>
                  <a:pt x="316820" y="118398"/>
                  <a:pt x="352451" y="110458"/>
                  <a:pt x="389237" y="100978"/>
                </a:cubicBezTo>
                <a:cubicBezTo>
                  <a:pt x="407606" y="96214"/>
                  <a:pt x="426311" y="91065"/>
                  <a:pt x="445064" y="84810"/>
                </a:cubicBezTo>
                <a:cubicBezTo>
                  <a:pt x="454441" y="81634"/>
                  <a:pt x="463818" y="78121"/>
                  <a:pt x="473098" y="74031"/>
                </a:cubicBezTo>
                <a:cubicBezTo>
                  <a:pt x="482379" y="69893"/>
                  <a:pt x="491611" y="65177"/>
                  <a:pt x="500123" y="58536"/>
                </a:cubicBezTo>
                <a:cubicBezTo>
                  <a:pt x="504258" y="55023"/>
                  <a:pt x="508490" y="51414"/>
                  <a:pt x="511567" y="46362"/>
                </a:cubicBezTo>
                <a:cubicBezTo>
                  <a:pt x="513346" y="44100"/>
                  <a:pt x="514308" y="41117"/>
                  <a:pt x="515462" y="38326"/>
                </a:cubicBezTo>
                <a:cubicBezTo>
                  <a:pt x="516039" y="35294"/>
                  <a:pt x="516857" y="32263"/>
                  <a:pt x="516472" y="29183"/>
                </a:cubicBezTo>
                <a:cubicBezTo>
                  <a:pt x="516568" y="26055"/>
                  <a:pt x="515510" y="23216"/>
                  <a:pt x="514789" y="20329"/>
                </a:cubicBezTo>
                <a:cubicBezTo>
                  <a:pt x="514308" y="18885"/>
                  <a:pt x="513442" y="17345"/>
                  <a:pt x="512673" y="15902"/>
                </a:cubicBezTo>
                <a:cubicBezTo>
                  <a:pt x="511711" y="14651"/>
                  <a:pt x="510750" y="13255"/>
                  <a:pt x="509644" y="12197"/>
                </a:cubicBezTo>
                <a:cubicBezTo>
                  <a:pt x="505124" y="7721"/>
                  <a:pt x="499786" y="5460"/>
                  <a:pt x="494689" y="3824"/>
                </a:cubicBezTo>
                <a:cubicBezTo>
                  <a:pt x="484399" y="792"/>
                  <a:pt x="474301" y="166"/>
                  <a:pt x="464395" y="22"/>
                </a:cubicBezTo>
                <a:cubicBezTo>
                  <a:pt x="454489" y="-122"/>
                  <a:pt x="444824" y="455"/>
                  <a:pt x="435255" y="1321"/>
                </a:cubicBezTo>
                <a:cubicBezTo>
                  <a:pt x="397123" y="4882"/>
                  <a:pt x="361203" y="12293"/>
                  <a:pt x="327014" y="18645"/>
                </a:cubicBezTo>
                <a:cubicBezTo>
                  <a:pt x="258636" y="31541"/>
                  <a:pt x="196942" y="44004"/>
                  <a:pt x="146596" y="60846"/>
                </a:cubicBezTo>
                <a:cubicBezTo>
                  <a:pt x="121495" y="69219"/>
                  <a:pt x="99279" y="78650"/>
                  <a:pt x="80911" y="89285"/>
                </a:cubicBezTo>
                <a:cubicBezTo>
                  <a:pt x="62638" y="100016"/>
                  <a:pt x="48645" y="112094"/>
                  <a:pt x="38547" y="123065"/>
                </a:cubicBezTo>
                <a:close/>
              </a:path>
            </a:pathLst>
          </a:custGeom>
          <a:solidFill>
            <a:srgbClr val="29C8C1"/>
          </a:solidFill>
          <a:ln w="0" cap="flat">
            <a:noFill/>
            <a:prstDash val="solid"/>
            <a:miter/>
          </a:ln>
        </p:spPr>
        <p:txBody>
          <a:bodyPr rtlCol="0" anchor="ctr"/>
          <a:lstStyle/>
          <a:p>
            <a:pPr rtl="0"/>
            <a:endParaRPr lang="en-AU" dirty="0"/>
          </a:p>
        </p:txBody>
      </p:sp>
      <p:sp>
        <p:nvSpPr>
          <p:cNvPr id="11" name="Freeform: Shape 10">
            <a:extLst>
              <a:ext uri="{FF2B5EF4-FFF2-40B4-BE49-F238E27FC236}">
                <a16:creationId xmlns:a16="http://schemas.microsoft.com/office/drawing/2014/main" id="{BDEF9BDF-2C3A-FC46-03ED-34055086B715}"/>
              </a:ext>
            </a:extLst>
          </p:cNvPr>
          <p:cNvSpPr/>
          <p:nvPr/>
        </p:nvSpPr>
        <p:spPr>
          <a:xfrm>
            <a:off x="6635328" y="4050316"/>
            <a:ext cx="1175409" cy="1058207"/>
          </a:xfrm>
          <a:custGeom>
            <a:avLst/>
            <a:gdLst>
              <a:gd name="connsiteX0" fmla="*/ 690160 w 1175409"/>
              <a:gd name="connsiteY0" fmla="*/ 734759 h 1058207"/>
              <a:gd name="connsiteX1" fmla="*/ 652125 w 1175409"/>
              <a:gd name="connsiteY1" fmla="*/ 690729 h 1058207"/>
              <a:gd name="connsiteX2" fmla="*/ 649720 w 1175409"/>
              <a:gd name="connsiteY2" fmla="*/ 629809 h 1058207"/>
              <a:gd name="connsiteX3" fmla="*/ 671551 w 1175409"/>
              <a:gd name="connsiteY3" fmla="*/ 567156 h 1058207"/>
              <a:gd name="connsiteX4" fmla="*/ 697133 w 1175409"/>
              <a:gd name="connsiteY4" fmla="*/ 501809 h 1058207"/>
              <a:gd name="connsiteX5" fmla="*/ 711847 w 1175409"/>
              <a:gd name="connsiteY5" fmla="*/ 429821 h 1058207"/>
              <a:gd name="connsiteX6" fmla="*/ 710068 w 1175409"/>
              <a:gd name="connsiteY6" fmla="*/ 391806 h 1058207"/>
              <a:gd name="connsiteX7" fmla="*/ 700499 w 1175409"/>
              <a:gd name="connsiteY7" fmla="*/ 354321 h 1058207"/>
              <a:gd name="connsiteX8" fmla="*/ 657654 w 1175409"/>
              <a:gd name="connsiteY8" fmla="*/ 288300 h 1058207"/>
              <a:gd name="connsiteX9" fmla="*/ 536959 w 1175409"/>
              <a:gd name="connsiteY9" fmla="*/ 179693 h 1058207"/>
              <a:gd name="connsiteX10" fmla="*/ 394625 w 1175409"/>
              <a:gd name="connsiteY10" fmla="*/ 86051 h 1058207"/>
              <a:gd name="connsiteX11" fmla="*/ 316486 w 1175409"/>
              <a:gd name="connsiteY11" fmla="*/ 45293 h 1058207"/>
              <a:gd name="connsiteX12" fmla="*/ 232384 w 1175409"/>
              <a:gd name="connsiteY12" fmla="*/ 12764 h 1058207"/>
              <a:gd name="connsiteX13" fmla="*/ 186654 w 1175409"/>
              <a:gd name="connsiteY13" fmla="*/ 4535 h 1058207"/>
              <a:gd name="connsiteX14" fmla="*/ 174584 w 1175409"/>
              <a:gd name="connsiteY14" fmla="*/ 4824 h 1058207"/>
              <a:gd name="connsiteX15" fmla="*/ 171555 w 1175409"/>
              <a:gd name="connsiteY15" fmla="*/ 5016 h 1058207"/>
              <a:gd name="connsiteX16" fmla="*/ 169632 w 1175409"/>
              <a:gd name="connsiteY16" fmla="*/ 5016 h 1058207"/>
              <a:gd name="connsiteX17" fmla="*/ 164823 w 1175409"/>
              <a:gd name="connsiteY17" fmla="*/ 4295 h 1058207"/>
              <a:gd name="connsiteX18" fmla="*/ 153859 w 1175409"/>
              <a:gd name="connsiteY18" fmla="*/ 1504 h 1058207"/>
              <a:gd name="connsiteX19" fmla="*/ 140395 w 1175409"/>
              <a:gd name="connsiteY19" fmla="*/ 253 h 1058207"/>
              <a:gd name="connsiteX20" fmla="*/ 136356 w 1175409"/>
              <a:gd name="connsiteY20" fmla="*/ 1552 h 1058207"/>
              <a:gd name="connsiteX21" fmla="*/ 133375 w 1175409"/>
              <a:gd name="connsiteY21" fmla="*/ 3236 h 1058207"/>
              <a:gd name="connsiteX22" fmla="*/ 128085 w 1175409"/>
              <a:gd name="connsiteY22" fmla="*/ 7038 h 1058207"/>
              <a:gd name="connsiteX23" fmla="*/ 119189 w 1175409"/>
              <a:gd name="connsiteY23" fmla="*/ 15507 h 1058207"/>
              <a:gd name="connsiteX24" fmla="*/ 111544 w 1175409"/>
              <a:gd name="connsiteY24" fmla="*/ 24650 h 1058207"/>
              <a:gd name="connsiteX25" fmla="*/ 104475 w 1175409"/>
              <a:gd name="connsiteY25" fmla="*/ 34129 h 1058207"/>
              <a:gd name="connsiteX26" fmla="*/ 79759 w 1175409"/>
              <a:gd name="connsiteY26" fmla="*/ 74117 h 1058207"/>
              <a:gd name="connsiteX27" fmla="*/ 12150 w 1175409"/>
              <a:gd name="connsiteY27" fmla="*/ 251680 h 1058207"/>
              <a:gd name="connsiteX28" fmla="*/ 81 w 1175409"/>
              <a:gd name="connsiteY28" fmla="*/ 347055 h 1058207"/>
              <a:gd name="connsiteX29" fmla="*/ 225 w 1175409"/>
              <a:gd name="connsiteY29" fmla="*/ 359037 h 1058207"/>
              <a:gd name="connsiteX30" fmla="*/ 658 w 1175409"/>
              <a:gd name="connsiteY30" fmla="*/ 371018 h 1058207"/>
              <a:gd name="connsiteX31" fmla="*/ 3351 w 1175409"/>
              <a:gd name="connsiteY31" fmla="*/ 394838 h 1058207"/>
              <a:gd name="connsiteX32" fmla="*/ 15805 w 1175409"/>
              <a:gd name="connsiteY32" fmla="*/ 441082 h 1058207"/>
              <a:gd name="connsiteX33" fmla="*/ 40136 w 1175409"/>
              <a:gd name="connsiteY33" fmla="*/ 482369 h 1058207"/>
              <a:gd name="connsiteX34" fmla="*/ 59852 w 1175409"/>
              <a:gd name="connsiteY34" fmla="*/ 497430 h 1058207"/>
              <a:gd name="connsiteX35" fmla="*/ 80817 w 1175409"/>
              <a:gd name="connsiteY35" fmla="*/ 508017 h 1058207"/>
              <a:gd name="connsiteX36" fmla="*/ 166602 w 1175409"/>
              <a:gd name="connsiteY36" fmla="*/ 539969 h 1058207"/>
              <a:gd name="connsiteX37" fmla="*/ 251089 w 1175409"/>
              <a:gd name="connsiteY37" fmla="*/ 568552 h 1058207"/>
              <a:gd name="connsiteX38" fmla="*/ 270804 w 1175409"/>
              <a:gd name="connsiteY38" fmla="*/ 577214 h 1058207"/>
              <a:gd name="connsiteX39" fmla="*/ 290183 w 1175409"/>
              <a:gd name="connsiteY39" fmla="*/ 587319 h 1058207"/>
              <a:gd name="connsiteX40" fmla="*/ 327834 w 1175409"/>
              <a:gd name="connsiteY40" fmla="*/ 608829 h 1058207"/>
              <a:gd name="connsiteX41" fmla="*/ 397462 w 1175409"/>
              <a:gd name="connsiteY41" fmla="*/ 657767 h 1058207"/>
              <a:gd name="connsiteX42" fmla="*/ 453963 w 1175409"/>
              <a:gd name="connsiteY42" fmla="*/ 717484 h 1058207"/>
              <a:gd name="connsiteX43" fmla="*/ 471178 w 1175409"/>
              <a:gd name="connsiteY43" fmla="*/ 752996 h 1058207"/>
              <a:gd name="connsiteX44" fmla="*/ 474063 w 1175409"/>
              <a:gd name="connsiteY44" fmla="*/ 772004 h 1058207"/>
              <a:gd name="connsiteX45" fmla="*/ 472764 w 1175409"/>
              <a:gd name="connsiteY45" fmla="*/ 791348 h 1058207"/>
              <a:gd name="connsiteX46" fmla="*/ 449828 w 1175409"/>
              <a:gd name="connsiteY46" fmla="*/ 866897 h 1058207"/>
              <a:gd name="connsiteX47" fmla="*/ 442807 w 1175409"/>
              <a:gd name="connsiteY47" fmla="*/ 906548 h 1058207"/>
              <a:gd name="connsiteX48" fmla="*/ 445356 w 1175409"/>
              <a:gd name="connsiteY48" fmla="*/ 926854 h 1058207"/>
              <a:gd name="connsiteX49" fmla="*/ 448770 w 1175409"/>
              <a:gd name="connsiteY49" fmla="*/ 936527 h 1058207"/>
              <a:gd name="connsiteX50" fmla="*/ 453434 w 1175409"/>
              <a:gd name="connsiteY50" fmla="*/ 945573 h 1058207"/>
              <a:gd name="connsiteX51" fmla="*/ 480506 w 1175409"/>
              <a:gd name="connsiteY51" fmla="*/ 974109 h 1058207"/>
              <a:gd name="connsiteX52" fmla="*/ 488440 w 1175409"/>
              <a:gd name="connsiteY52" fmla="*/ 979594 h 1058207"/>
              <a:gd name="connsiteX53" fmla="*/ 496855 w 1175409"/>
              <a:gd name="connsiteY53" fmla="*/ 984551 h 1058207"/>
              <a:gd name="connsiteX54" fmla="*/ 505703 w 1175409"/>
              <a:gd name="connsiteY54" fmla="*/ 988496 h 1058207"/>
              <a:gd name="connsiteX55" fmla="*/ 514743 w 1175409"/>
              <a:gd name="connsiteY55" fmla="*/ 991672 h 1058207"/>
              <a:gd name="connsiteX56" fmla="*/ 587497 w 1175409"/>
              <a:gd name="connsiteY56" fmla="*/ 1001682 h 1058207"/>
              <a:gd name="connsiteX57" fmla="*/ 657654 w 1175409"/>
              <a:gd name="connsiteY57" fmla="*/ 1000045 h 1058207"/>
              <a:gd name="connsiteX58" fmla="*/ 788448 w 1175409"/>
              <a:gd name="connsiteY58" fmla="*/ 991287 h 1058207"/>
              <a:gd name="connsiteX59" fmla="*/ 818886 w 1175409"/>
              <a:gd name="connsiteY59" fmla="*/ 992490 h 1058207"/>
              <a:gd name="connsiteX60" fmla="*/ 833793 w 1175409"/>
              <a:gd name="connsiteY60" fmla="*/ 994511 h 1058207"/>
              <a:gd name="connsiteX61" fmla="*/ 848411 w 1175409"/>
              <a:gd name="connsiteY61" fmla="*/ 997254 h 1058207"/>
              <a:gd name="connsiteX62" fmla="*/ 904431 w 1175409"/>
              <a:gd name="connsiteY62" fmla="*/ 1011450 h 1058207"/>
              <a:gd name="connsiteX63" fmla="*/ 1006228 w 1175409"/>
              <a:gd name="connsiteY63" fmla="*/ 1042584 h 1058207"/>
              <a:gd name="connsiteX64" fmla="*/ 1097976 w 1175409"/>
              <a:gd name="connsiteY64" fmla="*/ 1058175 h 1058207"/>
              <a:gd name="connsiteX65" fmla="*/ 1138609 w 1175409"/>
              <a:gd name="connsiteY65" fmla="*/ 1049705 h 1058207"/>
              <a:gd name="connsiteX66" fmla="*/ 1165921 w 1175409"/>
              <a:gd name="connsiteY66" fmla="*/ 1023672 h 1058207"/>
              <a:gd name="connsiteX67" fmla="*/ 1175010 w 1175409"/>
              <a:gd name="connsiteY67" fmla="*/ 991239 h 1058207"/>
              <a:gd name="connsiteX68" fmla="*/ 1173952 w 1175409"/>
              <a:gd name="connsiteY68" fmla="*/ 961838 h 1058207"/>
              <a:gd name="connsiteX69" fmla="*/ 1161209 w 1175409"/>
              <a:gd name="connsiteY69" fmla="*/ 917856 h 1058207"/>
              <a:gd name="connsiteX70" fmla="*/ 1147024 w 1175409"/>
              <a:gd name="connsiteY70" fmla="*/ 893555 h 1058207"/>
              <a:gd name="connsiteX71" fmla="*/ 1142215 w 1175409"/>
              <a:gd name="connsiteY71" fmla="*/ 888214 h 1058207"/>
              <a:gd name="connsiteX72" fmla="*/ 1140340 w 1175409"/>
              <a:gd name="connsiteY72" fmla="*/ 886674 h 1058207"/>
              <a:gd name="connsiteX73" fmla="*/ 1146110 w 1175409"/>
              <a:gd name="connsiteY73" fmla="*/ 894229 h 1058207"/>
              <a:gd name="connsiteX74" fmla="*/ 1159189 w 1175409"/>
              <a:gd name="connsiteY74" fmla="*/ 918722 h 1058207"/>
              <a:gd name="connsiteX75" fmla="*/ 1170778 w 1175409"/>
              <a:gd name="connsiteY75" fmla="*/ 962271 h 1058207"/>
              <a:gd name="connsiteX76" fmla="*/ 1171307 w 1175409"/>
              <a:gd name="connsiteY76" fmla="*/ 990902 h 1058207"/>
              <a:gd name="connsiteX77" fmla="*/ 1162219 w 1175409"/>
              <a:gd name="connsiteY77" fmla="*/ 1021651 h 1058207"/>
              <a:gd name="connsiteX78" fmla="*/ 1136541 w 1175409"/>
              <a:gd name="connsiteY78" fmla="*/ 1045519 h 1058207"/>
              <a:gd name="connsiteX79" fmla="*/ 1097832 w 1175409"/>
              <a:gd name="connsiteY79" fmla="*/ 1053074 h 1058207"/>
              <a:gd name="connsiteX80" fmla="*/ 1007815 w 1175409"/>
              <a:gd name="connsiteY80" fmla="*/ 1036857 h 1058207"/>
              <a:gd name="connsiteX81" fmla="*/ 906306 w 1175409"/>
              <a:gd name="connsiteY81" fmla="*/ 1004954 h 1058207"/>
              <a:gd name="connsiteX82" fmla="*/ 849805 w 1175409"/>
              <a:gd name="connsiteY82" fmla="*/ 990229 h 1058207"/>
              <a:gd name="connsiteX83" fmla="*/ 834947 w 1175409"/>
              <a:gd name="connsiteY83" fmla="*/ 987342 h 1058207"/>
              <a:gd name="connsiteX84" fmla="*/ 819704 w 1175409"/>
              <a:gd name="connsiteY84" fmla="*/ 985176 h 1058207"/>
              <a:gd name="connsiteX85" fmla="*/ 788304 w 1175409"/>
              <a:gd name="connsiteY85" fmla="*/ 983733 h 1058207"/>
              <a:gd name="connsiteX86" fmla="*/ 657125 w 1175409"/>
              <a:gd name="connsiteY86" fmla="*/ 991817 h 1058207"/>
              <a:gd name="connsiteX87" fmla="*/ 587690 w 1175409"/>
              <a:gd name="connsiteY87" fmla="*/ 993116 h 1058207"/>
              <a:gd name="connsiteX88" fmla="*/ 517340 w 1175409"/>
              <a:gd name="connsiteY88" fmla="*/ 983203 h 1058207"/>
              <a:gd name="connsiteX89" fmla="*/ 508973 w 1175409"/>
              <a:gd name="connsiteY89" fmla="*/ 980220 h 1058207"/>
              <a:gd name="connsiteX90" fmla="*/ 500895 w 1175409"/>
              <a:gd name="connsiteY90" fmla="*/ 976563 h 1058207"/>
              <a:gd name="connsiteX91" fmla="*/ 493297 w 1175409"/>
              <a:gd name="connsiteY91" fmla="*/ 972039 h 1058207"/>
              <a:gd name="connsiteX92" fmla="*/ 485844 w 1175409"/>
              <a:gd name="connsiteY92" fmla="*/ 966842 h 1058207"/>
              <a:gd name="connsiteX93" fmla="*/ 461224 w 1175409"/>
              <a:gd name="connsiteY93" fmla="*/ 940809 h 1058207"/>
              <a:gd name="connsiteX94" fmla="*/ 452039 w 1175409"/>
              <a:gd name="connsiteY94" fmla="*/ 906596 h 1058207"/>
              <a:gd name="connsiteX95" fmla="*/ 458771 w 1175409"/>
              <a:gd name="connsiteY95" fmla="*/ 869688 h 1058207"/>
              <a:gd name="connsiteX96" fmla="*/ 482237 w 1175409"/>
              <a:gd name="connsiteY96" fmla="*/ 792840 h 1058207"/>
              <a:gd name="connsiteX97" fmla="*/ 483680 w 1175409"/>
              <a:gd name="connsiteY97" fmla="*/ 771763 h 1058207"/>
              <a:gd name="connsiteX98" fmla="*/ 480506 w 1175409"/>
              <a:gd name="connsiteY98" fmla="*/ 750494 h 1058207"/>
              <a:gd name="connsiteX99" fmla="*/ 462089 w 1175409"/>
              <a:gd name="connsiteY99" fmla="*/ 712094 h 1058207"/>
              <a:gd name="connsiteX100" fmla="*/ 403761 w 1175409"/>
              <a:gd name="connsiteY100" fmla="*/ 650115 h 1058207"/>
              <a:gd name="connsiteX101" fmla="*/ 333075 w 1175409"/>
              <a:gd name="connsiteY101" fmla="*/ 600167 h 1058207"/>
              <a:gd name="connsiteX102" fmla="*/ 294991 w 1175409"/>
              <a:gd name="connsiteY102" fmla="*/ 578320 h 1058207"/>
              <a:gd name="connsiteX103" fmla="*/ 275372 w 1175409"/>
              <a:gd name="connsiteY103" fmla="*/ 568071 h 1058207"/>
              <a:gd name="connsiteX104" fmla="*/ 254695 w 1175409"/>
              <a:gd name="connsiteY104" fmla="*/ 558928 h 1058207"/>
              <a:gd name="connsiteX105" fmla="*/ 169824 w 1175409"/>
              <a:gd name="connsiteY105" fmla="*/ 530104 h 1058207"/>
              <a:gd name="connsiteX106" fmla="*/ 85097 w 1175409"/>
              <a:gd name="connsiteY106" fmla="*/ 498441 h 1058207"/>
              <a:gd name="connsiteX107" fmla="*/ 65045 w 1175409"/>
              <a:gd name="connsiteY107" fmla="*/ 488288 h 1058207"/>
              <a:gd name="connsiteX108" fmla="*/ 48119 w 1175409"/>
              <a:gd name="connsiteY108" fmla="*/ 475584 h 1058207"/>
              <a:gd name="connsiteX109" fmla="*/ 25518 w 1175409"/>
              <a:gd name="connsiteY109" fmla="*/ 437088 h 1058207"/>
              <a:gd name="connsiteX110" fmla="*/ 13737 w 1175409"/>
              <a:gd name="connsiteY110" fmla="*/ 393202 h 1058207"/>
              <a:gd name="connsiteX111" fmla="*/ 11141 w 1175409"/>
              <a:gd name="connsiteY111" fmla="*/ 370297 h 1058207"/>
              <a:gd name="connsiteX112" fmla="*/ 10708 w 1175409"/>
              <a:gd name="connsiteY112" fmla="*/ 358700 h 1058207"/>
              <a:gd name="connsiteX113" fmla="*/ 10564 w 1175409"/>
              <a:gd name="connsiteY113" fmla="*/ 347103 h 1058207"/>
              <a:gd name="connsiteX114" fmla="*/ 22393 w 1175409"/>
              <a:gd name="connsiteY114" fmla="*/ 253990 h 1058207"/>
              <a:gd name="connsiteX115" fmla="*/ 88895 w 1175409"/>
              <a:gd name="connsiteY115" fmla="*/ 79170 h 1058207"/>
              <a:gd name="connsiteX116" fmla="*/ 112938 w 1175409"/>
              <a:gd name="connsiteY116" fmla="*/ 40192 h 1058207"/>
              <a:gd name="connsiteX117" fmla="*/ 119670 w 1175409"/>
              <a:gd name="connsiteY117" fmla="*/ 31146 h 1058207"/>
              <a:gd name="connsiteX118" fmla="*/ 126835 w 1175409"/>
              <a:gd name="connsiteY118" fmla="*/ 22629 h 1058207"/>
              <a:gd name="connsiteX119" fmla="*/ 134577 w 1175409"/>
              <a:gd name="connsiteY119" fmla="*/ 15218 h 1058207"/>
              <a:gd name="connsiteX120" fmla="*/ 138568 w 1175409"/>
              <a:gd name="connsiteY120" fmla="*/ 12283 h 1058207"/>
              <a:gd name="connsiteX121" fmla="*/ 140540 w 1175409"/>
              <a:gd name="connsiteY121" fmla="*/ 11080 h 1058207"/>
              <a:gd name="connsiteX122" fmla="*/ 141934 w 1175409"/>
              <a:gd name="connsiteY122" fmla="*/ 10599 h 1058207"/>
              <a:gd name="connsiteX123" fmla="*/ 151118 w 1175409"/>
              <a:gd name="connsiteY123" fmla="*/ 11705 h 1058207"/>
              <a:gd name="connsiteX124" fmla="*/ 162322 w 1175409"/>
              <a:gd name="connsiteY124" fmla="*/ 14544 h 1058207"/>
              <a:gd name="connsiteX125" fmla="*/ 168814 w 1175409"/>
              <a:gd name="connsiteY125" fmla="*/ 15507 h 1058207"/>
              <a:gd name="connsiteX126" fmla="*/ 172613 w 1175409"/>
              <a:gd name="connsiteY126" fmla="*/ 15411 h 1058207"/>
              <a:gd name="connsiteX127" fmla="*/ 175306 w 1175409"/>
              <a:gd name="connsiteY127" fmla="*/ 15266 h 1058207"/>
              <a:gd name="connsiteX128" fmla="*/ 185981 w 1175409"/>
              <a:gd name="connsiteY128" fmla="*/ 15026 h 1058207"/>
              <a:gd name="connsiteX129" fmla="*/ 196848 w 1175409"/>
              <a:gd name="connsiteY129" fmla="*/ 15892 h 1058207"/>
              <a:gd name="connsiteX130" fmla="*/ 207715 w 1175409"/>
              <a:gd name="connsiteY130" fmla="*/ 17576 h 1058207"/>
              <a:gd name="connsiteX131" fmla="*/ 229258 w 1175409"/>
              <a:gd name="connsiteY131" fmla="*/ 22821 h 1058207"/>
              <a:gd name="connsiteX132" fmla="*/ 311821 w 1175409"/>
              <a:gd name="connsiteY132" fmla="*/ 54628 h 1058207"/>
              <a:gd name="connsiteX133" fmla="*/ 389288 w 1175409"/>
              <a:gd name="connsiteY133" fmla="*/ 94857 h 1058207"/>
              <a:gd name="connsiteX134" fmla="*/ 530756 w 1175409"/>
              <a:gd name="connsiteY134" fmla="*/ 187537 h 1058207"/>
              <a:gd name="connsiteX135" fmla="*/ 650249 w 1175409"/>
              <a:gd name="connsiteY135" fmla="*/ 294459 h 1058207"/>
              <a:gd name="connsiteX136" fmla="*/ 691651 w 1175409"/>
              <a:gd name="connsiteY136" fmla="*/ 357497 h 1058207"/>
              <a:gd name="connsiteX137" fmla="*/ 700884 w 1175409"/>
              <a:gd name="connsiteY137" fmla="*/ 393154 h 1058207"/>
              <a:gd name="connsiteX138" fmla="*/ 702711 w 1175409"/>
              <a:gd name="connsiteY138" fmla="*/ 429388 h 1058207"/>
              <a:gd name="connsiteX139" fmla="*/ 688718 w 1175409"/>
              <a:gd name="connsiteY139" fmla="*/ 499115 h 1058207"/>
              <a:gd name="connsiteX140" fmla="*/ 663665 w 1175409"/>
              <a:gd name="connsiteY140" fmla="*/ 563980 h 1058207"/>
              <a:gd name="connsiteX141" fmla="*/ 641738 w 1175409"/>
              <a:gd name="connsiteY141" fmla="*/ 628077 h 1058207"/>
              <a:gd name="connsiteX142" fmla="*/ 638372 w 1175409"/>
              <a:gd name="connsiteY142" fmla="*/ 661279 h 1058207"/>
              <a:gd name="connsiteX143" fmla="*/ 644864 w 1175409"/>
              <a:gd name="connsiteY143" fmla="*/ 693568 h 1058207"/>
              <a:gd name="connsiteX144" fmla="*/ 662271 w 1175409"/>
              <a:gd name="connsiteY144" fmla="*/ 720612 h 1058207"/>
              <a:gd name="connsiteX145" fmla="*/ 685881 w 1175409"/>
              <a:gd name="connsiteY145" fmla="*/ 740726 h 1058207"/>
              <a:gd name="connsiteX146" fmla="*/ 738390 w 1175409"/>
              <a:gd name="connsiteY146" fmla="*/ 767192 h 1058207"/>
              <a:gd name="connsiteX147" fmla="*/ 841150 w 1175409"/>
              <a:gd name="connsiteY147" fmla="*/ 796353 h 1058207"/>
              <a:gd name="connsiteX148" fmla="*/ 1007912 w 1175409"/>
              <a:gd name="connsiteY148" fmla="*/ 831384 h 1058207"/>
              <a:gd name="connsiteX149" fmla="*/ 1109228 w 1175409"/>
              <a:gd name="connsiteY149" fmla="*/ 865983 h 1058207"/>
              <a:gd name="connsiteX150" fmla="*/ 1132742 w 1175409"/>
              <a:gd name="connsiteY150" fmla="*/ 880900 h 1058207"/>
              <a:gd name="connsiteX151" fmla="*/ 1140244 w 1175409"/>
              <a:gd name="connsiteY151" fmla="*/ 886771 h 1058207"/>
              <a:gd name="connsiteX152" fmla="*/ 1138657 w 1175409"/>
              <a:gd name="connsiteY152" fmla="*/ 884942 h 1058207"/>
              <a:gd name="connsiteX153" fmla="*/ 1133416 w 1175409"/>
              <a:gd name="connsiteY153" fmla="*/ 880034 h 1058207"/>
              <a:gd name="connsiteX154" fmla="*/ 1110238 w 1175409"/>
              <a:gd name="connsiteY154" fmla="*/ 864106 h 1058207"/>
              <a:gd name="connsiteX155" fmla="*/ 1008873 w 1175409"/>
              <a:gd name="connsiteY155" fmla="*/ 827342 h 1058207"/>
              <a:gd name="connsiteX156" fmla="*/ 842448 w 1175409"/>
              <a:gd name="connsiteY156" fmla="*/ 790482 h 1058207"/>
              <a:gd name="connsiteX157" fmla="*/ 740843 w 1175409"/>
              <a:gd name="connsiteY157" fmla="*/ 760840 h 1058207"/>
              <a:gd name="connsiteX158" fmla="*/ 689968 w 1175409"/>
              <a:gd name="connsiteY158" fmla="*/ 734807 h 105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175409" h="1058207">
                <a:moveTo>
                  <a:pt x="690160" y="734759"/>
                </a:moveTo>
                <a:cubicBezTo>
                  <a:pt x="674244" y="723788"/>
                  <a:pt x="659530" y="709352"/>
                  <a:pt x="652125" y="690729"/>
                </a:cubicBezTo>
                <a:cubicBezTo>
                  <a:pt x="644719" y="672058"/>
                  <a:pt x="644960" y="650645"/>
                  <a:pt x="649720" y="629809"/>
                </a:cubicBezTo>
                <a:cubicBezTo>
                  <a:pt x="654577" y="608877"/>
                  <a:pt x="662800" y="588185"/>
                  <a:pt x="671551" y="567156"/>
                </a:cubicBezTo>
                <a:cubicBezTo>
                  <a:pt x="680255" y="546128"/>
                  <a:pt x="689535" y="524570"/>
                  <a:pt x="697133" y="501809"/>
                </a:cubicBezTo>
                <a:cubicBezTo>
                  <a:pt x="704730" y="479096"/>
                  <a:pt x="710453" y="454940"/>
                  <a:pt x="711847" y="429821"/>
                </a:cubicBezTo>
                <a:cubicBezTo>
                  <a:pt x="712376" y="417262"/>
                  <a:pt x="711847" y="404510"/>
                  <a:pt x="710068" y="391806"/>
                </a:cubicBezTo>
                <a:cubicBezTo>
                  <a:pt x="708145" y="379103"/>
                  <a:pt x="704827" y="366591"/>
                  <a:pt x="700499" y="354321"/>
                </a:cubicBezTo>
                <a:cubicBezTo>
                  <a:pt x="690689" y="329683"/>
                  <a:pt x="674821" y="308366"/>
                  <a:pt x="657654" y="288300"/>
                </a:cubicBezTo>
                <a:cubicBezTo>
                  <a:pt x="622744" y="248408"/>
                  <a:pt x="581150" y="213281"/>
                  <a:pt x="536959" y="179693"/>
                </a:cubicBezTo>
                <a:cubicBezTo>
                  <a:pt x="492576" y="146298"/>
                  <a:pt x="445019" y="114971"/>
                  <a:pt x="394625" y="86051"/>
                </a:cubicBezTo>
                <a:cubicBezTo>
                  <a:pt x="369380" y="71663"/>
                  <a:pt x="343366" y="57901"/>
                  <a:pt x="316486" y="45293"/>
                </a:cubicBezTo>
                <a:cubicBezTo>
                  <a:pt x="289557" y="32734"/>
                  <a:pt x="261764" y="21137"/>
                  <a:pt x="232384" y="12764"/>
                </a:cubicBezTo>
                <a:cubicBezTo>
                  <a:pt x="217717" y="8578"/>
                  <a:pt x="202570" y="5113"/>
                  <a:pt x="186654" y="4535"/>
                </a:cubicBezTo>
                <a:cubicBezTo>
                  <a:pt x="182759" y="4102"/>
                  <a:pt x="178624" y="4632"/>
                  <a:pt x="174584" y="4824"/>
                </a:cubicBezTo>
                <a:lnTo>
                  <a:pt x="171555" y="5016"/>
                </a:lnTo>
                <a:cubicBezTo>
                  <a:pt x="170978" y="5016"/>
                  <a:pt x="170401" y="5113"/>
                  <a:pt x="169632" y="5016"/>
                </a:cubicBezTo>
                <a:cubicBezTo>
                  <a:pt x="168237" y="4969"/>
                  <a:pt x="166554" y="4680"/>
                  <a:pt x="164823" y="4295"/>
                </a:cubicBezTo>
                <a:cubicBezTo>
                  <a:pt x="161409" y="3525"/>
                  <a:pt x="157754" y="2466"/>
                  <a:pt x="153859" y="1504"/>
                </a:cubicBezTo>
                <a:cubicBezTo>
                  <a:pt x="149916" y="638"/>
                  <a:pt x="145877" y="-517"/>
                  <a:pt x="140395" y="253"/>
                </a:cubicBezTo>
                <a:cubicBezTo>
                  <a:pt x="139193" y="397"/>
                  <a:pt x="137270" y="1023"/>
                  <a:pt x="136356" y="1552"/>
                </a:cubicBezTo>
                <a:lnTo>
                  <a:pt x="133375" y="3236"/>
                </a:lnTo>
                <a:cubicBezTo>
                  <a:pt x="131259" y="4343"/>
                  <a:pt x="129720" y="5690"/>
                  <a:pt x="128085" y="7038"/>
                </a:cubicBezTo>
                <a:cubicBezTo>
                  <a:pt x="124671" y="9636"/>
                  <a:pt x="122123" y="12668"/>
                  <a:pt x="119189" y="15507"/>
                </a:cubicBezTo>
                <a:cubicBezTo>
                  <a:pt x="116593" y="18538"/>
                  <a:pt x="113948" y="21522"/>
                  <a:pt x="111544" y="24650"/>
                </a:cubicBezTo>
                <a:cubicBezTo>
                  <a:pt x="109188" y="27826"/>
                  <a:pt x="106735" y="30905"/>
                  <a:pt x="104475" y="34129"/>
                </a:cubicBezTo>
                <a:cubicBezTo>
                  <a:pt x="95339" y="46929"/>
                  <a:pt x="87309" y="60403"/>
                  <a:pt x="79759" y="74117"/>
                </a:cubicBezTo>
                <a:cubicBezTo>
                  <a:pt x="49754" y="129215"/>
                  <a:pt x="26720" y="188932"/>
                  <a:pt x="12150" y="251680"/>
                </a:cubicBezTo>
                <a:cubicBezTo>
                  <a:pt x="4938" y="283055"/>
                  <a:pt x="610" y="315055"/>
                  <a:pt x="81" y="347055"/>
                </a:cubicBezTo>
                <a:cubicBezTo>
                  <a:pt x="-111" y="351049"/>
                  <a:pt x="81" y="355043"/>
                  <a:pt x="225" y="359037"/>
                </a:cubicBezTo>
                <a:cubicBezTo>
                  <a:pt x="369" y="363031"/>
                  <a:pt x="369" y="367025"/>
                  <a:pt x="658" y="371018"/>
                </a:cubicBezTo>
                <a:cubicBezTo>
                  <a:pt x="1475" y="379007"/>
                  <a:pt x="1812" y="386994"/>
                  <a:pt x="3351" y="394838"/>
                </a:cubicBezTo>
                <a:cubicBezTo>
                  <a:pt x="5515" y="410670"/>
                  <a:pt x="10035" y="426212"/>
                  <a:pt x="15805" y="441082"/>
                </a:cubicBezTo>
                <a:cubicBezTo>
                  <a:pt x="21720" y="456047"/>
                  <a:pt x="30231" y="469713"/>
                  <a:pt x="40136" y="482369"/>
                </a:cubicBezTo>
                <a:cubicBezTo>
                  <a:pt x="46147" y="489106"/>
                  <a:pt x="53023" y="493388"/>
                  <a:pt x="59852" y="497430"/>
                </a:cubicBezTo>
                <a:cubicBezTo>
                  <a:pt x="66728" y="501376"/>
                  <a:pt x="73748" y="504841"/>
                  <a:pt x="80817" y="508017"/>
                </a:cubicBezTo>
                <a:cubicBezTo>
                  <a:pt x="109140" y="520672"/>
                  <a:pt x="138039" y="530393"/>
                  <a:pt x="166602" y="539969"/>
                </a:cubicBezTo>
                <a:cubicBezTo>
                  <a:pt x="195165" y="549544"/>
                  <a:pt x="223728" y="558302"/>
                  <a:pt x="251089" y="568552"/>
                </a:cubicBezTo>
                <a:cubicBezTo>
                  <a:pt x="257965" y="571198"/>
                  <a:pt x="264361" y="573797"/>
                  <a:pt x="270804" y="577214"/>
                </a:cubicBezTo>
                <a:cubicBezTo>
                  <a:pt x="277296" y="580534"/>
                  <a:pt x="283787" y="583806"/>
                  <a:pt x="290183" y="587319"/>
                </a:cubicBezTo>
                <a:cubicBezTo>
                  <a:pt x="303022" y="594152"/>
                  <a:pt x="315524" y="601418"/>
                  <a:pt x="327834" y="608829"/>
                </a:cubicBezTo>
                <a:cubicBezTo>
                  <a:pt x="352406" y="623794"/>
                  <a:pt x="375823" y="640010"/>
                  <a:pt x="397462" y="657767"/>
                </a:cubicBezTo>
                <a:cubicBezTo>
                  <a:pt x="418956" y="675619"/>
                  <a:pt x="439104" y="694963"/>
                  <a:pt x="453963" y="717484"/>
                </a:cubicBezTo>
                <a:cubicBezTo>
                  <a:pt x="461753" y="728503"/>
                  <a:pt x="467283" y="740726"/>
                  <a:pt x="471178" y="752996"/>
                </a:cubicBezTo>
                <a:cubicBezTo>
                  <a:pt x="473053" y="759156"/>
                  <a:pt x="473630" y="765604"/>
                  <a:pt x="474063" y="772004"/>
                </a:cubicBezTo>
                <a:cubicBezTo>
                  <a:pt x="474063" y="778452"/>
                  <a:pt x="473870" y="784900"/>
                  <a:pt x="472764" y="791348"/>
                </a:cubicBezTo>
                <a:cubicBezTo>
                  <a:pt x="468773" y="817189"/>
                  <a:pt x="457617" y="841489"/>
                  <a:pt x="449828" y="866897"/>
                </a:cubicBezTo>
                <a:cubicBezTo>
                  <a:pt x="446077" y="879649"/>
                  <a:pt x="442759" y="892833"/>
                  <a:pt x="442807" y="906548"/>
                </a:cubicBezTo>
                <a:cubicBezTo>
                  <a:pt x="442663" y="913333"/>
                  <a:pt x="443673" y="920214"/>
                  <a:pt x="445356" y="926854"/>
                </a:cubicBezTo>
                <a:cubicBezTo>
                  <a:pt x="446317" y="930127"/>
                  <a:pt x="447279" y="933447"/>
                  <a:pt x="448770" y="936527"/>
                </a:cubicBezTo>
                <a:cubicBezTo>
                  <a:pt x="449972" y="939751"/>
                  <a:pt x="451751" y="942638"/>
                  <a:pt x="453434" y="945573"/>
                </a:cubicBezTo>
                <a:cubicBezTo>
                  <a:pt x="460406" y="957218"/>
                  <a:pt x="470264" y="966361"/>
                  <a:pt x="480506" y="974109"/>
                </a:cubicBezTo>
                <a:lnTo>
                  <a:pt x="488440" y="979594"/>
                </a:lnTo>
                <a:cubicBezTo>
                  <a:pt x="491085" y="981423"/>
                  <a:pt x="494066" y="982915"/>
                  <a:pt x="496855" y="984551"/>
                </a:cubicBezTo>
                <a:cubicBezTo>
                  <a:pt x="499789" y="985898"/>
                  <a:pt x="502722" y="987342"/>
                  <a:pt x="505703" y="988496"/>
                </a:cubicBezTo>
                <a:cubicBezTo>
                  <a:pt x="508733" y="989555"/>
                  <a:pt x="511666" y="990855"/>
                  <a:pt x="514743" y="991672"/>
                </a:cubicBezTo>
                <a:cubicBezTo>
                  <a:pt x="539027" y="999131"/>
                  <a:pt x="563647" y="1000960"/>
                  <a:pt x="587497" y="1001682"/>
                </a:cubicBezTo>
                <a:cubicBezTo>
                  <a:pt x="611396" y="1002307"/>
                  <a:pt x="634814" y="1001393"/>
                  <a:pt x="657654" y="1000045"/>
                </a:cubicBezTo>
                <a:cubicBezTo>
                  <a:pt x="703336" y="997447"/>
                  <a:pt x="746950" y="992346"/>
                  <a:pt x="788448" y="991287"/>
                </a:cubicBezTo>
                <a:cubicBezTo>
                  <a:pt x="798834" y="991143"/>
                  <a:pt x="808981" y="991191"/>
                  <a:pt x="818886" y="992490"/>
                </a:cubicBezTo>
                <a:cubicBezTo>
                  <a:pt x="823887" y="993164"/>
                  <a:pt x="828840" y="993838"/>
                  <a:pt x="833793" y="994511"/>
                </a:cubicBezTo>
                <a:cubicBezTo>
                  <a:pt x="838698" y="995330"/>
                  <a:pt x="843554" y="996340"/>
                  <a:pt x="848411" y="997254"/>
                </a:cubicBezTo>
                <a:cubicBezTo>
                  <a:pt x="867741" y="1001152"/>
                  <a:pt x="886399" y="1006109"/>
                  <a:pt x="904431" y="1011450"/>
                </a:cubicBezTo>
                <a:cubicBezTo>
                  <a:pt x="940495" y="1022036"/>
                  <a:pt x="974107" y="1033585"/>
                  <a:pt x="1006228" y="1042584"/>
                </a:cubicBezTo>
                <a:cubicBezTo>
                  <a:pt x="1038254" y="1051582"/>
                  <a:pt x="1068884" y="1058752"/>
                  <a:pt x="1097976" y="1058175"/>
                </a:cubicBezTo>
                <a:cubicBezTo>
                  <a:pt x="1112354" y="1057934"/>
                  <a:pt x="1126539" y="1055817"/>
                  <a:pt x="1138609" y="1049705"/>
                </a:cubicBezTo>
                <a:cubicBezTo>
                  <a:pt x="1150774" y="1043979"/>
                  <a:pt x="1160247" y="1034307"/>
                  <a:pt x="1165921" y="1023672"/>
                </a:cubicBezTo>
                <a:cubicBezTo>
                  <a:pt x="1171692" y="1013038"/>
                  <a:pt x="1174144" y="1001729"/>
                  <a:pt x="1175010" y="991239"/>
                </a:cubicBezTo>
                <a:cubicBezTo>
                  <a:pt x="1175875" y="980701"/>
                  <a:pt x="1175250" y="970836"/>
                  <a:pt x="1173952" y="961838"/>
                </a:cubicBezTo>
                <a:cubicBezTo>
                  <a:pt x="1171259" y="943793"/>
                  <a:pt x="1166210" y="929164"/>
                  <a:pt x="1161209" y="917856"/>
                </a:cubicBezTo>
                <a:cubicBezTo>
                  <a:pt x="1156160" y="906548"/>
                  <a:pt x="1150967" y="898512"/>
                  <a:pt x="1147024" y="893555"/>
                </a:cubicBezTo>
                <a:cubicBezTo>
                  <a:pt x="1145004" y="891101"/>
                  <a:pt x="1143417" y="889273"/>
                  <a:pt x="1142215" y="888214"/>
                </a:cubicBezTo>
                <a:cubicBezTo>
                  <a:pt x="1141061" y="887107"/>
                  <a:pt x="1140436" y="886578"/>
                  <a:pt x="1140340" y="886674"/>
                </a:cubicBezTo>
                <a:cubicBezTo>
                  <a:pt x="1140148" y="886867"/>
                  <a:pt x="1142504" y="889128"/>
                  <a:pt x="1146110" y="894229"/>
                </a:cubicBezTo>
                <a:cubicBezTo>
                  <a:pt x="1149717" y="899378"/>
                  <a:pt x="1154525" y="907414"/>
                  <a:pt x="1159189" y="918722"/>
                </a:cubicBezTo>
                <a:cubicBezTo>
                  <a:pt x="1163806" y="930031"/>
                  <a:pt x="1168470" y="944611"/>
                  <a:pt x="1170778" y="962271"/>
                </a:cubicBezTo>
                <a:cubicBezTo>
                  <a:pt x="1171884" y="971125"/>
                  <a:pt x="1172317" y="980749"/>
                  <a:pt x="1171307" y="990902"/>
                </a:cubicBezTo>
                <a:cubicBezTo>
                  <a:pt x="1170297" y="1001008"/>
                  <a:pt x="1167797" y="1011739"/>
                  <a:pt x="1162219" y="1021651"/>
                </a:cubicBezTo>
                <a:cubicBezTo>
                  <a:pt x="1156785" y="1031516"/>
                  <a:pt x="1147937" y="1040322"/>
                  <a:pt x="1136541" y="1045519"/>
                </a:cubicBezTo>
                <a:cubicBezTo>
                  <a:pt x="1125241" y="1051101"/>
                  <a:pt x="1111777" y="1052978"/>
                  <a:pt x="1097832" y="1053074"/>
                </a:cubicBezTo>
                <a:cubicBezTo>
                  <a:pt x="1069798" y="1053363"/>
                  <a:pt x="1039552" y="1046048"/>
                  <a:pt x="1007815" y="1036857"/>
                </a:cubicBezTo>
                <a:cubicBezTo>
                  <a:pt x="976031" y="1027618"/>
                  <a:pt x="942515" y="1015829"/>
                  <a:pt x="906306" y="1004954"/>
                </a:cubicBezTo>
                <a:cubicBezTo>
                  <a:pt x="888226" y="999468"/>
                  <a:pt x="869424" y="994319"/>
                  <a:pt x="849805" y="990229"/>
                </a:cubicBezTo>
                <a:cubicBezTo>
                  <a:pt x="844901" y="989266"/>
                  <a:pt x="839948" y="988208"/>
                  <a:pt x="834947" y="987342"/>
                </a:cubicBezTo>
                <a:cubicBezTo>
                  <a:pt x="829898" y="986620"/>
                  <a:pt x="824801" y="985898"/>
                  <a:pt x="819704" y="985176"/>
                </a:cubicBezTo>
                <a:cubicBezTo>
                  <a:pt x="809365" y="983781"/>
                  <a:pt x="798834" y="983636"/>
                  <a:pt x="788304" y="983733"/>
                </a:cubicBezTo>
                <a:cubicBezTo>
                  <a:pt x="746180" y="984551"/>
                  <a:pt x="702615" y="989411"/>
                  <a:pt x="657125" y="991817"/>
                </a:cubicBezTo>
                <a:cubicBezTo>
                  <a:pt x="634429" y="993020"/>
                  <a:pt x="611204" y="993886"/>
                  <a:pt x="587690" y="993116"/>
                </a:cubicBezTo>
                <a:cubicBezTo>
                  <a:pt x="564272" y="992298"/>
                  <a:pt x="540133" y="990325"/>
                  <a:pt x="517340" y="983203"/>
                </a:cubicBezTo>
                <a:cubicBezTo>
                  <a:pt x="514455" y="982385"/>
                  <a:pt x="511762" y="981182"/>
                  <a:pt x="508973" y="980220"/>
                </a:cubicBezTo>
                <a:cubicBezTo>
                  <a:pt x="506232" y="979113"/>
                  <a:pt x="503587" y="977766"/>
                  <a:pt x="500895" y="976563"/>
                </a:cubicBezTo>
                <a:cubicBezTo>
                  <a:pt x="498394" y="975023"/>
                  <a:pt x="495798" y="973772"/>
                  <a:pt x="493297" y="972039"/>
                </a:cubicBezTo>
                <a:lnTo>
                  <a:pt x="485844" y="966842"/>
                </a:lnTo>
                <a:cubicBezTo>
                  <a:pt x="476227" y="959528"/>
                  <a:pt x="467283" y="951059"/>
                  <a:pt x="461224" y="940809"/>
                </a:cubicBezTo>
                <a:cubicBezTo>
                  <a:pt x="455069" y="930608"/>
                  <a:pt x="451799" y="918818"/>
                  <a:pt x="452039" y="906596"/>
                </a:cubicBezTo>
                <a:cubicBezTo>
                  <a:pt x="451991" y="894373"/>
                  <a:pt x="455069" y="881959"/>
                  <a:pt x="458771" y="869688"/>
                </a:cubicBezTo>
                <a:cubicBezTo>
                  <a:pt x="466369" y="845098"/>
                  <a:pt x="477814" y="820509"/>
                  <a:pt x="482237" y="792840"/>
                </a:cubicBezTo>
                <a:cubicBezTo>
                  <a:pt x="483440" y="785959"/>
                  <a:pt x="483728" y="778885"/>
                  <a:pt x="483680" y="771763"/>
                </a:cubicBezTo>
                <a:cubicBezTo>
                  <a:pt x="483247" y="764642"/>
                  <a:pt x="482622" y="757424"/>
                  <a:pt x="480506" y="750494"/>
                </a:cubicBezTo>
                <a:cubicBezTo>
                  <a:pt x="476275" y="736828"/>
                  <a:pt x="470264" y="723691"/>
                  <a:pt x="462089" y="712094"/>
                </a:cubicBezTo>
                <a:cubicBezTo>
                  <a:pt x="446414" y="688323"/>
                  <a:pt x="425688" y="668449"/>
                  <a:pt x="403761" y="650115"/>
                </a:cubicBezTo>
                <a:cubicBezTo>
                  <a:pt x="381690" y="631878"/>
                  <a:pt x="357936" y="615373"/>
                  <a:pt x="333075" y="600167"/>
                </a:cubicBezTo>
                <a:cubicBezTo>
                  <a:pt x="320621" y="592660"/>
                  <a:pt x="307974" y="585250"/>
                  <a:pt x="294991" y="578320"/>
                </a:cubicBezTo>
                <a:cubicBezTo>
                  <a:pt x="288548" y="574759"/>
                  <a:pt x="281960" y="571439"/>
                  <a:pt x="275372" y="568071"/>
                </a:cubicBezTo>
                <a:cubicBezTo>
                  <a:pt x="268832" y="564606"/>
                  <a:pt x="261572" y="561574"/>
                  <a:pt x="254695" y="558928"/>
                </a:cubicBezTo>
                <a:cubicBezTo>
                  <a:pt x="226757" y="548438"/>
                  <a:pt x="198291" y="539680"/>
                  <a:pt x="169824" y="530104"/>
                </a:cubicBezTo>
                <a:cubicBezTo>
                  <a:pt x="141405" y="520528"/>
                  <a:pt x="112650" y="510760"/>
                  <a:pt x="85097" y="498441"/>
                </a:cubicBezTo>
                <a:cubicBezTo>
                  <a:pt x="78220" y="495361"/>
                  <a:pt x="71488" y="491993"/>
                  <a:pt x="65045" y="488288"/>
                </a:cubicBezTo>
                <a:cubicBezTo>
                  <a:pt x="58697" y="484582"/>
                  <a:pt x="52398" y="480396"/>
                  <a:pt x="48119" y="475584"/>
                </a:cubicBezTo>
                <a:cubicBezTo>
                  <a:pt x="39078" y="463939"/>
                  <a:pt x="31048" y="451139"/>
                  <a:pt x="25518" y="437088"/>
                </a:cubicBezTo>
                <a:cubicBezTo>
                  <a:pt x="20085" y="423037"/>
                  <a:pt x="15805" y="408408"/>
                  <a:pt x="13737" y="393202"/>
                </a:cubicBezTo>
                <a:cubicBezTo>
                  <a:pt x="12247" y="385695"/>
                  <a:pt x="11958" y="377948"/>
                  <a:pt x="11141" y="370297"/>
                </a:cubicBezTo>
                <a:cubicBezTo>
                  <a:pt x="10852" y="366447"/>
                  <a:pt x="10852" y="362597"/>
                  <a:pt x="10708" y="358700"/>
                </a:cubicBezTo>
                <a:cubicBezTo>
                  <a:pt x="10612" y="354850"/>
                  <a:pt x="10371" y="350952"/>
                  <a:pt x="10564" y="347103"/>
                </a:cubicBezTo>
                <a:cubicBezTo>
                  <a:pt x="11093" y="316065"/>
                  <a:pt x="15276" y="284787"/>
                  <a:pt x="22393" y="253990"/>
                </a:cubicBezTo>
                <a:cubicBezTo>
                  <a:pt x="36674" y="192349"/>
                  <a:pt x="59467" y="133257"/>
                  <a:pt x="88895" y="79170"/>
                </a:cubicBezTo>
                <a:cubicBezTo>
                  <a:pt x="96301" y="65696"/>
                  <a:pt x="104187" y="52511"/>
                  <a:pt x="112938" y="40192"/>
                </a:cubicBezTo>
                <a:cubicBezTo>
                  <a:pt x="115102" y="37065"/>
                  <a:pt x="117458" y="34177"/>
                  <a:pt x="119670" y="31146"/>
                </a:cubicBezTo>
                <a:cubicBezTo>
                  <a:pt x="121978" y="28210"/>
                  <a:pt x="124431" y="25420"/>
                  <a:pt x="126835" y="22629"/>
                </a:cubicBezTo>
                <a:cubicBezTo>
                  <a:pt x="129432" y="20126"/>
                  <a:pt x="131836" y="17239"/>
                  <a:pt x="134577" y="15218"/>
                </a:cubicBezTo>
                <a:cubicBezTo>
                  <a:pt x="135923" y="14111"/>
                  <a:pt x="137222" y="12908"/>
                  <a:pt x="138568" y="12283"/>
                </a:cubicBezTo>
                <a:lnTo>
                  <a:pt x="140540" y="11080"/>
                </a:lnTo>
                <a:cubicBezTo>
                  <a:pt x="141309" y="10695"/>
                  <a:pt x="141261" y="10743"/>
                  <a:pt x="141934" y="10599"/>
                </a:cubicBezTo>
                <a:cubicBezTo>
                  <a:pt x="144050" y="10165"/>
                  <a:pt x="147704" y="10839"/>
                  <a:pt x="151118" y="11705"/>
                </a:cubicBezTo>
                <a:cubicBezTo>
                  <a:pt x="154629" y="12571"/>
                  <a:pt x="158331" y="13678"/>
                  <a:pt x="162322" y="14544"/>
                </a:cubicBezTo>
                <a:cubicBezTo>
                  <a:pt x="164342" y="14977"/>
                  <a:pt x="166410" y="15362"/>
                  <a:pt x="168814" y="15507"/>
                </a:cubicBezTo>
                <a:cubicBezTo>
                  <a:pt x="169968" y="15603"/>
                  <a:pt x="171266" y="15507"/>
                  <a:pt x="172613" y="15411"/>
                </a:cubicBezTo>
                <a:lnTo>
                  <a:pt x="175306" y="15266"/>
                </a:lnTo>
                <a:cubicBezTo>
                  <a:pt x="178864" y="15170"/>
                  <a:pt x="182326" y="14593"/>
                  <a:pt x="185981" y="15026"/>
                </a:cubicBezTo>
                <a:cubicBezTo>
                  <a:pt x="189587" y="15362"/>
                  <a:pt x="193194" y="15218"/>
                  <a:pt x="196848" y="15892"/>
                </a:cubicBezTo>
                <a:lnTo>
                  <a:pt x="207715" y="17576"/>
                </a:lnTo>
                <a:cubicBezTo>
                  <a:pt x="214928" y="19212"/>
                  <a:pt x="222141" y="20656"/>
                  <a:pt x="229258" y="22821"/>
                </a:cubicBezTo>
                <a:cubicBezTo>
                  <a:pt x="257773" y="30857"/>
                  <a:pt x="285230" y="42262"/>
                  <a:pt x="311821" y="54628"/>
                </a:cubicBezTo>
                <a:cubicBezTo>
                  <a:pt x="338413" y="67043"/>
                  <a:pt x="364235" y="80613"/>
                  <a:pt x="389288" y="94857"/>
                </a:cubicBezTo>
                <a:cubicBezTo>
                  <a:pt x="439345" y="123489"/>
                  <a:pt x="486661" y="154526"/>
                  <a:pt x="530756" y="187537"/>
                </a:cubicBezTo>
                <a:cubicBezTo>
                  <a:pt x="574610" y="220739"/>
                  <a:pt x="615964" y="255482"/>
                  <a:pt x="650249" y="294459"/>
                </a:cubicBezTo>
                <a:cubicBezTo>
                  <a:pt x="667127" y="313948"/>
                  <a:pt x="682515" y="334784"/>
                  <a:pt x="691651" y="357497"/>
                </a:cubicBezTo>
                <a:cubicBezTo>
                  <a:pt x="695786" y="369190"/>
                  <a:pt x="699008" y="381076"/>
                  <a:pt x="700884" y="393154"/>
                </a:cubicBezTo>
                <a:cubicBezTo>
                  <a:pt x="702615" y="405232"/>
                  <a:pt x="703192" y="417358"/>
                  <a:pt x="702711" y="429388"/>
                </a:cubicBezTo>
                <a:cubicBezTo>
                  <a:pt x="701461" y="453448"/>
                  <a:pt x="696075" y="476835"/>
                  <a:pt x="688718" y="499115"/>
                </a:cubicBezTo>
                <a:cubicBezTo>
                  <a:pt x="681409" y="521442"/>
                  <a:pt x="672321" y="542807"/>
                  <a:pt x="663665" y="563980"/>
                </a:cubicBezTo>
                <a:cubicBezTo>
                  <a:pt x="655010" y="585105"/>
                  <a:pt x="646691" y="606230"/>
                  <a:pt x="641738" y="628077"/>
                </a:cubicBezTo>
                <a:cubicBezTo>
                  <a:pt x="639382" y="639000"/>
                  <a:pt x="638035" y="650164"/>
                  <a:pt x="638372" y="661279"/>
                </a:cubicBezTo>
                <a:cubicBezTo>
                  <a:pt x="638709" y="672395"/>
                  <a:pt x="640872" y="683367"/>
                  <a:pt x="644864" y="693568"/>
                </a:cubicBezTo>
                <a:cubicBezTo>
                  <a:pt x="649047" y="703721"/>
                  <a:pt x="655058" y="712864"/>
                  <a:pt x="662271" y="720612"/>
                </a:cubicBezTo>
                <a:cubicBezTo>
                  <a:pt x="669435" y="728407"/>
                  <a:pt x="677514" y="734999"/>
                  <a:pt x="685881" y="740726"/>
                </a:cubicBezTo>
                <a:cubicBezTo>
                  <a:pt x="702711" y="752130"/>
                  <a:pt x="720695" y="760311"/>
                  <a:pt x="738390" y="767192"/>
                </a:cubicBezTo>
                <a:cubicBezTo>
                  <a:pt x="773926" y="780665"/>
                  <a:pt x="808692" y="789039"/>
                  <a:pt x="841150" y="796353"/>
                </a:cubicBezTo>
                <a:cubicBezTo>
                  <a:pt x="906162" y="810548"/>
                  <a:pt x="962567" y="820220"/>
                  <a:pt x="1007912" y="831384"/>
                </a:cubicBezTo>
                <a:cubicBezTo>
                  <a:pt x="1053305" y="842163"/>
                  <a:pt x="1087638" y="854386"/>
                  <a:pt x="1109228" y="865983"/>
                </a:cubicBezTo>
                <a:cubicBezTo>
                  <a:pt x="1120048" y="871709"/>
                  <a:pt x="1127789" y="877050"/>
                  <a:pt x="1132742" y="880900"/>
                </a:cubicBezTo>
                <a:cubicBezTo>
                  <a:pt x="1137743" y="884701"/>
                  <a:pt x="1140051" y="886963"/>
                  <a:pt x="1140244" y="886771"/>
                </a:cubicBezTo>
                <a:cubicBezTo>
                  <a:pt x="1140292" y="886722"/>
                  <a:pt x="1139763" y="886097"/>
                  <a:pt x="1138657" y="884942"/>
                </a:cubicBezTo>
                <a:cubicBezTo>
                  <a:pt x="1137551" y="883787"/>
                  <a:pt x="1135868" y="882055"/>
                  <a:pt x="1133416" y="880034"/>
                </a:cubicBezTo>
                <a:cubicBezTo>
                  <a:pt x="1128655" y="875895"/>
                  <a:pt x="1121057" y="870169"/>
                  <a:pt x="1110238" y="864106"/>
                </a:cubicBezTo>
                <a:cubicBezTo>
                  <a:pt x="1088744" y="851739"/>
                  <a:pt x="1054314" y="838795"/>
                  <a:pt x="1008873" y="827342"/>
                </a:cubicBezTo>
                <a:cubicBezTo>
                  <a:pt x="963528" y="815505"/>
                  <a:pt x="907124" y="805207"/>
                  <a:pt x="842448" y="790482"/>
                </a:cubicBezTo>
                <a:cubicBezTo>
                  <a:pt x="810183" y="782927"/>
                  <a:pt x="775705" y="774314"/>
                  <a:pt x="740843" y="760840"/>
                </a:cubicBezTo>
                <a:cubicBezTo>
                  <a:pt x="723532" y="753959"/>
                  <a:pt x="706029" y="745826"/>
                  <a:pt x="689968" y="734807"/>
                </a:cubicBezTo>
                <a:close/>
              </a:path>
            </a:pathLst>
          </a:custGeom>
          <a:solidFill>
            <a:srgbClr val="29C8C1"/>
          </a:solidFill>
          <a:ln w="0" cap="flat">
            <a:noFill/>
            <a:prstDash val="solid"/>
            <a:miter/>
          </a:ln>
        </p:spPr>
        <p:txBody>
          <a:bodyPr rtlCol="0" anchor="ctr"/>
          <a:lstStyle/>
          <a:p>
            <a:pPr rtl="0"/>
            <a:endParaRPr lang="en-AU" dirty="0"/>
          </a:p>
        </p:txBody>
      </p:sp>
      <p:sp>
        <p:nvSpPr>
          <p:cNvPr id="12" name="Freeform: Shape 11">
            <a:extLst>
              <a:ext uri="{FF2B5EF4-FFF2-40B4-BE49-F238E27FC236}">
                <a16:creationId xmlns:a16="http://schemas.microsoft.com/office/drawing/2014/main" id="{2C16200D-88DD-6372-BE8D-08DEFBE2149C}"/>
              </a:ext>
            </a:extLst>
          </p:cNvPr>
          <p:cNvSpPr/>
          <p:nvPr/>
        </p:nvSpPr>
        <p:spPr>
          <a:xfrm>
            <a:off x="7907513" y="1977745"/>
            <a:ext cx="1723482" cy="1701398"/>
          </a:xfrm>
          <a:custGeom>
            <a:avLst/>
            <a:gdLst>
              <a:gd name="connsiteX0" fmla="*/ 848432 w 1723482"/>
              <a:gd name="connsiteY0" fmla="*/ 1117976 h 1701398"/>
              <a:gd name="connsiteX1" fmla="*/ 812368 w 1723482"/>
              <a:gd name="connsiteY1" fmla="*/ 1154595 h 1701398"/>
              <a:gd name="connsiteX2" fmla="*/ 764715 w 1723482"/>
              <a:gd name="connsiteY2" fmla="*/ 1175961 h 1701398"/>
              <a:gd name="connsiteX3" fmla="*/ 738027 w 1723482"/>
              <a:gd name="connsiteY3" fmla="*/ 1181109 h 1701398"/>
              <a:gd name="connsiteX4" fmla="*/ 724419 w 1723482"/>
              <a:gd name="connsiteY4" fmla="*/ 1182986 h 1701398"/>
              <a:gd name="connsiteX5" fmla="*/ 717591 w 1723482"/>
              <a:gd name="connsiteY5" fmla="*/ 1183949 h 1701398"/>
              <a:gd name="connsiteX6" fmla="*/ 710714 w 1723482"/>
              <a:gd name="connsiteY6" fmla="*/ 1184574 h 1701398"/>
              <a:gd name="connsiteX7" fmla="*/ 696914 w 1723482"/>
              <a:gd name="connsiteY7" fmla="*/ 1185777 h 1701398"/>
              <a:gd name="connsiteX8" fmla="*/ 683017 w 1723482"/>
              <a:gd name="connsiteY8" fmla="*/ 1186306 h 1701398"/>
              <a:gd name="connsiteX9" fmla="*/ 654983 w 1723482"/>
              <a:gd name="connsiteY9" fmla="*/ 1186258 h 1701398"/>
              <a:gd name="connsiteX10" fmla="*/ 598482 w 1723482"/>
              <a:gd name="connsiteY10" fmla="*/ 1179906 h 1701398"/>
              <a:gd name="connsiteX11" fmla="*/ 542030 w 1723482"/>
              <a:gd name="connsiteY11" fmla="*/ 1166240 h 1701398"/>
              <a:gd name="connsiteX12" fmla="*/ 485721 w 1723482"/>
              <a:gd name="connsiteY12" fmla="*/ 1147425 h 1701398"/>
              <a:gd name="connsiteX13" fmla="*/ 369113 w 1723482"/>
              <a:gd name="connsiteY13" fmla="*/ 1109074 h 1701398"/>
              <a:gd name="connsiteX14" fmla="*/ 306409 w 1723482"/>
              <a:gd name="connsiteY14" fmla="*/ 1099834 h 1701398"/>
              <a:gd name="connsiteX15" fmla="*/ 242022 w 1723482"/>
              <a:gd name="connsiteY15" fmla="*/ 1103588 h 1701398"/>
              <a:gd name="connsiteX16" fmla="*/ 226058 w 1723482"/>
              <a:gd name="connsiteY16" fmla="*/ 1106812 h 1701398"/>
              <a:gd name="connsiteX17" fmla="*/ 210237 w 1723482"/>
              <a:gd name="connsiteY17" fmla="*/ 1110902 h 1701398"/>
              <a:gd name="connsiteX18" fmla="*/ 194561 w 1723482"/>
              <a:gd name="connsiteY18" fmla="*/ 1115714 h 1701398"/>
              <a:gd name="connsiteX19" fmla="*/ 178693 w 1723482"/>
              <a:gd name="connsiteY19" fmla="*/ 1121633 h 1701398"/>
              <a:gd name="connsiteX20" fmla="*/ 152102 w 1723482"/>
              <a:gd name="connsiteY20" fmla="*/ 1142854 h 1701398"/>
              <a:gd name="connsiteX21" fmla="*/ 130607 w 1723482"/>
              <a:gd name="connsiteY21" fmla="*/ 1168406 h 1701398"/>
              <a:gd name="connsiteX22" fmla="*/ 63527 w 1723482"/>
              <a:gd name="connsiteY22" fmla="*/ 1284905 h 1701398"/>
              <a:gd name="connsiteX23" fmla="*/ 17077 w 1723482"/>
              <a:gd name="connsiteY23" fmla="*/ 1414540 h 1701398"/>
              <a:gd name="connsiteX24" fmla="*/ 583 w 1723482"/>
              <a:gd name="connsiteY24" fmla="*/ 1554762 h 1701398"/>
              <a:gd name="connsiteX25" fmla="*/ 16355 w 1723482"/>
              <a:gd name="connsiteY25" fmla="*/ 1625643 h 1701398"/>
              <a:gd name="connsiteX26" fmla="*/ 63047 w 1723482"/>
              <a:gd name="connsiteY26" fmla="*/ 1682858 h 1701398"/>
              <a:gd name="connsiteX27" fmla="*/ 98486 w 1723482"/>
              <a:gd name="connsiteY27" fmla="*/ 1696284 h 1701398"/>
              <a:gd name="connsiteX28" fmla="*/ 116855 w 1723482"/>
              <a:gd name="connsiteY28" fmla="*/ 1699219 h 1701398"/>
              <a:gd name="connsiteX29" fmla="*/ 126087 w 1723482"/>
              <a:gd name="connsiteY29" fmla="*/ 1700230 h 1701398"/>
              <a:gd name="connsiteX30" fmla="*/ 135320 w 1723482"/>
              <a:gd name="connsiteY30" fmla="*/ 1700807 h 1701398"/>
              <a:gd name="connsiteX31" fmla="*/ 209228 w 1723482"/>
              <a:gd name="connsiteY31" fmla="*/ 1699027 h 1701398"/>
              <a:gd name="connsiteX32" fmla="*/ 356563 w 1723482"/>
              <a:gd name="connsiteY32" fmla="*/ 1676795 h 1701398"/>
              <a:gd name="connsiteX33" fmla="*/ 503657 w 1723482"/>
              <a:gd name="connsiteY33" fmla="*/ 1641812 h 1701398"/>
              <a:gd name="connsiteX34" fmla="*/ 577084 w 1723482"/>
              <a:gd name="connsiteY34" fmla="*/ 1620398 h 1701398"/>
              <a:gd name="connsiteX35" fmla="*/ 613677 w 1723482"/>
              <a:gd name="connsiteY35" fmla="*/ 1607983 h 1701398"/>
              <a:gd name="connsiteX36" fmla="*/ 631758 w 1723482"/>
              <a:gd name="connsiteY36" fmla="*/ 1600573 h 1701398"/>
              <a:gd name="connsiteX37" fmla="*/ 649405 w 1723482"/>
              <a:gd name="connsiteY37" fmla="*/ 1592152 h 1701398"/>
              <a:gd name="connsiteX38" fmla="*/ 714706 w 1723482"/>
              <a:gd name="connsiteY38" fmla="*/ 1548892 h 1701398"/>
              <a:gd name="connsiteX39" fmla="*/ 771062 w 1723482"/>
              <a:gd name="connsiteY39" fmla="*/ 1494179 h 1701398"/>
              <a:gd name="connsiteX40" fmla="*/ 821360 w 1723482"/>
              <a:gd name="connsiteY40" fmla="*/ 1434462 h 1701398"/>
              <a:gd name="connsiteX41" fmla="*/ 872187 w 1723482"/>
              <a:gd name="connsiteY41" fmla="*/ 1376958 h 1701398"/>
              <a:gd name="connsiteX42" fmla="*/ 932823 w 1723482"/>
              <a:gd name="connsiteY42" fmla="*/ 1333746 h 1701398"/>
              <a:gd name="connsiteX43" fmla="*/ 1004519 w 1723482"/>
              <a:gd name="connsiteY43" fmla="*/ 1310745 h 1701398"/>
              <a:gd name="connsiteX44" fmla="*/ 1078427 w 1723482"/>
              <a:gd name="connsiteY44" fmla="*/ 1297175 h 1701398"/>
              <a:gd name="connsiteX45" fmla="*/ 1152864 w 1723482"/>
              <a:gd name="connsiteY45" fmla="*/ 1289717 h 1701398"/>
              <a:gd name="connsiteX46" fmla="*/ 1300920 w 1723482"/>
              <a:gd name="connsiteY46" fmla="*/ 1284135 h 1701398"/>
              <a:gd name="connsiteX47" fmla="*/ 1446908 w 1723482"/>
              <a:gd name="connsiteY47" fmla="*/ 1279419 h 1701398"/>
              <a:gd name="connsiteX48" fmla="*/ 1518845 w 1723482"/>
              <a:gd name="connsiteY48" fmla="*/ 1272057 h 1701398"/>
              <a:gd name="connsiteX49" fmla="*/ 1588906 w 1723482"/>
              <a:gd name="connsiteY49" fmla="*/ 1255118 h 1701398"/>
              <a:gd name="connsiteX50" fmla="*/ 1621652 w 1723482"/>
              <a:gd name="connsiteY50" fmla="*/ 1239239 h 1701398"/>
              <a:gd name="connsiteX51" fmla="*/ 1648292 w 1723482"/>
              <a:gd name="connsiteY51" fmla="*/ 1214168 h 1701398"/>
              <a:gd name="connsiteX52" fmla="*/ 1682769 w 1723482"/>
              <a:gd name="connsiteY52" fmla="*/ 1152237 h 1701398"/>
              <a:gd name="connsiteX53" fmla="*/ 1716526 w 1723482"/>
              <a:gd name="connsiteY53" fmla="*/ 1018559 h 1701398"/>
              <a:gd name="connsiteX54" fmla="*/ 1722873 w 1723482"/>
              <a:gd name="connsiteY54" fmla="*/ 884400 h 1701398"/>
              <a:gd name="connsiteX55" fmla="*/ 1705802 w 1723482"/>
              <a:gd name="connsiteY55" fmla="*/ 754717 h 1701398"/>
              <a:gd name="connsiteX56" fmla="*/ 1663679 w 1723482"/>
              <a:gd name="connsiteY56" fmla="*/ 634897 h 1701398"/>
              <a:gd name="connsiteX57" fmla="*/ 1611650 w 1723482"/>
              <a:gd name="connsiteY57" fmla="*/ 523884 h 1701398"/>
              <a:gd name="connsiteX58" fmla="*/ 1558900 w 1723482"/>
              <a:gd name="connsiteY58" fmla="*/ 418020 h 1701398"/>
              <a:gd name="connsiteX59" fmla="*/ 1511295 w 1723482"/>
              <a:gd name="connsiteY59" fmla="*/ 314802 h 1701398"/>
              <a:gd name="connsiteX60" fmla="*/ 1470326 w 1723482"/>
              <a:gd name="connsiteY60" fmla="*/ 213317 h 1701398"/>
              <a:gd name="connsiteX61" fmla="*/ 1428203 w 1723482"/>
              <a:gd name="connsiteY61" fmla="*/ 117076 h 1701398"/>
              <a:gd name="connsiteX62" fmla="*/ 1403343 w 1723482"/>
              <a:gd name="connsiteY62" fmla="*/ 72613 h 1701398"/>
              <a:gd name="connsiteX63" fmla="*/ 1372424 w 1723482"/>
              <a:gd name="connsiteY63" fmla="*/ 33347 h 1701398"/>
              <a:gd name="connsiteX64" fmla="*/ 1331647 w 1723482"/>
              <a:gd name="connsiteY64" fmla="*/ 5919 h 1701398"/>
              <a:gd name="connsiteX65" fmla="*/ 1307892 w 1723482"/>
              <a:gd name="connsiteY65" fmla="*/ 289 h 1701398"/>
              <a:gd name="connsiteX66" fmla="*/ 1301737 w 1723482"/>
              <a:gd name="connsiteY66" fmla="*/ 0 h 1701398"/>
              <a:gd name="connsiteX67" fmla="*/ 1295390 w 1723482"/>
              <a:gd name="connsiteY67" fmla="*/ 577 h 1701398"/>
              <a:gd name="connsiteX68" fmla="*/ 1283272 w 1723482"/>
              <a:gd name="connsiteY68" fmla="*/ 6592 h 1701398"/>
              <a:gd name="connsiteX69" fmla="*/ 1278320 w 1723482"/>
              <a:gd name="connsiteY69" fmla="*/ 19104 h 1701398"/>
              <a:gd name="connsiteX70" fmla="*/ 1279137 w 1723482"/>
              <a:gd name="connsiteY70" fmla="*/ 31326 h 1701398"/>
              <a:gd name="connsiteX71" fmla="*/ 1285677 w 1723482"/>
              <a:gd name="connsiteY71" fmla="*/ 53510 h 1701398"/>
              <a:gd name="connsiteX72" fmla="*/ 1303084 w 1723482"/>
              <a:gd name="connsiteY72" fmla="*/ 94267 h 1701398"/>
              <a:gd name="connsiteX73" fmla="*/ 1331166 w 1723482"/>
              <a:gd name="connsiteY73" fmla="*/ 172559 h 1701398"/>
              <a:gd name="connsiteX74" fmla="*/ 1326598 w 1723482"/>
              <a:gd name="connsiteY74" fmla="*/ 248156 h 1701398"/>
              <a:gd name="connsiteX75" fmla="*/ 1317798 w 1723482"/>
              <a:gd name="connsiteY75" fmla="*/ 263939 h 1701398"/>
              <a:gd name="connsiteX76" fmla="*/ 1305825 w 1723482"/>
              <a:gd name="connsiteY76" fmla="*/ 276883 h 1701398"/>
              <a:gd name="connsiteX77" fmla="*/ 1275482 w 1723482"/>
              <a:gd name="connsiteY77" fmla="*/ 292667 h 1701398"/>
              <a:gd name="connsiteX78" fmla="*/ 1210567 w 1723482"/>
              <a:gd name="connsiteY78" fmla="*/ 294592 h 1701398"/>
              <a:gd name="connsiteX79" fmla="*/ 1180994 w 1723482"/>
              <a:gd name="connsiteY79" fmla="*/ 286796 h 1701398"/>
              <a:gd name="connsiteX80" fmla="*/ 1153537 w 1723482"/>
              <a:gd name="connsiteY80" fmla="*/ 276595 h 1701398"/>
              <a:gd name="connsiteX81" fmla="*/ 1060106 w 1723482"/>
              <a:gd name="connsiteY81" fmla="*/ 237281 h 1701398"/>
              <a:gd name="connsiteX82" fmla="*/ 990526 w 1723482"/>
              <a:gd name="connsiteY82" fmla="*/ 210959 h 1701398"/>
              <a:gd name="connsiteX83" fmla="*/ 945758 w 1723482"/>
              <a:gd name="connsiteY83" fmla="*/ 201383 h 1701398"/>
              <a:gd name="connsiteX84" fmla="*/ 934073 w 1723482"/>
              <a:gd name="connsiteY84" fmla="*/ 202057 h 1701398"/>
              <a:gd name="connsiteX85" fmla="*/ 930274 w 1723482"/>
              <a:gd name="connsiteY85" fmla="*/ 203115 h 1701398"/>
              <a:gd name="connsiteX86" fmla="*/ 945710 w 1723482"/>
              <a:gd name="connsiteY86" fmla="*/ 202490 h 1701398"/>
              <a:gd name="connsiteX87" fmla="*/ 989853 w 1723482"/>
              <a:gd name="connsiteY87" fmla="*/ 213028 h 1701398"/>
              <a:gd name="connsiteX88" fmla="*/ 1058856 w 1723482"/>
              <a:gd name="connsiteY88" fmla="*/ 240216 h 1701398"/>
              <a:gd name="connsiteX89" fmla="*/ 1151950 w 1723482"/>
              <a:gd name="connsiteY89" fmla="*/ 280444 h 1701398"/>
              <a:gd name="connsiteX90" fmla="*/ 1179503 w 1723482"/>
              <a:gd name="connsiteY90" fmla="*/ 290934 h 1701398"/>
              <a:gd name="connsiteX91" fmla="*/ 1209701 w 1723482"/>
              <a:gd name="connsiteY91" fmla="*/ 299115 h 1701398"/>
              <a:gd name="connsiteX92" fmla="*/ 1276781 w 1723482"/>
              <a:gd name="connsiteY92" fmla="*/ 297527 h 1701398"/>
              <a:gd name="connsiteX93" fmla="*/ 1309142 w 1723482"/>
              <a:gd name="connsiteY93" fmla="*/ 280925 h 1701398"/>
              <a:gd name="connsiteX94" fmla="*/ 1322126 w 1723482"/>
              <a:gd name="connsiteY94" fmla="*/ 267115 h 1701398"/>
              <a:gd name="connsiteX95" fmla="*/ 1331598 w 1723482"/>
              <a:gd name="connsiteY95" fmla="*/ 250321 h 1701398"/>
              <a:gd name="connsiteX96" fmla="*/ 1339869 w 1723482"/>
              <a:gd name="connsiteY96" fmla="*/ 211873 h 1701398"/>
              <a:gd name="connsiteX97" fmla="*/ 1336936 w 1723482"/>
              <a:gd name="connsiteY97" fmla="*/ 171452 h 1701398"/>
              <a:gd name="connsiteX98" fmla="*/ 1308806 w 1723482"/>
              <a:gd name="connsiteY98" fmla="*/ 91669 h 1701398"/>
              <a:gd name="connsiteX99" fmla="*/ 1291735 w 1723482"/>
              <a:gd name="connsiteY99" fmla="*/ 51248 h 1701398"/>
              <a:gd name="connsiteX100" fmla="*/ 1285580 w 1723482"/>
              <a:gd name="connsiteY100" fmla="*/ 30171 h 1701398"/>
              <a:gd name="connsiteX101" fmla="*/ 1284859 w 1723482"/>
              <a:gd name="connsiteY101" fmla="*/ 19729 h 1701398"/>
              <a:gd name="connsiteX102" fmla="*/ 1288081 w 1723482"/>
              <a:gd name="connsiteY102" fmla="*/ 11308 h 1701398"/>
              <a:gd name="connsiteX103" fmla="*/ 1307027 w 1723482"/>
              <a:gd name="connsiteY103" fmla="*/ 7266 h 1701398"/>
              <a:gd name="connsiteX104" fmla="*/ 1328954 w 1723482"/>
              <a:gd name="connsiteY104" fmla="*/ 12559 h 1701398"/>
              <a:gd name="connsiteX105" fmla="*/ 1367182 w 1723482"/>
              <a:gd name="connsiteY105" fmla="*/ 38544 h 1701398"/>
              <a:gd name="connsiteX106" fmla="*/ 1396947 w 1723482"/>
              <a:gd name="connsiteY106" fmla="*/ 76704 h 1701398"/>
              <a:gd name="connsiteX107" fmla="*/ 1421231 w 1723482"/>
              <a:gd name="connsiteY107" fmla="*/ 120541 h 1701398"/>
              <a:gd name="connsiteX108" fmla="*/ 1462777 w 1723482"/>
              <a:gd name="connsiteY108" fmla="*/ 216348 h 1701398"/>
              <a:gd name="connsiteX109" fmla="*/ 1503457 w 1723482"/>
              <a:gd name="connsiteY109" fmla="*/ 318026 h 1701398"/>
              <a:gd name="connsiteX110" fmla="*/ 1551014 w 1723482"/>
              <a:gd name="connsiteY110" fmla="*/ 421869 h 1701398"/>
              <a:gd name="connsiteX111" fmla="*/ 1603524 w 1723482"/>
              <a:gd name="connsiteY111" fmla="*/ 527830 h 1701398"/>
              <a:gd name="connsiteX112" fmla="*/ 1655120 w 1723482"/>
              <a:gd name="connsiteY112" fmla="*/ 638554 h 1701398"/>
              <a:gd name="connsiteX113" fmla="*/ 1696474 w 1723482"/>
              <a:gd name="connsiteY113" fmla="*/ 756882 h 1701398"/>
              <a:gd name="connsiteX114" fmla="*/ 1713111 w 1723482"/>
              <a:gd name="connsiteY114" fmla="*/ 884785 h 1701398"/>
              <a:gd name="connsiteX115" fmla="*/ 1706620 w 1723482"/>
              <a:gd name="connsiteY115" fmla="*/ 1017260 h 1701398"/>
              <a:gd name="connsiteX116" fmla="*/ 1673344 w 1723482"/>
              <a:gd name="connsiteY116" fmla="*/ 1148484 h 1701398"/>
              <a:gd name="connsiteX117" fmla="*/ 1640213 w 1723482"/>
              <a:gd name="connsiteY117" fmla="*/ 1207912 h 1701398"/>
              <a:gd name="connsiteX118" fmla="*/ 1615930 w 1723482"/>
              <a:gd name="connsiteY118" fmla="*/ 1230818 h 1701398"/>
              <a:gd name="connsiteX119" fmla="*/ 1601120 w 1723482"/>
              <a:gd name="connsiteY119" fmla="*/ 1238902 h 1701398"/>
              <a:gd name="connsiteX120" fmla="*/ 1585251 w 1723482"/>
              <a:gd name="connsiteY120" fmla="*/ 1245590 h 1701398"/>
              <a:gd name="connsiteX121" fmla="*/ 1517162 w 1723482"/>
              <a:gd name="connsiteY121" fmla="*/ 1261951 h 1701398"/>
              <a:gd name="connsiteX122" fmla="*/ 1446091 w 1723482"/>
              <a:gd name="connsiteY122" fmla="*/ 1269169 h 1701398"/>
              <a:gd name="connsiteX123" fmla="*/ 1300535 w 1723482"/>
              <a:gd name="connsiteY123" fmla="*/ 1273789 h 1701398"/>
              <a:gd name="connsiteX124" fmla="*/ 1151902 w 1723482"/>
              <a:gd name="connsiteY124" fmla="*/ 1279323 h 1701398"/>
              <a:gd name="connsiteX125" fmla="*/ 1076792 w 1723482"/>
              <a:gd name="connsiteY125" fmla="*/ 1286829 h 1701398"/>
              <a:gd name="connsiteX126" fmla="*/ 1001826 w 1723482"/>
              <a:gd name="connsiteY126" fmla="*/ 1300592 h 1701398"/>
              <a:gd name="connsiteX127" fmla="*/ 928399 w 1723482"/>
              <a:gd name="connsiteY127" fmla="*/ 1324171 h 1701398"/>
              <a:gd name="connsiteX128" fmla="*/ 864541 w 1723482"/>
              <a:gd name="connsiteY128" fmla="*/ 1369548 h 1701398"/>
              <a:gd name="connsiteX129" fmla="*/ 812945 w 1723482"/>
              <a:gd name="connsiteY129" fmla="*/ 1427870 h 1701398"/>
              <a:gd name="connsiteX130" fmla="*/ 762984 w 1723482"/>
              <a:gd name="connsiteY130" fmla="*/ 1487250 h 1701398"/>
              <a:gd name="connsiteX131" fmla="*/ 707781 w 1723482"/>
              <a:gd name="connsiteY131" fmla="*/ 1540856 h 1701398"/>
              <a:gd name="connsiteX132" fmla="*/ 644404 w 1723482"/>
              <a:gd name="connsiteY132" fmla="*/ 1582913 h 1701398"/>
              <a:gd name="connsiteX133" fmla="*/ 627286 w 1723482"/>
              <a:gd name="connsiteY133" fmla="*/ 1591093 h 1701398"/>
              <a:gd name="connsiteX134" fmla="*/ 609782 w 1723482"/>
              <a:gd name="connsiteY134" fmla="*/ 1598263 h 1701398"/>
              <a:gd name="connsiteX135" fmla="*/ 573766 w 1723482"/>
              <a:gd name="connsiteY135" fmla="*/ 1610486 h 1701398"/>
              <a:gd name="connsiteX136" fmla="*/ 500724 w 1723482"/>
              <a:gd name="connsiteY136" fmla="*/ 1631803 h 1701398"/>
              <a:gd name="connsiteX137" fmla="*/ 354302 w 1723482"/>
              <a:gd name="connsiteY137" fmla="*/ 1666690 h 1701398"/>
              <a:gd name="connsiteX138" fmla="*/ 208170 w 1723482"/>
              <a:gd name="connsiteY138" fmla="*/ 1688873 h 1701398"/>
              <a:gd name="connsiteX139" fmla="*/ 135704 w 1723482"/>
              <a:gd name="connsiteY139" fmla="*/ 1690702 h 1701398"/>
              <a:gd name="connsiteX140" fmla="*/ 126760 w 1723482"/>
              <a:gd name="connsiteY140" fmla="*/ 1690173 h 1701398"/>
              <a:gd name="connsiteX141" fmla="*/ 117913 w 1723482"/>
              <a:gd name="connsiteY141" fmla="*/ 1689210 h 1701398"/>
              <a:gd name="connsiteX142" fmla="*/ 100457 w 1723482"/>
              <a:gd name="connsiteY142" fmla="*/ 1686419 h 1701398"/>
              <a:gd name="connsiteX143" fmla="*/ 68528 w 1723482"/>
              <a:gd name="connsiteY143" fmla="*/ 1674485 h 1701398"/>
              <a:gd name="connsiteX144" fmla="*/ 25588 w 1723482"/>
              <a:gd name="connsiteY144" fmla="*/ 1621794 h 1701398"/>
              <a:gd name="connsiteX145" fmla="*/ 10585 w 1723482"/>
              <a:gd name="connsiteY145" fmla="*/ 1554377 h 1701398"/>
              <a:gd name="connsiteX146" fmla="*/ 26646 w 1723482"/>
              <a:gd name="connsiteY146" fmla="*/ 1417283 h 1701398"/>
              <a:gd name="connsiteX147" fmla="*/ 72327 w 1723482"/>
              <a:gd name="connsiteY147" fmla="*/ 1289235 h 1701398"/>
              <a:gd name="connsiteX148" fmla="*/ 138109 w 1723482"/>
              <a:gd name="connsiteY148" fmla="*/ 1174421 h 1701398"/>
              <a:gd name="connsiteX149" fmla="*/ 158834 w 1723482"/>
              <a:gd name="connsiteY149" fmla="*/ 1149687 h 1701398"/>
              <a:gd name="connsiteX150" fmla="*/ 182877 w 1723482"/>
              <a:gd name="connsiteY150" fmla="*/ 1130246 h 1701398"/>
              <a:gd name="connsiteX151" fmla="*/ 197398 w 1723482"/>
              <a:gd name="connsiteY151" fmla="*/ 1124857 h 1701398"/>
              <a:gd name="connsiteX152" fmla="*/ 212594 w 1723482"/>
              <a:gd name="connsiteY152" fmla="*/ 1120141 h 1701398"/>
              <a:gd name="connsiteX153" fmla="*/ 227933 w 1723482"/>
              <a:gd name="connsiteY153" fmla="*/ 1116147 h 1701398"/>
              <a:gd name="connsiteX154" fmla="*/ 243417 w 1723482"/>
              <a:gd name="connsiteY154" fmla="*/ 1113019 h 1701398"/>
              <a:gd name="connsiteX155" fmla="*/ 305736 w 1723482"/>
              <a:gd name="connsiteY155" fmla="*/ 1109266 h 1701398"/>
              <a:gd name="connsiteX156" fmla="*/ 366805 w 1723482"/>
              <a:gd name="connsiteY156" fmla="*/ 1118120 h 1701398"/>
              <a:gd name="connsiteX157" fmla="*/ 482547 w 1723482"/>
              <a:gd name="connsiteY157" fmla="*/ 1155943 h 1701398"/>
              <a:gd name="connsiteX158" fmla="*/ 539385 w 1723482"/>
              <a:gd name="connsiteY158" fmla="*/ 1174806 h 1701398"/>
              <a:gd name="connsiteX159" fmla="*/ 596799 w 1723482"/>
              <a:gd name="connsiteY159" fmla="*/ 1188520 h 1701398"/>
              <a:gd name="connsiteX160" fmla="*/ 654502 w 1723482"/>
              <a:gd name="connsiteY160" fmla="*/ 1194824 h 1701398"/>
              <a:gd name="connsiteX161" fmla="*/ 683113 w 1723482"/>
              <a:gd name="connsiteY161" fmla="*/ 1194824 h 1701398"/>
              <a:gd name="connsiteX162" fmla="*/ 697299 w 1723482"/>
              <a:gd name="connsiteY162" fmla="*/ 1194246 h 1701398"/>
              <a:gd name="connsiteX163" fmla="*/ 711388 w 1723482"/>
              <a:gd name="connsiteY163" fmla="*/ 1192995 h 1701398"/>
              <a:gd name="connsiteX164" fmla="*/ 718408 w 1723482"/>
              <a:gd name="connsiteY164" fmla="*/ 1192370 h 1701398"/>
              <a:gd name="connsiteX165" fmla="*/ 725381 w 1723482"/>
              <a:gd name="connsiteY165" fmla="*/ 1191407 h 1701398"/>
              <a:gd name="connsiteX166" fmla="*/ 739229 w 1723482"/>
              <a:gd name="connsiteY166" fmla="*/ 1189434 h 1701398"/>
              <a:gd name="connsiteX167" fmla="*/ 766494 w 1723482"/>
              <a:gd name="connsiteY167" fmla="*/ 1184093 h 1701398"/>
              <a:gd name="connsiteX168" fmla="*/ 816888 w 1723482"/>
              <a:gd name="connsiteY168" fmla="*/ 1161332 h 1701398"/>
              <a:gd name="connsiteX169" fmla="*/ 854683 w 1723482"/>
              <a:gd name="connsiteY169" fmla="*/ 1122740 h 1701398"/>
              <a:gd name="connsiteX170" fmla="*/ 879688 w 1723482"/>
              <a:gd name="connsiteY170" fmla="*/ 1076544 h 1701398"/>
              <a:gd name="connsiteX171" fmla="*/ 905895 w 1723482"/>
              <a:gd name="connsiteY171" fmla="*/ 979486 h 1701398"/>
              <a:gd name="connsiteX172" fmla="*/ 915704 w 1723482"/>
              <a:gd name="connsiteY172" fmla="*/ 884834 h 1701398"/>
              <a:gd name="connsiteX173" fmla="*/ 915897 w 1723482"/>
              <a:gd name="connsiteY173" fmla="*/ 710927 h 1701398"/>
              <a:gd name="connsiteX174" fmla="*/ 902769 w 1723482"/>
              <a:gd name="connsiteY174" fmla="*/ 433130 h 1701398"/>
              <a:gd name="connsiteX175" fmla="*/ 902769 w 1723482"/>
              <a:gd name="connsiteY175" fmla="*/ 379187 h 1701398"/>
              <a:gd name="connsiteX176" fmla="*/ 903587 w 1723482"/>
              <a:gd name="connsiteY176" fmla="*/ 331789 h 1701398"/>
              <a:gd name="connsiteX177" fmla="*/ 908443 w 1723482"/>
              <a:gd name="connsiteY177" fmla="*/ 257780 h 1701398"/>
              <a:gd name="connsiteX178" fmla="*/ 919695 w 1723482"/>
              <a:gd name="connsiteY178" fmla="*/ 213990 h 1701398"/>
              <a:gd name="connsiteX179" fmla="*/ 926956 w 1723482"/>
              <a:gd name="connsiteY179" fmla="*/ 205281 h 1701398"/>
              <a:gd name="connsiteX180" fmla="*/ 930323 w 1723482"/>
              <a:gd name="connsiteY180" fmla="*/ 203356 h 1701398"/>
              <a:gd name="connsiteX181" fmla="*/ 929361 w 1723482"/>
              <a:gd name="connsiteY181" fmla="*/ 203596 h 1701398"/>
              <a:gd name="connsiteX182" fmla="*/ 926668 w 1723482"/>
              <a:gd name="connsiteY182" fmla="*/ 204799 h 1701398"/>
              <a:gd name="connsiteX183" fmla="*/ 918782 w 1723482"/>
              <a:gd name="connsiteY183" fmla="*/ 213461 h 1701398"/>
              <a:gd name="connsiteX184" fmla="*/ 906376 w 1723482"/>
              <a:gd name="connsiteY184" fmla="*/ 257491 h 1701398"/>
              <a:gd name="connsiteX185" fmla="*/ 900509 w 1723482"/>
              <a:gd name="connsiteY185" fmla="*/ 331692 h 1701398"/>
              <a:gd name="connsiteX186" fmla="*/ 899163 w 1723482"/>
              <a:gd name="connsiteY186" fmla="*/ 379139 h 1701398"/>
              <a:gd name="connsiteX187" fmla="*/ 898634 w 1723482"/>
              <a:gd name="connsiteY187" fmla="*/ 433226 h 1701398"/>
              <a:gd name="connsiteX188" fmla="*/ 909934 w 1723482"/>
              <a:gd name="connsiteY188" fmla="*/ 711168 h 1701398"/>
              <a:gd name="connsiteX189" fmla="*/ 908972 w 1723482"/>
              <a:gd name="connsiteY189" fmla="*/ 884497 h 1701398"/>
              <a:gd name="connsiteX190" fmla="*/ 898826 w 1723482"/>
              <a:gd name="connsiteY190" fmla="*/ 978331 h 1701398"/>
              <a:gd name="connsiteX191" fmla="*/ 872764 w 1723482"/>
              <a:gd name="connsiteY191" fmla="*/ 1073657 h 1701398"/>
              <a:gd name="connsiteX192" fmla="*/ 848432 w 1723482"/>
              <a:gd name="connsiteY192" fmla="*/ 1118313 h 170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723482" h="1701398">
                <a:moveTo>
                  <a:pt x="848432" y="1117976"/>
                </a:moveTo>
                <a:cubicBezTo>
                  <a:pt x="838430" y="1131786"/>
                  <a:pt x="826601" y="1144682"/>
                  <a:pt x="812368" y="1154595"/>
                </a:cubicBezTo>
                <a:cubicBezTo>
                  <a:pt x="798279" y="1164748"/>
                  <a:pt x="781930" y="1171870"/>
                  <a:pt x="764715" y="1175961"/>
                </a:cubicBezTo>
                <a:cubicBezTo>
                  <a:pt x="755963" y="1177837"/>
                  <a:pt x="746971" y="1179521"/>
                  <a:pt x="738027" y="1181109"/>
                </a:cubicBezTo>
                <a:cubicBezTo>
                  <a:pt x="733507" y="1181735"/>
                  <a:pt x="728987" y="1182360"/>
                  <a:pt x="724419" y="1182986"/>
                </a:cubicBezTo>
                <a:lnTo>
                  <a:pt x="717591" y="1183949"/>
                </a:lnTo>
                <a:lnTo>
                  <a:pt x="710714" y="1184574"/>
                </a:lnTo>
                <a:cubicBezTo>
                  <a:pt x="706146" y="1184959"/>
                  <a:pt x="701530" y="1185344"/>
                  <a:pt x="696914" y="1185777"/>
                </a:cubicBezTo>
                <a:cubicBezTo>
                  <a:pt x="692298" y="1186066"/>
                  <a:pt x="687633" y="1186114"/>
                  <a:pt x="683017" y="1186306"/>
                </a:cubicBezTo>
                <a:cubicBezTo>
                  <a:pt x="673736" y="1186836"/>
                  <a:pt x="664360" y="1186306"/>
                  <a:pt x="654983" y="1186258"/>
                </a:cubicBezTo>
                <a:cubicBezTo>
                  <a:pt x="636230" y="1185248"/>
                  <a:pt x="617332" y="1183275"/>
                  <a:pt x="598482" y="1179906"/>
                </a:cubicBezTo>
                <a:cubicBezTo>
                  <a:pt x="579632" y="1176394"/>
                  <a:pt x="560831" y="1171774"/>
                  <a:pt x="542030" y="1166240"/>
                </a:cubicBezTo>
                <a:cubicBezTo>
                  <a:pt x="523228" y="1160706"/>
                  <a:pt x="504571" y="1154162"/>
                  <a:pt x="485721" y="1147425"/>
                </a:cubicBezTo>
                <a:cubicBezTo>
                  <a:pt x="448070" y="1133952"/>
                  <a:pt x="409938" y="1118746"/>
                  <a:pt x="369113" y="1109074"/>
                </a:cubicBezTo>
                <a:cubicBezTo>
                  <a:pt x="348725" y="1104262"/>
                  <a:pt x="327759" y="1100893"/>
                  <a:pt x="306409" y="1099834"/>
                </a:cubicBezTo>
                <a:cubicBezTo>
                  <a:pt x="285059" y="1098776"/>
                  <a:pt x="263420" y="1100027"/>
                  <a:pt x="242022" y="1103588"/>
                </a:cubicBezTo>
                <a:cubicBezTo>
                  <a:pt x="236685" y="1104646"/>
                  <a:pt x="231395" y="1105753"/>
                  <a:pt x="226058" y="1106812"/>
                </a:cubicBezTo>
                <a:cubicBezTo>
                  <a:pt x="220720" y="1107967"/>
                  <a:pt x="215527" y="1109555"/>
                  <a:pt x="210237" y="1110902"/>
                </a:cubicBezTo>
                <a:cubicBezTo>
                  <a:pt x="204948" y="1112201"/>
                  <a:pt x="199755" y="1113982"/>
                  <a:pt x="194561" y="1115714"/>
                </a:cubicBezTo>
                <a:cubicBezTo>
                  <a:pt x="189320" y="1117591"/>
                  <a:pt x="184319" y="1118746"/>
                  <a:pt x="178693" y="1121633"/>
                </a:cubicBezTo>
                <a:cubicBezTo>
                  <a:pt x="168210" y="1127167"/>
                  <a:pt x="159940" y="1134914"/>
                  <a:pt x="152102" y="1142854"/>
                </a:cubicBezTo>
                <a:cubicBezTo>
                  <a:pt x="144312" y="1150890"/>
                  <a:pt x="137291" y="1159552"/>
                  <a:pt x="130607" y="1168406"/>
                </a:cubicBezTo>
                <a:cubicBezTo>
                  <a:pt x="104016" y="1204159"/>
                  <a:pt x="82521" y="1243714"/>
                  <a:pt x="63527" y="1284905"/>
                </a:cubicBezTo>
                <a:cubicBezTo>
                  <a:pt x="44726" y="1326192"/>
                  <a:pt x="28762" y="1369452"/>
                  <a:pt x="17077" y="1414540"/>
                </a:cubicBezTo>
                <a:cubicBezTo>
                  <a:pt x="5584" y="1459533"/>
                  <a:pt x="-2254" y="1506690"/>
                  <a:pt x="583" y="1554762"/>
                </a:cubicBezTo>
                <a:cubicBezTo>
                  <a:pt x="2122" y="1578678"/>
                  <a:pt x="6498" y="1602979"/>
                  <a:pt x="16355" y="1625643"/>
                </a:cubicBezTo>
                <a:cubicBezTo>
                  <a:pt x="26117" y="1648260"/>
                  <a:pt x="41937" y="1668903"/>
                  <a:pt x="63047" y="1682858"/>
                </a:cubicBezTo>
                <a:cubicBezTo>
                  <a:pt x="74010" y="1690221"/>
                  <a:pt x="86368" y="1693445"/>
                  <a:pt x="98486" y="1696284"/>
                </a:cubicBezTo>
                <a:cubicBezTo>
                  <a:pt x="104593" y="1697439"/>
                  <a:pt x="110700" y="1698690"/>
                  <a:pt x="116855" y="1699219"/>
                </a:cubicBezTo>
                <a:cubicBezTo>
                  <a:pt x="119932" y="1699556"/>
                  <a:pt x="123010" y="1699989"/>
                  <a:pt x="126087" y="1700230"/>
                </a:cubicBezTo>
                <a:lnTo>
                  <a:pt x="135320" y="1700807"/>
                </a:lnTo>
                <a:cubicBezTo>
                  <a:pt x="159988" y="1702155"/>
                  <a:pt x="184608" y="1701048"/>
                  <a:pt x="209228" y="1699027"/>
                </a:cubicBezTo>
                <a:cubicBezTo>
                  <a:pt x="258419" y="1694792"/>
                  <a:pt x="307515" y="1686660"/>
                  <a:pt x="356563" y="1676795"/>
                </a:cubicBezTo>
                <a:cubicBezTo>
                  <a:pt x="405610" y="1666931"/>
                  <a:pt x="454657" y="1655093"/>
                  <a:pt x="503657" y="1641812"/>
                </a:cubicBezTo>
                <a:cubicBezTo>
                  <a:pt x="528181" y="1635123"/>
                  <a:pt x="552656" y="1628098"/>
                  <a:pt x="577084" y="1620398"/>
                </a:cubicBezTo>
                <a:cubicBezTo>
                  <a:pt x="589298" y="1616501"/>
                  <a:pt x="601512" y="1612507"/>
                  <a:pt x="613677" y="1607983"/>
                </a:cubicBezTo>
                <a:cubicBezTo>
                  <a:pt x="619832" y="1605770"/>
                  <a:pt x="625699" y="1603027"/>
                  <a:pt x="631758" y="1600573"/>
                </a:cubicBezTo>
                <a:cubicBezTo>
                  <a:pt x="637720" y="1597926"/>
                  <a:pt x="643539" y="1595039"/>
                  <a:pt x="649405" y="1592152"/>
                </a:cubicBezTo>
                <a:cubicBezTo>
                  <a:pt x="672534" y="1580122"/>
                  <a:pt x="694510" y="1565590"/>
                  <a:pt x="714706" y="1548892"/>
                </a:cubicBezTo>
                <a:cubicBezTo>
                  <a:pt x="734950" y="1532242"/>
                  <a:pt x="753559" y="1513668"/>
                  <a:pt x="771062" y="1494179"/>
                </a:cubicBezTo>
                <a:cubicBezTo>
                  <a:pt x="788614" y="1474690"/>
                  <a:pt x="804963" y="1454432"/>
                  <a:pt x="821360" y="1434462"/>
                </a:cubicBezTo>
                <a:cubicBezTo>
                  <a:pt x="837757" y="1414492"/>
                  <a:pt x="854155" y="1394763"/>
                  <a:pt x="872187" y="1376958"/>
                </a:cubicBezTo>
                <a:cubicBezTo>
                  <a:pt x="890267" y="1359346"/>
                  <a:pt x="910126" y="1343467"/>
                  <a:pt x="932823" y="1333746"/>
                </a:cubicBezTo>
                <a:cubicBezTo>
                  <a:pt x="955904" y="1324074"/>
                  <a:pt x="980139" y="1316664"/>
                  <a:pt x="1004519" y="1310745"/>
                </a:cubicBezTo>
                <a:cubicBezTo>
                  <a:pt x="1028898" y="1304826"/>
                  <a:pt x="1053663" y="1300447"/>
                  <a:pt x="1078427" y="1297175"/>
                </a:cubicBezTo>
                <a:cubicBezTo>
                  <a:pt x="1103239" y="1293903"/>
                  <a:pt x="1128051" y="1291401"/>
                  <a:pt x="1152864" y="1289717"/>
                </a:cubicBezTo>
                <a:cubicBezTo>
                  <a:pt x="1202488" y="1286252"/>
                  <a:pt x="1251920" y="1285097"/>
                  <a:pt x="1300920" y="1284135"/>
                </a:cubicBezTo>
                <a:cubicBezTo>
                  <a:pt x="1349967" y="1283124"/>
                  <a:pt x="1398678" y="1282499"/>
                  <a:pt x="1446908" y="1279419"/>
                </a:cubicBezTo>
                <a:cubicBezTo>
                  <a:pt x="1471047" y="1277831"/>
                  <a:pt x="1495042" y="1275714"/>
                  <a:pt x="1518845" y="1272057"/>
                </a:cubicBezTo>
                <a:cubicBezTo>
                  <a:pt x="1542599" y="1268351"/>
                  <a:pt x="1566209" y="1263347"/>
                  <a:pt x="1588906" y="1255118"/>
                </a:cubicBezTo>
                <a:cubicBezTo>
                  <a:pt x="1600158" y="1250643"/>
                  <a:pt x="1611218" y="1246072"/>
                  <a:pt x="1621652" y="1239239"/>
                </a:cubicBezTo>
                <a:cubicBezTo>
                  <a:pt x="1632039" y="1232309"/>
                  <a:pt x="1640694" y="1223503"/>
                  <a:pt x="1648292" y="1214168"/>
                </a:cubicBezTo>
                <a:cubicBezTo>
                  <a:pt x="1663102" y="1195112"/>
                  <a:pt x="1674018" y="1173939"/>
                  <a:pt x="1682769" y="1152237"/>
                </a:cubicBezTo>
                <a:cubicBezTo>
                  <a:pt x="1700273" y="1108785"/>
                  <a:pt x="1710322" y="1063504"/>
                  <a:pt x="1716526" y="1018559"/>
                </a:cubicBezTo>
                <a:cubicBezTo>
                  <a:pt x="1722536" y="973519"/>
                  <a:pt x="1724652" y="928575"/>
                  <a:pt x="1722873" y="884400"/>
                </a:cubicBezTo>
                <a:cubicBezTo>
                  <a:pt x="1721094" y="840226"/>
                  <a:pt x="1715708" y="796677"/>
                  <a:pt x="1705802" y="754717"/>
                </a:cubicBezTo>
                <a:cubicBezTo>
                  <a:pt x="1696041" y="712515"/>
                  <a:pt x="1680028" y="673105"/>
                  <a:pt x="1663679" y="634897"/>
                </a:cubicBezTo>
                <a:cubicBezTo>
                  <a:pt x="1647138" y="596738"/>
                  <a:pt x="1629394" y="559926"/>
                  <a:pt x="1611650" y="523884"/>
                </a:cubicBezTo>
                <a:cubicBezTo>
                  <a:pt x="1593762" y="487987"/>
                  <a:pt x="1576163" y="452666"/>
                  <a:pt x="1558900" y="418020"/>
                </a:cubicBezTo>
                <a:cubicBezTo>
                  <a:pt x="1541734" y="383325"/>
                  <a:pt x="1525385" y="349208"/>
                  <a:pt x="1511295" y="314802"/>
                </a:cubicBezTo>
                <a:cubicBezTo>
                  <a:pt x="1497062" y="280444"/>
                  <a:pt x="1483742" y="246471"/>
                  <a:pt x="1470326" y="213317"/>
                </a:cubicBezTo>
                <a:cubicBezTo>
                  <a:pt x="1456910" y="180210"/>
                  <a:pt x="1443446" y="147825"/>
                  <a:pt x="1428203" y="117076"/>
                </a:cubicBezTo>
                <a:cubicBezTo>
                  <a:pt x="1420557" y="101726"/>
                  <a:pt x="1412431" y="86809"/>
                  <a:pt x="1403343" y="72613"/>
                </a:cubicBezTo>
                <a:cubicBezTo>
                  <a:pt x="1394303" y="58418"/>
                  <a:pt x="1384204" y="44992"/>
                  <a:pt x="1372424" y="33347"/>
                </a:cubicBezTo>
                <a:cubicBezTo>
                  <a:pt x="1360787" y="21558"/>
                  <a:pt x="1346938" y="11886"/>
                  <a:pt x="1331647" y="5919"/>
                </a:cubicBezTo>
                <a:cubicBezTo>
                  <a:pt x="1323953" y="3128"/>
                  <a:pt x="1315971" y="1155"/>
                  <a:pt x="1307892" y="289"/>
                </a:cubicBezTo>
                <a:cubicBezTo>
                  <a:pt x="1305825" y="192"/>
                  <a:pt x="1303805" y="0"/>
                  <a:pt x="1301737" y="0"/>
                </a:cubicBezTo>
                <a:cubicBezTo>
                  <a:pt x="1299622" y="192"/>
                  <a:pt x="1297554" y="0"/>
                  <a:pt x="1295390" y="577"/>
                </a:cubicBezTo>
                <a:cubicBezTo>
                  <a:pt x="1291158" y="1107"/>
                  <a:pt x="1286590" y="3080"/>
                  <a:pt x="1283272" y="6592"/>
                </a:cubicBezTo>
                <a:cubicBezTo>
                  <a:pt x="1279954" y="10153"/>
                  <a:pt x="1278512" y="14917"/>
                  <a:pt x="1278320" y="19104"/>
                </a:cubicBezTo>
                <a:cubicBezTo>
                  <a:pt x="1277983" y="23386"/>
                  <a:pt x="1278464" y="27428"/>
                  <a:pt x="1279137" y="31326"/>
                </a:cubicBezTo>
                <a:cubicBezTo>
                  <a:pt x="1280628" y="39122"/>
                  <a:pt x="1283080" y="46388"/>
                  <a:pt x="1285677" y="53510"/>
                </a:cubicBezTo>
                <a:cubicBezTo>
                  <a:pt x="1291014" y="67657"/>
                  <a:pt x="1297217" y="81034"/>
                  <a:pt x="1303084" y="94267"/>
                </a:cubicBezTo>
                <a:cubicBezTo>
                  <a:pt x="1314865" y="120637"/>
                  <a:pt x="1326598" y="146189"/>
                  <a:pt x="1331166" y="172559"/>
                </a:cubicBezTo>
                <a:cubicBezTo>
                  <a:pt x="1336070" y="198688"/>
                  <a:pt x="1336023" y="225443"/>
                  <a:pt x="1326598" y="248156"/>
                </a:cubicBezTo>
                <a:cubicBezTo>
                  <a:pt x="1324145" y="253738"/>
                  <a:pt x="1321260" y="259031"/>
                  <a:pt x="1317798" y="263939"/>
                </a:cubicBezTo>
                <a:cubicBezTo>
                  <a:pt x="1314240" y="268751"/>
                  <a:pt x="1310201" y="273034"/>
                  <a:pt x="1305825" y="276883"/>
                </a:cubicBezTo>
                <a:cubicBezTo>
                  <a:pt x="1296833" y="284342"/>
                  <a:pt x="1286350" y="289635"/>
                  <a:pt x="1275482" y="292667"/>
                </a:cubicBezTo>
                <a:cubicBezTo>
                  <a:pt x="1253652" y="298971"/>
                  <a:pt x="1231147" y="297912"/>
                  <a:pt x="1210567" y="294592"/>
                </a:cubicBezTo>
                <a:cubicBezTo>
                  <a:pt x="1200276" y="293052"/>
                  <a:pt x="1190515" y="290020"/>
                  <a:pt x="1180994" y="286796"/>
                </a:cubicBezTo>
                <a:cubicBezTo>
                  <a:pt x="1171521" y="283572"/>
                  <a:pt x="1162384" y="280059"/>
                  <a:pt x="1153537" y="276595"/>
                </a:cubicBezTo>
                <a:cubicBezTo>
                  <a:pt x="1118194" y="262399"/>
                  <a:pt x="1087274" y="248493"/>
                  <a:pt x="1060106" y="237281"/>
                </a:cubicBezTo>
                <a:cubicBezTo>
                  <a:pt x="1032986" y="225972"/>
                  <a:pt x="1009760" y="216974"/>
                  <a:pt x="990526" y="210959"/>
                </a:cubicBezTo>
                <a:cubicBezTo>
                  <a:pt x="971340" y="204847"/>
                  <a:pt x="956145" y="201816"/>
                  <a:pt x="945758" y="201383"/>
                </a:cubicBezTo>
                <a:cubicBezTo>
                  <a:pt x="940565" y="201190"/>
                  <a:pt x="936622" y="201527"/>
                  <a:pt x="934073" y="202057"/>
                </a:cubicBezTo>
                <a:cubicBezTo>
                  <a:pt x="931525" y="202682"/>
                  <a:pt x="930226" y="203019"/>
                  <a:pt x="930274" y="203115"/>
                </a:cubicBezTo>
                <a:cubicBezTo>
                  <a:pt x="930323" y="203452"/>
                  <a:pt x="935467" y="201672"/>
                  <a:pt x="945710" y="202490"/>
                </a:cubicBezTo>
                <a:cubicBezTo>
                  <a:pt x="955904" y="203308"/>
                  <a:pt x="970907" y="206628"/>
                  <a:pt x="989853" y="213028"/>
                </a:cubicBezTo>
                <a:cubicBezTo>
                  <a:pt x="1008846" y="219332"/>
                  <a:pt x="1031928" y="228619"/>
                  <a:pt x="1058856" y="240216"/>
                </a:cubicBezTo>
                <a:cubicBezTo>
                  <a:pt x="1085832" y="251765"/>
                  <a:pt x="1116607" y="265912"/>
                  <a:pt x="1151950" y="280444"/>
                </a:cubicBezTo>
                <a:cubicBezTo>
                  <a:pt x="1160798" y="284005"/>
                  <a:pt x="1169982" y="287614"/>
                  <a:pt x="1179503" y="290934"/>
                </a:cubicBezTo>
                <a:cubicBezTo>
                  <a:pt x="1189024" y="294255"/>
                  <a:pt x="1199074" y="297431"/>
                  <a:pt x="1209701" y="299115"/>
                </a:cubicBezTo>
                <a:cubicBezTo>
                  <a:pt x="1230666" y="302628"/>
                  <a:pt x="1253748" y="303927"/>
                  <a:pt x="1276781" y="297527"/>
                </a:cubicBezTo>
                <a:cubicBezTo>
                  <a:pt x="1288225" y="294399"/>
                  <a:pt x="1299429" y="288865"/>
                  <a:pt x="1309142" y="280925"/>
                </a:cubicBezTo>
                <a:cubicBezTo>
                  <a:pt x="1313903" y="276835"/>
                  <a:pt x="1318279" y="272216"/>
                  <a:pt x="1322126" y="267115"/>
                </a:cubicBezTo>
                <a:cubicBezTo>
                  <a:pt x="1325828" y="261918"/>
                  <a:pt x="1329002" y="256240"/>
                  <a:pt x="1331598" y="250321"/>
                </a:cubicBezTo>
                <a:cubicBezTo>
                  <a:pt x="1336600" y="238339"/>
                  <a:pt x="1339292" y="225250"/>
                  <a:pt x="1339869" y="211873"/>
                </a:cubicBezTo>
                <a:cubicBezTo>
                  <a:pt x="1340639" y="198544"/>
                  <a:pt x="1339341" y="184974"/>
                  <a:pt x="1336936" y="171452"/>
                </a:cubicBezTo>
                <a:cubicBezTo>
                  <a:pt x="1332320" y="144120"/>
                  <a:pt x="1320443" y="118087"/>
                  <a:pt x="1308806" y="91669"/>
                </a:cubicBezTo>
                <a:cubicBezTo>
                  <a:pt x="1302940" y="78436"/>
                  <a:pt x="1296833" y="65058"/>
                  <a:pt x="1291735" y="51248"/>
                </a:cubicBezTo>
                <a:cubicBezTo>
                  <a:pt x="1289235" y="44319"/>
                  <a:pt x="1286927" y="37293"/>
                  <a:pt x="1285580" y="30171"/>
                </a:cubicBezTo>
                <a:cubicBezTo>
                  <a:pt x="1284955" y="26610"/>
                  <a:pt x="1284571" y="23050"/>
                  <a:pt x="1284859" y="19729"/>
                </a:cubicBezTo>
                <a:cubicBezTo>
                  <a:pt x="1285003" y="16313"/>
                  <a:pt x="1286109" y="13329"/>
                  <a:pt x="1288081" y="11308"/>
                </a:cubicBezTo>
                <a:cubicBezTo>
                  <a:pt x="1292024" y="7074"/>
                  <a:pt x="1299814" y="6544"/>
                  <a:pt x="1307027" y="7266"/>
                </a:cubicBezTo>
                <a:cubicBezTo>
                  <a:pt x="1314432" y="8084"/>
                  <a:pt x="1321789" y="9961"/>
                  <a:pt x="1328954" y="12559"/>
                </a:cubicBezTo>
                <a:cubicBezTo>
                  <a:pt x="1343091" y="18141"/>
                  <a:pt x="1356074" y="27236"/>
                  <a:pt x="1367182" y="38544"/>
                </a:cubicBezTo>
                <a:cubicBezTo>
                  <a:pt x="1378434" y="49756"/>
                  <a:pt x="1388196" y="62797"/>
                  <a:pt x="1396947" y="76704"/>
                </a:cubicBezTo>
                <a:cubicBezTo>
                  <a:pt x="1405795" y="90610"/>
                  <a:pt x="1413729" y="105335"/>
                  <a:pt x="1421231" y="120541"/>
                </a:cubicBezTo>
                <a:cubicBezTo>
                  <a:pt x="1436233" y="151001"/>
                  <a:pt x="1449505" y="183242"/>
                  <a:pt x="1462777" y="216348"/>
                </a:cubicBezTo>
                <a:cubicBezTo>
                  <a:pt x="1476048" y="249455"/>
                  <a:pt x="1489272" y="283524"/>
                  <a:pt x="1503457" y="318026"/>
                </a:cubicBezTo>
                <a:cubicBezTo>
                  <a:pt x="1517547" y="352625"/>
                  <a:pt x="1533944" y="387127"/>
                  <a:pt x="1551014" y="421869"/>
                </a:cubicBezTo>
                <a:cubicBezTo>
                  <a:pt x="1568181" y="456564"/>
                  <a:pt x="1585684" y="491884"/>
                  <a:pt x="1603524" y="527830"/>
                </a:cubicBezTo>
                <a:cubicBezTo>
                  <a:pt x="1621171" y="563824"/>
                  <a:pt x="1638771" y="600588"/>
                  <a:pt x="1655120" y="638554"/>
                </a:cubicBezTo>
                <a:cubicBezTo>
                  <a:pt x="1671277" y="676521"/>
                  <a:pt x="1687001" y="715595"/>
                  <a:pt x="1696474" y="756882"/>
                </a:cubicBezTo>
                <a:cubicBezTo>
                  <a:pt x="1706139" y="798169"/>
                  <a:pt x="1711380" y="841140"/>
                  <a:pt x="1713111" y="884785"/>
                </a:cubicBezTo>
                <a:cubicBezTo>
                  <a:pt x="1714842" y="928430"/>
                  <a:pt x="1712679" y="972845"/>
                  <a:pt x="1706620" y="1017260"/>
                </a:cubicBezTo>
                <a:cubicBezTo>
                  <a:pt x="1700465" y="1061579"/>
                  <a:pt x="1690463" y="1106186"/>
                  <a:pt x="1673344" y="1148484"/>
                </a:cubicBezTo>
                <a:cubicBezTo>
                  <a:pt x="1664785" y="1169609"/>
                  <a:pt x="1654110" y="1190012"/>
                  <a:pt x="1640213" y="1207912"/>
                </a:cubicBezTo>
                <a:cubicBezTo>
                  <a:pt x="1633097" y="1216670"/>
                  <a:pt x="1625114" y="1224706"/>
                  <a:pt x="1615930" y="1230818"/>
                </a:cubicBezTo>
                <a:cubicBezTo>
                  <a:pt x="1611554" y="1233993"/>
                  <a:pt x="1606121" y="1236255"/>
                  <a:pt x="1601120" y="1238902"/>
                </a:cubicBezTo>
                <a:cubicBezTo>
                  <a:pt x="1595974" y="1241404"/>
                  <a:pt x="1590541" y="1243329"/>
                  <a:pt x="1585251" y="1245590"/>
                </a:cubicBezTo>
                <a:cubicBezTo>
                  <a:pt x="1563517" y="1253434"/>
                  <a:pt x="1540483" y="1258342"/>
                  <a:pt x="1517162" y="1261951"/>
                </a:cubicBezTo>
                <a:cubicBezTo>
                  <a:pt x="1493792" y="1265560"/>
                  <a:pt x="1470038" y="1267629"/>
                  <a:pt x="1446091" y="1269169"/>
                </a:cubicBezTo>
                <a:cubicBezTo>
                  <a:pt x="1398198" y="1272201"/>
                  <a:pt x="1349631" y="1272826"/>
                  <a:pt x="1300535" y="1273789"/>
                </a:cubicBezTo>
                <a:cubicBezTo>
                  <a:pt x="1251488" y="1274703"/>
                  <a:pt x="1201863" y="1275858"/>
                  <a:pt x="1151902" y="1279323"/>
                </a:cubicBezTo>
                <a:cubicBezTo>
                  <a:pt x="1126945" y="1281007"/>
                  <a:pt x="1101893" y="1283509"/>
                  <a:pt x="1076792" y="1286829"/>
                </a:cubicBezTo>
                <a:cubicBezTo>
                  <a:pt x="1051739" y="1290102"/>
                  <a:pt x="1026638" y="1294529"/>
                  <a:pt x="1001826" y="1300592"/>
                </a:cubicBezTo>
                <a:cubicBezTo>
                  <a:pt x="976966" y="1306607"/>
                  <a:pt x="952394" y="1314114"/>
                  <a:pt x="928399" y="1324171"/>
                </a:cubicBezTo>
                <a:cubicBezTo>
                  <a:pt x="903971" y="1334613"/>
                  <a:pt x="883150" y="1351407"/>
                  <a:pt x="864541" y="1369548"/>
                </a:cubicBezTo>
                <a:cubicBezTo>
                  <a:pt x="845932" y="1387882"/>
                  <a:pt x="829342" y="1407900"/>
                  <a:pt x="812945" y="1427870"/>
                </a:cubicBezTo>
                <a:cubicBezTo>
                  <a:pt x="796500" y="1447887"/>
                  <a:pt x="780295" y="1468050"/>
                  <a:pt x="762984" y="1487250"/>
                </a:cubicBezTo>
                <a:cubicBezTo>
                  <a:pt x="745721" y="1506498"/>
                  <a:pt x="727496" y="1524639"/>
                  <a:pt x="707781" y="1540856"/>
                </a:cubicBezTo>
                <a:cubicBezTo>
                  <a:pt x="688114" y="1557120"/>
                  <a:pt x="666812" y="1571219"/>
                  <a:pt x="644404" y="1582913"/>
                </a:cubicBezTo>
                <a:cubicBezTo>
                  <a:pt x="638730" y="1585704"/>
                  <a:pt x="633056" y="1588495"/>
                  <a:pt x="627286" y="1591093"/>
                </a:cubicBezTo>
                <a:cubicBezTo>
                  <a:pt x="621467" y="1593499"/>
                  <a:pt x="615745" y="1596146"/>
                  <a:pt x="609782" y="1598263"/>
                </a:cubicBezTo>
                <a:cubicBezTo>
                  <a:pt x="597953" y="1602690"/>
                  <a:pt x="585836" y="1606636"/>
                  <a:pt x="573766" y="1610486"/>
                </a:cubicBezTo>
                <a:cubicBezTo>
                  <a:pt x="549531" y="1618137"/>
                  <a:pt x="525151" y="1625162"/>
                  <a:pt x="500724" y="1631803"/>
                </a:cubicBezTo>
                <a:cubicBezTo>
                  <a:pt x="451917" y="1645036"/>
                  <a:pt x="403110" y="1656825"/>
                  <a:pt x="354302" y="1666690"/>
                </a:cubicBezTo>
                <a:cubicBezTo>
                  <a:pt x="305543" y="1676555"/>
                  <a:pt x="256785" y="1684687"/>
                  <a:pt x="208170" y="1688873"/>
                </a:cubicBezTo>
                <a:cubicBezTo>
                  <a:pt x="183886" y="1690894"/>
                  <a:pt x="159651" y="1692001"/>
                  <a:pt x="135704" y="1690702"/>
                </a:cubicBezTo>
                <a:lnTo>
                  <a:pt x="126760" y="1690173"/>
                </a:lnTo>
                <a:cubicBezTo>
                  <a:pt x="123779" y="1689932"/>
                  <a:pt x="120846" y="1689499"/>
                  <a:pt x="117913" y="1689210"/>
                </a:cubicBezTo>
                <a:cubicBezTo>
                  <a:pt x="111950" y="1688681"/>
                  <a:pt x="106228" y="1687526"/>
                  <a:pt x="100457" y="1686419"/>
                </a:cubicBezTo>
                <a:cubicBezTo>
                  <a:pt x="89157" y="1683773"/>
                  <a:pt x="77665" y="1680693"/>
                  <a:pt x="68528" y="1674485"/>
                </a:cubicBezTo>
                <a:cubicBezTo>
                  <a:pt x="49342" y="1661878"/>
                  <a:pt x="34676" y="1642918"/>
                  <a:pt x="25588" y="1621794"/>
                </a:cubicBezTo>
                <a:cubicBezTo>
                  <a:pt x="16355" y="1600621"/>
                  <a:pt x="12076" y="1577427"/>
                  <a:pt x="10585" y="1554377"/>
                </a:cubicBezTo>
                <a:cubicBezTo>
                  <a:pt x="7796" y="1507942"/>
                  <a:pt x="15346" y="1461650"/>
                  <a:pt x="26646" y="1417283"/>
                </a:cubicBezTo>
                <a:cubicBezTo>
                  <a:pt x="38090" y="1372868"/>
                  <a:pt x="53814" y="1330089"/>
                  <a:pt x="72327" y="1289235"/>
                </a:cubicBezTo>
                <a:cubicBezTo>
                  <a:pt x="90985" y="1248526"/>
                  <a:pt x="112238" y="1209308"/>
                  <a:pt x="138109" y="1174421"/>
                </a:cubicBezTo>
                <a:cubicBezTo>
                  <a:pt x="144600" y="1165759"/>
                  <a:pt x="151428" y="1157386"/>
                  <a:pt x="158834" y="1149687"/>
                </a:cubicBezTo>
                <a:cubicBezTo>
                  <a:pt x="166239" y="1142132"/>
                  <a:pt x="174125" y="1134866"/>
                  <a:pt x="182877" y="1130246"/>
                </a:cubicBezTo>
                <a:cubicBezTo>
                  <a:pt x="186916" y="1128081"/>
                  <a:pt x="192494" y="1126637"/>
                  <a:pt x="197398" y="1124857"/>
                </a:cubicBezTo>
                <a:cubicBezTo>
                  <a:pt x="202447" y="1123125"/>
                  <a:pt x="207448" y="1121392"/>
                  <a:pt x="212594" y="1120141"/>
                </a:cubicBezTo>
                <a:cubicBezTo>
                  <a:pt x="217739" y="1118842"/>
                  <a:pt x="222788" y="1117254"/>
                  <a:pt x="227933" y="1116147"/>
                </a:cubicBezTo>
                <a:cubicBezTo>
                  <a:pt x="233126" y="1115089"/>
                  <a:pt x="238271" y="1114030"/>
                  <a:pt x="243417" y="1113019"/>
                </a:cubicBezTo>
                <a:cubicBezTo>
                  <a:pt x="264141" y="1109507"/>
                  <a:pt x="285059" y="1108255"/>
                  <a:pt x="305736" y="1109266"/>
                </a:cubicBezTo>
                <a:cubicBezTo>
                  <a:pt x="326413" y="1110228"/>
                  <a:pt x="346849" y="1113452"/>
                  <a:pt x="366805" y="1118120"/>
                </a:cubicBezTo>
                <a:cubicBezTo>
                  <a:pt x="406764" y="1127455"/>
                  <a:pt x="444704" y="1142469"/>
                  <a:pt x="482547" y="1155943"/>
                </a:cubicBezTo>
                <a:cubicBezTo>
                  <a:pt x="501445" y="1162679"/>
                  <a:pt x="520343" y="1169272"/>
                  <a:pt x="539385" y="1174806"/>
                </a:cubicBezTo>
                <a:cubicBezTo>
                  <a:pt x="558427" y="1180388"/>
                  <a:pt x="577565" y="1185007"/>
                  <a:pt x="596799" y="1188520"/>
                </a:cubicBezTo>
                <a:cubicBezTo>
                  <a:pt x="616033" y="1191936"/>
                  <a:pt x="635316" y="1193909"/>
                  <a:pt x="654502" y="1194824"/>
                </a:cubicBezTo>
                <a:cubicBezTo>
                  <a:pt x="664071" y="1194824"/>
                  <a:pt x="673640" y="1195401"/>
                  <a:pt x="683113" y="1194824"/>
                </a:cubicBezTo>
                <a:cubicBezTo>
                  <a:pt x="687874" y="1194631"/>
                  <a:pt x="692586" y="1194535"/>
                  <a:pt x="697299" y="1194246"/>
                </a:cubicBezTo>
                <a:cubicBezTo>
                  <a:pt x="702011" y="1193813"/>
                  <a:pt x="706675" y="1193428"/>
                  <a:pt x="711388" y="1192995"/>
                </a:cubicBezTo>
                <a:lnTo>
                  <a:pt x="718408" y="1192370"/>
                </a:lnTo>
                <a:lnTo>
                  <a:pt x="725381" y="1191407"/>
                </a:lnTo>
                <a:cubicBezTo>
                  <a:pt x="729997" y="1190733"/>
                  <a:pt x="734613" y="1190108"/>
                  <a:pt x="739229" y="1189434"/>
                </a:cubicBezTo>
                <a:cubicBezTo>
                  <a:pt x="748366" y="1187750"/>
                  <a:pt x="757406" y="1186066"/>
                  <a:pt x="766494" y="1184093"/>
                </a:cubicBezTo>
                <a:cubicBezTo>
                  <a:pt x="784670" y="1179714"/>
                  <a:pt x="802029" y="1172111"/>
                  <a:pt x="816888" y="1161332"/>
                </a:cubicBezTo>
                <a:cubicBezTo>
                  <a:pt x="831987" y="1150794"/>
                  <a:pt x="844345" y="1137176"/>
                  <a:pt x="854683" y="1122740"/>
                </a:cubicBezTo>
                <a:cubicBezTo>
                  <a:pt x="864974" y="1108159"/>
                  <a:pt x="873004" y="1092472"/>
                  <a:pt x="879688" y="1076544"/>
                </a:cubicBezTo>
                <a:cubicBezTo>
                  <a:pt x="892912" y="1044592"/>
                  <a:pt x="900557" y="1011678"/>
                  <a:pt x="905895" y="979486"/>
                </a:cubicBezTo>
                <a:cubicBezTo>
                  <a:pt x="911136" y="947245"/>
                  <a:pt x="914070" y="915630"/>
                  <a:pt x="915704" y="884834"/>
                </a:cubicBezTo>
                <a:cubicBezTo>
                  <a:pt x="918974" y="823240"/>
                  <a:pt x="917820" y="765111"/>
                  <a:pt x="915897" y="710927"/>
                </a:cubicBezTo>
                <a:cubicBezTo>
                  <a:pt x="911713" y="602464"/>
                  <a:pt x="904164" y="509352"/>
                  <a:pt x="902769" y="433130"/>
                </a:cubicBezTo>
                <a:cubicBezTo>
                  <a:pt x="902337" y="414074"/>
                  <a:pt x="902481" y="396125"/>
                  <a:pt x="902769" y="379187"/>
                </a:cubicBezTo>
                <a:cubicBezTo>
                  <a:pt x="903010" y="362249"/>
                  <a:pt x="903202" y="346465"/>
                  <a:pt x="903587" y="331789"/>
                </a:cubicBezTo>
                <a:cubicBezTo>
                  <a:pt x="904356" y="302435"/>
                  <a:pt x="905799" y="277653"/>
                  <a:pt x="908443" y="257780"/>
                </a:cubicBezTo>
                <a:cubicBezTo>
                  <a:pt x="910992" y="237954"/>
                  <a:pt x="914743" y="222941"/>
                  <a:pt x="919695" y="213990"/>
                </a:cubicBezTo>
                <a:cubicBezTo>
                  <a:pt x="922100" y="209515"/>
                  <a:pt x="924793" y="206628"/>
                  <a:pt x="926956" y="205281"/>
                </a:cubicBezTo>
                <a:cubicBezTo>
                  <a:pt x="929072" y="203837"/>
                  <a:pt x="930419" y="203548"/>
                  <a:pt x="930323" y="203356"/>
                </a:cubicBezTo>
                <a:cubicBezTo>
                  <a:pt x="930323" y="203356"/>
                  <a:pt x="929986" y="203356"/>
                  <a:pt x="929361" y="203596"/>
                </a:cubicBezTo>
                <a:cubicBezTo>
                  <a:pt x="928736" y="203837"/>
                  <a:pt x="927726" y="204029"/>
                  <a:pt x="926668" y="204799"/>
                </a:cubicBezTo>
                <a:cubicBezTo>
                  <a:pt x="924312" y="206050"/>
                  <a:pt x="921378" y="208938"/>
                  <a:pt x="918782" y="213461"/>
                </a:cubicBezTo>
                <a:cubicBezTo>
                  <a:pt x="913396" y="222459"/>
                  <a:pt x="909309" y="237569"/>
                  <a:pt x="906376" y="257491"/>
                </a:cubicBezTo>
                <a:cubicBezTo>
                  <a:pt x="903394" y="277413"/>
                  <a:pt x="901615" y="302339"/>
                  <a:pt x="900509" y="331692"/>
                </a:cubicBezTo>
                <a:cubicBezTo>
                  <a:pt x="899932" y="346369"/>
                  <a:pt x="899548" y="362200"/>
                  <a:pt x="899163" y="379139"/>
                </a:cubicBezTo>
                <a:cubicBezTo>
                  <a:pt x="898730" y="396029"/>
                  <a:pt x="898394" y="414122"/>
                  <a:pt x="898634" y="433226"/>
                </a:cubicBezTo>
                <a:cubicBezTo>
                  <a:pt x="899355" y="509689"/>
                  <a:pt x="906327" y="602898"/>
                  <a:pt x="909934" y="711168"/>
                </a:cubicBezTo>
                <a:cubicBezTo>
                  <a:pt x="911617" y="765303"/>
                  <a:pt x="912434" y="823288"/>
                  <a:pt x="908972" y="884497"/>
                </a:cubicBezTo>
                <a:cubicBezTo>
                  <a:pt x="907193" y="915101"/>
                  <a:pt x="904164" y="946523"/>
                  <a:pt x="898826" y="978331"/>
                </a:cubicBezTo>
                <a:cubicBezTo>
                  <a:pt x="893441" y="1010138"/>
                  <a:pt x="885747" y="1042523"/>
                  <a:pt x="872764" y="1073657"/>
                </a:cubicBezTo>
                <a:cubicBezTo>
                  <a:pt x="866224" y="1089152"/>
                  <a:pt x="858386" y="1104358"/>
                  <a:pt x="848432" y="1118313"/>
                </a:cubicBezTo>
                <a:close/>
              </a:path>
            </a:pathLst>
          </a:custGeom>
          <a:solidFill>
            <a:srgbClr val="29C8C1"/>
          </a:solidFill>
          <a:ln w="0" cap="flat">
            <a:noFill/>
            <a:prstDash val="solid"/>
            <a:miter/>
          </a:ln>
        </p:spPr>
        <p:txBody>
          <a:bodyPr rtlCol="0" anchor="ctr"/>
          <a:lstStyle/>
          <a:p>
            <a:pPr rtl="0"/>
            <a:endParaRPr lang="en-AU" dirty="0"/>
          </a:p>
        </p:txBody>
      </p:sp>
      <p:sp>
        <p:nvSpPr>
          <p:cNvPr id="13" name="Freeform: Shape 12">
            <a:extLst>
              <a:ext uri="{FF2B5EF4-FFF2-40B4-BE49-F238E27FC236}">
                <a16:creationId xmlns:a16="http://schemas.microsoft.com/office/drawing/2014/main" id="{BBCDAC1A-1AB3-219D-D7D2-8BC30CE069CD}"/>
              </a:ext>
            </a:extLst>
          </p:cNvPr>
          <p:cNvSpPr/>
          <p:nvPr/>
        </p:nvSpPr>
        <p:spPr>
          <a:xfrm>
            <a:off x="9955878" y="2719036"/>
            <a:ext cx="288" cy="818"/>
          </a:xfrm>
          <a:custGeom>
            <a:avLst/>
            <a:gdLst>
              <a:gd name="connsiteX0" fmla="*/ 96 w 288"/>
              <a:gd name="connsiteY0" fmla="*/ 193 h 818"/>
              <a:gd name="connsiteX1" fmla="*/ 289 w 288"/>
              <a:gd name="connsiteY1" fmla="*/ 818 h 818"/>
              <a:gd name="connsiteX2" fmla="*/ 0 w 288"/>
              <a:gd name="connsiteY2" fmla="*/ 0 h 818"/>
              <a:gd name="connsiteX3" fmla="*/ 0 w 288"/>
              <a:gd name="connsiteY3" fmla="*/ 0 h 818"/>
              <a:gd name="connsiteX4" fmla="*/ 48 w 288"/>
              <a:gd name="connsiteY4" fmla="*/ 193 h 818"/>
              <a:gd name="connsiteX5" fmla="*/ 48 w 288"/>
              <a:gd name="connsiteY5" fmla="*/ 193 h 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 h="818">
                <a:moveTo>
                  <a:pt x="96" y="193"/>
                </a:moveTo>
                <a:lnTo>
                  <a:pt x="289" y="818"/>
                </a:lnTo>
                <a:lnTo>
                  <a:pt x="0" y="0"/>
                </a:lnTo>
                <a:cubicBezTo>
                  <a:pt x="0" y="0"/>
                  <a:pt x="0" y="0"/>
                  <a:pt x="0" y="0"/>
                </a:cubicBezTo>
                <a:cubicBezTo>
                  <a:pt x="0" y="48"/>
                  <a:pt x="0" y="144"/>
                  <a:pt x="48" y="193"/>
                </a:cubicBezTo>
                <a:lnTo>
                  <a:pt x="48" y="193"/>
                </a:lnTo>
                <a:close/>
              </a:path>
            </a:pathLst>
          </a:custGeom>
          <a:solidFill>
            <a:srgbClr val="29C8C1"/>
          </a:solidFill>
          <a:ln w="0" cap="flat">
            <a:noFill/>
            <a:prstDash val="solid"/>
            <a:miter/>
          </a:ln>
        </p:spPr>
        <p:txBody>
          <a:bodyPr rtlCol="0" anchor="ctr"/>
          <a:lstStyle/>
          <a:p>
            <a:pPr rtl="0"/>
            <a:endParaRPr lang="en-AU" dirty="0"/>
          </a:p>
        </p:txBody>
      </p:sp>
      <p:sp>
        <p:nvSpPr>
          <p:cNvPr id="14" name="Freeform: Shape 13">
            <a:extLst>
              <a:ext uri="{FF2B5EF4-FFF2-40B4-BE49-F238E27FC236}">
                <a16:creationId xmlns:a16="http://schemas.microsoft.com/office/drawing/2014/main" id="{704919D4-82D6-86BA-498A-00223EE0C539}"/>
              </a:ext>
            </a:extLst>
          </p:cNvPr>
          <p:cNvSpPr/>
          <p:nvPr/>
        </p:nvSpPr>
        <p:spPr>
          <a:xfrm>
            <a:off x="8825333" y="1413804"/>
            <a:ext cx="126" cy="742"/>
          </a:xfrm>
          <a:custGeom>
            <a:avLst/>
            <a:gdLst>
              <a:gd name="connsiteX0" fmla="*/ 0 w 126"/>
              <a:gd name="connsiteY0" fmla="*/ 743 h 742"/>
              <a:gd name="connsiteX1" fmla="*/ 0 w 126"/>
              <a:gd name="connsiteY1" fmla="*/ 743 h 742"/>
              <a:gd name="connsiteX2" fmla="*/ 0 w 126"/>
              <a:gd name="connsiteY2" fmla="*/ 743 h 742"/>
            </a:gdLst>
            <a:ahLst/>
            <a:cxnLst>
              <a:cxn ang="0">
                <a:pos x="connsiteX0" y="connsiteY0"/>
              </a:cxn>
              <a:cxn ang="0">
                <a:pos x="connsiteX1" y="connsiteY1"/>
              </a:cxn>
              <a:cxn ang="0">
                <a:pos x="connsiteX2" y="connsiteY2"/>
              </a:cxn>
            </a:cxnLst>
            <a:rect l="l" t="t" r="r" b="b"/>
            <a:pathLst>
              <a:path w="126" h="742">
                <a:moveTo>
                  <a:pt x="0" y="743"/>
                </a:moveTo>
                <a:lnTo>
                  <a:pt x="0" y="743"/>
                </a:lnTo>
                <a:cubicBezTo>
                  <a:pt x="193" y="-364"/>
                  <a:pt x="144" y="-124"/>
                  <a:pt x="0" y="743"/>
                </a:cubicBezTo>
                <a:close/>
              </a:path>
            </a:pathLst>
          </a:custGeom>
          <a:solidFill>
            <a:srgbClr val="29C8C1"/>
          </a:solidFill>
          <a:ln w="0" cap="flat">
            <a:noFill/>
            <a:prstDash val="solid"/>
            <a:miter/>
          </a:ln>
        </p:spPr>
        <p:txBody>
          <a:bodyPr rtlCol="0" anchor="ctr"/>
          <a:lstStyle/>
          <a:p>
            <a:pPr rtl="0"/>
            <a:endParaRPr lang="en-AU" dirty="0"/>
          </a:p>
        </p:txBody>
      </p:sp>
      <p:sp>
        <p:nvSpPr>
          <p:cNvPr id="18" name="Freeform: Shape 17">
            <a:extLst>
              <a:ext uri="{FF2B5EF4-FFF2-40B4-BE49-F238E27FC236}">
                <a16:creationId xmlns:a16="http://schemas.microsoft.com/office/drawing/2014/main" id="{52343ECD-9C6E-2FBA-21E2-D95E68ADCE75}"/>
              </a:ext>
            </a:extLst>
          </p:cNvPr>
          <p:cNvSpPr/>
          <p:nvPr/>
        </p:nvSpPr>
        <p:spPr>
          <a:xfrm>
            <a:off x="6290459" y="1809251"/>
            <a:ext cx="99986" cy="84500"/>
          </a:xfrm>
          <a:custGeom>
            <a:avLst/>
            <a:gdLst>
              <a:gd name="connsiteX0" fmla="*/ 98318 w 99986"/>
              <a:gd name="connsiteY0" fmla="*/ 4260 h 84500"/>
              <a:gd name="connsiteX1" fmla="*/ 92499 w 99986"/>
              <a:gd name="connsiteY1" fmla="*/ 411 h 84500"/>
              <a:gd name="connsiteX2" fmla="*/ 82978 w 99986"/>
              <a:gd name="connsiteY2" fmla="*/ 651 h 84500"/>
              <a:gd name="connsiteX3" fmla="*/ 75669 w 99986"/>
              <a:gd name="connsiteY3" fmla="*/ 2768 h 84500"/>
              <a:gd name="connsiteX4" fmla="*/ 64898 w 99986"/>
              <a:gd name="connsiteY4" fmla="*/ 7821 h 84500"/>
              <a:gd name="connsiteX5" fmla="*/ 57156 w 99986"/>
              <a:gd name="connsiteY5" fmla="*/ 14365 h 84500"/>
              <a:gd name="connsiteX6" fmla="*/ 66629 w 99986"/>
              <a:gd name="connsiteY6" fmla="*/ 11574 h 84500"/>
              <a:gd name="connsiteX7" fmla="*/ 77352 w 99986"/>
              <a:gd name="connsiteY7" fmla="*/ 8495 h 84500"/>
              <a:gd name="connsiteX8" fmla="*/ 83988 w 99986"/>
              <a:gd name="connsiteY8" fmla="*/ 7340 h 84500"/>
              <a:gd name="connsiteX9" fmla="*/ 90480 w 99986"/>
              <a:gd name="connsiteY9" fmla="*/ 7677 h 84500"/>
              <a:gd name="connsiteX10" fmla="*/ 91682 w 99986"/>
              <a:gd name="connsiteY10" fmla="*/ 8543 h 84500"/>
              <a:gd name="connsiteX11" fmla="*/ 91826 w 99986"/>
              <a:gd name="connsiteY11" fmla="*/ 9120 h 84500"/>
              <a:gd name="connsiteX12" fmla="*/ 91682 w 99986"/>
              <a:gd name="connsiteY12" fmla="*/ 10275 h 84500"/>
              <a:gd name="connsiteX13" fmla="*/ 88556 w 99986"/>
              <a:gd name="connsiteY13" fmla="*/ 17541 h 84500"/>
              <a:gd name="connsiteX14" fmla="*/ 76294 w 99986"/>
              <a:gd name="connsiteY14" fmla="*/ 33710 h 84500"/>
              <a:gd name="connsiteX15" fmla="*/ 41288 w 99986"/>
              <a:gd name="connsiteY15" fmla="*/ 64651 h 84500"/>
              <a:gd name="connsiteX16" fmla="*/ 20178 w 99986"/>
              <a:gd name="connsiteY16" fmla="*/ 73698 h 84500"/>
              <a:gd name="connsiteX17" fmla="*/ 11715 w 99986"/>
              <a:gd name="connsiteY17" fmla="*/ 73361 h 84500"/>
              <a:gd name="connsiteX18" fmla="*/ 10705 w 99986"/>
              <a:gd name="connsiteY18" fmla="*/ 72735 h 84500"/>
              <a:gd name="connsiteX19" fmla="*/ 10224 w 99986"/>
              <a:gd name="connsiteY19" fmla="*/ 71917 h 84500"/>
              <a:gd name="connsiteX20" fmla="*/ 9936 w 99986"/>
              <a:gd name="connsiteY20" fmla="*/ 70618 h 84500"/>
              <a:gd name="connsiteX21" fmla="*/ 9984 w 99986"/>
              <a:gd name="connsiteY21" fmla="*/ 68886 h 84500"/>
              <a:gd name="connsiteX22" fmla="*/ 13254 w 99986"/>
              <a:gd name="connsiteY22" fmla="*/ 60513 h 84500"/>
              <a:gd name="connsiteX23" fmla="*/ 15802 w 99986"/>
              <a:gd name="connsiteY23" fmla="*/ 56471 h 84500"/>
              <a:gd name="connsiteX24" fmla="*/ 18639 w 99986"/>
              <a:gd name="connsiteY24" fmla="*/ 52621 h 84500"/>
              <a:gd name="connsiteX25" fmla="*/ 30661 w 99986"/>
              <a:gd name="connsiteY25" fmla="*/ 39388 h 84500"/>
              <a:gd name="connsiteX26" fmla="*/ 57156 w 99986"/>
              <a:gd name="connsiteY26" fmla="*/ 14365 h 84500"/>
              <a:gd name="connsiteX27" fmla="*/ 25660 w 99986"/>
              <a:gd name="connsiteY27" fmla="*/ 33758 h 84500"/>
              <a:gd name="connsiteX28" fmla="*/ 11859 w 99986"/>
              <a:gd name="connsiteY28" fmla="*/ 46943 h 84500"/>
              <a:gd name="connsiteX29" fmla="*/ 8445 w 99986"/>
              <a:gd name="connsiteY29" fmla="*/ 51081 h 84500"/>
              <a:gd name="connsiteX30" fmla="*/ 5223 w 99986"/>
              <a:gd name="connsiteY30" fmla="*/ 55701 h 84500"/>
              <a:gd name="connsiteX31" fmla="*/ 319 w 99986"/>
              <a:gd name="connsiteY31" fmla="*/ 67394 h 84500"/>
              <a:gd name="connsiteX32" fmla="*/ 30 w 99986"/>
              <a:gd name="connsiteY32" fmla="*/ 71243 h 84500"/>
              <a:gd name="connsiteX33" fmla="*/ 848 w 99986"/>
              <a:gd name="connsiteY33" fmla="*/ 75526 h 84500"/>
              <a:gd name="connsiteX34" fmla="*/ 3252 w 99986"/>
              <a:gd name="connsiteY34" fmla="*/ 79616 h 84500"/>
              <a:gd name="connsiteX35" fmla="*/ 6954 w 99986"/>
              <a:gd name="connsiteY35" fmla="*/ 82407 h 84500"/>
              <a:gd name="connsiteX36" fmla="*/ 21909 w 99986"/>
              <a:gd name="connsiteY36" fmla="*/ 84043 h 84500"/>
              <a:gd name="connsiteX37" fmla="*/ 46914 w 99986"/>
              <a:gd name="connsiteY37" fmla="*/ 73794 h 84500"/>
              <a:gd name="connsiteX38" fmla="*/ 83844 w 99986"/>
              <a:gd name="connsiteY38" fmla="*/ 40062 h 84500"/>
              <a:gd name="connsiteX39" fmla="*/ 96298 w 99986"/>
              <a:gd name="connsiteY39" fmla="*/ 21872 h 84500"/>
              <a:gd name="connsiteX40" fmla="*/ 99904 w 99986"/>
              <a:gd name="connsiteY40" fmla="*/ 11238 h 84500"/>
              <a:gd name="connsiteX41" fmla="*/ 99808 w 99986"/>
              <a:gd name="connsiteY41" fmla="*/ 7869 h 84500"/>
              <a:gd name="connsiteX42" fmla="*/ 98318 w 99986"/>
              <a:gd name="connsiteY42" fmla="*/ 4308 h 8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9986" h="84500">
                <a:moveTo>
                  <a:pt x="98318" y="4260"/>
                </a:moveTo>
                <a:cubicBezTo>
                  <a:pt x="96971" y="2143"/>
                  <a:pt x="94326" y="796"/>
                  <a:pt x="92499" y="411"/>
                </a:cubicBezTo>
                <a:cubicBezTo>
                  <a:pt x="88652" y="-407"/>
                  <a:pt x="85719" y="170"/>
                  <a:pt x="82978" y="651"/>
                </a:cubicBezTo>
                <a:cubicBezTo>
                  <a:pt x="80237" y="1180"/>
                  <a:pt x="77881" y="1999"/>
                  <a:pt x="75669" y="2768"/>
                </a:cubicBezTo>
                <a:cubicBezTo>
                  <a:pt x="71293" y="4405"/>
                  <a:pt x="67735" y="6185"/>
                  <a:pt x="64898" y="7821"/>
                </a:cubicBezTo>
                <a:cubicBezTo>
                  <a:pt x="59272" y="11093"/>
                  <a:pt x="56723" y="13788"/>
                  <a:pt x="57156" y="14365"/>
                </a:cubicBezTo>
                <a:cubicBezTo>
                  <a:pt x="57589" y="14991"/>
                  <a:pt x="60763" y="13547"/>
                  <a:pt x="66629" y="11574"/>
                </a:cubicBezTo>
                <a:cubicBezTo>
                  <a:pt x="69562" y="10564"/>
                  <a:pt x="73169" y="9457"/>
                  <a:pt x="77352" y="8495"/>
                </a:cubicBezTo>
                <a:cubicBezTo>
                  <a:pt x="79468" y="8014"/>
                  <a:pt x="81680" y="7580"/>
                  <a:pt x="83988" y="7340"/>
                </a:cubicBezTo>
                <a:cubicBezTo>
                  <a:pt x="86248" y="7147"/>
                  <a:pt x="88797" y="7099"/>
                  <a:pt x="90480" y="7677"/>
                </a:cubicBezTo>
                <a:cubicBezTo>
                  <a:pt x="91393" y="8014"/>
                  <a:pt x="91441" y="8158"/>
                  <a:pt x="91682" y="8543"/>
                </a:cubicBezTo>
                <a:lnTo>
                  <a:pt x="91826" y="9120"/>
                </a:lnTo>
                <a:cubicBezTo>
                  <a:pt x="91730" y="9505"/>
                  <a:pt x="91826" y="9698"/>
                  <a:pt x="91682" y="10275"/>
                </a:cubicBezTo>
                <a:cubicBezTo>
                  <a:pt x="91345" y="12248"/>
                  <a:pt x="90047" y="14943"/>
                  <a:pt x="88556" y="17541"/>
                </a:cubicBezTo>
                <a:cubicBezTo>
                  <a:pt x="85334" y="22786"/>
                  <a:pt x="81055" y="28224"/>
                  <a:pt x="76294" y="33710"/>
                </a:cubicBezTo>
                <a:cubicBezTo>
                  <a:pt x="66773" y="44681"/>
                  <a:pt x="55185" y="55941"/>
                  <a:pt x="41288" y="64651"/>
                </a:cubicBezTo>
                <a:cubicBezTo>
                  <a:pt x="34363" y="68886"/>
                  <a:pt x="27054" y="72446"/>
                  <a:pt x="20178" y="73698"/>
                </a:cubicBezTo>
                <a:cubicBezTo>
                  <a:pt x="16812" y="74323"/>
                  <a:pt x="13446" y="74227"/>
                  <a:pt x="11715" y="73361"/>
                </a:cubicBezTo>
                <a:cubicBezTo>
                  <a:pt x="11138" y="73264"/>
                  <a:pt x="11138" y="72880"/>
                  <a:pt x="10705" y="72735"/>
                </a:cubicBezTo>
                <a:cubicBezTo>
                  <a:pt x="10657" y="72398"/>
                  <a:pt x="10224" y="72350"/>
                  <a:pt x="10224" y="71917"/>
                </a:cubicBezTo>
                <a:cubicBezTo>
                  <a:pt x="10080" y="71580"/>
                  <a:pt x="9936" y="71195"/>
                  <a:pt x="9936" y="70618"/>
                </a:cubicBezTo>
                <a:cubicBezTo>
                  <a:pt x="9840" y="70137"/>
                  <a:pt x="9888" y="69511"/>
                  <a:pt x="9984" y="68886"/>
                </a:cubicBezTo>
                <a:cubicBezTo>
                  <a:pt x="10369" y="66287"/>
                  <a:pt x="11571" y="63255"/>
                  <a:pt x="13254" y="60513"/>
                </a:cubicBezTo>
                <a:cubicBezTo>
                  <a:pt x="14023" y="59117"/>
                  <a:pt x="14889" y="57770"/>
                  <a:pt x="15802" y="56471"/>
                </a:cubicBezTo>
                <a:cubicBezTo>
                  <a:pt x="16668" y="55123"/>
                  <a:pt x="17630" y="53872"/>
                  <a:pt x="18639" y="52621"/>
                </a:cubicBezTo>
                <a:cubicBezTo>
                  <a:pt x="22486" y="47616"/>
                  <a:pt x="26766" y="43286"/>
                  <a:pt x="30661" y="39388"/>
                </a:cubicBezTo>
                <a:cubicBezTo>
                  <a:pt x="46673" y="24038"/>
                  <a:pt x="58118" y="15761"/>
                  <a:pt x="57156" y="14365"/>
                </a:cubicBezTo>
                <a:cubicBezTo>
                  <a:pt x="56483" y="13355"/>
                  <a:pt x="43596" y="19274"/>
                  <a:pt x="25660" y="33758"/>
                </a:cubicBezTo>
                <a:cubicBezTo>
                  <a:pt x="21236" y="37463"/>
                  <a:pt x="16475" y="41650"/>
                  <a:pt x="11859" y="46943"/>
                </a:cubicBezTo>
                <a:cubicBezTo>
                  <a:pt x="10657" y="48194"/>
                  <a:pt x="9551" y="49589"/>
                  <a:pt x="8445" y="51081"/>
                </a:cubicBezTo>
                <a:cubicBezTo>
                  <a:pt x="7291" y="52525"/>
                  <a:pt x="6185" y="54016"/>
                  <a:pt x="5223" y="55701"/>
                </a:cubicBezTo>
                <a:cubicBezTo>
                  <a:pt x="3156" y="58925"/>
                  <a:pt x="1184" y="62630"/>
                  <a:pt x="319" y="67394"/>
                </a:cubicBezTo>
                <a:cubicBezTo>
                  <a:pt x="78" y="68549"/>
                  <a:pt x="-66" y="69800"/>
                  <a:pt x="30" y="71243"/>
                </a:cubicBezTo>
                <a:cubicBezTo>
                  <a:pt x="30" y="72591"/>
                  <a:pt x="319" y="74034"/>
                  <a:pt x="848" y="75526"/>
                </a:cubicBezTo>
                <a:cubicBezTo>
                  <a:pt x="1232" y="76970"/>
                  <a:pt x="2338" y="78365"/>
                  <a:pt x="3252" y="79616"/>
                </a:cubicBezTo>
                <a:cubicBezTo>
                  <a:pt x="4406" y="80627"/>
                  <a:pt x="5608" y="81878"/>
                  <a:pt x="6954" y="82407"/>
                </a:cubicBezTo>
                <a:cubicBezTo>
                  <a:pt x="12340" y="85054"/>
                  <a:pt x="17341" y="84669"/>
                  <a:pt x="21909" y="84043"/>
                </a:cubicBezTo>
                <a:cubicBezTo>
                  <a:pt x="31094" y="82504"/>
                  <a:pt x="39172" y="78461"/>
                  <a:pt x="46914" y="73794"/>
                </a:cubicBezTo>
                <a:cubicBezTo>
                  <a:pt x="62253" y="64170"/>
                  <a:pt x="74275" y="51947"/>
                  <a:pt x="83844" y="40062"/>
                </a:cubicBezTo>
                <a:cubicBezTo>
                  <a:pt x="88604" y="34095"/>
                  <a:pt x="92932" y="28176"/>
                  <a:pt x="96298" y="21872"/>
                </a:cubicBezTo>
                <a:cubicBezTo>
                  <a:pt x="97885" y="18648"/>
                  <a:pt x="99423" y="15376"/>
                  <a:pt x="99904" y="11238"/>
                </a:cubicBezTo>
                <a:cubicBezTo>
                  <a:pt x="100097" y="10275"/>
                  <a:pt x="99904" y="8976"/>
                  <a:pt x="99808" y="7869"/>
                </a:cubicBezTo>
                <a:cubicBezTo>
                  <a:pt x="99472" y="6618"/>
                  <a:pt x="99135" y="5319"/>
                  <a:pt x="98318" y="4308"/>
                </a:cubicBezTo>
                <a:close/>
              </a:path>
            </a:pathLst>
          </a:custGeom>
          <a:solidFill>
            <a:srgbClr val="29C8C1"/>
          </a:solidFill>
          <a:ln w="0" cap="flat">
            <a:noFill/>
            <a:prstDash val="solid"/>
            <a:miter/>
          </a:ln>
        </p:spPr>
        <p:txBody>
          <a:bodyPr rtlCol="0" anchor="ctr"/>
          <a:lstStyle/>
          <a:p>
            <a:pPr rtl="0"/>
            <a:endParaRPr lang="en-AU" dirty="0"/>
          </a:p>
        </p:txBody>
      </p:sp>
      <p:sp>
        <p:nvSpPr>
          <p:cNvPr id="19" name="Freeform: Shape 18">
            <a:extLst>
              <a:ext uri="{FF2B5EF4-FFF2-40B4-BE49-F238E27FC236}">
                <a16:creationId xmlns:a16="http://schemas.microsoft.com/office/drawing/2014/main" id="{2EB20E18-3935-770C-B3B4-45F8E602B4A5}"/>
              </a:ext>
            </a:extLst>
          </p:cNvPr>
          <p:cNvSpPr/>
          <p:nvPr/>
        </p:nvSpPr>
        <p:spPr>
          <a:xfrm>
            <a:off x="6478102" y="1833119"/>
            <a:ext cx="949057" cy="597754"/>
          </a:xfrm>
          <a:custGeom>
            <a:avLst/>
            <a:gdLst>
              <a:gd name="connsiteX0" fmla="*/ 32380 w 949057"/>
              <a:gd name="connsiteY0" fmla="*/ 521647 h 597754"/>
              <a:gd name="connsiteX1" fmla="*/ 82197 w 949057"/>
              <a:gd name="connsiteY1" fmla="*/ 554321 h 597754"/>
              <a:gd name="connsiteX2" fmla="*/ 113549 w 949057"/>
              <a:gd name="connsiteY2" fmla="*/ 565389 h 597754"/>
              <a:gd name="connsiteX3" fmla="*/ 130475 w 949057"/>
              <a:gd name="connsiteY3" fmla="*/ 569238 h 597754"/>
              <a:gd name="connsiteX4" fmla="*/ 147882 w 949057"/>
              <a:gd name="connsiteY4" fmla="*/ 572751 h 597754"/>
              <a:gd name="connsiteX5" fmla="*/ 222848 w 949057"/>
              <a:gd name="connsiteY5" fmla="*/ 585647 h 597754"/>
              <a:gd name="connsiteX6" fmla="*/ 306085 w 949057"/>
              <a:gd name="connsiteY6" fmla="*/ 595271 h 597754"/>
              <a:gd name="connsiteX7" fmla="*/ 397159 w 949057"/>
              <a:gd name="connsiteY7" fmla="*/ 596715 h 597754"/>
              <a:gd name="connsiteX8" fmla="*/ 409036 w 949057"/>
              <a:gd name="connsiteY8" fmla="*/ 595608 h 597754"/>
              <a:gd name="connsiteX9" fmla="*/ 421010 w 949057"/>
              <a:gd name="connsiteY9" fmla="*/ 594116 h 597754"/>
              <a:gd name="connsiteX10" fmla="*/ 433079 w 949057"/>
              <a:gd name="connsiteY10" fmla="*/ 592143 h 597754"/>
              <a:gd name="connsiteX11" fmla="*/ 445101 w 949057"/>
              <a:gd name="connsiteY11" fmla="*/ 589208 h 597754"/>
              <a:gd name="connsiteX12" fmla="*/ 491167 w 949057"/>
              <a:gd name="connsiteY12" fmla="*/ 568901 h 597754"/>
              <a:gd name="connsiteX13" fmla="*/ 571999 w 949057"/>
              <a:gd name="connsiteY13" fmla="*/ 503939 h 597754"/>
              <a:gd name="connsiteX14" fmla="*/ 646388 w 949057"/>
              <a:gd name="connsiteY14" fmla="*/ 425070 h 597754"/>
              <a:gd name="connsiteX15" fmla="*/ 721161 w 949057"/>
              <a:gd name="connsiteY15" fmla="*/ 340860 h 597754"/>
              <a:gd name="connsiteX16" fmla="*/ 808149 w 949057"/>
              <a:gd name="connsiteY16" fmla="*/ 264253 h 597754"/>
              <a:gd name="connsiteX17" fmla="*/ 898983 w 949057"/>
              <a:gd name="connsiteY17" fmla="*/ 184325 h 597754"/>
              <a:gd name="connsiteX18" fmla="*/ 935191 w 949057"/>
              <a:gd name="connsiteY18" fmla="*/ 134232 h 597754"/>
              <a:gd name="connsiteX19" fmla="*/ 946107 w 949057"/>
              <a:gd name="connsiteY19" fmla="*/ 105023 h 597754"/>
              <a:gd name="connsiteX20" fmla="*/ 948752 w 949057"/>
              <a:gd name="connsiteY20" fmla="*/ 73889 h 597754"/>
              <a:gd name="connsiteX21" fmla="*/ 947886 w 949057"/>
              <a:gd name="connsiteY21" fmla="*/ 66142 h 597754"/>
              <a:gd name="connsiteX22" fmla="*/ 946491 w 949057"/>
              <a:gd name="connsiteY22" fmla="*/ 58395 h 597754"/>
              <a:gd name="connsiteX23" fmla="*/ 940769 w 949057"/>
              <a:gd name="connsiteY23" fmla="*/ 43333 h 597754"/>
              <a:gd name="connsiteX24" fmla="*/ 919227 w 949057"/>
              <a:gd name="connsiteY24" fmla="*/ 20283 h 597754"/>
              <a:gd name="connsiteX25" fmla="*/ 891481 w 949057"/>
              <a:gd name="connsiteY25" fmla="*/ 7531 h 597754"/>
              <a:gd name="connsiteX26" fmla="*/ 862341 w 949057"/>
              <a:gd name="connsiteY26" fmla="*/ 1613 h 597754"/>
              <a:gd name="connsiteX27" fmla="*/ 748715 w 949057"/>
              <a:gd name="connsiteY27" fmla="*/ 10611 h 597754"/>
              <a:gd name="connsiteX28" fmla="*/ 645570 w 949057"/>
              <a:gd name="connsiteY28" fmla="*/ 45258 h 597754"/>
              <a:gd name="connsiteX29" fmla="*/ 553727 w 949057"/>
              <a:gd name="connsiteY29" fmla="*/ 92464 h 597754"/>
              <a:gd name="connsiteX30" fmla="*/ 469528 w 949057"/>
              <a:gd name="connsiteY30" fmla="*/ 140584 h 597754"/>
              <a:gd name="connsiteX31" fmla="*/ 314788 w 949057"/>
              <a:gd name="connsiteY31" fmla="*/ 219453 h 597754"/>
              <a:gd name="connsiteX32" fmla="*/ 184427 w 949057"/>
              <a:gd name="connsiteY32" fmla="*/ 279843 h 597754"/>
              <a:gd name="connsiteX33" fmla="*/ 88496 w 949057"/>
              <a:gd name="connsiteY33" fmla="*/ 330851 h 597754"/>
              <a:gd name="connsiteX34" fmla="*/ 32669 w 949057"/>
              <a:gd name="connsiteY34" fmla="*/ 370935 h 597754"/>
              <a:gd name="connsiteX35" fmla="*/ 25456 w 949057"/>
              <a:gd name="connsiteY35" fmla="*/ 378490 h 597754"/>
              <a:gd name="connsiteX36" fmla="*/ 20888 w 949057"/>
              <a:gd name="connsiteY36" fmla="*/ 384505 h 597754"/>
              <a:gd name="connsiteX37" fmla="*/ 18099 w 949057"/>
              <a:gd name="connsiteY37" fmla="*/ 389991 h 597754"/>
              <a:gd name="connsiteX38" fmla="*/ 21753 w 949057"/>
              <a:gd name="connsiteY38" fmla="*/ 385178 h 597754"/>
              <a:gd name="connsiteX39" fmla="*/ 26658 w 949057"/>
              <a:gd name="connsiteY39" fmla="*/ 379597 h 597754"/>
              <a:gd name="connsiteX40" fmla="*/ 34111 w 949057"/>
              <a:gd name="connsiteY40" fmla="*/ 372571 h 597754"/>
              <a:gd name="connsiteX41" fmla="*/ 90612 w 949057"/>
              <a:gd name="connsiteY41" fmla="*/ 334508 h 597754"/>
              <a:gd name="connsiteX42" fmla="*/ 186976 w 949057"/>
              <a:gd name="connsiteY42" fmla="*/ 285329 h 597754"/>
              <a:gd name="connsiteX43" fmla="*/ 317866 w 949057"/>
              <a:gd name="connsiteY43" fmla="*/ 226430 h 597754"/>
              <a:gd name="connsiteX44" fmla="*/ 473808 w 949057"/>
              <a:gd name="connsiteY44" fmla="*/ 148427 h 597754"/>
              <a:gd name="connsiteX45" fmla="*/ 558295 w 949057"/>
              <a:gd name="connsiteY45" fmla="*/ 100788 h 597754"/>
              <a:gd name="connsiteX46" fmla="*/ 649465 w 949057"/>
              <a:gd name="connsiteY46" fmla="*/ 54449 h 597754"/>
              <a:gd name="connsiteX47" fmla="*/ 751023 w 949057"/>
              <a:gd name="connsiteY47" fmla="*/ 20716 h 597754"/>
              <a:gd name="connsiteX48" fmla="*/ 861043 w 949057"/>
              <a:gd name="connsiteY48" fmla="*/ 12151 h 597754"/>
              <a:gd name="connsiteX49" fmla="*/ 913264 w 949057"/>
              <a:gd name="connsiteY49" fmla="*/ 29186 h 597754"/>
              <a:gd name="connsiteX50" fmla="*/ 931392 w 949057"/>
              <a:gd name="connsiteY50" fmla="*/ 48530 h 597754"/>
              <a:gd name="connsiteX51" fmla="*/ 936105 w 949057"/>
              <a:gd name="connsiteY51" fmla="*/ 60993 h 597754"/>
              <a:gd name="connsiteX52" fmla="*/ 937307 w 949057"/>
              <a:gd name="connsiteY52" fmla="*/ 67778 h 597754"/>
              <a:gd name="connsiteX53" fmla="*/ 938076 w 949057"/>
              <a:gd name="connsiteY53" fmla="*/ 74707 h 597754"/>
              <a:gd name="connsiteX54" fmla="*/ 935672 w 949057"/>
              <a:gd name="connsiteY54" fmla="*/ 102665 h 597754"/>
              <a:gd name="connsiteX55" fmla="*/ 925622 w 949057"/>
              <a:gd name="connsiteY55" fmla="*/ 129468 h 597754"/>
              <a:gd name="connsiteX56" fmla="*/ 891097 w 949057"/>
              <a:gd name="connsiteY56" fmla="*/ 177155 h 597754"/>
              <a:gd name="connsiteX57" fmla="*/ 801513 w 949057"/>
              <a:gd name="connsiteY57" fmla="*/ 256024 h 597754"/>
              <a:gd name="connsiteX58" fmla="*/ 755687 w 949057"/>
              <a:gd name="connsiteY58" fmla="*/ 293269 h 597754"/>
              <a:gd name="connsiteX59" fmla="*/ 733808 w 949057"/>
              <a:gd name="connsiteY59" fmla="*/ 312902 h 597754"/>
              <a:gd name="connsiteX60" fmla="*/ 713468 w 949057"/>
              <a:gd name="connsiteY60" fmla="*/ 333786 h 597754"/>
              <a:gd name="connsiteX61" fmla="*/ 638694 w 949057"/>
              <a:gd name="connsiteY61" fmla="*/ 418381 h 597754"/>
              <a:gd name="connsiteX62" fmla="*/ 565075 w 949057"/>
              <a:gd name="connsiteY62" fmla="*/ 496962 h 597754"/>
              <a:gd name="connsiteX63" fmla="*/ 486214 w 949057"/>
              <a:gd name="connsiteY63" fmla="*/ 560913 h 597754"/>
              <a:gd name="connsiteX64" fmla="*/ 442600 w 949057"/>
              <a:gd name="connsiteY64" fmla="*/ 580450 h 597754"/>
              <a:gd name="connsiteX65" fmla="*/ 431204 w 949057"/>
              <a:gd name="connsiteY65" fmla="*/ 583289 h 597754"/>
              <a:gd name="connsiteX66" fmla="*/ 419615 w 949057"/>
              <a:gd name="connsiteY66" fmla="*/ 585214 h 597754"/>
              <a:gd name="connsiteX67" fmla="*/ 408026 w 949057"/>
              <a:gd name="connsiteY67" fmla="*/ 586706 h 597754"/>
              <a:gd name="connsiteX68" fmla="*/ 396438 w 949057"/>
              <a:gd name="connsiteY68" fmla="*/ 587861 h 597754"/>
              <a:gd name="connsiteX69" fmla="*/ 306614 w 949057"/>
              <a:gd name="connsiteY69" fmla="*/ 587043 h 597754"/>
              <a:gd name="connsiteX70" fmla="*/ 223858 w 949057"/>
              <a:gd name="connsiteY70" fmla="*/ 578140 h 597754"/>
              <a:gd name="connsiteX71" fmla="*/ 149084 w 949057"/>
              <a:gd name="connsiteY71" fmla="*/ 566062 h 597754"/>
              <a:gd name="connsiteX72" fmla="*/ 131725 w 949057"/>
              <a:gd name="connsiteY72" fmla="*/ 562790 h 597754"/>
              <a:gd name="connsiteX73" fmla="*/ 115088 w 949057"/>
              <a:gd name="connsiteY73" fmla="*/ 559229 h 597754"/>
              <a:gd name="connsiteX74" fmla="*/ 84505 w 949057"/>
              <a:gd name="connsiteY74" fmla="*/ 548883 h 597754"/>
              <a:gd name="connsiteX75" fmla="*/ 35794 w 949057"/>
              <a:gd name="connsiteY75" fmla="*/ 518038 h 597754"/>
              <a:gd name="connsiteX76" fmla="*/ 8722 w 949057"/>
              <a:gd name="connsiteY76" fmla="*/ 478387 h 597754"/>
              <a:gd name="connsiteX77" fmla="*/ 3769 w 949057"/>
              <a:gd name="connsiteY77" fmla="*/ 440228 h 597754"/>
              <a:gd name="connsiteX78" fmla="*/ 9491 w 949057"/>
              <a:gd name="connsiteY78" fmla="*/ 412222 h 597754"/>
              <a:gd name="connsiteX79" fmla="*/ 15839 w 949057"/>
              <a:gd name="connsiteY79" fmla="*/ 395669 h 597754"/>
              <a:gd name="connsiteX80" fmla="*/ 18002 w 949057"/>
              <a:gd name="connsiteY80" fmla="*/ 389991 h 597754"/>
              <a:gd name="connsiteX81" fmla="*/ 14829 w 949057"/>
              <a:gd name="connsiteY81" fmla="*/ 395236 h 597754"/>
              <a:gd name="connsiteX82" fmla="*/ 7472 w 949057"/>
              <a:gd name="connsiteY82" fmla="*/ 411548 h 597754"/>
              <a:gd name="connsiteX83" fmla="*/ 595 w 949057"/>
              <a:gd name="connsiteY83" fmla="*/ 439987 h 597754"/>
              <a:gd name="connsiteX84" fmla="*/ 4827 w 949057"/>
              <a:gd name="connsiteY84" fmla="*/ 479783 h 597754"/>
              <a:gd name="connsiteX85" fmla="*/ 32284 w 949057"/>
              <a:gd name="connsiteY85" fmla="*/ 521744 h 59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49057" h="597754">
                <a:moveTo>
                  <a:pt x="32380" y="521647"/>
                </a:moveTo>
                <a:cubicBezTo>
                  <a:pt x="45652" y="534495"/>
                  <a:pt x="62626" y="545563"/>
                  <a:pt x="82197" y="554321"/>
                </a:cubicBezTo>
                <a:cubicBezTo>
                  <a:pt x="92007" y="558700"/>
                  <a:pt x="102441" y="562453"/>
                  <a:pt x="113549" y="565389"/>
                </a:cubicBezTo>
                <a:cubicBezTo>
                  <a:pt x="119079" y="566928"/>
                  <a:pt x="124801" y="568083"/>
                  <a:pt x="130475" y="569238"/>
                </a:cubicBezTo>
                <a:cubicBezTo>
                  <a:pt x="136197" y="570393"/>
                  <a:pt x="142016" y="571548"/>
                  <a:pt x="147882" y="572751"/>
                </a:cubicBezTo>
                <a:cubicBezTo>
                  <a:pt x="171444" y="577370"/>
                  <a:pt x="196449" y="581701"/>
                  <a:pt x="222848" y="585647"/>
                </a:cubicBezTo>
                <a:cubicBezTo>
                  <a:pt x="249247" y="589545"/>
                  <a:pt x="276993" y="593009"/>
                  <a:pt x="306085" y="595271"/>
                </a:cubicBezTo>
                <a:cubicBezTo>
                  <a:pt x="335176" y="597485"/>
                  <a:pt x="365567" y="598784"/>
                  <a:pt x="397159" y="596715"/>
                </a:cubicBezTo>
                <a:cubicBezTo>
                  <a:pt x="401102" y="596330"/>
                  <a:pt x="405045" y="595945"/>
                  <a:pt x="409036" y="595608"/>
                </a:cubicBezTo>
                <a:cubicBezTo>
                  <a:pt x="413027" y="595271"/>
                  <a:pt x="417018" y="594886"/>
                  <a:pt x="421010" y="594116"/>
                </a:cubicBezTo>
                <a:cubicBezTo>
                  <a:pt x="425001" y="593491"/>
                  <a:pt x="429040" y="592817"/>
                  <a:pt x="433079" y="592143"/>
                </a:cubicBezTo>
                <a:cubicBezTo>
                  <a:pt x="437070" y="591277"/>
                  <a:pt x="441110" y="590170"/>
                  <a:pt x="445101" y="589208"/>
                </a:cubicBezTo>
                <a:cubicBezTo>
                  <a:pt x="461306" y="585118"/>
                  <a:pt x="476645" y="577611"/>
                  <a:pt x="491167" y="568901"/>
                </a:cubicBezTo>
                <a:cubicBezTo>
                  <a:pt x="520211" y="551289"/>
                  <a:pt x="546562" y="528480"/>
                  <a:pt x="571999" y="503939"/>
                </a:cubicBezTo>
                <a:cubicBezTo>
                  <a:pt x="597437" y="479302"/>
                  <a:pt x="621912" y="452643"/>
                  <a:pt x="646388" y="425070"/>
                </a:cubicBezTo>
                <a:cubicBezTo>
                  <a:pt x="670912" y="397497"/>
                  <a:pt x="695243" y="368770"/>
                  <a:pt x="721161" y="340860"/>
                </a:cubicBezTo>
                <a:cubicBezTo>
                  <a:pt x="746503" y="312613"/>
                  <a:pt x="777181" y="288986"/>
                  <a:pt x="808149" y="264253"/>
                </a:cubicBezTo>
                <a:cubicBezTo>
                  <a:pt x="839020" y="239567"/>
                  <a:pt x="870852" y="214544"/>
                  <a:pt x="898983" y="184325"/>
                </a:cubicBezTo>
                <a:cubicBezTo>
                  <a:pt x="912831" y="169119"/>
                  <a:pt x="925815" y="152806"/>
                  <a:pt x="935191" y="134232"/>
                </a:cubicBezTo>
                <a:cubicBezTo>
                  <a:pt x="939904" y="124993"/>
                  <a:pt x="943799" y="115273"/>
                  <a:pt x="946107" y="105023"/>
                </a:cubicBezTo>
                <a:cubicBezTo>
                  <a:pt x="948463" y="94870"/>
                  <a:pt x="949665" y="84331"/>
                  <a:pt x="948752" y="73889"/>
                </a:cubicBezTo>
                <a:cubicBezTo>
                  <a:pt x="948752" y="71291"/>
                  <a:pt x="948319" y="68692"/>
                  <a:pt x="947886" y="66142"/>
                </a:cubicBezTo>
                <a:cubicBezTo>
                  <a:pt x="947405" y="63543"/>
                  <a:pt x="947309" y="61041"/>
                  <a:pt x="946491" y="58395"/>
                </a:cubicBezTo>
                <a:cubicBezTo>
                  <a:pt x="945385" y="53149"/>
                  <a:pt x="943174" y="48145"/>
                  <a:pt x="940769" y="43333"/>
                </a:cubicBezTo>
                <a:cubicBezTo>
                  <a:pt x="935528" y="33901"/>
                  <a:pt x="927930" y="26010"/>
                  <a:pt x="919227" y="20283"/>
                </a:cubicBezTo>
                <a:cubicBezTo>
                  <a:pt x="910571" y="14461"/>
                  <a:pt x="901098" y="10419"/>
                  <a:pt x="891481" y="7531"/>
                </a:cubicBezTo>
                <a:cubicBezTo>
                  <a:pt x="881864" y="4644"/>
                  <a:pt x="872103" y="2768"/>
                  <a:pt x="862341" y="1613"/>
                </a:cubicBezTo>
                <a:cubicBezTo>
                  <a:pt x="823248" y="-2718"/>
                  <a:pt x="784971" y="2142"/>
                  <a:pt x="748715" y="10611"/>
                </a:cubicBezTo>
                <a:cubicBezTo>
                  <a:pt x="712602" y="19177"/>
                  <a:pt x="677980" y="30918"/>
                  <a:pt x="645570" y="45258"/>
                </a:cubicBezTo>
                <a:cubicBezTo>
                  <a:pt x="613112" y="59501"/>
                  <a:pt x="582770" y="76006"/>
                  <a:pt x="553727" y="92464"/>
                </a:cubicBezTo>
                <a:cubicBezTo>
                  <a:pt x="524683" y="108921"/>
                  <a:pt x="496793" y="125282"/>
                  <a:pt x="469528" y="140584"/>
                </a:cubicBezTo>
                <a:cubicBezTo>
                  <a:pt x="415047" y="171092"/>
                  <a:pt x="363162" y="197510"/>
                  <a:pt x="314788" y="219453"/>
                </a:cubicBezTo>
                <a:cubicBezTo>
                  <a:pt x="266318" y="241396"/>
                  <a:pt x="222415" y="261269"/>
                  <a:pt x="184427" y="279843"/>
                </a:cubicBezTo>
                <a:cubicBezTo>
                  <a:pt x="146392" y="298370"/>
                  <a:pt x="114126" y="315501"/>
                  <a:pt x="88496" y="330851"/>
                </a:cubicBezTo>
                <a:cubicBezTo>
                  <a:pt x="62915" y="346201"/>
                  <a:pt x="44017" y="359915"/>
                  <a:pt x="32669" y="370935"/>
                </a:cubicBezTo>
                <a:cubicBezTo>
                  <a:pt x="29735" y="373582"/>
                  <a:pt x="27523" y="376276"/>
                  <a:pt x="25456" y="378490"/>
                </a:cubicBezTo>
                <a:cubicBezTo>
                  <a:pt x="23532" y="380800"/>
                  <a:pt x="22090" y="382869"/>
                  <a:pt x="20888" y="384505"/>
                </a:cubicBezTo>
                <a:cubicBezTo>
                  <a:pt x="18868" y="388066"/>
                  <a:pt x="17954" y="389894"/>
                  <a:pt x="18099" y="389991"/>
                </a:cubicBezTo>
                <a:cubicBezTo>
                  <a:pt x="18243" y="390087"/>
                  <a:pt x="19493" y="388403"/>
                  <a:pt x="21753" y="385178"/>
                </a:cubicBezTo>
                <a:cubicBezTo>
                  <a:pt x="23100" y="383687"/>
                  <a:pt x="24638" y="381762"/>
                  <a:pt x="26658" y="379597"/>
                </a:cubicBezTo>
                <a:cubicBezTo>
                  <a:pt x="28822" y="377576"/>
                  <a:pt x="31082" y="375025"/>
                  <a:pt x="34111" y="372571"/>
                </a:cubicBezTo>
                <a:cubicBezTo>
                  <a:pt x="45748" y="362225"/>
                  <a:pt x="64838" y="349185"/>
                  <a:pt x="90612" y="334508"/>
                </a:cubicBezTo>
                <a:cubicBezTo>
                  <a:pt x="116386" y="319783"/>
                  <a:pt x="148796" y="303278"/>
                  <a:pt x="186976" y="285329"/>
                </a:cubicBezTo>
                <a:cubicBezTo>
                  <a:pt x="225156" y="267284"/>
                  <a:pt x="269203" y="247940"/>
                  <a:pt x="317866" y="226430"/>
                </a:cubicBezTo>
                <a:cubicBezTo>
                  <a:pt x="366625" y="204824"/>
                  <a:pt x="418942" y="178695"/>
                  <a:pt x="473808" y="148427"/>
                </a:cubicBezTo>
                <a:cubicBezTo>
                  <a:pt x="501217" y="133269"/>
                  <a:pt x="529251" y="117053"/>
                  <a:pt x="558295" y="100788"/>
                </a:cubicBezTo>
                <a:cubicBezTo>
                  <a:pt x="587339" y="84524"/>
                  <a:pt x="617440" y="68355"/>
                  <a:pt x="649465" y="54449"/>
                </a:cubicBezTo>
                <a:cubicBezTo>
                  <a:pt x="681442" y="40494"/>
                  <a:pt x="715439" y="29041"/>
                  <a:pt x="751023" y="20716"/>
                </a:cubicBezTo>
                <a:cubicBezTo>
                  <a:pt x="786366" y="12536"/>
                  <a:pt x="823873" y="7965"/>
                  <a:pt x="861043" y="12151"/>
                </a:cubicBezTo>
                <a:cubicBezTo>
                  <a:pt x="879412" y="14461"/>
                  <a:pt x="898117" y="18984"/>
                  <a:pt x="913264" y="29186"/>
                </a:cubicBezTo>
                <a:cubicBezTo>
                  <a:pt x="920862" y="34142"/>
                  <a:pt x="927065" y="40783"/>
                  <a:pt x="931392" y="48530"/>
                </a:cubicBezTo>
                <a:cubicBezTo>
                  <a:pt x="933364" y="52476"/>
                  <a:pt x="935191" y="56614"/>
                  <a:pt x="936105" y="60993"/>
                </a:cubicBezTo>
                <a:cubicBezTo>
                  <a:pt x="936778" y="63110"/>
                  <a:pt x="936874" y="65516"/>
                  <a:pt x="937307" y="67778"/>
                </a:cubicBezTo>
                <a:cubicBezTo>
                  <a:pt x="937692" y="70088"/>
                  <a:pt x="938076" y="72397"/>
                  <a:pt x="938076" y="74707"/>
                </a:cubicBezTo>
                <a:cubicBezTo>
                  <a:pt x="938894" y="84043"/>
                  <a:pt x="937788" y="93474"/>
                  <a:pt x="935672" y="102665"/>
                </a:cubicBezTo>
                <a:cubicBezTo>
                  <a:pt x="933605" y="111904"/>
                  <a:pt x="930046" y="120854"/>
                  <a:pt x="925622" y="129468"/>
                </a:cubicBezTo>
                <a:cubicBezTo>
                  <a:pt x="916919" y="146791"/>
                  <a:pt x="904513" y="162430"/>
                  <a:pt x="891097" y="177155"/>
                </a:cubicBezTo>
                <a:cubicBezTo>
                  <a:pt x="863784" y="206460"/>
                  <a:pt x="832336" y="231387"/>
                  <a:pt x="801513" y="256024"/>
                </a:cubicBezTo>
                <a:cubicBezTo>
                  <a:pt x="786077" y="268343"/>
                  <a:pt x="770642" y="280565"/>
                  <a:pt x="755687" y="293269"/>
                </a:cubicBezTo>
                <a:cubicBezTo>
                  <a:pt x="748234" y="299621"/>
                  <a:pt x="740925" y="306165"/>
                  <a:pt x="733808" y="312902"/>
                </a:cubicBezTo>
                <a:cubicBezTo>
                  <a:pt x="726739" y="319735"/>
                  <a:pt x="720007" y="326713"/>
                  <a:pt x="713468" y="333786"/>
                </a:cubicBezTo>
                <a:cubicBezTo>
                  <a:pt x="687357" y="362081"/>
                  <a:pt x="663122" y="390809"/>
                  <a:pt x="638694" y="418381"/>
                </a:cubicBezTo>
                <a:cubicBezTo>
                  <a:pt x="614363" y="445954"/>
                  <a:pt x="590127" y="472517"/>
                  <a:pt x="565075" y="496962"/>
                </a:cubicBezTo>
                <a:cubicBezTo>
                  <a:pt x="540022" y="521310"/>
                  <a:pt x="514152" y="543783"/>
                  <a:pt x="486214" y="560913"/>
                </a:cubicBezTo>
                <a:cubicBezTo>
                  <a:pt x="472269" y="569431"/>
                  <a:pt x="457747" y="576552"/>
                  <a:pt x="442600" y="580450"/>
                </a:cubicBezTo>
                <a:cubicBezTo>
                  <a:pt x="438801" y="581413"/>
                  <a:pt x="435003" y="582471"/>
                  <a:pt x="431204" y="583289"/>
                </a:cubicBezTo>
                <a:cubicBezTo>
                  <a:pt x="427309" y="583963"/>
                  <a:pt x="423462" y="584588"/>
                  <a:pt x="419615" y="585214"/>
                </a:cubicBezTo>
                <a:cubicBezTo>
                  <a:pt x="415768" y="585936"/>
                  <a:pt x="411921" y="586369"/>
                  <a:pt x="408026" y="586706"/>
                </a:cubicBezTo>
                <a:cubicBezTo>
                  <a:pt x="404132" y="587091"/>
                  <a:pt x="400285" y="587476"/>
                  <a:pt x="396438" y="587861"/>
                </a:cubicBezTo>
                <a:cubicBezTo>
                  <a:pt x="365567" y="590074"/>
                  <a:pt x="335417" y="588967"/>
                  <a:pt x="306614" y="587043"/>
                </a:cubicBezTo>
                <a:cubicBezTo>
                  <a:pt x="277762" y="585022"/>
                  <a:pt x="250161" y="581798"/>
                  <a:pt x="223858" y="578140"/>
                </a:cubicBezTo>
                <a:cubicBezTo>
                  <a:pt x="197555" y="574483"/>
                  <a:pt x="172598" y="570393"/>
                  <a:pt x="149084" y="566062"/>
                </a:cubicBezTo>
                <a:cubicBezTo>
                  <a:pt x="143218" y="564955"/>
                  <a:pt x="137400" y="563849"/>
                  <a:pt x="131725" y="562790"/>
                </a:cubicBezTo>
                <a:cubicBezTo>
                  <a:pt x="126003" y="561683"/>
                  <a:pt x="120473" y="560625"/>
                  <a:pt x="115088" y="559229"/>
                </a:cubicBezTo>
                <a:cubicBezTo>
                  <a:pt x="104317" y="556486"/>
                  <a:pt x="94074" y="552974"/>
                  <a:pt x="84505" y="548883"/>
                </a:cubicBezTo>
                <a:cubicBezTo>
                  <a:pt x="65367" y="540655"/>
                  <a:pt x="48777" y="530165"/>
                  <a:pt x="35794" y="518038"/>
                </a:cubicBezTo>
                <a:cubicBezTo>
                  <a:pt x="22715" y="505960"/>
                  <a:pt x="13675" y="492102"/>
                  <a:pt x="8722" y="478387"/>
                </a:cubicBezTo>
                <a:cubicBezTo>
                  <a:pt x="3721" y="464673"/>
                  <a:pt x="2807" y="451440"/>
                  <a:pt x="3769" y="440228"/>
                </a:cubicBezTo>
                <a:cubicBezTo>
                  <a:pt x="4731" y="428968"/>
                  <a:pt x="6991" y="419584"/>
                  <a:pt x="9491" y="412222"/>
                </a:cubicBezTo>
                <a:cubicBezTo>
                  <a:pt x="11944" y="404860"/>
                  <a:pt x="14156" y="399326"/>
                  <a:pt x="15839" y="395669"/>
                </a:cubicBezTo>
                <a:cubicBezTo>
                  <a:pt x="17425" y="392012"/>
                  <a:pt x="18147" y="390039"/>
                  <a:pt x="18002" y="389991"/>
                </a:cubicBezTo>
                <a:cubicBezTo>
                  <a:pt x="17858" y="389894"/>
                  <a:pt x="16800" y="391675"/>
                  <a:pt x="14829" y="395236"/>
                </a:cubicBezTo>
                <a:cubicBezTo>
                  <a:pt x="12857" y="398748"/>
                  <a:pt x="10261" y="404186"/>
                  <a:pt x="7472" y="411548"/>
                </a:cubicBezTo>
                <a:cubicBezTo>
                  <a:pt x="4587" y="418911"/>
                  <a:pt x="1942" y="428439"/>
                  <a:pt x="595" y="439987"/>
                </a:cubicBezTo>
                <a:cubicBezTo>
                  <a:pt x="-703" y="451536"/>
                  <a:pt x="-126" y="465347"/>
                  <a:pt x="4827" y="479783"/>
                </a:cubicBezTo>
                <a:cubicBezTo>
                  <a:pt x="9684" y="494219"/>
                  <a:pt x="18916" y="508992"/>
                  <a:pt x="32284" y="521744"/>
                </a:cubicBezTo>
                <a:close/>
              </a:path>
            </a:pathLst>
          </a:custGeom>
          <a:solidFill>
            <a:srgbClr val="29C8C1"/>
          </a:solidFill>
          <a:ln w="0" cap="flat">
            <a:noFill/>
            <a:prstDash val="solid"/>
            <a:miter/>
          </a:ln>
        </p:spPr>
        <p:txBody>
          <a:bodyPr rtlCol="0" anchor="ctr"/>
          <a:lstStyle/>
          <a:p>
            <a:pPr rtl="0"/>
            <a:endParaRPr lang="en-AU" dirty="0"/>
          </a:p>
        </p:txBody>
      </p:sp>
      <p:sp>
        <p:nvSpPr>
          <p:cNvPr id="20" name="Freeform: Shape 19">
            <a:extLst>
              <a:ext uri="{FF2B5EF4-FFF2-40B4-BE49-F238E27FC236}">
                <a16:creationId xmlns:a16="http://schemas.microsoft.com/office/drawing/2014/main" id="{7EDE919D-D18B-ADED-5A7B-9FC0D6755BBE}"/>
              </a:ext>
            </a:extLst>
          </p:cNvPr>
          <p:cNvSpPr/>
          <p:nvPr/>
        </p:nvSpPr>
        <p:spPr>
          <a:xfrm>
            <a:off x="7222245" y="1253202"/>
            <a:ext cx="129430" cy="57549"/>
          </a:xfrm>
          <a:custGeom>
            <a:avLst/>
            <a:gdLst>
              <a:gd name="connsiteX0" fmla="*/ 126565 w 129430"/>
              <a:gd name="connsiteY0" fmla="*/ 1682 h 57549"/>
              <a:gd name="connsiteX1" fmla="*/ 116659 w 129430"/>
              <a:gd name="connsiteY1" fmla="*/ 94 h 57549"/>
              <a:gd name="connsiteX2" fmla="*/ 106369 w 129430"/>
              <a:gd name="connsiteY2" fmla="*/ 1441 h 57549"/>
              <a:gd name="connsiteX3" fmla="*/ 55831 w 129430"/>
              <a:gd name="connsiteY3" fmla="*/ 17754 h 57549"/>
              <a:gd name="connsiteX4" fmla="*/ 17266 w 129430"/>
              <a:gd name="connsiteY4" fmla="*/ 37002 h 57549"/>
              <a:gd name="connsiteX5" fmla="*/ 9813 w 129430"/>
              <a:gd name="connsiteY5" fmla="*/ 41862 h 57549"/>
              <a:gd name="connsiteX6" fmla="*/ 7841 w 129430"/>
              <a:gd name="connsiteY6" fmla="*/ 43306 h 57549"/>
              <a:gd name="connsiteX7" fmla="*/ 5389 w 129430"/>
              <a:gd name="connsiteY7" fmla="*/ 45231 h 57549"/>
              <a:gd name="connsiteX8" fmla="*/ 1734 w 129430"/>
              <a:gd name="connsiteY8" fmla="*/ 48984 h 57549"/>
              <a:gd name="connsiteX9" fmla="*/ 99 w 129430"/>
              <a:gd name="connsiteY9" fmla="*/ 52449 h 57549"/>
              <a:gd name="connsiteX10" fmla="*/ 1157 w 129430"/>
              <a:gd name="connsiteY10" fmla="*/ 55817 h 57549"/>
              <a:gd name="connsiteX11" fmla="*/ 7553 w 129430"/>
              <a:gd name="connsiteY11" fmla="*/ 57549 h 57549"/>
              <a:gd name="connsiteX12" fmla="*/ 13515 w 129430"/>
              <a:gd name="connsiteY12" fmla="*/ 56924 h 57549"/>
              <a:gd name="connsiteX13" fmla="*/ 16977 w 129430"/>
              <a:gd name="connsiteY13" fmla="*/ 56010 h 57549"/>
              <a:gd name="connsiteX14" fmla="*/ 19526 w 129430"/>
              <a:gd name="connsiteY14" fmla="*/ 54566 h 57549"/>
              <a:gd name="connsiteX15" fmla="*/ 16689 w 129430"/>
              <a:gd name="connsiteY15" fmla="*/ 53892 h 57549"/>
              <a:gd name="connsiteX16" fmla="*/ 10726 w 129430"/>
              <a:gd name="connsiteY16" fmla="*/ 53411 h 57549"/>
              <a:gd name="connsiteX17" fmla="*/ 8226 w 129430"/>
              <a:gd name="connsiteY17" fmla="*/ 52449 h 57549"/>
              <a:gd name="connsiteX18" fmla="*/ 8418 w 129430"/>
              <a:gd name="connsiteY18" fmla="*/ 50909 h 57549"/>
              <a:gd name="connsiteX19" fmla="*/ 9861 w 129430"/>
              <a:gd name="connsiteY19" fmla="*/ 49706 h 57549"/>
              <a:gd name="connsiteX20" fmla="*/ 11351 w 129430"/>
              <a:gd name="connsiteY20" fmla="*/ 48792 h 57549"/>
              <a:gd name="connsiteX21" fmla="*/ 12073 w 129430"/>
              <a:gd name="connsiteY21" fmla="*/ 48407 h 57549"/>
              <a:gd name="connsiteX22" fmla="*/ 13467 w 129430"/>
              <a:gd name="connsiteY22" fmla="*/ 47589 h 57549"/>
              <a:gd name="connsiteX23" fmla="*/ 20872 w 129430"/>
              <a:gd name="connsiteY23" fmla="*/ 43643 h 57549"/>
              <a:gd name="connsiteX24" fmla="*/ 59437 w 129430"/>
              <a:gd name="connsiteY24" fmla="*/ 26897 h 57549"/>
              <a:gd name="connsiteX25" fmla="*/ 108196 w 129430"/>
              <a:gd name="connsiteY25" fmla="*/ 11980 h 57549"/>
              <a:gd name="connsiteX26" fmla="*/ 111466 w 129430"/>
              <a:gd name="connsiteY26" fmla="*/ 11450 h 57549"/>
              <a:gd name="connsiteX27" fmla="*/ 111466 w 129430"/>
              <a:gd name="connsiteY27" fmla="*/ 11450 h 57549"/>
              <a:gd name="connsiteX28" fmla="*/ 111562 w 129430"/>
              <a:gd name="connsiteY28" fmla="*/ 11498 h 57549"/>
              <a:gd name="connsiteX29" fmla="*/ 104397 w 129430"/>
              <a:gd name="connsiteY29" fmla="*/ 15829 h 57549"/>
              <a:gd name="connsiteX30" fmla="*/ 93770 w 129430"/>
              <a:gd name="connsiteY30" fmla="*/ 21556 h 57549"/>
              <a:gd name="connsiteX31" fmla="*/ 55638 w 129430"/>
              <a:gd name="connsiteY31" fmla="*/ 39553 h 57549"/>
              <a:gd name="connsiteX32" fmla="*/ 29287 w 129430"/>
              <a:gd name="connsiteY32" fmla="*/ 50331 h 57549"/>
              <a:gd name="connsiteX33" fmla="*/ 19574 w 129430"/>
              <a:gd name="connsiteY33" fmla="*/ 54614 h 57549"/>
              <a:gd name="connsiteX34" fmla="*/ 30393 w 129430"/>
              <a:gd name="connsiteY34" fmla="*/ 54325 h 57549"/>
              <a:gd name="connsiteX35" fmla="*/ 58379 w 129430"/>
              <a:gd name="connsiteY35" fmla="*/ 46578 h 57549"/>
              <a:gd name="connsiteX36" fmla="*/ 98146 w 129430"/>
              <a:gd name="connsiteY36" fmla="*/ 30362 h 57549"/>
              <a:gd name="connsiteX37" fmla="*/ 109350 w 129430"/>
              <a:gd name="connsiteY37" fmla="*/ 24732 h 57549"/>
              <a:gd name="connsiteX38" fmla="*/ 115072 w 129430"/>
              <a:gd name="connsiteY38" fmla="*/ 21556 h 57549"/>
              <a:gd name="connsiteX39" fmla="*/ 116515 w 129430"/>
              <a:gd name="connsiteY39" fmla="*/ 20689 h 57549"/>
              <a:gd name="connsiteX40" fmla="*/ 118823 w 129430"/>
              <a:gd name="connsiteY40" fmla="*/ 19246 h 57549"/>
              <a:gd name="connsiteX41" fmla="*/ 123824 w 129430"/>
              <a:gd name="connsiteY41" fmla="*/ 15685 h 57549"/>
              <a:gd name="connsiteX42" fmla="*/ 129306 w 129430"/>
              <a:gd name="connsiteY42" fmla="*/ 8323 h 57549"/>
              <a:gd name="connsiteX43" fmla="*/ 128873 w 129430"/>
              <a:gd name="connsiteY43" fmla="*/ 4521 h 57549"/>
              <a:gd name="connsiteX44" fmla="*/ 126517 w 129430"/>
              <a:gd name="connsiteY44" fmla="*/ 1682 h 5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9430" h="57549">
                <a:moveTo>
                  <a:pt x="126565" y="1682"/>
                </a:moveTo>
                <a:cubicBezTo>
                  <a:pt x="124642" y="335"/>
                  <a:pt x="121035" y="-243"/>
                  <a:pt x="116659" y="94"/>
                </a:cubicBezTo>
                <a:cubicBezTo>
                  <a:pt x="111947" y="431"/>
                  <a:pt x="108340" y="1153"/>
                  <a:pt x="106369" y="1441"/>
                </a:cubicBezTo>
                <a:cubicBezTo>
                  <a:pt x="87375" y="5050"/>
                  <a:pt x="70833" y="11595"/>
                  <a:pt x="55831" y="17754"/>
                </a:cubicBezTo>
                <a:cubicBezTo>
                  <a:pt x="40924" y="24106"/>
                  <a:pt x="27845" y="30602"/>
                  <a:pt x="17266" y="37002"/>
                </a:cubicBezTo>
                <a:cubicBezTo>
                  <a:pt x="14621" y="38590"/>
                  <a:pt x="12121" y="40226"/>
                  <a:pt x="9813" y="41862"/>
                </a:cubicBezTo>
                <a:cubicBezTo>
                  <a:pt x="9139" y="42343"/>
                  <a:pt x="8514" y="42825"/>
                  <a:pt x="7841" y="43306"/>
                </a:cubicBezTo>
                <a:cubicBezTo>
                  <a:pt x="6976" y="43931"/>
                  <a:pt x="6158" y="44557"/>
                  <a:pt x="5389" y="45231"/>
                </a:cubicBezTo>
                <a:cubicBezTo>
                  <a:pt x="3850" y="46482"/>
                  <a:pt x="2600" y="47781"/>
                  <a:pt x="1734" y="48984"/>
                </a:cubicBezTo>
                <a:cubicBezTo>
                  <a:pt x="821" y="50187"/>
                  <a:pt x="388" y="51342"/>
                  <a:pt x="99" y="52449"/>
                </a:cubicBezTo>
                <a:cubicBezTo>
                  <a:pt x="-189" y="53507"/>
                  <a:pt x="147" y="55095"/>
                  <a:pt x="1157" y="55817"/>
                </a:cubicBezTo>
                <a:cubicBezTo>
                  <a:pt x="2984" y="57213"/>
                  <a:pt x="5244" y="57501"/>
                  <a:pt x="7553" y="57549"/>
                </a:cubicBezTo>
                <a:cubicBezTo>
                  <a:pt x="9813" y="57549"/>
                  <a:pt x="12073" y="57213"/>
                  <a:pt x="13515" y="56924"/>
                </a:cubicBezTo>
                <a:cubicBezTo>
                  <a:pt x="15102" y="56635"/>
                  <a:pt x="16064" y="56298"/>
                  <a:pt x="16977" y="56010"/>
                </a:cubicBezTo>
                <a:cubicBezTo>
                  <a:pt x="18708" y="55432"/>
                  <a:pt x="19574" y="54951"/>
                  <a:pt x="19526" y="54566"/>
                </a:cubicBezTo>
                <a:cubicBezTo>
                  <a:pt x="19478" y="54181"/>
                  <a:pt x="18468" y="53989"/>
                  <a:pt x="16689" y="53892"/>
                </a:cubicBezTo>
                <a:cubicBezTo>
                  <a:pt x="14765" y="53796"/>
                  <a:pt x="12409" y="53700"/>
                  <a:pt x="10726" y="53411"/>
                </a:cubicBezTo>
                <a:cubicBezTo>
                  <a:pt x="9813" y="53219"/>
                  <a:pt x="8899" y="53074"/>
                  <a:pt x="8226" y="52449"/>
                </a:cubicBezTo>
                <a:cubicBezTo>
                  <a:pt x="7841" y="52112"/>
                  <a:pt x="7937" y="51390"/>
                  <a:pt x="8418" y="50909"/>
                </a:cubicBezTo>
                <a:cubicBezTo>
                  <a:pt x="8851" y="50428"/>
                  <a:pt x="9332" y="50043"/>
                  <a:pt x="9861" y="49706"/>
                </a:cubicBezTo>
                <a:cubicBezTo>
                  <a:pt x="10342" y="49369"/>
                  <a:pt x="10870" y="49080"/>
                  <a:pt x="11351" y="48792"/>
                </a:cubicBezTo>
                <a:lnTo>
                  <a:pt x="12073" y="48407"/>
                </a:lnTo>
                <a:lnTo>
                  <a:pt x="13467" y="47589"/>
                </a:lnTo>
                <a:cubicBezTo>
                  <a:pt x="15727" y="46289"/>
                  <a:pt x="18228" y="44942"/>
                  <a:pt x="20872" y="43643"/>
                </a:cubicBezTo>
                <a:cubicBezTo>
                  <a:pt x="31499" y="38301"/>
                  <a:pt x="44627" y="32623"/>
                  <a:pt x="59437" y="26897"/>
                </a:cubicBezTo>
                <a:cubicBezTo>
                  <a:pt x="74200" y="21363"/>
                  <a:pt x="90741" y="15252"/>
                  <a:pt x="108196" y="11980"/>
                </a:cubicBezTo>
                <a:cubicBezTo>
                  <a:pt x="110793" y="11547"/>
                  <a:pt x="111803" y="11402"/>
                  <a:pt x="111466" y="11450"/>
                </a:cubicBezTo>
                <a:lnTo>
                  <a:pt x="111466" y="11450"/>
                </a:lnTo>
                <a:cubicBezTo>
                  <a:pt x="111466" y="11450"/>
                  <a:pt x="111562" y="11498"/>
                  <a:pt x="111562" y="11498"/>
                </a:cubicBezTo>
                <a:cubicBezTo>
                  <a:pt x="112860" y="10729"/>
                  <a:pt x="107667" y="14001"/>
                  <a:pt x="104397" y="15829"/>
                </a:cubicBezTo>
                <a:cubicBezTo>
                  <a:pt x="100839" y="17850"/>
                  <a:pt x="97281" y="19727"/>
                  <a:pt x="93770" y="21556"/>
                </a:cubicBezTo>
                <a:cubicBezTo>
                  <a:pt x="79681" y="28774"/>
                  <a:pt x="66650" y="34741"/>
                  <a:pt x="55638" y="39553"/>
                </a:cubicBezTo>
                <a:cubicBezTo>
                  <a:pt x="44627" y="44365"/>
                  <a:pt x="35587" y="47925"/>
                  <a:pt x="29287" y="50331"/>
                </a:cubicBezTo>
                <a:cubicBezTo>
                  <a:pt x="23036" y="52737"/>
                  <a:pt x="19478" y="53892"/>
                  <a:pt x="19574" y="54614"/>
                </a:cubicBezTo>
                <a:cubicBezTo>
                  <a:pt x="19670" y="55336"/>
                  <a:pt x="23565" y="55528"/>
                  <a:pt x="30393" y="54325"/>
                </a:cubicBezTo>
                <a:cubicBezTo>
                  <a:pt x="37173" y="53122"/>
                  <a:pt x="46791" y="50572"/>
                  <a:pt x="58379" y="46578"/>
                </a:cubicBezTo>
                <a:cubicBezTo>
                  <a:pt x="69920" y="42584"/>
                  <a:pt x="83480" y="37291"/>
                  <a:pt x="98146" y="30362"/>
                </a:cubicBezTo>
                <a:cubicBezTo>
                  <a:pt x="101801" y="28629"/>
                  <a:pt x="105551" y="26753"/>
                  <a:pt x="109350" y="24732"/>
                </a:cubicBezTo>
                <a:cubicBezTo>
                  <a:pt x="111226" y="23721"/>
                  <a:pt x="113149" y="22662"/>
                  <a:pt x="115072" y="21556"/>
                </a:cubicBezTo>
                <a:lnTo>
                  <a:pt x="116515" y="20689"/>
                </a:lnTo>
                <a:lnTo>
                  <a:pt x="118823" y="19246"/>
                </a:lnTo>
                <a:cubicBezTo>
                  <a:pt x="120410" y="18187"/>
                  <a:pt x="122333" y="16936"/>
                  <a:pt x="123824" y="15685"/>
                </a:cubicBezTo>
                <a:cubicBezTo>
                  <a:pt x="126998" y="13183"/>
                  <a:pt x="129065" y="10536"/>
                  <a:pt x="129306" y="8323"/>
                </a:cubicBezTo>
                <a:cubicBezTo>
                  <a:pt x="129498" y="7216"/>
                  <a:pt x="129546" y="6061"/>
                  <a:pt x="128873" y="4521"/>
                </a:cubicBezTo>
                <a:cubicBezTo>
                  <a:pt x="128248" y="3126"/>
                  <a:pt x="127479" y="2404"/>
                  <a:pt x="126517" y="1682"/>
                </a:cubicBezTo>
                <a:close/>
              </a:path>
            </a:pathLst>
          </a:custGeom>
          <a:solidFill>
            <a:srgbClr val="29C8C1"/>
          </a:solidFill>
          <a:ln w="0" cap="flat">
            <a:noFill/>
            <a:prstDash val="solid"/>
            <a:miter/>
          </a:ln>
        </p:spPr>
        <p:txBody>
          <a:bodyPr rtlCol="0" anchor="ctr"/>
          <a:lstStyle/>
          <a:p>
            <a:pPr rtl="0"/>
            <a:endParaRPr lang="en-AU" dirty="0"/>
          </a:p>
        </p:txBody>
      </p:sp>
      <p:sp>
        <p:nvSpPr>
          <p:cNvPr id="21" name="Freeform: Shape 20">
            <a:extLst>
              <a:ext uri="{FF2B5EF4-FFF2-40B4-BE49-F238E27FC236}">
                <a16:creationId xmlns:a16="http://schemas.microsoft.com/office/drawing/2014/main" id="{0512EE2B-6F51-F0D1-D317-282637F92784}"/>
              </a:ext>
            </a:extLst>
          </p:cNvPr>
          <p:cNvSpPr/>
          <p:nvPr/>
        </p:nvSpPr>
        <p:spPr>
          <a:xfrm>
            <a:off x="6491536" y="1617806"/>
            <a:ext cx="4808" cy="48"/>
          </a:xfrm>
          <a:custGeom>
            <a:avLst/>
            <a:gdLst>
              <a:gd name="connsiteX0" fmla="*/ 0 w 4808"/>
              <a:gd name="connsiteY0" fmla="*/ 48 h 48"/>
              <a:gd name="connsiteX1" fmla="*/ 0 w 4808"/>
              <a:gd name="connsiteY1" fmla="*/ 48 h 48"/>
              <a:gd name="connsiteX2" fmla="*/ 0 w 4808"/>
              <a:gd name="connsiteY2" fmla="*/ 0 h 48"/>
              <a:gd name="connsiteX3" fmla="*/ 0 w 4808"/>
              <a:gd name="connsiteY3" fmla="*/ 48 h 48"/>
            </a:gdLst>
            <a:ahLst/>
            <a:cxnLst>
              <a:cxn ang="0">
                <a:pos x="connsiteX0" y="connsiteY0"/>
              </a:cxn>
              <a:cxn ang="0">
                <a:pos x="connsiteX1" y="connsiteY1"/>
              </a:cxn>
              <a:cxn ang="0">
                <a:pos x="connsiteX2" y="connsiteY2"/>
              </a:cxn>
              <a:cxn ang="0">
                <a:pos x="connsiteX3" y="connsiteY3"/>
              </a:cxn>
            </a:cxnLst>
            <a:rect l="l" t="t" r="r" b="b"/>
            <a:pathLst>
              <a:path w="4808" h="48">
                <a:moveTo>
                  <a:pt x="0" y="48"/>
                </a:moveTo>
                <a:lnTo>
                  <a:pt x="0" y="48"/>
                </a:lnTo>
                <a:lnTo>
                  <a:pt x="0" y="0"/>
                </a:lnTo>
                <a:lnTo>
                  <a:pt x="0" y="48"/>
                </a:lnTo>
                <a:close/>
              </a:path>
            </a:pathLst>
          </a:custGeom>
          <a:solidFill>
            <a:srgbClr val="29C8C1"/>
          </a:solidFill>
          <a:ln w="0" cap="flat">
            <a:noFill/>
            <a:prstDash val="solid"/>
            <a:miter/>
          </a:ln>
        </p:spPr>
        <p:txBody>
          <a:bodyPr rtlCol="0" anchor="ctr"/>
          <a:lstStyle/>
          <a:p>
            <a:pPr rtl="0"/>
            <a:endParaRPr lang="en-AU" dirty="0"/>
          </a:p>
        </p:txBody>
      </p:sp>
      <p:sp>
        <p:nvSpPr>
          <p:cNvPr id="22" name="Freeform: Shape 21">
            <a:extLst>
              <a:ext uri="{FF2B5EF4-FFF2-40B4-BE49-F238E27FC236}">
                <a16:creationId xmlns:a16="http://schemas.microsoft.com/office/drawing/2014/main" id="{2E6C298C-E399-FCF8-6FA9-FBC47771D3D9}"/>
              </a:ext>
            </a:extLst>
          </p:cNvPr>
          <p:cNvSpPr/>
          <p:nvPr/>
        </p:nvSpPr>
        <p:spPr>
          <a:xfrm>
            <a:off x="9477836" y="1913997"/>
            <a:ext cx="21" cy="85"/>
          </a:xfrm>
          <a:custGeom>
            <a:avLst/>
            <a:gdLst>
              <a:gd name="connsiteX0" fmla="*/ 21 w 21"/>
              <a:gd name="connsiteY0" fmla="*/ 86 h 85"/>
              <a:gd name="connsiteX1" fmla="*/ 21 w 21"/>
              <a:gd name="connsiteY1" fmla="*/ 86 h 85"/>
              <a:gd name="connsiteX2" fmla="*/ 21 w 21"/>
              <a:gd name="connsiteY2" fmla="*/ 86 h 85"/>
            </a:gdLst>
            <a:ahLst/>
            <a:cxnLst>
              <a:cxn ang="0">
                <a:pos x="connsiteX0" y="connsiteY0"/>
              </a:cxn>
              <a:cxn ang="0">
                <a:pos x="connsiteX1" y="connsiteY1"/>
              </a:cxn>
              <a:cxn ang="0">
                <a:pos x="connsiteX2" y="connsiteY2"/>
              </a:cxn>
            </a:cxnLst>
            <a:rect l="l" t="t" r="r" b="b"/>
            <a:pathLst>
              <a:path w="21" h="85">
                <a:moveTo>
                  <a:pt x="21" y="86"/>
                </a:moveTo>
                <a:cubicBezTo>
                  <a:pt x="21" y="86"/>
                  <a:pt x="-27" y="-107"/>
                  <a:pt x="21" y="86"/>
                </a:cubicBezTo>
                <a:lnTo>
                  <a:pt x="21" y="86"/>
                </a:lnTo>
                <a:close/>
              </a:path>
            </a:pathLst>
          </a:custGeom>
          <a:solidFill>
            <a:srgbClr val="29C8C1"/>
          </a:solidFill>
          <a:ln w="0" cap="flat">
            <a:noFill/>
            <a:prstDash val="solid"/>
            <a:miter/>
          </a:ln>
        </p:spPr>
        <p:txBody>
          <a:bodyPr rtlCol="0" anchor="ctr"/>
          <a:lstStyle/>
          <a:p>
            <a:pPr rtl="0"/>
            <a:endParaRPr lang="en-AU" dirty="0"/>
          </a:p>
        </p:txBody>
      </p:sp>
      <p:sp>
        <p:nvSpPr>
          <p:cNvPr id="23" name="Freeform: Shape 22">
            <a:extLst>
              <a:ext uri="{FF2B5EF4-FFF2-40B4-BE49-F238E27FC236}">
                <a16:creationId xmlns:a16="http://schemas.microsoft.com/office/drawing/2014/main" id="{DD99B47F-897A-D854-9B35-016829EADFD4}"/>
              </a:ext>
            </a:extLst>
          </p:cNvPr>
          <p:cNvSpPr/>
          <p:nvPr/>
        </p:nvSpPr>
        <p:spPr>
          <a:xfrm>
            <a:off x="9477280" y="1913505"/>
            <a:ext cx="577" cy="577"/>
          </a:xfrm>
          <a:custGeom>
            <a:avLst/>
            <a:gdLst>
              <a:gd name="connsiteX0" fmla="*/ 529 w 577"/>
              <a:gd name="connsiteY0" fmla="*/ 529 h 577"/>
              <a:gd name="connsiteX1" fmla="*/ 433 w 577"/>
              <a:gd name="connsiteY1" fmla="*/ 433 h 577"/>
              <a:gd name="connsiteX2" fmla="*/ 0 w 577"/>
              <a:gd name="connsiteY2" fmla="*/ 0 h 577"/>
              <a:gd name="connsiteX3" fmla="*/ 577 w 577"/>
              <a:gd name="connsiteY3" fmla="*/ 577 h 577"/>
              <a:gd name="connsiteX4" fmla="*/ 577 w 577"/>
              <a:gd name="connsiteY4" fmla="*/ 577 h 577"/>
              <a:gd name="connsiteX5" fmla="*/ 529 w 577"/>
              <a:gd name="connsiteY5" fmla="*/ 529 h 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 h="577">
                <a:moveTo>
                  <a:pt x="529" y="529"/>
                </a:moveTo>
                <a:lnTo>
                  <a:pt x="433" y="433"/>
                </a:lnTo>
                <a:lnTo>
                  <a:pt x="0" y="0"/>
                </a:lnTo>
                <a:lnTo>
                  <a:pt x="577" y="577"/>
                </a:lnTo>
                <a:lnTo>
                  <a:pt x="577" y="577"/>
                </a:lnTo>
                <a:lnTo>
                  <a:pt x="529" y="529"/>
                </a:lnTo>
                <a:close/>
              </a:path>
            </a:pathLst>
          </a:custGeom>
          <a:solidFill>
            <a:srgbClr val="29C8C1"/>
          </a:solidFill>
          <a:ln w="0" cap="flat">
            <a:noFill/>
            <a:prstDash val="solid"/>
            <a:miter/>
          </a:ln>
        </p:spPr>
        <p:txBody>
          <a:bodyPr rtlCol="0" anchor="ctr"/>
          <a:lstStyle/>
          <a:p>
            <a:pPr rtl="0"/>
            <a:endParaRPr lang="en-AU" dirty="0"/>
          </a:p>
        </p:txBody>
      </p:sp>
      <p:sp>
        <p:nvSpPr>
          <p:cNvPr id="24" name="Freeform: Shape 23">
            <a:extLst>
              <a:ext uri="{FF2B5EF4-FFF2-40B4-BE49-F238E27FC236}">
                <a16:creationId xmlns:a16="http://schemas.microsoft.com/office/drawing/2014/main" id="{6611F23D-5CC4-79CC-5465-F35CDDD927CB}"/>
              </a:ext>
            </a:extLst>
          </p:cNvPr>
          <p:cNvSpPr/>
          <p:nvPr/>
        </p:nvSpPr>
        <p:spPr>
          <a:xfrm>
            <a:off x="9470933" y="1907008"/>
            <a:ext cx="4808" cy="288"/>
          </a:xfrm>
          <a:custGeom>
            <a:avLst/>
            <a:gdLst>
              <a:gd name="connsiteX0" fmla="*/ 0 w 4808"/>
              <a:gd name="connsiteY0" fmla="*/ 289 h 288"/>
              <a:gd name="connsiteX1" fmla="*/ 0 w 4808"/>
              <a:gd name="connsiteY1" fmla="*/ 0 h 288"/>
              <a:gd name="connsiteX2" fmla="*/ 0 w 4808"/>
              <a:gd name="connsiteY2" fmla="*/ 0 h 288"/>
              <a:gd name="connsiteX3" fmla="*/ 0 w 4808"/>
              <a:gd name="connsiteY3" fmla="*/ 289 h 288"/>
              <a:gd name="connsiteX4" fmla="*/ 0 w 4808"/>
              <a:gd name="connsiteY4" fmla="*/ 289 h 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8" h="288">
                <a:moveTo>
                  <a:pt x="0" y="289"/>
                </a:moveTo>
                <a:cubicBezTo>
                  <a:pt x="0" y="289"/>
                  <a:pt x="0" y="96"/>
                  <a:pt x="0" y="0"/>
                </a:cubicBezTo>
                <a:lnTo>
                  <a:pt x="0" y="0"/>
                </a:lnTo>
                <a:cubicBezTo>
                  <a:pt x="0" y="0"/>
                  <a:pt x="0" y="192"/>
                  <a:pt x="0" y="289"/>
                </a:cubicBezTo>
                <a:cubicBezTo>
                  <a:pt x="0" y="289"/>
                  <a:pt x="0" y="289"/>
                  <a:pt x="0" y="289"/>
                </a:cubicBezTo>
                <a:close/>
              </a:path>
            </a:pathLst>
          </a:custGeom>
          <a:solidFill>
            <a:srgbClr val="29C8C1"/>
          </a:solidFill>
          <a:ln w="0" cap="flat">
            <a:noFill/>
            <a:prstDash val="solid"/>
            <a:miter/>
          </a:ln>
        </p:spPr>
        <p:txBody>
          <a:bodyPr rtlCol="0" anchor="ctr"/>
          <a:lstStyle/>
          <a:p>
            <a:pPr rtl="0"/>
            <a:endParaRPr lang="en-AU" dirty="0"/>
          </a:p>
        </p:txBody>
      </p:sp>
      <p:sp>
        <p:nvSpPr>
          <p:cNvPr id="25" name="Freeform: Shape 24">
            <a:extLst>
              <a:ext uri="{FF2B5EF4-FFF2-40B4-BE49-F238E27FC236}">
                <a16:creationId xmlns:a16="http://schemas.microsoft.com/office/drawing/2014/main" id="{B0DF94F3-A9BB-28DD-4C21-855FEC485FC3}"/>
              </a:ext>
            </a:extLst>
          </p:cNvPr>
          <p:cNvSpPr/>
          <p:nvPr/>
        </p:nvSpPr>
        <p:spPr>
          <a:xfrm>
            <a:off x="9514355" y="1954455"/>
            <a:ext cx="432" cy="481"/>
          </a:xfrm>
          <a:custGeom>
            <a:avLst/>
            <a:gdLst>
              <a:gd name="connsiteX0" fmla="*/ 48 w 432"/>
              <a:gd name="connsiteY0" fmla="*/ 0 h 481"/>
              <a:gd name="connsiteX1" fmla="*/ 0 w 432"/>
              <a:gd name="connsiteY1" fmla="*/ 0 h 481"/>
              <a:gd name="connsiteX2" fmla="*/ 433 w 432"/>
              <a:gd name="connsiteY2" fmla="*/ 481 h 481"/>
              <a:gd name="connsiteX3" fmla="*/ 48 w 432"/>
              <a:gd name="connsiteY3" fmla="*/ 0 h 481"/>
            </a:gdLst>
            <a:ahLst/>
            <a:cxnLst>
              <a:cxn ang="0">
                <a:pos x="connsiteX0" y="connsiteY0"/>
              </a:cxn>
              <a:cxn ang="0">
                <a:pos x="connsiteX1" y="connsiteY1"/>
              </a:cxn>
              <a:cxn ang="0">
                <a:pos x="connsiteX2" y="connsiteY2"/>
              </a:cxn>
              <a:cxn ang="0">
                <a:pos x="connsiteX3" y="connsiteY3"/>
              </a:cxn>
            </a:cxnLst>
            <a:rect l="l" t="t" r="r" b="b"/>
            <a:pathLst>
              <a:path w="432" h="481">
                <a:moveTo>
                  <a:pt x="48" y="0"/>
                </a:moveTo>
                <a:lnTo>
                  <a:pt x="0" y="0"/>
                </a:lnTo>
                <a:cubicBezTo>
                  <a:pt x="0" y="0"/>
                  <a:pt x="289" y="289"/>
                  <a:pt x="433" y="481"/>
                </a:cubicBezTo>
                <a:lnTo>
                  <a:pt x="48" y="0"/>
                </a:lnTo>
                <a:close/>
              </a:path>
            </a:pathLst>
          </a:custGeom>
          <a:solidFill>
            <a:srgbClr val="29C8C1"/>
          </a:solidFill>
          <a:ln w="0" cap="flat">
            <a:noFill/>
            <a:prstDash val="solid"/>
            <a:miter/>
          </a:ln>
        </p:spPr>
        <p:txBody>
          <a:bodyPr rtlCol="0" anchor="ctr"/>
          <a:lstStyle/>
          <a:p>
            <a:pPr rtl="0"/>
            <a:endParaRPr lang="en-AU" dirty="0"/>
          </a:p>
        </p:txBody>
      </p:sp>
      <p:sp>
        <p:nvSpPr>
          <p:cNvPr id="26" name="Freeform: Shape 25">
            <a:extLst>
              <a:ext uri="{FF2B5EF4-FFF2-40B4-BE49-F238E27FC236}">
                <a16:creationId xmlns:a16="http://schemas.microsoft.com/office/drawing/2014/main" id="{4AB35A9D-065A-E54B-0926-4C7E77A43445}"/>
              </a:ext>
            </a:extLst>
          </p:cNvPr>
          <p:cNvSpPr/>
          <p:nvPr/>
        </p:nvSpPr>
        <p:spPr>
          <a:xfrm>
            <a:off x="9477713" y="1914082"/>
            <a:ext cx="2500" cy="2887"/>
          </a:xfrm>
          <a:custGeom>
            <a:avLst/>
            <a:gdLst>
              <a:gd name="connsiteX0" fmla="*/ 2404 w 2500"/>
              <a:gd name="connsiteY0" fmla="*/ 2550 h 2887"/>
              <a:gd name="connsiteX1" fmla="*/ 2020 w 2500"/>
              <a:gd name="connsiteY1" fmla="*/ 2069 h 2887"/>
              <a:gd name="connsiteX2" fmla="*/ 1347 w 2500"/>
              <a:gd name="connsiteY2" fmla="*/ 1299 h 2887"/>
              <a:gd name="connsiteX3" fmla="*/ 337 w 2500"/>
              <a:gd name="connsiteY3" fmla="*/ 193 h 2887"/>
              <a:gd name="connsiteX4" fmla="*/ 144 w 2500"/>
              <a:gd name="connsiteY4" fmla="*/ 0 h 2887"/>
              <a:gd name="connsiteX5" fmla="*/ 0 w 2500"/>
              <a:gd name="connsiteY5" fmla="*/ 481 h 2887"/>
              <a:gd name="connsiteX6" fmla="*/ 2501 w 2500"/>
              <a:gd name="connsiteY6" fmla="*/ 2887 h 2887"/>
              <a:gd name="connsiteX7" fmla="*/ 2356 w 2500"/>
              <a:gd name="connsiteY7" fmla="*/ 2550 h 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0" h="2887">
                <a:moveTo>
                  <a:pt x="2404" y="2550"/>
                </a:moveTo>
                <a:lnTo>
                  <a:pt x="2020" y="2069"/>
                </a:lnTo>
                <a:lnTo>
                  <a:pt x="1347" y="1299"/>
                </a:lnTo>
                <a:lnTo>
                  <a:pt x="337" y="193"/>
                </a:lnTo>
                <a:lnTo>
                  <a:pt x="144" y="0"/>
                </a:lnTo>
                <a:cubicBezTo>
                  <a:pt x="144" y="0"/>
                  <a:pt x="144" y="289"/>
                  <a:pt x="0" y="481"/>
                </a:cubicBezTo>
                <a:cubicBezTo>
                  <a:pt x="866" y="1299"/>
                  <a:pt x="1683" y="2069"/>
                  <a:pt x="2501" y="2887"/>
                </a:cubicBezTo>
                <a:lnTo>
                  <a:pt x="2356" y="2550"/>
                </a:lnTo>
                <a:close/>
              </a:path>
            </a:pathLst>
          </a:custGeom>
          <a:solidFill>
            <a:srgbClr val="29C8C1"/>
          </a:solidFill>
          <a:ln w="0" cap="flat">
            <a:noFill/>
            <a:prstDash val="solid"/>
            <a:miter/>
          </a:ln>
        </p:spPr>
        <p:txBody>
          <a:bodyPr rtlCol="0" anchor="ctr"/>
          <a:lstStyle/>
          <a:p>
            <a:pPr rtl="0"/>
            <a:endParaRPr lang="en-AU" dirty="0"/>
          </a:p>
        </p:txBody>
      </p:sp>
      <p:sp>
        <p:nvSpPr>
          <p:cNvPr id="27" name="Freeform: Shape 26">
            <a:extLst>
              <a:ext uri="{FF2B5EF4-FFF2-40B4-BE49-F238E27FC236}">
                <a16:creationId xmlns:a16="http://schemas.microsoft.com/office/drawing/2014/main" id="{17D4E3E6-C2D8-146D-BB00-265EC459EB65}"/>
              </a:ext>
            </a:extLst>
          </p:cNvPr>
          <p:cNvSpPr/>
          <p:nvPr/>
        </p:nvSpPr>
        <p:spPr>
          <a:xfrm>
            <a:off x="9477857" y="1914082"/>
            <a:ext cx="4808" cy="4812"/>
          </a:xfrm>
          <a:custGeom>
            <a:avLst/>
            <a:gdLst>
              <a:gd name="connsiteX0" fmla="*/ 0 w 4808"/>
              <a:gd name="connsiteY0" fmla="*/ 0 h 4812"/>
              <a:gd name="connsiteX1" fmla="*/ 0 w 4808"/>
              <a:gd name="connsiteY1" fmla="*/ 0 h 4812"/>
              <a:gd name="connsiteX2" fmla="*/ 0 w 4808"/>
              <a:gd name="connsiteY2" fmla="*/ 0 h 4812"/>
              <a:gd name="connsiteX3" fmla="*/ 0 w 4808"/>
              <a:gd name="connsiteY3" fmla="*/ 0 h 4812"/>
              <a:gd name="connsiteX4" fmla="*/ 0 w 4808"/>
              <a:gd name="connsiteY4" fmla="*/ 0 h 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8" h="4812">
                <a:moveTo>
                  <a:pt x="0" y="0"/>
                </a:moveTo>
                <a:lnTo>
                  <a:pt x="0" y="0"/>
                </a:lnTo>
                <a:lnTo>
                  <a:pt x="0" y="0"/>
                </a:lnTo>
                <a:lnTo>
                  <a:pt x="0" y="0"/>
                </a:lnTo>
                <a:lnTo>
                  <a:pt x="0" y="0"/>
                </a:lnTo>
                <a:close/>
              </a:path>
            </a:pathLst>
          </a:custGeom>
          <a:solidFill>
            <a:srgbClr val="29C8C1"/>
          </a:solidFill>
          <a:ln w="0" cap="flat">
            <a:noFill/>
            <a:prstDash val="solid"/>
            <a:miter/>
          </a:ln>
        </p:spPr>
        <p:txBody>
          <a:bodyPr rtlCol="0" anchor="ctr"/>
          <a:lstStyle/>
          <a:p>
            <a:pPr rtl="0"/>
            <a:endParaRPr lang="en-AU" dirty="0"/>
          </a:p>
        </p:txBody>
      </p:sp>
      <p:sp>
        <p:nvSpPr>
          <p:cNvPr id="28" name="Freeform: Shape 27">
            <a:extLst>
              <a:ext uri="{FF2B5EF4-FFF2-40B4-BE49-F238E27FC236}">
                <a16:creationId xmlns:a16="http://schemas.microsoft.com/office/drawing/2014/main" id="{3F4D7FC7-9E7C-A296-2C0B-E9D0CC4E1B3B}"/>
              </a:ext>
            </a:extLst>
          </p:cNvPr>
          <p:cNvSpPr/>
          <p:nvPr/>
        </p:nvSpPr>
        <p:spPr>
          <a:xfrm>
            <a:off x="6607375" y="1476543"/>
            <a:ext cx="184216" cy="138686"/>
          </a:xfrm>
          <a:custGeom>
            <a:avLst/>
            <a:gdLst>
              <a:gd name="connsiteX0" fmla="*/ 2549 w 184216"/>
              <a:gd name="connsiteY0" fmla="*/ 137222 h 138686"/>
              <a:gd name="connsiteX1" fmla="*/ 5289 w 184216"/>
              <a:gd name="connsiteY1" fmla="*/ 138473 h 138686"/>
              <a:gd name="connsiteX2" fmla="*/ 13560 w 184216"/>
              <a:gd name="connsiteY2" fmla="*/ 137318 h 138686"/>
              <a:gd name="connsiteX3" fmla="*/ 18561 w 184216"/>
              <a:gd name="connsiteY3" fmla="*/ 135249 h 138686"/>
              <a:gd name="connsiteX4" fmla="*/ 21975 w 184216"/>
              <a:gd name="connsiteY4" fmla="*/ 133613 h 138686"/>
              <a:gd name="connsiteX5" fmla="*/ 42123 w 184216"/>
              <a:gd name="connsiteY5" fmla="*/ 122112 h 138686"/>
              <a:gd name="connsiteX6" fmla="*/ 113434 w 184216"/>
              <a:gd name="connsiteY6" fmla="*/ 72259 h 138686"/>
              <a:gd name="connsiteX7" fmla="*/ 167916 w 184216"/>
              <a:gd name="connsiteY7" fmla="*/ 26593 h 138686"/>
              <a:gd name="connsiteX8" fmla="*/ 178062 w 184216"/>
              <a:gd name="connsiteY8" fmla="*/ 15911 h 138686"/>
              <a:gd name="connsiteX9" fmla="*/ 179504 w 184216"/>
              <a:gd name="connsiteY9" fmla="*/ 14178 h 138686"/>
              <a:gd name="connsiteX10" fmla="*/ 181091 w 184216"/>
              <a:gd name="connsiteY10" fmla="*/ 12061 h 138686"/>
              <a:gd name="connsiteX11" fmla="*/ 183447 w 184216"/>
              <a:gd name="connsiteY11" fmla="*/ 7971 h 138686"/>
              <a:gd name="connsiteX12" fmla="*/ 184217 w 184216"/>
              <a:gd name="connsiteY12" fmla="*/ 4362 h 138686"/>
              <a:gd name="connsiteX13" fmla="*/ 182726 w 184216"/>
              <a:gd name="connsiteY13" fmla="*/ 1138 h 138686"/>
              <a:gd name="connsiteX14" fmla="*/ 175850 w 184216"/>
              <a:gd name="connsiteY14" fmla="*/ 224 h 138686"/>
              <a:gd name="connsiteX15" fmla="*/ 171955 w 184216"/>
              <a:gd name="connsiteY15" fmla="*/ 1186 h 138686"/>
              <a:gd name="connsiteX16" fmla="*/ 170080 w 184216"/>
              <a:gd name="connsiteY16" fmla="*/ 1812 h 138686"/>
              <a:gd name="connsiteX17" fmla="*/ 168685 w 184216"/>
              <a:gd name="connsiteY17" fmla="*/ 2341 h 138686"/>
              <a:gd name="connsiteX18" fmla="*/ 159933 w 184216"/>
              <a:gd name="connsiteY18" fmla="*/ 6239 h 138686"/>
              <a:gd name="connsiteX19" fmla="*/ 144835 w 184216"/>
              <a:gd name="connsiteY19" fmla="*/ 15430 h 138686"/>
              <a:gd name="connsiteX20" fmla="*/ 161520 w 184216"/>
              <a:gd name="connsiteY20" fmla="*/ 10088 h 138686"/>
              <a:gd name="connsiteX21" fmla="*/ 170224 w 184216"/>
              <a:gd name="connsiteY21" fmla="*/ 7201 h 138686"/>
              <a:gd name="connsiteX22" fmla="*/ 171330 w 184216"/>
              <a:gd name="connsiteY22" fmla="*/ 6912 h 138686"/>
              <a:gd name="connsiteX23" fmla="*/ 172003 w 184216"/>
              <a:gd name="connsiteY23" fmla="*/ 6768 h 138686"/>
              <a:gd name="connsiteX24" fmla="*/ 173253 w 184216"/>
              <a:gd name="connsiteY24" fmla="*/ 6527 h 138686"/>
              <a:gd name="connsiteX25" fmla="*/ 175658 w 184216"/>
              <a:gd name="connsiteY25" fmla="*/ 6672 h 138686"/>
              <a:gd name="connsiteX26" fmla="*/ 175032 w 184216"/>
              <a:gd name="connsiteY26" fmla="*/ 9126 h 138686"/>
              <a:gd name="connsiteX27" fmla="*/ 174167 w 184216"/>
              <a:gd name="connsiteY27" fmla="*/ 10136 h 138686"/>
              <a:gd name="connsiteX28" fmla="*/ 172917 w 184216"/>
              <a:gd name="connsiteY28" fmla="*/ 11387 h 138686"/>
              <a:gd name="connsiteX29" fmla="*/ 162722 w 184216"/>
              <a:gd name="connsiteY29" fmla="*/ 20963 h 138686"/>
              <a:gd name="connsiteX30" fmla="*/ 107472 w 184216"/>
              <a:gd name="connsiteY30" fmla="*/ 64320 h 138686"/>
              <a:gd name="connsiteX31" fmla="*/ 36449 w 184216"/>
              <a:gd name="connsiteY31" fmla="*/ 112969 h 138686"/>
              <a:gd name="connsiteX32" fmla="*/ 17167 w 184216"/>
              <a:gd name="connsiteY32" fmla="*/ 124085 h 138686"/>
              <a:gd name="connsiteX33" fmla="*/ 15580 w 184216"/>
              <a:gd name="connsiteY33" fmla="*/ 124903 h 138686"/>
              <a:gd name="connsiteX34" fmla="*/ 15580 w 184216"/>
              <a:gd name="connsiteY34" fmla="*/ 124903 h 138686"/>
              <a:gd name="connsiteX35" fmla="*/ 15532 w 184216"/>
              <a:gd name="connsiteY35" fmla="*/ 124951 h 138686"/>
              <a:gd name="connsiteX36" fmla="*/ 15436 w 184216"/>
              <a:gd name="connsiteY36" fmla="*/ 124951 h 138686"/>
              <a:gd name="connsiteX37" fmla="*/ 15436 w 184216"/>
              <a:gd name="connsiteY37" fmla="*/ 124807 h 138686"/>
              <a:gd name="connsiteX38" fmla="*/ 18273 w 184216"/>
              <a:gd name="connsiteY38" fmla="*/ 121438 h 138686"/>
              <a:gd name="connsiteX39" fmla="*/ 25197 w 184216"/>
              <a:gd name="connsiteY39" fmla="*/ 113739 h 138686"/>
              <a:gd name="connsiteX40" fmla="*/ 39334 w 184216"/>
              <a:gd name="connsiteY40" fmla="*/ 99255 h 138686"/>
              <a:gd name="connsiteX41" fmla="*/ 53135 w 184216"/>
              <a:gd name="connsiteY41" fmla="*/ 85733 h 138686"/>
              <a:gd name="connsiteX42" fmla="*/ 66407 w 184216"/>
              <a:gd name="connsiteY42" fmla="*/ 73655 h 138686"/>
              <a:gd name="connsiteX43" fmla="*/ 92181 w 184216"/>
              <a:gd name="connsiteY43" fmla="*/ 53589 h 138686"/>
              <a:gd name="connsiteX44" fmla="*/ 130697 w 184216"/>
              <a:gd name="connsiteY44" fmla="*/ 25823 h 138686"/>
              <a:gd name="connsiteX45" fmla="*/ 144835 w 184216"/>
              <a:gd name="connsiteY45" fmla="*/ 15478 h 138686"/>
              <a:gd name="connsiteX46" fmla="*/ 128533 w 184216"/>
              <a:gd name="connsiteY46" fmla="*/ 22263 h 138686"/>
              <a:gd name="connsiteX47" fmla="*/ 87805 w 184216"/>
              <a:gd name="connsiteY47" fmla="*/ 47381 h 138686"/>
              <a:gd name="connsiteX48" fmla="*/ 60877 w 184216"/>
              <a:gd name="connsiteY48" fmla="*/ 66677 h 138686"/>
              <a:gd name="connsiteX49" fmla="*/ 46691 w 184216"/>
              <a:gd name="connsiteY49" fmla="*/ 78852 h 138686"/>
              <a:gd name="connsiteX50" fmla="*/ 32410 w 184216"/>
              <a:gd name="connsiteY50" fmla="*/ 92181 h 138686"/>
              <a:gd name="connsiteX51" fmla="*/ 17792 w 184216"/>
              <a:gd name="connsiteY51" fmla="*/ 106713 h 138686"/>
              <a:gd name="connsiteX52" fmla="*/ 10483 w 184216"/>
              <a:gd name="connsiteY52" fmla="*/ 114605 h 138686"/>
              <a:gd name="connsiteX53" fmla="*/ 8655 w 184216"/>
              <a:gd name="connsiteY53" fmla="*/ 116674 h 138686"/>
              <a:gd name="connsiteX54" fmla="*/ 7742 w 184216"/>
              <a:gd name="connsiteY54" fmla="*/ 117733 h 138686"/>
              <a:gd name="connsiteX55" fmla="*/ 6395 w 184216"/>
              <a:gd name="connsiteY55" fmla="*/ 119417 h 138686"/>
              <a:gd name="connsiteX56" fmla="*/ 962 w 184216"/>
              <a:gd name="connsiteY56" fmla="*/ 127742 h 138686"/>
              <a:gd name="connsiteX57" fmla="*/ 433 w 184216"/>
              <a:gd name="connsiteY57" fmla="*/ 134286 h 138686"/>
              <a:gd name="connsiteX58" fmla="*/ 2500 w 184216"/>
              <a:gd name="connsiteY58" fmla="*/ 137077 h 138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84216" h="138686">
                <a:moveTo>
                  <a:pt x="2549" y="137222"/>
                </a:moveTo>
                <a:cubicBezTo>
                  <a:pt x="3366" y="137895"/>
                  <a:pt x="4232" y="138232"/>
                  <a:pt x="5289" y="138473"/>
                </a:cubicBezTo>
                <a:cubicBezTo>
                  <a:pt x="7309" y="139002"/>
                  <a:pt x="10290" y="138521"/>
                  <a:pt x="13560" y="137318"/>
                </a:cubicBezTo>
                <a:cubicBezTo>
                  <a:pt x="15195" y="136789"/>
                  <a:pt x="16878" y="135971"/>
                  <a:pt x="18561" y="135249"/>
                </a:cubicBezTo>
                <a:lnTo>
                  <a:pt x="21975" y="133613"/>
                </a:lnTo>
                <a:cubicBezTo>
                  <a:pt x="28900" y="130100"/>
                  <a:pt x="35487" y="126202"/>
                  <a:pt x="42123" y="122112"/>
                </a:cubicBezTo>
                <a:cubicBezTo>
                  <a:pt x="68426" y="105703"/>
                  <a:pt x="92132" y="88476"/>
                  <a:pt x="113434" y="72259"/>
                </a:cubicBezTo>
                <a:cubicBezTo>
                  <a:pt x="134640" y="55995"/>
                  <a:pt x="153250" y="40741"/>
                  <a:pt x="167916" y="26593"/>
                </a:cubicBezTo>
                <a:cubicBezTo>
                  <a:pt x="171570" y="23033"/>
                  <a:pt x="174984" y="19568"/>
                  <a:pt x="178062" y="15911"/>
                </a:cubicBezTo>
                <a:lnTo>
                  <a:pt x="179504" y="14178"/>
                </a:lnTo>
                <a:cubicBezTo>
                  <a:pt x="180081" y="13457"/>
                  <a:pt x="180610" y="12783"/>
                  <a:pt x="181091" y="12061"/>
                </a:cubicBezTo>
                <a:cubicBezTo>
                  <a:pt x="182149" y="10666"/>
                  <a:pt x="182870" y="9270"/>
                  <a:pt x="183447" y="7971"/>
                </a:cubicBezTo>
                <a:cubicBezTo>
                  <a:pt x="183928" y="6672"/>
                  <a:pt x="184217" y="5517"/>
                  <a:pt x="184217" y="4362"/>
                </a:cubicBezTo>
                <a:cubicBezTo>
                  <a:pt x="184217" y="3303"/>
                  <a:pt x="183784" y="1908"/>
                  <a:pt x="182726" y="1138"/>
                </a:cubicBezTo>
                <a:cubicBezTo>
                  <a:pt x="180803" y="-161"/>
                  <a:pt x="178495" y="-161"/>
                  <a:pt x="175850" y="224"/>
                </a:cubicBezTo>
                <a:cubicBezTo>
                  <a:pt x="174552" y="416"/>
                  <a:pt x="173205" y="801"/>
                  <a:pt x="171955" y="1186"/>
                </a:cubicBezTo>
                <a:lnTo>
                  <a:pt x="170080" y="1812"/>
                </a:lnTo>
                <a:lnTo>
                  <a:pt x="168685" y="2341"/>
                </a:lnTo>
                <a:cubicBezTo>
                  <a:pt x="165319" y="3640"/>
                  <a:pt x="162482" y="4987"/>
                  <a:pt x="159933" y="6239"/>
                </a:cubicBezTo>
                <a:cubicBezTo>
                  <a:pt x="149739" y="11291"/>
                  <a:pt x="144546" y="14804"/>
                  <a:pt x="144835" y="15430"/>
                </a:cubicBezTo>
                <a:cubicBezTo>
                  <a:pt x="145171" y="16151"/>
                  <a:pt x="151038" y="13890"/>
                  <a:pt x="161520" y="10088"/>
                </a:cubicBezTo>
                <a:cubicBezTo>
                  <a:pt x="164117" y="9174"/>
                  <a:pt x="167098" y="8115"/>
                  <a:pt x="170224" y="7201"/>
                </a:cubicBezTo>
                <a:lnTo>
                  <a:pt x="171330" y="6912"/>
                </a:lnTo>
                <a:lnTo>
                  <a:pt x="172003" y="6768"/>
                </a:lnTo>
                <a:lnTo>
                  <a:pt x="173253" y="6527"/>
                </a:lnTo>
                <a:cubicBezTo>
                  <a:pt x="174071" y="6431"/>
                  <a:pt x="174936" y="6287"/>
                  <a:pt x="175658" y="6672"/>
                </a:cubicBezTo>
                <a:cubicBezTo>
                  <a:pt x="176427" y="7345"/>
                  <a:pt x="175513" y="8500"/>
                  <a:pt x="175032" y="9126"/>
                </a:cubicBezTo>
                <a:lnTo>
                  <a:pt x="174167" y="10136"/>
                </a:lnTo>
                <a:lnTo>
                  <a:pt x="172917" y="11387"/>
                </a:lnTo>
                <a:cubicBezTo>
                  <a:pt x="169935" y="14467"/>
                  <a:pt x="166473" y="17739"/>
                  <a:pt x="162722" y="20963"/>
                </a:cubicBezTo>
                <a:cubicBezTo>
                  <a:pt x="147768" y="34052"/>
                  <a:pt x="128774" y="48632"/>
                  <a:pt x="107472" y="64320"/>
                </a:cubicBezTo>
                <a:cubicBezTo>
                  <a:pt x="86074" y="79911"/>
                  <a:pt x="62223" y="96849"/>
                  <a:pt x="36449" y="112969"/>
                </a:cubicBezTo>
                <a:cubicBezTo>
                  <a:pt x="30006" y="116963"/>
                  <a:pt x="23562" y="120813"/>
                  <a:pt x="17167" y="124085"/>
                </a:cubicBezTo>
                <a:lnTo>
                  <a:pt x="15580" y="124903"/>
                </a:lnTo>
                <a:lnTo>
                  <a:pt x="15580" y="124903"/>
                </a:lnTo>
                <a:cubicBezTo>
                  <a:pt x="15580" y="124903"/>
                  <a:pt x="15532" y="124951"/>
                  <a:pt x="15532" y="124951"/>
                </a:cubicBezTo>
                <a:lnTo>
                  <a:pt x="15436" y="124951"/>
                </a:lnTo>
                <a:cubicBezTo>
                  <a:pt x="15436" y="124951"/>
                  <a:pt x="15436" y="124807"/>
                  <a:pt x="15436" y="124807"/>
                </a:cubicBezTo>
                <a:lnTo>
                  <a:pt x="18273" y="121438"/>
                </a:lnTo>
                <a:cubicBezTo>
                  <a:pt x="20533" y="118840"/>
                  <a:pt x="22841" y="116289"/>
                  <a:pt x="25197" y="113739"/>
                </a:cubicBezTo>
                <a:cubicBezTo>
                  <a:pt x="29909" y="108735"/>
                  <a:pt x="34622" y="103922"/>
                  <a:pt x="39334" y="99255"/>
                </a:cubicBezTo>
                <a:cubicBezTo>
                  <a:pt x="44047" y="94635"/>
                  <a:pt x="48663" y="90112"/>
                  <a:pt x="53135" y="85733"/>
                </a:cubicBezTo>
                <a:cubicBezTo>
                  <a:pt x="57751" y="81258"/>
                  <a:pt x="61886" y="77312"/>
                  <a:pt x="66407" y="73655"/>
                </a:cubicBezTo>
                <a:cubicBezTo>
                  <a:pt x="75447" y="66244"/>
                  <a:pt x="84198" y="59604"/>
                  <a:pt x="92181" y="53589"/>
                </a:cubicBezTo>
                <a:cubicBezTo>
                  <a:pt x="108241" y="41607"/>
                  <a:pt x="121513" y="32223"/>
                  <a:pt x="130697" y="25823"/>
                </a:cubicBezTo>
                <a:cubicBezTo>
                  <a:pt x="139882" y="19423"/>
                  <a:pt x="145171" y="16199"/>
                  <a:pt x="144835" y="15478"/>
                </a:cubicBezTo>
                <a:cubicBezTo>
                  <a:pt x="144546" y="14852"/>
                  <a:pt x="138535" y="16873"/>
                  <a:pt x="128533" y="22263"/>
                </a:cubicBezTo>
                <a:cubicBezTo>
                  <a:pt x="118532" y="27652"/>
                  <a:pt x="104539" y="36121"/>
                  <a:pt x="87805" y="47381"/>
                </a:cubicBezTo>
                <a:cubicBezTo>
                  <a:pt x="79438" y="53059"/>
                  <a:pt x="70350" y="59363"/>
                  <a:pt x="60877" y="66677"/>
                </a:cubicBezTo>
                <a:cubicBezTo>
                  <a:pt x="56068" y="70287"/>
                  <a:pt x="51211" y="74617"/>
                  <a:pt x="46691" y="78852"/>
                </a:cubicBezTo>
                <a:cubicBezTo>
                  <a:pt x="42027" y="83135"/>
                  <a:pt x="37267" y="87562"/>
                  <a:pt x="32410" y="92181"/>
                </a:cubicBezTo>
                <a:cubicBezTo>
                  <a:pt x="27553" y="96801"/>
                  <a:pt x="22697" y="101613"/>
                  <a:pt x="17792" y="106713"/>
                </a:cubicBezTo>
                <a:cubicBezTo>
                  <a:pt x="15339" y="109264"/>
                  <a:pt x="12887" y="111862"/>
                  <a:pt x="10483" y="114605"/>
                </a:cubicBezTo>
                <a:lnTo>
                  <a:pt x="8655" y="116674"/>
                </a:lnTo>
                <a:lnTo>
                  <a:pt x="7742" y="117733"/>
                </a:lnTo>
                <a:lnTo>
                  <a:pt x="6395" y="119417"/>
                </a:lnTo>
                <a:cubicBezTo>
                  <a:pt x="4135" y="122160"/>
                  <a:pt x="2212" y="125095"/>
                  <a:pt x="962" y="127742"/>
                </a:cubicBezTo>
                <a:cubicBezTo>
                  <a:pt x="-240" y="130437"/>
                  <a:pt x="-192" y="132458"/>
                  <a:pt x="433" y="134286"/>
                </a:cubicBezTo>
                <a:cubicBezTo>
                  <a:pt x="769" y="135152"/>
                  <a:pt x="1635" y="136500"/>
                  <a:pt x="2500" y="137077"/>
                </a:cubicBezTo>
                <a:close/>
              </a:path>
            </a:pathLst>
          </a:custGeom>
          <a:solidFill>
            <a:srgbClr val="29C8C1"/>
          </a:solidFill>
          <a:ln w="0" cap="flat">
            <a:noFill/>
            <a:prstDash val="solid"/>
            <a:miter/>
          </a:ln>
        </p:spPr>
        <p:txBody>
          <a:bodyPr rtlCol="0" anchor="ctr"/>
          <a:lstStyle/>
          <a:p>
            <a:pPr rtl="0"/>
            <a:endParaRPr lang="en-AU" dirty="0"/>
          </a:p>
        </p:txBody>
      </p:sp>
      <p:sp>
        <p:nvSpPr>
          <p:cNvPr id="29" name="Freeform: Shape 28">
            <a:extLst>
              <a:ext uri="{FF2B5EF4-FFF2-40B4-BE49-F238E27FC236}">
                <a16:creationId xmlns:a16="http://schemas.microsoft.com/office/drawing/2014/main" id="{68BF711B-842E-26EA-B66B-FCF22F13D3B3}"/>
              </a:ext>
            </a:extLst>
          </p:cNvPr>
          <p:cNvSpPr/>
          <p:nvPr/>
        </p:nvSpPr>
        <p:spPr>
          <a:xfrm>
            <a:off x="8607625" y="1463679"/>
            <a:ext cx="245835" cy="180672"/>
          </a:xfrm>
          <a:custGeom>
            <a:avLst/>
            <a:gdLst>
              <a:gd name="connsiteX0" fmla="*/ 180153 w 245835"/>
              <a:gd name="connsiteY0" fmla="*/ 177850 h 180672"/>
              <a:gd name="connsiteX1" fmla="*/ 196983 w 245835"/>
              <a:gd name="connsiteY1" fmla="*/ 180593 h 180672"/>
              <a:gd name="connsiteX2" fmla="*/ 215064 w 245835"/>
              <a:gd name="connsiteY2" fmla="*/ 178957 h 180672"/>
              <a:gd name="connsiteX3" fmla="*/ 231557 w 245835"/>
              <a:gd name="connsiteY3" fmla="*/ 168948 h 180672"/>
              <a:gd name="connsiteX4" fmla="*/ 240886 w 245835"/>
              <a:gd name="connsiteY4" fmla="*/ 152732 h 180672"/>
              <a:gd name="connsiteX5" fmla="*/ 244588 w 245835"/>
              <a:gd name="connsiteY5" fmla="*/ 135601 h 180672"/>
              <a:gd name="connsiteX6" fmla="*/ 244877 w 245835"/>
              <a:gd name="connsiteY6" fmla="*/ 102157 h 180672"/>
              <a:gd name="connsiteX7" fmla="*/ 231124 w 245835"/>
              <a:gd name="connsiteY7" fmla="*/ 71842 h 180672"/>
              <a:gd name="connsiteX8" fmla="*/ 219824 w 245835"/>
              <a:gd name="connsiteY8" fmla="*/ 60533 h 180672"/>
              <a:gd name="connsiteX9" fmla="*/ 207274 w 245835"/>
              <a:gd name="connsiteY9" fmla="*/ 51727 h 180672"/>
              <a:gd name="connsiteX10" fmla="*/ 156207 w 245835"/>
              <a:gd name="connsiteY10" fmla="*/ 29063 h 180672"/>
              <a:gd name="connsiteX11" fmla="*/ 144041 w 245835"/>
              <a:gd name="connsiteY11" fmla="*/ 25069 h 180672"/>
              <a:gd name="connsiteX12" fmla="*/ 132212 w 245835"/>
              <a:gd name="connsiteY12" fmla="*/ 21748 h 180672"/>
              <a:gd name="connsiteX13" fmla="*/ 109852 w 245835"/>
              <a:gd name="connsiteY13" fmla="*/ 15974 h 180672"/>
              <a:gd name="connsiteX14" fmla="*/ 71383 w 245835"/>
              <a:gd name="connsiteY14" fmla="*/ 7072 h 180672"/>
              <a:gd name="connsiteX15" fmla="*/ 42003 w 245835"/>
              <a:gd name="connsiteY15" fmla="*/ 1057 h 180672"/>
              <a:gd name="connsiteX16" fmla="*/ 22864 w 245835"/>
              <a:gd name="connsiteY16" fmla="*/ 335 h 180672"/>
              <a:gd name="connsiteX17" fmla="*/ 16373 w 245835"/>
              <a:gd name="connsiteY17" fmla="*/ 2067 h 180672"/>
              <a:gd name="connsiteX18" fmla="*/ 41281 w 245835"/>
              <a:gd name="connsiteY18" fmla="*/ 5147 h 180672"/>
              <a:gd name="connsiteX19" fmla="*/ 69941 w 245835"/>
              <a:gd name="connsiteY19" fmla="*/ 12846 h 180672"/>
              <a:gd name="connsiteX20" fmla="*/ 108025 w 245835"/>
              <a:gd name="connsiteY20" fmla="*/ 23288 h 180672"/>
              <a:gd name="connsiteX21" fmla="*/ 129952 w 245835"/>
              <a:gd name="connsiteY21" fmla="*/ 29640 h 180672"/>
              <a:gd name="connsiteX22" fmla="*/ 141541 w 245835"/>
              <a:gd name="connsiteY22" fmla="*/ 33249 h 180672"/>
              <a:gd name="connsiteX23" fmla="*/ 153369 w 245835"/>
              <a:gd name="connsiteY23" fmla="*/ 37436 h 180672"/>
              <a:gd name="connsiteX24" fmla="*/ 202129 w 245835"/>
              <a:gd name="connsiteY24" fmla="*/ 60052 h 180672"/>
              <a:gd name="connsiteX25" fmla="*/ 234635 w 245835"/>
              <a:gd name="connsiteY25" fmla="*/ 103745 h 180672"/>
              <a:gd name="connsiteX26" fmla="*/ 234154 w 245835"/>
              <a:gd name="connsiteY26" fmla="*/ 134350 h 180672"/>
              <a:gd name="connsiteX27" fmla="*/ 223815 w 245835"/>
              <a:gd name="connsiteY27" fmla="*/ 161682 h 180672"/>
              <a:gd name="connsiteX28" fmla="*/ 212226 w 245835"/>
              <a:gd name="connsiteY28" fmla="*/ 168707 h 180672"/>
              <a:gd name="connsiteX29" fmla="*/ 197705 w 245835"/>
              <a:gd name="connsiteY29" fmla="*/ 169959 h 180672"/>
              <a:gd name="connsiteX30" fmla="*/ 167459 w 245835"/>
              <a:gd name="connsiteY30" fmla="*/ 163655 h 180672"/>
              <a:gd name="connsiteX31" fmla="*/ 111968 w 245835"/>
              <a:gd name="connsiteY31" fmla="*/ 141953 h 180672"/>
              <a:gd name="connsiteX32" fmla="*/ 32866 w 245835"/>
              <a:gd name="connsiteY32" fmla="*/ 80263 h 180672"/>
              <a:gd name="connsiteX33" fmla="*/ 4255 w 245835"/>
              <a:gd name="connsiteY33" fmla="*/ 20642 h 180672"/>
              <a:gd name="connsiteX34" fmla="*/ 6227 w 245835"/>
              <a:gd name="connsiteY34" fmla="*/ 10873 h 180672"/>
              <a:gd name="connsiteX35" fmla="*/ 10891 w 245835"/>
              <a:gd name="connsiteY35" fmla="*/ 5388 h 180672"/>
              <a:gd name="connsiteX36" fmla="*/ 13151 w 245835"/>
              <a:gd name="connsiteY36" fmla="*/ 3896 h 180672"/>
              <a:gd name="connsiteX37" fmla="*/ 14979 w 245835"/>
              <a:gd name="connsiteY37" fmla="*/ 3078 h 180672"/>
              <a:gd name="connsiteX38" fmla="*/ 16421 w 245835"/>
              <a:gd name="connsiteY38" fmla="*/ 2067 h 180672"/>
              <a:gd name="connsiteX39" fmla="*/ 14690 w 245835"/>
              <a:gd name="connsiteY39" fmla="*/ 2019 h 180672"/>
              <a:gd name="connsiteX40" fmla="*/ 12574 w 245835"/>
              <a:gd name="connsiteY40" fmla="*/ 2356 h 180672"/>
              <a:gd name="connsiteX41" fmla="*/ 9785 w 245835"/>
              <a:gd name="connsiteY41" fmla="*/ 3511 h 180672"/>
              <a:gd name="connsiteX42" fmla="*/ 3486 w 245835"/>
              <a:gd name="connsiteY42" fmla="*/ 9285 h 180672"/>
              <a:gd name="connsiteX43" fmla="*/ 120 w 245835"/>
              <a:gd name="connsiteY43" fmla="*/ 20401 h 180672"/>
              <a:gd name="connsiteX44" fmla="*/ 27000 w 245835"/>
              <a:gd name="connsiteY44" fmla="*/ 84978 h 180672"/>
              <a:gd name="connsiteX45" fmla="*/ 107448 w 245835"/>
              <a:gd name="connsiteY45" fmla="*/ 150662 h 180672"/>
              <a:gd name="connsiteX46" fmla="*/ 164622 w 245835"/>
              <a:gd name="connsiteY46" fmla="*/ 173664 h 180672"/>
              <a:gd name="connsiteX47" fmla="*/ 180250 w 245835"/>
              <a:gd name="connsiteY47" fmla="*/ 177802 h 18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5835" h="180672">
                <a:moveTo>
                  <a:pt x="180153" y="177850"/>
                </a:moveTo>
                <a:cubicBezTo>
                  <a:pt x="185491" y="179150"/>
                  <a:pt x="191165" y="180112"/>
                  <a:pt x="196983" y="180593"/>
                </a:cubicBezTo>
                <a:cubicBezTo>
                  <a:pt x="202850" y="180834"/>
                  <a:pt x="208908" y="180593"/>
                  <a:pt x="215064" y="178957"/>
                </a:cubicBezTo>
                <a:cubicBezTo>
                  <a:pt x="221171" y="177225"/>
                  <a:pt x="227133" y="173808"/>
                  <a:pt x="231557" y="168948"/>
                </a:cubicBezTo>
                <a:cubicBezTo>
                  <a:pt x="236029" y="164136"/>
                  <a:pt x="238962" y="158410"/>
                  <a:pt x="240886" y="152732"/>
                </a:cubicBezTo>
                <a:cubicBezTo>
                  <a:pt x="242857" y="147005"/>
                  <a:pt x="243963" y="141279"/>
                  <a:pt x="244588" y="135601"/>
                </a:cubicBezTo>
                <a:cubicBezTo>
                  <a:pt x="245742" y="124485"/>
                  <a:pt x="246560" y="113466"/>
                  <a:pt x="244877" y="102157"/>
                </a:cubicBezTo>
                <a:cubicBezTo>
                  <a:pt x="243242" y="90897"/>
                  <a:pt x="238145" y="80118"/>
                  <a:pt x="231124" y="71842"/>
                </a:cubicBezTo>
                <a:cubicBezTo>
                  <a:pt x="227854" y="67414"/>
                  <a:pt x="223623" y="64142"/>
                  <a:pt x="219824" y="60533"/>
                </a:cubicBezTo>
                <a:cubicBezTo>
                  <a:pt x="215641" y="57502"/>
                  <a:pt x="211601" y="54278"/>
                  <a:pt x="207274" y="51727"/>
                </a:cubicBezTo>
                <a:cubicBezTo>
                  <a:pt x="190203" y="41237"/>
                  <a:pt x="172652" y="34548"/>
                  <a:pt x="156207" y="29063"/>
                </a:cubicBezTo>
                <a:cubicBezTo>
                  <a:pt x="152071" y="27715"/>
                  <a:pt x="148032" y="26368"/>
                  <a:pt x="144041" y="25069"/>
                </a:cubicBezTo>
                <a:cubicBezTo>
                  <a:pt x="140002" y="23914"/>
                  <a:pt x="136059" y="22807"/>
                  <a:pt x="132212" y="21748"/>
                </a:cubicBezTo>
                <a:cubicBezTo>
                  <a:pt x="124470" y="19487"/>
                  <a:pt x="117017" y="17610"/>
                  <a:pt x="109852" y="15974"/>
                </a:cubicBezTo>
                <a:cubicBezTo>
                  <a:pt x="95522" y="12461"/>
                  <a:pt x="82683" y="9767"/>
                  <a:pt x="71383" y="7072"/>
                </a:cubicBezTo>
                <a:cubicBezTo>
                  <a:pt x="60083" y="4473"/>
                  <a:pt x="50225" y="2212"/>
                  <a:pt x="42003" y="1057"/>
                </a:cubicBezTo>
                <a:cubicBezTo>
                  <a:pt x="33780" y="-194"/>
                  <a:pt x="27240" y="-194"/>
                  <a:pt x="22864" y="335"/>
                </a:cubicBezTo>
                <a:cubicBezTo>
                  <a:pt x="18489" y="864"/>
                  <a:pt x="16325" y="1779"/>
                  <a:pt x="16373" y="2067"/>
                </a:cubicBezTo>
                <a:cubicBezTo>
                  <a:pt x="16517" y="2933"/>
                  <a:pt x="25461" y="1297"/>
                  <a:pt x="41281" y="5147"/>
                </a:cubicBezTo>
                <a:cubicBezTo>
                  <a:pt x="49168" y="6879"/>
                  <a:pt x="58737" y="9670"/>
                  <a:pt x="69941" y="12846"/>
                </a:cubicBezTo>
                <a:cubicBezTo>
                  <a:pt x="81097" y="16070"/>
                  <a:pt x="94032" y="19391"/>
                  <a:pt x="108025" y="23288"/>
                </a:cubicBezTo>
                <a:cubicBezTo>
                  <a:pt x="115045" y="25165"/>
                  <a:pt x="122402" y="27186"/>
                  <a:pt x="129952" y="29640"/>
                </a:cubicBezTo>
                <a:cubicBezTo>
                  <a:pt x="133751" y="30795"/>
                  <a:pt x="137597" y="31998"/>
                  <a:pt x="141541" y="33249"/>
                </a:cubicBezTo>
                <a:cubicBezTo>
                  <a:pt x="145435" y="34597"/>
                  <a:pt x="149379" y="35992"/>
                  <a:pt x="153369" y="37436"/>
                </a:cubicBezTo>
                <a:cubicBezTo>
                  <a:pt x="169382" y="43114"/>
                  <a:pt x="186308" y="50043"/>
                  <a:pt x="202129" y="60052"/>
                </a:cubicBezTo>
                <a:cubicBezTo>
                  <a:pt x="217949" y="69772"/>
                  <a:pt x="232086" y="84353"/>
                  <a:pt x="234635" y="103745"/>
                </a:cubicBezTo>
                <a:cubicBezTo>
                  <a:pt x="236077" y="113321"/>
                  <a:pt x="235308" y="123859"/>
                  <a:pt x="234154" y="134350"/>
                </a:cubicBezTo>
                <a:cubicBezTo>
                  <a:pt x="232951" y="144551"/>
                  <a:pt x="230114" y="154849"/>
                  <a:pt x="223815" y="161682"/>
                </a:cubicBezTo>
                <a:cubicBezTo>
                  <a:pt x="220690" y="165050"/>
                  <a:pt x="216699" y="167360"/>
                  <a:pt x="212226" y="168707"/>
                </a:cubicBezTo>
                <a:cubicBezTo>
                  <a:pt x="207659" y="169910"/>
                  <a:pt x="202706" y="170199"/>
                  <a:pt x="197705" y="169959"/>
                </a:cubicBezTo>
                <a:cubicBezTo>
                  <a:pt x="187751" y="169333"/>
                  <a:pt x="177460" y="166301"/>
                  <a:pt x="167459" y="163655"/>
                </a:cubicBezTo>
                <a:cubicBezTo>
                  <a:pt x="147551" y="157977"/>
                  <a:pt x="128894" y="150614"/>
                  <a:pt x="111968" y="141953"/>
                </a:cubicBezTo>
                <a:cubicBezTo>
                  <a:pt x="78067" y="124677"/>
                  <a:pt x="51187" y="102302"/>
                  <a:pt x="32866" y="80263"/>
                </a:cubicBezTo>
                <a:cubicBezTo>
                  <a:pt x="14594" y="58320"/>
                  <a:pt x="4159" y="36185"/>
                  <a:pt x="4255" y="20642"/>
                </a:cubicBezTo>
                <a:cubicBezTo>
                  <a:pt x="4111" y="16744"/>
                  <a:pt x="5121" y="13520"/>
                  <a:pt x="6227" y="10873"/>
                </a:cubicBezTo>
                <a:cubicBezTo>
                  <a:pt x="7573" y="8371"/>
                  <a:pt x="9208" y="6494"/>
                  <a:pt x="10891" y="5388"/>
                </a:cubicBezTo>
                <a:cubicBezTo>
                  <a:pt x="11757" y="4858"/>
                  <a:pt x="12430" y="4281"/>
                  <a:pt x="13151" y="3896"/>
                </a:cubicBezTo>
                <a:cubicBezTo>
                  <a:pt x="13872" y="3559"/>
                  <a:pt x="14498" y="3318"/>
                  <a:pt x="14979" y="3078"/>
                </a:cubicBezTo>
                <a:cubicBezTo>
                  <a:pt x="15940" y="2597"/>
                  <a:pt x="16469" y="2260"/>
                  <a:pt x="16421" y="2067"/>
                </a:cubicBezTo>
                <a:cubicBezTo>
                  <a:pt x="16421" y="1875"/>
                  <a:pt x="15796" y="1875"/>
                  <a:pt x="14690" y="2019"/>
                </a:cubicBezTo>
                <a:cubicBezTo>
                  <a:pt x="14113" y="2115"/>
                  <a:pt x="13392" y="2212"/>
                  <a:pt x="12574" y="2356"/>
                </a:cubicBezTo>
                <a:cubicBezTo>
                  <a:pt x="11757" y="2597"/>
                  <a:pt x="10843" y="3030"/>
                  <a:pt x="9785" y="3511"/>
                </a:cubicBezTo>
                <a:cubicBezTo>
                  <a:pt x="7669" y="4473"/>
                  <a:pt x="5410" y="6446"/>
                  <a:pt x="3486" y="9285"/>
                </a:cubicBezTo>
                <a:cubicBezTo>
                  <a:pt x="1803" y="12221"/>
                  <a:pt x="312" y="16070"/>
                  <a:pt x="120" y="20401"/>
                </a:cubicBezTo>
                <a:cubicBezTo>
                  <a:pt x="-1226" y="37965"/>
                  <a:pt x="8823" y="61544"/>
                  <a:pt x="27000" y="84978"/>
                </a:cubicBezTo>
                <a:cubicBezTo>
                  <a:pt x="45321" y="108509"/>
                  <a:pt x="72633" y="132280"/>
                  <a:pt x="107448" y="150662"/>
                </a:cubicBezTo>
                <a:cubicBezTo>
                  <a:pt x="124855" y="159853"/>
                  <a:pt x="144041" y="167697"/>
                  <a:pt x="164622" y="173664"/>
                </a:cubicBezTo>
                <a:cubicBezTo>
                  <a:pt x="169719" y="175252"/>
                  <a:pt x="175008" y="176407"/>
                  <a:pt x="180250" y="177802"/>
                </a:cubicBezTo>
                <a:close/>
              </a:path>
            </a:pathLst>
          </a:custGeom>
          <a:solidFill>
            <a:srgbClr val="29C8C1"/>
          </a:solidFill>
          <a:ln w="0" cap="flat">
            <a:noFill/>
            <a:prstDash val="solid"/>
            <a:miter/>
          </a:ln>
        </p:spPr>
        <p:txBody>
          <a:bodyPr rtlCol="0" anchor="ctr"/>
          <a:lstStyle/>
          <a:p>
            <a:pPr rtl="0"/>
            <a:endParaRPr lang="en-AU" dirty="0"/>
          </a:p>
        </p:txBody>
      </p:sp>
      <p:sp>
        <p:nvSpPr>
          <p:cNvPr id="30" name="Freeform: Shape 29">
            <a:extLst>
              <a:ext uri="{FF2B5EF4-FFF2-40B4-BE49-F238E27FC236}">
                <a16:creationId xmlns:a16="http://schemas.microsoft.com/office/drawing/2014/main" id="{A1031C89-A54D-F521-35BF-A51544249C22}"/>
              </a:ext>
            </a:extLst>
          </p:cNvPr>
          <p:cNvSpPr/>
          <p:nvPr/>
        </p:nvSpPr>
        <p:spPr>
          <a:xfrm>
            <a:off x="8545984" y="1417907"/>
            <a:ext cx="379286" cy="260578"/>
          </a:xfrm>
          <a:custGeom>
            <a:avLst/>
            <a:gdLst>
              <a:gd name="connsiteX0" fmla="*/ 25984 w 379286"/>
              <a:gd name="connsiteY0" fmla="*/ 88934 h 260578"/>
              <a:gd name="connsiteX1" fmla="*/ 51374 w 379286"/>
              <a:gd name="connsiteY1" fmla="*/ 120212 h 260578"/>
              <a:gd name="connsiteX2" fmla="*/ 103499 w 379286"/>
              <a:gd name="connsiteY2" fmla="*/ 169776 h 260578"/>
              <a:gd name="connsiteX3" fmla="*/ 190294 w 379286"/>
              <a:gd name="connsiteY3" fmla="*/ 226750 h 260578"/>
              <a:gd name="connsiteX4" fmla="*/ 216356 w 379286"/>
              <a:gd name="connsiteY4" fmla="*/ 237673 h 260578"/>
              <a:gd name="connsiteX5" fmla="*/ 225925 w 379286"/>
              <a:gd name="connsiteY5" fmla="*/ 240175 h 260578"/>
              <a:gd name="connsiteX6" fmla="*/ 192217 w 379286"/>
              <a:gd name="connsiteY6" fmla="*/ 223093 h 260578"/>
              <a:gd name="connsiteX7" fmla="*/ 108404 w 379286"/>
              <a:gd name="connsiteY7" fmla="*/ 164049 h 260578"/>
              <a:gd name="connsiteX8" fmla="*/ 58010 w 379286"/>
              <a:gd name="connsiteY8" fmla="*/ 114389 h 260578"/>
              <a:gd name="connsiteX9" fmla="*/ 33678 w 379286"/>
              <a:gd name="connsiteY9" fmla="*/ 83592 h 260578"/>
              <a:gd name="connsiteX10" fmla="*/ 13915 w 379286"/>
              <a:gd name="connsiteY10" fmla="*/ 47839 h 260578"/>
              <a:gd name="connsiteX11" fmla="*/ 10116 w 379286"/>
              <a:gd name="connsiteY11" fmla="*/ 28447 h 260578"/>
              <a:gd name="connsiteX12" fmla="*/ 18435 w 379286"/>
              <a:gd name="connsiteY12" fmla="*/ 14251 h 260578"/>
              <a:gd name="connsiteX13" fmla="*/ 38102 w 379286"/>
              <a:gd name="connsiteY13" fmla="*/ 10450 h 260578"/>
              <a:gd name="connsiteX14" fmla="*/ 43536 w 379286"/>
              <a:gd name="connsiteY14" fmla="*/ 10642 h 260578"/>
              <a:gd name="connsiteX15" fmla="*/ 48585 w 379286"/>
              <a:gd name="connsiteY15" fmla="*/ 11460 h 260578"/>
              <a:gd name="connsiteX16" fmla="*/ 59885 w 379286"/>
              <a:gd name="connsiteY16" fmla="*/ 14011 h 260578"/>
              <a:gd name="connsiteX17" fmla="*/ 153749 w 379286"/>
              <a:gd name="connsiteY17" fmla="*/ 38311 h 260578"/>
              <a:gd name="connsiteX18" fmla="*/ 246650 w 379286"/>
              <a:gd name="connsiteY18" fmla="*/ 65836 h 260578"/>
              <a:gd name="connsiteX19" fmla="*/ 289495 w 379286"/>
              <a:gd name="connsiteY19" fmla="*/ 81860 h 260578"/>
              <a:gd name="connsiteX20" fmla="*/ 309595 w 379286"/>
              <a:gd name="connsiteY20" fmla="*/ 91099 h 260578"/>
              <a:gd name="connsiteX21" fmla="*/ 319308 w 379286"/>
              <a:gd name="connsiteY21" fmla="*/ 95959 h 260578"/>
              <a:gd name="connsiteX22" fmla="*/ 328493 w 379286"/>
              <a:gd name="connsiteY22" fmla="*/ 101349 h 260578"/>
              <a:gd name="connsiteX23" fmla="*/ 345755 w 379286"/>
              <a:gd name="connsiteY23" fmla="*/ 112898 h 260578"/>
              <a:gd name="connsiteX24" fmla="*/ 353257 w 379286"/>
              <a:gd name="connsiteY24" fmla="*/ 119490 h 260578"/>
              <a:gd name="connsiteX25" fmla="*/ 356671 w 379286"/>
              <a:gd name="connsiteY25" fmla="*/ 122955 h 260578"/>
              <a:gd name="connsiteX26" fmla="*/ 359844 w 379286"/>
              <a:gd name="connsiteY26" fmla="*/ 126564 h 260578"/>
              <a:gd name="connsiteX27" fmla="*/ 365182 w 379286"/>
              <a:gd name="connsiteY27" fmla="*/ 134263 h 260578"/>
              <a:gd name="connsiteX28" fmla="*/ 367153 w 379286"/>
              <a:gd name="connsiteY28" fmla="*/ 138353 h 260578"/>
              <a:gd name="connsiteX29" fmla="*/ 368836 w 379286"/>
              <a:gd name="connsiteY29" fmla="*/ 142491 h 260578"/>
              <a:gd name="connsiteX30" fmla="*/ 369702 w 379286"/>
              <a:gd name="connsiteY30" fmla="*/ 159863 h 260578"/>
              <a:gd name="connsiteX31" fmla="*/ 357777 w 379286"/>
              <a:gd name="connsiteY31" fmla="*/ 194221 h 260578"/>
              <a:gd name="connsiteX32" fmla="*/ 348785 w 379286"/>
              <a:gd name="connsiteY32" fmla="*/ 227039 h 260578"/>
              <a:gd name="connsiteX33" fmla="*/ 331185 w 379286"/>
              <a:gd name="connsiteY33" fmla="*/ 248789 h 260578"/>
              <a:gd name="connsiteX34" fmla="*/ 305844 w 379286"/>
              <a:gd name="connsiteY34" fmla="*/ 254660 h 260578"/>
              <a:gd name="connsiteX35" fmla="*/ 282282 w 379286"/>
              <a:gd name="connsiteY35" fmla="*/ 253072 h 260578"/>
              <a:gd name="connsiteX36" fmla="*/ 262519 w 379286"/>
              <a:gd name="connsiteY36" fmla="*/ 249366 h 260578"/>
              <a:gd name="connsiteX37" fmla="*/ 225829 w 379286"/>
              <a:gd name="connsiteY37" fmla="*/ 240175 h 260578"/>
              <a:gd name="connsiteX38" fmla="*/ 234773 w 379286"/>
              <a:gd name="connsiteY38" fmla="*/ 244362 h 260578"/>
              <a:gd name="connsiteX39" fmla="*/ 261509 w 379286"/>
              <a:gd name="connsiteY39" fmla="*/ 253360 h 260578"/>
              <a:gd name="connsiteX40" fmla="*/ 281464 w 379286"/>
              <a:gd name="connsiteY40" fmla="*/ 258076 h 260578"/>
              <a:gd name="connsiteX41" fmla="*/ 305940 w 379286"/>
              <a:gd name="connsiteY41" fmla="*/ 260578 h 260578"/>
              <a:gd name="connsiteX42" fmla="*/ 334359 w 379286"/>
              <a:gd name="connsiteY42" fmla="*/ 254756 h 260578"/>
              <a:gd name="connsiteX43" fmla="*/ 347198 w 379286"/>
              <a:gd name="connsiteY43" fmla="*/ 244506 h 260578"/>
              <a:gd name="connsiteX44" fmla="*/ 355805 w 379286"/>
              <a:gd name="connsiteY44" fmla="*/ 229781 h 260578"/>
              <a:gd name="connsiteX45" fmla="*/ 365615 w 379286"/>
              <a:gd name="connsiteY45" fmla="*/ 196771 h 260578"/>
              <a:gd name="connsiteX46" fmla="*/ 378453 w 379286"/>
              <a:gd name="connsiteY46" fmla="*/ 161306 h 260578"/>
              <a:gd name="connsiteX47" fmla="*/ 377588 w 379286"/>
              <a:gd name="connsiteY47" fmla="*/ 139893 h 260578"/>
              <a:gd name="connsiteX48" fmla="*/ 375617 w 379286"/>
              <a:gd name="connsiteY48" fmla="*/ 134744 h 260578"/>
              <a:gd name="connsiteX49" fmla="*/ 373260 w 379286"/>
              <a:gd name="connsiteY49" fmla="*/ 129788 h 260578"/>
              <a:gd name="connsiteX50" fmla="*/ 367153 w 379286"/>
              <a:gd name="connsiteY50" fmla="*/ 120693 h 260578"/>
              <a:gd name="connsiteX51" fmla="*/ 363595 w 379286"/>
              <a:gd name="connsiteY51" fmla="*/ 116555 h 260578"/>
              <a:gd name="connsiteX52" fmla="*/ 359796 w 379286"/>
              <a:gd name="connsiteY52" fmla="*/ 112609 h 260578"/>
              <a:gd name="connsiteX53" fmla="*/ 351670 w 379286"/>
              <a:gd name="connsiteY53" fmla="*/ 105295 h 260578"/>
              <a:gd name="connsiteX54" fmla="*/ 333541 w 379286"/>
              <a:gd name="connsiteY54" fmla="*/ 92928 h 260578"/>
              <a:gd name="connsiteX55" fmla="*/ 324021 w 379286"/>
              <a:gd name="connsiteY55" fmla="*/ 87201 h 260578"/>
              <a:gd name="connsiteX56" fmla="*/ 314067 w 379286"/>
              <a:gd name="connsiteY56" fmla="*/ 82101 h 260578"/>
              <a:gd name="connsiteX57" fmla="*/ 293534 w 379286"/>
              <a:gd name="connsiteY57" fmla="*/ 72477 h 260578"/>
              <a:gd name="connsiteX58" fmla="*/ 249920 w 379286"/>
              <a:gd name="connsiteY58" fmla="*/ 55875 h 260578"/>
              <a:gd name="connsiteX59" fmla="*/ 156538 w 379286"/>
              <a:gd name="connsiteY59" fmla="*/ 27965 h 260578"/>
              <a:gd name="connsiteX60" fmla="*/ 62193 w 379286"/>
              <a:gd name="connsiteY60" fmla="*/ 3761 h 260578"/>
              <a:gd name="connsiteX61" fmla="*/ 50604 w 379286"/>
              <a:gd name="connsiteY61" fmla="*/ 1211 h 260578"/>
              <a:gd name="connsiteX62" fmla="*/ 44161 w 379286"/>
              <a:gd name="connsiteY62" fmla="*/ 200 h 260578"/>
              <a:gd name="connsiteX63" fmla="*/ 38054 w 379286"/>
              <a:gd name="connsiteY63" fmla="*/ 8 h 260578"/>
              <a:gd name="connsiteX64" fmla="*/ 13386 w 379286"/>
              <a:gd name="connsiteY64" fmla="*/ 5253 h 260578"/>
              <a:gd name="connsiteX65" fmla="*/ 3480 w 379286"/>
              <a:gd name="connsiteY65" fmla="*/ 14973 h 260578"/>
              <a:gd name="connsiteX66" fmla="*/ 18 w 379286"/>
              <a:gd name="connsiteY66" fmla="*/ 27917 h 260578"/>
              <a:gd name="connsiteX67" fmla="*/ 4634 w 379286"/>
              <a:gd name="connsiteY67" fmla="*/ 51256 h 260578"/>
              <a:gd name="connsiteX68" fmla="*/ 25936 w 379286"/>
              <a:gd name="connsiteY68" fmla="*/ 88934 h 2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79286" h="260578">
                <a:moveTo>
                  <a:pt x="25984" y="88934"/>
                </a:moveTo>
                <a:cubicBezTo>
                  <a:pt x="34111" y="100242"/>
                  <a:pt x="42719" y="110588"/>
                  <a:pt x="51374" y="120212"/>
                </a:cubicBezTo>
                <a:cubicBezTo>
                  <a:pt x="68829" y="139412"/>
                  <a:pt x="86573" y="155725"/>
                  <a:pt x="103499" y="169776"/>
                </a:cubicBezTo>
                <a:cubicBezTo>
                  <a:pt x="137399" y="197782"/>
                  <a:pt x="168174" y="216115"/>
                  <a:pt x="190294" y="226750"/>
                </a:cubicBezTo>
                <a:cubicBezTo>
                  <a:pt x="201354" y="232091"/>
                  <a:pt x="210249" y="235556"/>
                  <a:pt x="216356" y="237673"/>
                </a:cubicBezTo>
                <a:cubicBezTo>
                  <a:pt x="222463" y="239742"/>
                  <a:pt x="225781" y="240512"/>
                  <a:pt x="225925" y="240175"/>
                </a:cubicBezTo>
                <a:cubicBezTo>
                  <a:pt x="226262" y="239309"/>
                  <a:pt x="213519" y="234738"/>
                  <a:pt x="192217" y="223093"/>
                </a:cubicBezTo>
                <a:cubicBezTo>
                  <a:pt x="170963" y="211448"/>
                  <a:pt x="141246" y="192392"/>
                  <a:pt x="108404" y="164049"/>
                </a:cubicBezTo>
                <a:cubicBezTo>
                  <a:pt x="92006" y="149854"/>
                  <a:pt x="74792" y="133445"/>
                  <a:pt x="58010" y="114389"/>
                </a:cubicBezTo>
                <a:cubicBezTo>
                  <a:pt x="49643" y="104861"/>
                  <a:pt x="41372" y="94612"/>
                  <a:pt x="33678" y="83592"/>
                </a:cubicBezTo>
                <a:cubicBezTo>
                  <a:pt x="26081" y="72573"/>
                  <a:pt x="18772" y="60687"/>
                  <a:pt x="13915" y="47839"/>
                </a:cubicBezTo>
                <a:cubicBezTo>
                  <a:pt x="11559" y="41439"/>
                  <a:pt x="9828" y="34702"/>
                  <a:pt x="10116" y="28447"/>
                </a:cubicBezTo>
                <a:cubicBezTo>
                  <a:pt x="10357" y="22143"/>
                  <a:pt x="13049" y="17090"/>
                  <a:pt x="18435" y="14251"/>
                </a:cubicBezTo>
                <a:cubicBezTo>
                  <a:pt x="23773" y="11316"/>
                  <a:pt x="30937" y="10402"/>
                  <a:pt x="38102" y="10450"/>
                </a:cubicBezTo>
                <a:cubicBezTo>
                  <a:pt x="39881" y="10402"/>
                  <a:pt x="41709" y="10594"/>
                  <a:pt x="43536" y="10642"/>
                </a:cubicBezTo>
                <a:cubicBezTo>
                  <a:pt x="45411" y="10787"/>
                  <a:pt x="46565" y="11075"/>
                  <a:pt x="48585" y="11460"/>
                </a:cubicBezTo>
                <a:cubicBezTo>
                  <a:pt x="52288" y="12230"/>
                  <a:pt x="56086" y="13096"/>
                  <a:pt x="59885" y="14011"/>
                </a:cubicBezTo>
                <a:cubicBezTo>
                  <a:pt x="90275" y="21277"/>
                  <a:pt x="121723" y="29505"/>
                  <a:pt x="153749" y="38311"/>
                </a:cubicBezTo>
                <a:cubicBezTo>
                  <a:pt x="185774" y="47117"/>
                  <a:pt x="216981" y="56116"/>
                  <a:pt x="246650" y="65836"/>
                </a:cubicBezTo>
                <a:cubicBezTo>
                  <a:pt x="261509" y="70792"/>
                  <a:pt x="275887" y="75604"/>
                  <a:pt x="289495" y="81860"/>
                </a:cubicBezTo>
                <a:cubicBezTo>
                  <a:pt x="296371" y="84795"/>
                  <a:pt x="303151" y="87683"/>
                  <a:pt x="309595" y="91099"/>
                </a:cubicBezTo>
                <a:cubicBezTo>
                  <a:pt x="312865" y="92735"/>
                  <a:pt x="316086" y="94323"/>
                  <a:pt x="319308" y="95959"/>
                </a:cubicBezTo>
                <a:cubicBezTo>
                  <a:pt x="322386" y="97788"/>
                  <a:pt x="325463" y="99568"/>
                  <a:pt x="328493" y="101349"/>
                </a:cubicBezTo>
                <a:cubicBezTo>
                  <a:pt x="334744" y="104717"/>
                  <a:pt x="340129" y="109000"/>
                  <a:pt x="345755" y="112898"/>
                </a:cubicBezTo>
                <a:cubicBezTo>
                  <a:pt x="348304" y="115111"/>
                  <a:pt x="350804" y="117325"/>
                  <a:pt x="353257" y="119490"/>
                </a:cubicBezTo>
                <a:cubicBezTo>
                  <a:pt x="354555" y="120549"/>
                  <a:pt x="355661" y="121704"/>
                  <a:pt x="356671" y="122955"/>
                </a:cubicBezTo>
                <a:lnTo>
                  <a:pt x="359844" y="126564"/>
                </a:lnTo>
                <a:cubicBezTo>
                  <a:pt x="362200" y="128825"/>
                  <a:pt x="363403" y="131713"/>
                  <a:pt x="365182" y="134263"/>
                </a:cubicBezTo>
                <a:cubicBezTo>
                  <a:pt x="366143" y="135514"/>
                  <a:pt x="366625" y="136958"/>
                  <a:pt x="367153" y="138353"/>
                </a:cubicBezTo>
                <a:lnTo>
                  <a:pt x="368836" y="142491"/>
                </a:lnTo>
                <a:cubicBezTo>
                  <a:pt x="370087" y="148218"/>
                  <a:pt x="371000" y="154040"/>
                  <a:pt x="369702" y="159863"/>
                </a:cubicBezTo>
                <a:cubicBezTo>
                  <a:pt x="367971" y="171604"/>
                  <a:pt x="361672" y="182287"/>
                  <a:pt x="357777" y="194221"/>
                </a:cubicBezTo>
                <a:cubicBezTo>
                  <a:pt x="354122" y="206154"/>
                  <a:pt x="352535" y="217318"/>
                  <a:pt x="348785" y="227039"/>
                </a:cubicBezTo>
                <a:cubicBezTo>
                  <a:pt x="345226" y="236807"/>
                  <a:pt x="339167" y="244506"/>
                  <a:pt x="331185" y="248789"/>
                </a:cubicBezTo>
                <a:cubicBezTo>
                  <a:pt x="323203" y="253023"/>
                  <a:pt x="314211" y="254419"/>
                  <a:pt x="305844" y="254660"/>
                </a:cubicBezTo>
                <a:cubicBezTo>
                  <a:pt x="297429" y="254900"/>
                  <a:pt x="289495" y="254226"/>
                  <a:pt x="282282" y="253072"/>
                </a:cubicBezTo>
                <a:cubicBezTo>
                  <a:pt x="275021" y="252061"/>
                  <a:pt x="268433" y="250666"/>
                  <a:pt x="262519" y="249366"/>
                </a:cubicBezTo>
                <a:cubicBezTo>
                  <a:pt x="238909" y="243784"/>
                  <a:pt x="226118" y="239309"/>
                  <a:pt x="225829" y="240175"/>
                </a:cubicBezTo>
                <a:cubicBezTo>
                  <a:pt x="225685" y="240512"/>
                  <a:pt x="228762" y="241956"/>
                  <a:pt x="234773" y="244362"/>
                </a:cubicBezTo>
                <a:cubicBezTo>
                  <a:pt x="240784" y="246720"/>
                  <a:pt x="249728" y="249992"/>
                  <a:pt x="261509" y="253360"/>
                </a:cubicBezTo>
                <a:cubicBezTo>
                  <a:pt x="267423" y="254996"/>
                  <a:pt x="274059" y="256729"/>
                  <a:pt x="281464" y="258076"/>
                </a:cubicBezTo>
                <a:cubicBezTo>
                  <a:pt x="288822" y="259520"/>
                  <a:pt x="297044" y="260530"/>
                  <a:pt x="305940" y="260578"/>
                </a:cubicBezTo>
                <a:cubicBezTo>
                  <a:pt x="314836" y="260578"/>
                  <a:pt x="324742" y="259520"/>
                  <a:pt x="334359" y="254756"/>
                </a:cubicBezTo>
                <a:cubicBezTo>
                  <a:pt x="339071" y="252302"/>
                  <a:pt x="343543" y="248837"/>
                  <a:pt x="347198" y="244506"/>
                </a:cubicBezTo>
                <a:cubicBezTo>
                  <a:pt x="350852" y="240175"/>
                  <a:pt x="353641" y="235075"/>
                  <a:pt x="355805" y="229781"/>
                </a:cubicBezTo>
                <a:cubicBezTo>
                  <a:pt x="360133" y="219147"/>
                  <a:pt x="362008" y="207550"/>
                  <a:pt x="365615" y="196771"/>
                </a:cubicBezTo>
                <a:cubicBezTo>
                  <a:pt x="369173" y="186136"/>
                  <a:pt x="376097" y="175069"/>
                  <a:pt x="378453" y="161306"/>
                </a:cubicBezTo>
                <a:cubicBezTo>
                  <a:pt x="379992" y="154473"/>
                  <a:pt x="379223" y="147063"/>
                  <a:pt x="377588" y="139893"/>
                </a:cubicBezTo>
                <a:lnTo>
                  <a:pt x="375617" y="134744"/>
                </a:lnTo>
                <a:cubicBezTo>
                  <a:pt x="374943" y="133012"/>
                  <a:pt x="374318" y="131279"/>
                  <a:pt x="373260" y="129788"/>
                </a:cubicBezTo>
                <a:cubicBezTo>
                  <a:pt x="371289" y="126756"/>
                  <a:pt x="369702" y="123292"/>
                  <a:pt x="367153" y="120693"/>
                </a:cubicBezTo>
                <a:lnTo>
                  <a:pt x="363595" y="116555"/>
                </a:lnTo>
                <a:cubicBezTo>
                  <a:pt x="362441" y="115111"/>
                  <a:pt x="361191" y="113764"/>
                  <a:pt x="359796" y="112609"/>
                </a:cubicBezTo>
                <a:cubicBezTo>
                  <a:pt x="357103" y="110203"/>
                  <a:pt x="354363" y="107749"/>
                  <a:pt x="351670" y="105295"/>
                </a:cubicBezTo>
                <a:cubicBezTo>
                  <a:pt x="345755" y="101108"/>
                  <a:pt x="339985" y="96440"/>
                  <a:pt x="333541" y="92928"/>
                </a:cubicBezTo>
                <a:cubicBezTo>
                  <a:pt x="330368" y="91051"/>
                  <a:pt x="327194" y="89126"/>
                  <a:pt x="324021" y="87201"/>
                </a:cubicBezTo>
                <a:cubicBezTo>
                  <a:pt x="320703" y="85517"/>
                  <a:pt x="317385" y="83833"/>
                  <a:pt x="314067" y="82101"/>
                </a:cubicBezTo>
                <a:cubicBezTo>
                  <a:pt x="307431" y="78540"/>
                  <a:pt x="300507" y="75508"/>
                  <a:pt x="293534" y="72477"/>
                </a:cubicBezTo>
                <a:cubicBezTo>
                  <a:pt x="279685" y="66029"/>
                  <a:pt x="264827" y="60928"/>
                  <a:pt x="249920" y="55875"/>
                </a:cubicBezTo>
                <a:cubicBezTo>
                  <a:pt x="219963" y="45914"/>
                  <a:pt x="188707" y="36820"/>
                  <a:pt x="156538" y="27965"/>
                </a:cubicBezTo>
                <a:cubicBezTo>
                  <a:pt x="124368" y="19159"/>
                  <a:pt x="92920" y="10979"/>
                  <a:pt x="62193" y="3761"/>
                </a:cubicBezTo>
                <a:cubicBezTo>
                  <a:pt x="58346" y="2847"/>
                  <a:pt x="54499" y="1981"/>
                  <a:pt x="50604" y="1211"/>
                </a:cubicBezTo>
                <a:cubicBezTo>
                  <a:pt x="48777" y="826"/>
                  <a:pt x="46132" y="344"/>
                  <a:pt x="44161" y="200"/>
                </a:cubicBezTo>
                <a:cubicBezTo>
                  <a:pt x="42093" y="152"/>
                  <a:pt x="40074" y="-40"/>
                  <a:pt x="38054" y="8"/>
                </a:cubicBezTo>
                <a:cubicBezTo>
                  <a:pt x="29928" y="56"/>
                  <a:pt x="21416" y="922"/>
                  <a:pt x="13386" y="5253"/>
                </a:cubicBezTo>
                <a:cubicBezTo>
                  <a:pt x="9443" y="7418"/>
                  <a:pt x="5788" y="10835"/>
                  <a:pt x="3480" y="14973"/>
                </a:cubicBezTo>
                <a:cubicBezTo>
                  <a:pt x="1172" y="19111"/>
                  <a:pt x="162" y="23683"/>
                  <a:pt x="18" y="27917"/>
                </a:cubicBezTo>
                <a:cubicBezTo>
                  <a:pt x="-222" y="36483"/>
                  <a:pt x="1942" y="44134"/>
                  <a:pt x="4634" y="51256"/>
                </a:cubicBezTo>
                <a:cubicBezTo>
                  <a:pt x="10116" y="65403"/>
                  <a:pt x="17906" y="77625"/>
                  <a:pt x="25936" y="88934"/>
                </a:cubicBezTo>
                <a:close/>
              </a:path>
            </a:pathLst>
          </a:custGeom>
          <a:solidFill>
            <a:srgbClr val="29C8C1"/>
          </a:solidFill>
          <a:ln w="0" cap="flat">
            <a:noFill/>
            <a:prstDash val="solid"/>
            <a:miter/>
          </a:ln>
        </p:spPr>
        <p:txBody>
          <a:bodyPr rtlCol="0" anchor="ctr"/>
          <a:lstStyle/>
          <a:p>
            <a:pPr rtl="0"/>
            <a:endParaRPr lang="en-AU" dirty="0"/>
          </a:p>
        </p:txBody>
      </p:sp>
      <p:sp>
        <p:nvSpPr>
          <p:cNvPr id="31" name="Freeform: Shape 30">
            <a:extLst>
              <a:ext uri="{FF2B5EF4-FFF2-40B4-BE49-F238E27FC236}">
                <a16:creationId xmlns:a16="http://schemas.microsoft.com/office/drawing/2014/main" id="{C9A4C6DC-FF4A-809A-6319-804C20A7B31E}"/>
              </a:ext>
            </a:extLst>
          </p:cNvPr>
          <p:cNvSpPr/>
          <p:nvPr/>
        </p:nvSpPr>
        <p:spPr>
          <a:xfrm>
            <a:off x="8280375" y="1578711"/>
            <a:ext cx="321687" cy="313700"/>
          </a:xfrm>
          <a:custGeom>
            <a:avLst/>
            <a:gdLst>
              <a:gd name="connsiteX0" fmla="*/ 17457 w 321687"/>
              <a:gd name="connsiteY0" fmla="*/ 122776 h 313700"/>
              <a:gd name="connsiteX1" fmla="*/ 62465 w 321687"/>
              <a:gd name="connsiteY1" fmla="*/ 199094 h 313700"/>
              <a:gd name="connsiteX2" fmla="*/ 174746 w 321687"/>
              <a:gd name="connsiteY2" fmla="*/ 297067 h 313700"/>
              <a:gd name="connsiteX3" fmla="*/ 230285 w 321687"/>
              <a:gd name="connsiteY3" fmla="*/ 313187 h 313700"/>
              <a:gd name="connsiteX4" fmla="*/ 273755 w 321687"/>
              <a:gd name="connsiteY4" fmla="*/ 308905 h 313700"/>
              <a:gd name="connsiteX5" fmla="*/ 298855 w 321687"/>
              <a:gd name="connsiteY5" fmla="*/ 297644 h 313700"/>
              <a:gd name="connsiteX6" fmla="*/ 306453 w 321687"/>
              <a:gd name="connsiteY6" fmla="*/ 291822 h 313700"/>
              <a:gd name="connsiteX7" fmla="*/ 272648 w 321687"/>
              <a:gd name="connsiteY7" fmla="*/ 304862 h 313700"/>
              <a:gd name="connsiteX8" fmla="*/ 230910 w 321687"/>
              <a:gd name="connsiteY8" fmla="*/ 307220 h 313700"/>
              <a:gd name="connsiteX9" fmla="*/ 178112 w 321687"/>
              <a:gd name="connsiteY9" fmla="*/ 290282 h 313700"/>
              <a:gd name="connsiteX10" fmla="*/ 70399 w 321687"/>
              <a:gd name="connsiteY10" fmla="*/ 193176 h 313700"/>
              <a:gd name="connsiteX11" fmla="*/ 27122 w 321687"/>
              <a:gd name="connsiteY11" fmla="*/ 118637 h 313700"/>
              <a:gd name="connsiteX12" fmla="*/ 13225 w 321687"/>
              <a:gd name="connsiteY12" fmla="*/ 75666 h 313700"/>
              <a:gd name="connsiteX13" fmla="*/ 13947 w 321687"/>
              <a:gd name="connsiteY13" fmla="*/ 31492 h 313700"/>
              <a:gd name="connsiteX14" fmla="*/ 26353 w 321687"/>
              <a:gd name="connsiteY14" fmla="*/ 15516 h 313700"/>
              <a:gd name="connsiteX15" fmla="*/ 35778 w 321687"/>
              <a:gd name="connsiteY15" fmla="*/ 11426 h 313700"/>
              <a:gd name="connsiteX16" fmla="*/ 40394 w 321687"/>
              <a:gd name="connsiteY16" fmla="*/ 10463 h 313700"/>
              <a:gd name="connsiteX17" fmla="*/ 45058 w 321687"/>
              <a:gd name="connsiteY17" fmla="*/ 10848 h 313700"/>
              <a:gd name="connsiteX18" fmla="*/ 65639 w 321687"/>
              <a:gd name="connsiteY18" fmla="*/ 18163 h 313700"/>
              <a:gd name="connsiteX19" fmla="*/ 85547 w 321687"/>
              <a:gd name="connsiteY19" fmla="*/ 28701 h 313700"/>
              <a:gd name="connsiteX20" fmla="*/ 157050 w 321687"/>
              <a:gd name="connsiteY20" fmla="*/ 77928 h 313700"/>
              <a:gd name="connsiteX21" fmla="*/ 265676 w 321687"/>
              <a:gd name="connsiteY21" fmla="*/ 177440 h 313700"/>
              <a:gd name="connsiteX22" fmla="*/ 300250 w 321687"/>
              <a:gd name="connsiteY22" fmla="*/ 221951 h 313700"/>
              <a:gd name="connsiteX23" fmla="*/ 317176 w 321687"/>
              <a:gd name="connsiteY23" fmla="*/ 260159 h 313700"/>
              <a:gd name="connsiteX24" fmla="*/ 312656 w 321687"/>
              <a:gd name="connsiteY24" fmla="*/ 284941 h 313700"/>
              <a:gd name="connsiteX25" fmla="*/ 306501 w 321687"/>
              <a:gd name="connsiteY25" fmla="*/ 291966 h 313700"/>
              <a:gd name="connsiteX26" fmla="*/ 308761 w 321687"/>
              <a:gd name="connsiteY26" fmla="*/ 290956 h 313700"/>
              <a:gd name="connsiteX27" fmla="*/ 314339 w 321687"/>
              <a:gd name="connsiteY27" fmla="*/ 286336 h 313700"/>
              <a:gd name="connsiteX28" fmla="*/ 320205 w 321687"/>
              <a:gd name="connsiteY28" fmla="*/ 275894 h 313700"/>
              <a:gd name="connsiteX29" fmla="*/ 321311 w 321687"/>
              <a:gd name="connsiteY29" fmla="*/ 259630 h 313700"/>
              <a:gd name="connsiteX30" fmla="*/ 305347 w 321687"/>
              <a:gd name="connsiteY30" fmla="*/ 218920 h 313700"/>
              <a:gd name="connsiteX31" fmla="*/ 271350 w 321687"/>
              <a:gd name="connsiteY31" fmla="*/ 172580 h 313700"/>
              <a:gd name="connsiteX32" fmla="*/ 163109 w 321687"/>
              <a:gd name="connsiteY32" fmla="*/ 70325 h 313700"/>
              <a:gd name="connsiteX33" fmla="*/ 90788 w 321687"/>
              <a:gd name="connsiteY33" fmla="*/ 19799 h 313700"/>
              <a:gd name="connsiteX34" fmla="*/ 70111 w 321687"/>
              <a:gd name="connsiteY34" fmla="*/ 8779 h 313700"/>
              <a:gd name="connsiteX35" fmla="*/ 46838 w 321687"/>
              <a:gd name="connsiteY35" fmla="*/ 551 h 313700"/>
              <a:gd name="connsiteX36" fmla="*/ 39769 w 321687"/>
              <a:gd name="connsiteY36" fmla="*/ 21 h 313700"/>
              <a:gd name="connsiteX37" fmla="*/ 32844 w 321687"/>
              <a:gd name="connsiteY37" fmla="*/ 1369 h 313700"/>
              <a:gd name="connsiteX38" fmla="*/ 20583 w 321687"/>
              <a:gd name="connsiteY38" fmla="*/ 6758 h 313700"/>
              <a:gd name="connsiteX39" fmla="*/ 3945 w 321687"/>
              <a:gd name="connsiteY39" fmla="*/ 27931 h 313700"/>
              <a:gd name="connsiteX40" fmla="*/ 2 w 321687"/>
              <a:gd name="connsiteY40" fmla="*/ 53435 h 313700"/>
              <a:gd name="connsiteX41" fmla="*/ 2791 w 321687"/>
              <a:gd name="connsiteY41" fmla="*/ 77976 h 313700"/>
              <a:gd name="connsiteX42" fmla="*/ 17505 w 321687"/>
              <a:gd name="connsiteY42" fmla="*/ 122968 h 31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1687" h="313700">
                <a:moveTo>
                  <a:pt x="17457" y="122776"/>
                </a:moveTo>
                <a:cubicBezTo>
                  <a:pt x="29815" y="151119"/>
                  <a:pt x="45587" y="176478"/>
                  <a:pt x="62465" y="199094"/>
                </a:cubicBezTo>
                <a:cubicBezTo>
                  <a:pt x="96462" y="244135"/>
                  <a:pt x="135940" y="278348"/>
                  <a:pt x="174746" y="297067"/>
                </a:cubicBezTo>
                <a:cubicBezTo>
                  <a:pt x="194076" y="306450"/>
                  <a:pt x="213166" y="311840"/>
                  <a:pt x="230285" y="313187"/>
                </a:cubicBezTo>
                <a:cubicBezTo>
                  <a:pt x="247403" y="314823"/>
                  <a:pt x="262262" y="312321"/>
                  <a:pt x="273755" y="308905"/>
                </a:cubicBezTo>
                <a:cubicBezTo>
                  <a:pt x="285295" y="305392"/>
                  <a:pt x="293470" y="300820"/>
                  <a:pt x="298855" y="297644"/>
                </a:cubicBezTo>
                <a:cubicBezTo>
                  <a:pt x="304097" y="294180"/>
                  <a:pt x="306645" y="292159"/>
                  <a:pt x="306453" y="291822"/>
                </a:cubicBezTo>
                <a:cubicBezTo>
                  <a:pt x="305924" y="290763"/>
                  <a:pt x="295153" y="298992"/>
                  <a:pt x="272648" y="304862"/>
                </a:cubicBezTo>
                <a:cubicBezTo>
                  <a:pt x="261396" y="307557"/>
                  <a:pt x="247163" y="309338"/>
                  <a:pt x="230910" y="307220"/>
                </a:cubicBezTo>
                <a:cubicBezTo>
                  <a:pt x="214657" y="305344"/>
                  <a:pt x="196529" y="299714"/>
                  <a:pt x="178112" y="290282"/>
                </a:cubicBezTo>
                <a:cubicBezTo>
                  <a:pt x="141134" y="271419"/>
                  <a:pt x="103146" y="237542"/>
                  <a:pt x="70399" y="193176"/>
                </a:cubicBezTo>
                <a:cubicBezTo>
                  <a:pt x="54098" y="170944"/>
                  <a:pt x="38903" y="146066"/>
                  <a:pt x="27122" y="118637"/>
                </a:cubicBezTo>
                <a:cubicBezTo>
                  <a:pt x="21256" y="104923"/>
                  <a:pt x="16255" y="90535"/>
                  <a:pt x="13225" y="75666"/>
                </a:cubicBezTo>
                <a:cubicBezTo>
                  <a:pt x="10340" y="60941"/>
                  <a:pt x="9090" y="45062"/>
                  <a:pt x="13947" y="31492"/>
                </a:cubicBezTo>
                <a:cubicBezTo>
                  <a:pt x="16351" y="24755"/>
                  <a:pt x="20727" y="19269"/>
                  <a:pt x="26353" y="15516"/>
                </a:cubicBezTo>
                <a:cubicBezTo>
                  <a:pt x="29238" y="13784"/>
                  <a:pt x="32364" y="12292"/>
                  <a:pt x="35778" y="11426"/>
                </a:cubicBezTo>
                <a:cubicBezTo>
                  <a:pt x="37461" y="10993"/>
                  <a:pt x="39336" y="10415"/>
                  <a:pt x="40394" y="10463"/>
                </a:cubicBezTo>
                <a:cubicBezTo>
                  <a:pt x="41788" y="10415"/>
                  <a:pt x="43375" y="10560"/>
                  <a:pt x="45058" y="10848"/>
                </a:cubicBezTo>
                <a:cubicBezTo>
                  <a:pt x="51838" y="12148"/>
                  <a:pt x="58907" y="14987"/>
                  <a:pt x="65639" y="18163"/>
                </a:cubicBezTo>
                <a:cubicBezTo>
                  <a:pt x="72419" y="21338"/>
                  <a:pt x="79055" y="24947"/>
                  <a:pt x="85547" y="28701"/>
                </a:cubicBezTo>
                <a:cubicBezTo>
                  <a:pt x="111417" y="43859"/>
                  <a:pt x="135123" y="60941"/>
                  <a:pt x="157050" y="77928"/>
                </a:cubicBezTo>
                <a:cubicBezTo>
                  <a:pt x="200856" y="112045"/>
                  <a:pt x="237690" y="146258"/>
                  <a:pt x="265676" y="177440"/>
                </a:cubicBezTo>
                <a:cubicBezTo>
                  <a:pt x="279621" y="193079"/>
                  <a:pt x="291354" y="207997"/>
                  <a:pt x="300250" y="221951"/>
                </a:cubicBezTo>
                <a:cubicBezTo>
                  <a:pt x="309146" y="235858"/>
                  <a:pt x="315205" y="248947"/>
                  <a:pt x="317176" y="260159"/>
                </a:cubicBezTo>
                <a:cubicBezTo>
                  <a:pt x="319388" y="271467"/>
                  <a:pt x="316214" y="280177"/>
                  <a:pt x="312656" y="284941"/>
                </a:cubicBezTo>
                <a:cubicBezTo>
                  <a:pt x="309049" y="289753"/>
                  <a:pt x="306164" y="291533"/>
                  <a:pt x="306501" y="291966"/>
                </a:cubicBezTo>
                <a:cubicBezTo>
                  <a:pt x="306597" y="292111"/>
                  <a:pt x="307367" y="291774"/>
                  <a:pt x="308761" y="290956"/>
                </a:cubicBezTo>
                <a:cubicBezTo>
                  <a:pt x="310203" y="290186"/>
                  <a:pt x="312127" y="288694"/>
                  <a:pt x="314339" y="286336"/>
                </a:cubicBezTo>
                <a:cubicBezTo>
                  <a:pt x="316551" y="283978"/>
                  <a:pt x="318715" y="280466"/>
                  <a:pt x="320205" y="275894"/>
                </a:cubicBezTo>
                <a:cubicBezTo>
                  <a:pt x="321648" y="271323"/>
                  <a:pt x="322081" y="265693"/>
                  <a:pt x="321311" y="259630"/>
                </a:cubicBezTo>
                <a:cubicBezTo>
                  <a:pt x="319821" y="247407"/>
                  <a:pt x="314002" y="233500"/>
                  <a:pt x="305347" y="218920"/>
                </a:cubicBezTo>
                <a:cubicBezTo>
                  <a:pt x="296691" y="204291"/>
                  <a:pt x="285151" y="188748"/>
                  <a:pt x="271350" y="172580"/>
                </a:cubicBezTo>
                <a:cubicBezTo>
                  <a:pt x="243653" y="140291"/>
                  <a:pt x="207011" y="105212"/>
                  <a:pt x="163109" y="70325"/>
                </a:cubicBezTo>
                <a:cubicBezTo>
                  <a:pt x="141086" y="52953"/>
                  <a:pt x="117283" y="35486"/>
                  <a:pt x="90788" y="19799"/>
                </a:cubicBezTo>
                <a:cubicBezTo>
                  <a:pt x="84152" y="15901"/>
                  <a:pt x="77276" y="12196"/>
                  <a:pt x="70111" y="8779"/>
                </a:cubicBezTo>
                <a:cubicBezTo>
                  <a:pt x="62898" y="5411"/>
                  <a:pt x="55493" y="2235"/>
                  <a:pt x="46838" y="551"/>
                </a:cubicBezTo>
                <a:cubicBezTo>
                  <a:pt x="44626" y="166"/>
                  <a:pt x="42318" y="-75"/>
                  <a:pt x="39769" y="21"/>
                </a:cubicBezTo>
                <a:cubicBezTo>
                  <a:pt x="36884" y="166"/>
                  <a:pt x="35008" y="839"/>
                  <a:pt x="32844" y="1369"/>
                </a:cubicBezTo>
                <a:cubicBezTo>
                  <a:pt x="28613" y="2523"/>
                  <a:pt x="24478" y="4352"/>
                  <a:pt x="20583" y="6758"/>
                </a:cubicBezTo>
                <a:cubicBezTo>
                  <a:pt x="12889" y="11714"/>
                  <a:pt x="6926" y="19510"/>
                  <a:pt x="3945" y="27931"/>
                </a:cubicBezTo>
                <a:cubicBezTo>
                  <a:pt x="868" y="36352"/>
                  <a:pt x="-46" y="45062"/>
                  <a:pt x="2" y="53435"/>
                </a:cubicBezTo>
                <a:cubicBezTo>
                  <a:pt x="98" y="61856"/>
                  <a:pt x="1204" y="70036"/>
                  <a:pt x="2791" y="77976"/>
                </a:cubicBezTo>
                <a:cubicBezTo>
                  <a:pt x="6061" y="93856"/>
                  <a:pt x="11350" y="108821"/>
                  <a:pt x="17505" y="122968"/>
                </a:cubicBezTo>
                <a:close/>
              </a:path>
            </a:pathLst>
          </a:custGeom>
          <a:solidFill>
            <a:srgbClr val="29C8C1"/>
          </a:solidFill>
          <a:ln w="0" cap="flat">
            <a:noFill/>
            <a:prstDash val="solid"/>
            <a:miter/>
          </a:ln>
        </p:spPr>
        <p:txBody>
          <a:bodyPr rtlCol="0" anchor="ctr"/>
          <a:lstStyle/>
          <a:p>
            <a:pPr rtl="0"/>
            <a:endParaRPr lang="en-AU" dirty="0"/>
          </a:p>
        </p:txBody>
      </p:sp>
      <p:sp>
        <p:nvSpPr>
          <p:cNvPr id="32" name="Freeform: Shape 31">
            <a:extLst>
              <a:ext uri="{FF2B5EF4-FFF2-40B4-BE49-F238E27FC236}">
                <a16:creationId xmlns:a16="http://schemas.microsoft.com/office/drawing/2014/main" id="{7B7D30CA-BB03-EECE-16DE-42B973B30FF9}"/>
              </a:ext>
            </a:extLst>
          </p:cNvPr>
          <p:cNvSpPr/>
          <p:nvPr/>
        </p:nvSpPr>
        <p:spPr>
          <a:xfrm>
            <a:off x="8187022" y="1456772"/>
            <a:ext cx="496518" cy="491036"/>
          </a:xfrm>
          <a:custGeom>
            <a:avLst/>
            <a:gdLst>
              <a:gd name="connsiteX0" fmla="*/ 30987 w 496518"/>
              <a:gd name="connsiteY0" fmla="*/ 193371 h 491036"/>
              <a:gd name="connsiteX1" fmla="*/ 77582 w 496518"/>
              <a:gd name="connsiteY1" fmla="*/ 292595 h 491036"/>
              <a:gd name="connsiteX2" fmla="*/ 109848 w 496518"/>
              <a:gd name="connsiteY2" fmla="*/ 344613 h 491036"/>
              <a:gd name="connsiteX3" fmla="*/ 152884 w 496518"/>
              <a:gd name="connsiteY3" fmla="*/ 394128 h 491036"/>
              <a:gd name="connsiteX4" fmla="*/ 210732 w 496518"/>
              <a:gd name="connsiteY4" fmla="*/ 430940 h 491036"/>
              <a:gd name="connsiteX5" fmla="*/ 275551 w 496518"/>
              <a:gd name="connsiteY5" fmla="*/ 460486 h 491036"/>
              <a:gd name="connsiteX6" fmla="*/ 346093 w 496518"/>
              <a:gd name="connsiteY6" fmla="*/ 482429 h 491036"/>
              <a:gd name="connsiteX7" fmla="*/ 422213 w 496518"/>
              <a:gd name="connsiteY7" fmla="*/ 490850 h 491036"/>
              <a:gd name="connsiteX8" fmla="*/ 460970 w 496518"/>
              <a:gd name="connsiteY8" fmla="*/ 483680 h 491036"/>
              <a:gd name="connsiteX9" fmla="*/ 470155 w 496518"/>
              <a:gd name="connsiteY9" fmla="*/ 479590 h 491036"/>
              <a:gd name="connsiteX10" fmla="*/ 474627 w 496518"/>
              <a:gd name="connsiteY10" fmla="*/ 477135 h 491036"/>
              <a:gd name="connsiteX11" fmla="*/ 478810 w 496518"/>
              <a:gd name="connsiteY11" fmla="*/ 474056 h 491036"/>
              <a:gd name="connsiteX12" fmla="*/ 492226 w 496518"/>
              <a:gd name="connsiteY12" fmla="*/ 457984 h 491036"/>
              <a:gd name="connsiteX13" fmla="*/ 494053 w 496518"/>
              <a:gd name="connsiteY13" fmla="*/ 418285 h 491036"/>
              <a:gd name="connsiteX14" fmla="*/ 479916 w 496518"/>
              <a:gd name="connsiteY14" fmla="*/ 383542 h 491036"/>
              <a:gd name="connsiteX15" fmla="*/ 460826 w 496518"/>
              <a:gd name="connsiteY15" fmla="*/ 352697 h 491036"/>
              <a:gd name="connsiteX16" fmla="*/ 439668 w 496518"/>
              <a:gd name="connsiteY16" fmla="*/ 324402 h 491036"/>
              <a:gd name="connsiteX17" fmla="*/ 394756 w 496518"/>
              <a:gd name="connsiteY17" fmla="*/ 273154 h 491036"/>
              <a:gd name="connsiteX18" fmla="*/ 304354 w 496518"/>
              <a:gd name="connsiteY18" fmla="*/ 186057 h 491036"/>
              <a:gd name="connsiteX19" fmla="*/ 223667 w 496518"/>
              <a:gd name="connsiteY19" fmla="*/ 112481 h 491036"/>
              <a:gd name="connsiteX20" fmla="*/ 97201 w 496518"/>
              <a:gd name="connsiteY20" fmla="*/ 17251 h 491036"/>
              <a:gd name="connsiteX21" fmla="*/ 57097 w 496518"/>
              <a:gd name="connsiteY21" fmla="*/ 1035 h 491036"/>
              <a:gd name="connsiteX22" fmla="*/ 50558 w 496518"/>
              <a:gd name="connsiteY22" fmla="*/ 168 h 491036"/>
              <a:gd name="connsiteX23" fmla="*/ 45797 w 496518"/>
              <a:gd name="connsiteY23" fmla="*/ 120 h 491036"/>
              <a:gd name="connsiteX24" fmla="*/ 41998 w 496518"/>
              <a:gd name="connsiteY24" fmla="*/ 698 h 491036"/>
              <a:gd name="connsiteX25" fmla="*/ 56617 w 496518"/>
              <a:gd name="connsiteY25" fmla="*/ 3152 h 491036"/>
              <a:gd name="connsiteX26" fmla="*/ 95085 w 496518"/>
              <a:gd name="connsiteY26" fmla="*/ 20908 h 491036"/>
              <a:gd name="connsiteX27" fmla="*/ 218618 w 496518"/>
              <a:gd name="connsiteY27" fmla="*/ 118159 h 491036"/>
              <a:gd name="connsiteX28" fmla="*/ 298296 w 496518"/>
              <a:gd name="connsiteY28" fmla="*/ 192601 h 491036"/>
              <a:gd name="connsiteX29" fmla="*/ 387591 w 496518"/>
              <a:gd name="connsiteY29" fmla="*/ 279939 h 491036"/>
              <a:gd name="connsiteX30" fmla="*/ 431686 w 496518"/>
              <a:gd name="connsiteY30" fmla="*/ 330802 h 491036"/>
              <a:gd name="connsiteX31" fmla="*/ 452315 w 496518"/>
              <a:gd name="connsiteY31" fmla="*/ 358616 h 491036"/>
              <a:gd name="connsiteX32" fmla="*/ 470635 w 496518"/>
              <a:gd name="connsiteY32" fmla="*/ 388498 h 491036"/>
              <a:gd name="connsiteX33" fmla="*/ 483763 w 496518"/>
              <a:gd name="connsiteY33" fmla="*/ 420883 h 491036"/>
              <a:gd name="connsiteX34" fmla="*/ 482609 w 496518"/>
              <a:gd name="connsiteY34" fmla="*/ 453508 h 491036"/>
              <a:gd name="connsiteX35" fmla="*/ 457219 w 496518"/>
              <a:gd name="connsiteY35" fmla="*/ 473719 h 491036"/>
              <a:gd name="connsiteX36" fmla="*/ 421684 w 496518"/>
              <a:gd name="connsiteY36" fmla="*/ 480215 h 491036"/>
              <a:gd name="connsiteX37" fmla="*/ 348449 w 496518"/>
              <a:gd name="connsiteY37" fmla="*/ 472083 h 491036"/>
              <a:gd name="connsiteX38" fmla="*/ 279302 w 496518"/>
              <a:gd name="connsiteY38" fmla="*/ 450717 h 491036"/>
              <a:gd name="connsiteX39" fmla="*/ 215492 w 496518"/>
              <a:gd name="connsiteY39" fmla="*/ 421942 h 491036"/>
              <a:gd name="connsiteX40" fmla="*/ 159039 w 496518"/>
              <a:gd name="connsiteY40" fmla="*/ 386429 h 491036"/>
              <a:gd name="connsiteX41" fmla="*/ 117493 w 496518"/>
              <a:gd name="connsiteY41" fmla="*/ 339175 h 491036"/>
              <a:gd name="connsiteX42" fmla="*/ 85227 w 496518"/>
              <a:gd name="connsiteY42" fmla="*/ 288216 h 491036"/>
              <a:gd name="connsiteX43" fmla="*/ 37911 w 496518"/>
              <a:gd name="connsiteY43" fmla="*/ 190580 h 491036"/>
              <a:gd name="connsiteX44" fmla="*/ 10694 w 496518"/>
              <a:gd name="connsiteY44" fmla="*/ 105455 h 491036"/>
              <a:gd name="connsiteX45" fmla="*/ 6319 w 496518"/>
              <a:gd name="connsiteY45" fmla="*/ 38953 h 491036"/>
              <a:gd name="connsiteX46" fmla="*/ 14878 w 496518"/>
              <a:gd name="connsiteY46" fmla="*/ 16770 h 491036"/>
              <a:gd name="connsiteX47" fmla="*/ 27957 w 496518"/>
              <a:gd name="connsiteY47" fmla="*/ 5462 h 491036"/>
              <a:gd name="connsiteX48" fmla="*/ 41950 w 496518"/>
              <a:gd name="connsiteY48" fmla="*/ 746 h 491036"/>
              <a:gd name="connsiteX49" fmla="*/ 38103 w 496518"/>
              <a:gd name="connsiteY49" fmla="*/ 746 h 491036"/>
              <a:gd name="connsiteX50" fmla="*/ 27092 w 496518"/>
              <a:gd name="connsiteY50" fmla="*/ 3489 h 491036"/>
              <a:gd name="connsiteX51" fmla="*/ 12378 w 496518"/>
              <a:gd name="connsiteY51" fmla="*/ 14893 h 491036"/>
              <a:gd name="connsiteX52" fmla="*/ 2279 w 496518"/>
              <a:gd name="connsiteY52" fmla="*/ 38183 h 491036"/>
              <a:gd name="connsiteX53" fmla="*/ 4876 w 496518"/>
              <a:gd name="connsiteY53" fmla="*/ 106658 h 491036"/>
              <a:gd name="connsiteX54" fmla="*/ 30890 w 496518"/>
              <a:gd name="connsiteY54" fmla="*/ 193371 h 491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96518" h="491036">
                <a:moveTo>
                  <a:pt x="30987" y="193371"/>
                </a:moveTo>
                <a:cubicBezTo>
                  <a:pt x="43104" y="224649"/>
                  <a:pt x="58444" y="258092"/>
                  <a:pt x="77582" y="292595"/>
                </a:cubicBezTo>
                <a:cubicBezTo>
                  <a:pt x="87199" y="309822"/>
                  <a:pt x="97778" y="327289"/>
                  <a:pt x="109848" y="344613"/>
                </a:cubicBezTo>
                <a:cubicBezTo>
                  <a:pt x="122061" y="361791"/>
                  <a:pt x="135189" y="379355"/>
                  <a:pt x="152884" y="394128"/>
                </a:cubicBezTo>
                <a:cubicBezTo>
                  <a:pt x="170628" y="408131"/>
                  <a:pt x="190199" y="419921"/>
                  <a:pt x="210732" y="430940"/>
                </a:cubicBezTo>
                <a:cubicBezTo>
                  <a:pt x="231312" y="441863"/>
                  <a:pt x="252951" y="451728"/>
                  <a:pt x="275551" y="460486"/>
                </a:cubicBezTo>
                <a:cubicBezTo>
                  <a:pt x="298152" y="469148"/>
                  <a:pt x="321617" y="476799"/>
                  <a:pt x="346093" y="482429"/>
                </a:cubicBezTo>
                <a:cubicBezTo>
                  <a:pt x="370521" y="488011"/>
                  <a:pt x="395958" y="491956"/>
                  <a:pt x="422213" y="490850"/>
                </a:cubicBezTo>
                <a:cubicBezTo>
                  <a:pt x="435292" y="490224"/>
                  <a:pt x="448468" y="488347"/>
                  <a:pt x="460970" y="483680"/>
                </a:cubicBezTo>
                <a:cubicBezTo>
                  <a:pt x="464096" y="482429"/>
                  <a:pt x="467221" y="481370"/>
                  <a:pt x="470155" y="479590"/>
                </a:cubicBezTo>
                <a:lnTo>
                  <a:pt x="474627" y="477135"/>
                </a:lnTo>
                <a:cubicBezTo>
                  <a:pt x="476117" y="476269"/>
                  <a:pt x="477416" y="475114"/>
                  <a:pt x="478810" y="474056"/>
                </a:cubicBezTo>
                <a:cubicBezTo>
                  <a:pt x="484532" y="470110"/>
                  <a:pt x="488908" y="464191"/>
                  <a:pt x="492226" y="457984"/>
                </a:cubicBezTo>
                <a:cubicBezTo>
                  <a:pt x="498141" y="444847"/>
                  <a:pt x="497131" y="430603"/>
                  <a:pt x="494053" y="418285"/>
                </a:cubicBezTo>
                <a:cubicBezTo>
                  <a:pt x="490880" y="405773"/>
                  <a:pt x="485686" y="394369"/>
                  <a:pt x="479916" y="383542"/>
                </a:cubicBezTo>
                <a:cubicBezTo>
                  <a:pt x="474145" y="372715"/>
                  <a:pt x="467702" y="362465"/>
                  <a:pt x="460826" y="352697"/>
                </a:cubicBezTo>
                <a:cubicBezTo>
                  <a:pt x="454046" y="342880"/>
                  <a:pt x="446929" y="333497"/>
                  <a:pt x="439668" y="324402"/>
                </a:cubicBezTo>
                <a:cubicBezTo>
                  <a:pt x="425098" y="306261"/>
                  <a:pt x="409999" y="289226"/>
                  <a:pt x="394756" y="273154"/>
                </a:cubicBezTo>
                <a:cubicBezTo>
                  <a:pt x="364366" y="240962"/>
                  <a:pt x="333447" y="212234"/>
                  <a:pt x="304354" y="186057"/>
                </a:cubicBezTo>
                <a:cubicBezTo>
                  <a:pt x="275647" y="159398"/>
                  <a:pt x="248815" y="134472"/>
                  <a:pt x="223667" y="112481"/>
                </a:cubicBezTo>
                <a:cubicBezTo>
                  <a:pt x="173465" y="68403"/>
                  <a:pt x="130140" y="35441"/>
                  <a:pt x="97201" y="17251"/>
                </a:cubicBezTo>
                <a:cubicBezTo>
                  <a:pt x="80804" y="8108"/>
                  <a:pt x="66907" y="2863"/>
                  <a:pt x="57097" y="1035"/>
                </a:cubicBezTo>
                <a:cubicBezTo>
                  <a:pt x="54693" y="409"/>
                  <a:pt x="52433" y="361"/>
                  <a:pt x="50558" y="168"/>
                </a:cubicBezTo>
                <a:cubicBezTo>
                  <a:pt x="48682" y="-72"/>
                  <a:pt x="47095" y="-24"/>
                  <a:pt x="45797" y="120"/>
                </a:cubicBezTo>
                <a:cubicBezTo>
                  <a:pt x="43249" y="313"/>
                  <a:pt x="41950" y="505"/>
                  <a:pt x="41998" y="698"/>
                </a:cubicBezTo>
                <a:cubicBezTo>
                  <a:pt x="41998" y="1275"/>
                  <a:pt x="47240" y="698"/>
                  <a:pt x="56617" y="3152"/>
                </a:cubicBezTo>
                <a:cubicBezTo>
                  <a:pt x="65945" y="5654"/>
                  <a:pt x="79217" y="11332"/>
                  <a:pt x="95085" y="20908"/>
                </a:cubicBezTo>
                <a:cubicBezTo>
                  <a:pt x="126918" y="39916"/>
                  <a:pt x="169233" y="73552"/>
                  <a:pt x="218618" y="118159"/>
                </a:cubicBezTo>
                <a:cubicBezTo>
                  <a:pt x="243382" y="140439"/>
                  <a:pt x="269781" y="165557"/>
                  <a:pt x="298296" y="192601"/>
                </a:cubicBezTo>
                <a:cubicBezTo>
                  <a:pt x="327292" y="219163"/>
                  <a:pt x="357586" y="247795"/>
                  <a:pt x="387591" y="279939"/>
                </a:cubicBezTo>
                <a:cubicBezTo>
                  <a:pt x="402594" y="295963"/>
                  <a:pt x="417404" y="312901"/>
                  <a:pt x="431686" y="330802"/>
                </a:cubicBezTo>
                <a:cubicBezTo>
                  <a:pt x="438803" y="339801"/>
                  <a:pt x="445775" y="348991"/>
                  <a:pt x="452315" y="358616"/>
                </a:cubicBezTo>
                <a:cubicBezTo>
                  <a:pt x="458951" y="368191"/>
                  <a:pt x="465202" y="378104"/>
                  <a:pt x="470635" y="388498"/>
                </a:cubicBezTo>
                <a:cubicBezTo>
                  <a:pt x="476117" y="398844"/>
                  <a:pt x="480974" y="409671"/>
                  <a:pt x="483763" y="420883"/>
                </a:cubicBezTo>
                <a:cubicBezTo>
                  <a:pt x="486552" y="431999"/>
                  <a:pt x="486985" y="443740"/>
                  <a:pt x="482609" y="453508"/>
                </a:cubicBezTo>
                <a:cubicBezTo>
                  <a:pt x="477944" y="463132"/>
                  <a:pt x="468231" y="469677"/>
                  <a:pt x="457219" y="473719"/>
                </a:cubicBezTo>
                <a:cubicBezTo>
                  <a:pt x="446160" y="477857"/>
                  <a:pt x="433946" y="479638"/>
                  <a:pt x="421684" y="480215"/>
                </a:cubicBezTo>
                <a:cubicBezTo>
                  <a:pt x="396968" y="481274"/>
                  <a:pt x="372252" y="477520"/>
                  <a:pt x="348449" y="472083"/>
                </a:cubicBezTo>
                <a:cubicBezTo>
                  <a:pt x="324599" y="466645"/>
                  <a:pt x="301518" y="459187"/>
                  <a:pt x="279302" y="450717"/>
                </a:cubicBezTo>
                <a:cubicBezTo>
                  <a:pt x="257086" y="442200"/>
                  <a:pt x="235784" y="432528"/>
                  <a:pt x="215492" y="421942"/>
                </a:cubicBezTo>
                <a:cubicBezTo>
                  <a:pt x="195344" y="411259"/>
                  <a:pt x="176013" y="399662"/>
                  <a:pt x="159039" y="386429"/>
                </a:cubicBezTo>
                <a:cubicBezTo>
                  <a:pt x="142738" y="373003"/>
                  <a:pt x="129515" y="355873"/>
                  <a:pt x="117493" y="339175"/>
                </a:cubicBezTo>
                <a:cubicBezTo>
                  <a:pt x="105520" y="322285"/>
                  <a:pt x="94941" y="305106"/>
                  <a:pt x="85227" y="288216"/>
                </a:cubicBezTo>
                <a:cubicBezTo>
                  <a:pt x="65945" y="254291"/>
                  <a:pt x="50365" y="221329"/>
                  <a:pt x="37911" y="190580"/>
                </a:cubicBezTo>
                <a:cubicBezTo>
                  <a:pt x="25505" y="159783"/>
                  <a:pt x="16321" y="131103"/>
                  <a:pt x="10694" y="105455"/>
                </a:cubicBezTo>
                <a:cubicBezTo>
                  <a:pt x="5165" y="79807"/>
                  <a:pt x="3145" y="56950"/>
                  <a:pt x="6319" y="38953"/>
                </a:cubicBezTo>
                <a:cubicBezTo>
                  <a:pt x="7857" y="30003"/>
                  <a:pt x="10839" y="22352"/>
                  <a:pt x="14878" y="16770"/>
                </a:cubicBezTo>
                <a:cubicBezTo>
                  <a:pt x="18821" y="11092"/>
                  <a:pt x="23678" y="7531"/>
                  <a:pt x="27957" y="5462"/>
                </a:cubicBezTo>
                <a:cubicBezTo>
                  <a:pt x="36613" y="1371"/>
                  <a:pt x="42046" y="1371"/>
                  <a:pt x="41950" y="746"/>
                </a:cubicBezTo>
                <a:cubicBezTo>
                  <a:pt x="41950" y="553"/>
                  <a:pt x="40652" y="553"/>
                  <a:pt x="38103" y="746"/>
                </a:cubicBezTo>
                <a:cubicBezTo>
                  <a:pt x="35555" y="986"/>
                  <a:pt x="31804" y="1660"/>
                  <a:pt x="27092" y="3489"/>
                </a:cubicBezTo>
                <a:cubicBezTo>
                  <a:pt x="22427" y="5365"/>
                  <a:pt x="16946" y="8926"/>
                  <a:pt x="12378" y="14893"/>
                </a:cubicBezTo>
                <a:cubicBezTo>
                  <a:pt x="7713" y="20764"/>
                  <a:pt x="4203" y="28848"/>
                  <a:pt x="2279" y="38183"/>
                </a:cubicBezTo>
                <a:cubicBezTo>
                  <a:pt x="-1712" y="56998"/>
                  <a:pt x="-221" y="80481"/>
                  <a:pt x="4876" y="106658"/>
                </a:cubicBezTo>
                <a:cubicBezTo>
                  <a:pt x="10021" y="132884"/>
                  <a:pt x="18821" y="162093"/>
                  <a:pt x="30890" y="193371"/>
                </a:cubicBezTo>
                <a:close/>
              </a:path>
            </a:pathLst>
          </a:custGeom>
          <a:solidFill>
            <a:srgbClr val="29C8C1"/>
          </a:solidFill>
          <a:ln w="0" cap="flat">
            <a:noFill/>
            <a:prstDash val="solid"/>
            <a:miter/>
          </a:ln>
        </p:spPr>
        <p:txBody>
          <a:bodyPr rtlCol="0" anchor="ctr"/>
          <a:lstStyle/>
          <a:p>
            <a:pPr rtl="0"/>
            <a:endParaRPr lang="en-AU" dirty="0"/>
          </a:p>
        </p:txBody>
      </p:sp>
      <p:sp>
        <p:nvSpPr>
          <p:cNvPr id="33" name="Freeform: Shape 32">
            <a:extLst>
              <a:ext uri="{FF2B5EF4-FFF2-40B4-BE49-F238E27FC236}">
                <a16:creationId xmlns:a16="http://schemas.microsoft.com/office/drawing/2014/main" id="{043514E3-C869-2BAD-9F15-88F8C2BCFE77}"/>
              </a:ext>
            </a:extLst>
          </p:cNvPr>
          <p:cNvSpPr/>
          <p:nvPr/>
        </p:nvSpPr>
        <p:spPr>
          <a:xfrm>
            <a:off x="9300506" y="1835413"/>
            <a:ext cx="111004" cy="126001"/>
          </a:xfrm>
          <a:custGeom>
            <a:avLst/>
            <a:gdLst>
              <a:gd name="connsiteX0" fmla="*/ 1454 w 111004"/>
              <a:gd name="connsiteY0" fmla="*/ 16690 h 126001"/>
              <a:gd name="connsiteX1" fmla="*/ 9436 w 111004"/>
              <a:gd name="connsiteY1" fmla="*/ 31992 h 126001"/>
              <a:gd name="connsiteX2" fmla="*/ 27709 w 111004"/>
              <a:gd name="connsiteY2" fmla="*/ 57159 h 126001"/>
              <a:gd name="connsiteX3" fmla="*/ 62908 w 111004"/>
              <a:gd name="connsiteY3" fmla="*/ 95752 h 126001"/>
              <a:gd name="connsiteX4" fmla="*/ 90028 w 111004"/>
              <a:gd name="connsiteY4" fmla="*/ 118416 h 126001"/>
              <a:gd name="connsiteX5" fmla="*/ 102050 w 111004"/>
              <a:gd name="connsiteY5" fmla="*/ 123661 h 126001"/>
              <a:gd name="connsiteX6" fmla="*/ 92577 w 111004"/>
              <a:gd name="connsiteY6" fmla="*/ 115144 h 126001"/>
              <a:gd name="connsiteX7" fmla="*/ 68341 w 111004"/>
              <a:gd name="connsiteY7" fmla="*/ 90555 h 126001"/>
              <a:gd name="connsiteX8" fmla="*/ 35499 w 111004"/>
              <a:gd name="connsiteY8" fmla="*/ 51144 h 126001"/>
              <a:gd name="connsiteX9" fmla="*/ 18332 w 111004"/>
              <a:gd name="connsiteY9" fmla="*/ 26507 h 126001"/>
              <a:gd name="connsiteX10" fmla="*/ 11456 w 111004"/>
              <a:gd name="connsiteY10" fmla="*/ 13129 h 126001"/>
              <a:gd name="connsiteX11" fmla="*/ 10783 w 111004"/>
              <a:gd name="connsiteY11" fmla="*/ 10819 h 126001"/>
              <a:gd name="connsiteX12" fmla="*/ 10783 w 111004"/>
              <a:gd name="connsiteY12" fmla="*/ 10819 h 126001"/>
              <a:gd name="connsiteX13" fmla="*/ 12129 w 111004"/>
              <a:gd name="connsiteY13" fmla="*/ 11156 h 126001"/>
              <a:gd name="connsiteX14" fmla="*/ 37663 w 111004"/>
              <a:gd name="connsiteY14" fmla="*/ 27421 h 126001"/>
              <a:gd name="connsiteX15" fmla="*/ 58772 w 111004"/>
              <a:gd name="connsiteY15" fmla="*/ 48594 h 126001"/>
              <a:gd name="connsiteX16" fmla="*/ 90220 w 111004"/>
              <a:gd name="connsiteY16" fmla="*/ 88870 h 126001"/>
              <a:gd name="connsiteX17" fmla="*/ 106762 w 111004"/>
              <a:gd name="connsiteY17" fmla="*/ 118464 h 126001"/>
              <a:gd name="connsiteX18" fmla="*/ 107291 w 111004"/>
              <a:gd name="connsiteY18" fmla="*/ 122651 h 126001"/>
              <a:gd name="connsiteX19" fmla="*/ 105367 w 111004"/>
              <a:gd name="connsiteY19" fmla="*/ 123613 h 126001"/>
              <a:gd name="connsiteX20" fmla="*/ 102050 w 111004"/>
              <a:gd name="connsiteY20" fmla="*/ 123661 h 126001"/>
              <a:gd name="connsiteX21" fmla="*/ 105031 w 111004"/>
              <a:gd name="connsiteY21" fmla="*/ 125730 h 126001"/>
              <a:gd name="connsiteX22" fmla="*/ 107291 w 111004"/>
              <a:gd name="connsiteY22" fmla="*/ 125971 h 126001"/>
              <a:gd name="connsiteX23" fmla="*/ 110080 w 111004"/>
              <a:gd name="connsiteY23" fmla="*/ 124142 h 126001"/>
              <a:gd name="connsiteX24" fmla="*/ 110801 w 111004"/>
              <a:gd name="connsiteY24" fmla="*/ 117598 h 126001"/>
              <a:gd name="connsiteX25" fmla="*/ 96568 w 111004"/>
              <a:gd name="connsiteY25" fmla="*/ 84828 h 126001"/>
              <a:gd name="connsiteX26" fmla="*/ 66178 w 111004"/>
              <a:gd name="connsiteY26" fmla="*/ 42146 h 126001"/>
              <a:gd name="connsiteX27" fmla="*/ 44587 w 111004"/>
              <a:gd name="connsiteY27" fmla="*/ 19577 h 126001"/>
              <a:gd name="connsiteX28" fmla="*/ 31412 w 111004"/>
              <a:gd name="connsiteY28" fmla="*/ 9087 h 126001"/>
              <a:gd name="connsiteX29" fmla="*/ 15110 w 111004"/>
              <a:gd name="connsiteY29" fmla="*/ 859 h 126001"/>
              <a:gd name="connsiteX30" fmla="*/ 8234 w 111004"/>
              <a:gd name="connsiteY30" fmla="*/ 41 h 126001"/>
              <a:gd name="connsiteX31" fmla="*/ 1694 w 111004"/>
              <a:gd name="connsiteY31" fmla="*/ 3601 h 126001"/>
              <a:gd name="connsiteX32" fmla="*/ 108 w 111004"/>
              <a:gd name="connsiteY32" fmla="*/ 11060 h 126001"/>
              <a:gd name="connsiteX33" fmla="*/ 1454 w 111004"/>
              <a:gd name="connsiteY33" fmla="*/ 16690 h 12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004" h="126001">
                <a:moveTo>
                  <a:pt x="1454" y="16690"/>
                </a:moveTo>
                <a:cubicBezTo>
                  <a:pt x="3666" y="22561"/>
                  <a:pt x="6551" y="27325"/>
                  <a:pt x="9436" y="31992"/>
                </a:cubicBezTo>
                <a:cubicBezTo>
                  <a:pt x="15303" y="41231"/>
                  <a:pt x="21554" y="49460"/>
                  <a:pt x="27709" y="57159"/>
                </a:cubicBezTo>
                <a:cubicBezTo>
                  <a:pt x="40115" y="72509"/>
                  <a:pt x="52184" y="85406"/>
                  <a:pt x="62908" y="95752"/>
                </a:cubicBezTo>
                <a:cubicBezTo>
                  <a:pt x="73583" y="106097"/>
                  <a:pt x="82959" y="113797"/>
                  <a:pt x="90028" y="118416"/>
                </a:cubicBezTo>
                <a:cubicBezTo>
                  <a:pt x="97049" y="123132"/>
                  <a:pt x="101809" y="124335"/>
                  <a:pt x="102050" y="123661"/>
                </a:cubicBezTo>
                <a:cubicBezTo>
                  <a:pt x="102338" y="122939"/>
                  <a:pt x="98539" y="120630"/>
                  <a:pt x="92577" y="115144"/>
                </a:cubicBezTo>
                <a:cubicBezTo>
                  <a:pt x="86566" y="109706"/>
                  <a:pt x="78151" y="101382"/>
                  <a:pt x="68341" y="90555"/>
                </a:cubicBezTo>
                <a:cubicBezTo>
                  <a:pt x="58532" y="79728"/>
                  <a:pt x="47184" y="66446"/>
                  <a:pt x="35499" y="51144"/>
                </a:cubicBezTo>
                <a:cubicBezTo>
                  <a:pt x="29680" y="43493"/>
                  <a:pt x="23718" y="35265"/>
                  <a:pt x="18332" y="26507"/>
                </a:cubicBezTo>
                <a:cubicBezTo>
                  <a:pt x="15687" y="22176"/>
                  <a:pt x="13091" y="17556"/>
                  <a:pt x="11456" y="13129"/>
                </a:cubicBezTo>
                <a:cubicBezTo>
                  <a:pt x="11071" y="12119"/>
                  <a:pt x="10734" y="10723"/>
                  <a:pt x="10783" y="10819"/>
                </a:cubicBezTo>
                <a:lnTo>
                  <a:pt x="10783" y="10819"/>
                </a:lnTo>
                <a:cubicBezTo>
                  <a:pt x="10783" y="10819"/>
                  <a:pt x="12129" y="11156"/>
                  <a:pt x="12129" y="11156"/>
                </a:cubicBezTo>
                <a:cubicBezTo>
                  <a:pt x="21265" y="14044"/>
                  <a:pt x="29969" y="20828"/>
                  <a:pt x="37663" y="27421"/>
                </a:cubicBezTo>
                <a:cubicBezTo>
                  <a:pt x="45404" y="34206"/>
                  <a:pt x="52377" y="41472"/>
                  <a:pt x="58772" y="48594"/>
                </a:cubicBezTo>
                <a:cubicBezTo>
                  <a:pt x="71563" y="62934"/>
                  <a:pt x="82046" y="76840"/>
                  <a:pt x="90220" y="88870"/>
                </a:cubicBezTo>
                <a:cubicBezTo>
                  <a:pt x="98347" y="100900"/>
                  <a:pt x="104406" y="111198"/>
                  <a:pt x="106762" y="118464"/>
                </a:cubicBezTo>
                <a:cubicBezTo>
                  <a:pt x="107339" y="120245"/>
                  <a:pt x="107531" y="121881"/>
                  <a:pt x="107291" y="122651"/>
                </a:cubicBezTo>
                <a:cubicBezTo>
                  <a:pt x="107291" y="123324"/>
                  <a:pt x="106377" y="123613"/>
                  <a:pt x="105367" y="123613"/>
                </a:cubicBezTo>
                <a:cubicBezTo>
                  <a:pt x="103444" y="123613"/>
                  <a:pt x="102194" y="123276"/>
                  <a:pt x="102050" y="123661"/>
                </a:cubicBezTo>
                <a:cubicBezTo>
                  <a:pt x="101953" y="123950"/>
                  <a:pt x="102723" y="124912"/>
                  <a:pt x="105031" y="125730"/>
                </a:cubicBezTo>
                <a:cubicBezTo>
                  <a:pt x="105608" y="125923"/>
                  <a:pt x="106329" y="126067"/>
                  <a:pt x="107291" y="125971"/>
                </a:cubicBezTo>
                <a:cubicBezTo>
                  <a:pt x="108204" y="125875"/>
                  <a:pt x="109503" y="125249"/>
                  <a:pt x="110080" y="124142"/>
                </a:cubicBezTo>
                <a:cubicBezTo>
                  <a:pt x="111234" y="122025"/>
                  <a:pt x="111089" y="119812"/>
                  <a:pt x="110801" y="117598"/>
                </a:cubicBezTo>
                <a:cubicBezTo>
                  <a:pt x="109358" y="108792"/>
                  <a:pt x="104069" y="97724"/>
                  <a:pt x="96568" y="84828"/>
                </a:cubicBezTo>
                <a:cubicBezTo>
                  <a:pt x="88970" y="71980"/>
                  <a:pt x="78920" y="57255"/>
                  <a:pt x="66178" y="42146"/>
                </a:cubicBezTo>
                <a:cubicBezTo>
                  <a:pt x="59782" y="34591"/>
                  <a:pt x="52714" y="26940"/>
                  <a:pt x="44587" y="19577"/>
                </a:cubicBezTo>
                <a:cubicBezTo>
                  <a:pt x="40500" y="15920"/>
                  <a:pt x="36172" y="12359"/>
                  <a:pt x="31412" y="9087"/>
                </a:cubicBezTo>
                <a:cubicBezTo>
                  <a:pt x="26603" y="5815"/>
                  <a:pt x="21410" y="2832"/>
                  <a:pt x="15110" y="859"/>
                </a:cubicBezTo>
                <a:cubicBezTo>
                  <a:pt x="13716" y="377"/>
                  <a:pt x="10975" y="-152"/>
                  <a:pt x="8234" y="41"/>
                </a:cubicBezTo>
                <a:cubicBezTo>
                  <a:pt x="5589" y="233"/>
                  <a:pt x="3137" y="1484"/>
                  <a:pt x="1694" y="3601"/>
                </a:cubicBezTo>
                <a:cubicBezTo>
                  <a:pt x="204" y="5671"/>
                  <a:pt x="-229" y="8365"/>
                  <a:pt x="108" y="11060"/>
                </a:cubicBezTo>
                <a:cubicBezTo>
                  <a:pt x="396" y="13851"/>
                  <a:pt x="973" y="15102"/>
                  <a:pt x="1454" y="16690"/>
                </a:cubicBezTo>
                <a:close/>
              </a:path>
            </a:pathLst>
          </a:custGeom>
          <a:solidFill>
            <a:srgbClr val="29C8C1"/>
          </a:solidFill>
          <a:ln w="0" cap="flat">
            <a:noFill/>
            <a:prstDash val="solid"/>
            <a:miter/>
          </a:ln>
        </p:spPr>
        <p:txBody>
          <a:bodyPr rtlCol="0" anchor="ctr"/>
          <a:lstStyle/>
          <a:p>
            <a:pPr rtl="0"/>
            <a:endParaRPr lang="en-AU" dirty="0"/>
          </a:p>
        </p:txBody>
      </p:sp>
      <p:sp>
        <p:nvSpPr>
          <p:cNvPr id="34" name="Freeform: Shape 33">
            <a:extLst>
              <a:ext uri="{FF2B5EF4-FFF2-40B4-BE49-F238E27FC236}">
                <a16:creationId xmlns:a16="http://schemas.microsoft.com/office/drawing/2014/main" id="{4578A8D0-6290-D57A-9739-38CCD6A134C2}"/>
              </a:ext>
            </a:extLst>
          </p:cNvPr>
          <p:cNvSpPr/>
          <p:nvPr/>
        </p:nvSpPr>
        <p:spPr>
          <a:xfrm>
            <a:off x="5836585" y="2009851"/>
            <a:ext cx="429086" cy="771517"/>
          </a:xfrm>
          <a:custGeom>
            <a:avLst/>
            <a:gdLst>
              <a:gd name="connsiteX0" fmla="*/ 286325 w 429086"/>
              <a:gd name="connsiteY0" fmla="*/ 490720 h 771517"/>
              <a:gd name="connsiteX1" fmla="*/ 369802 w 429086"/>
              <a:gd name="connsiteY1" fmla="*/ 327352 h 771517"/>
              <a:gd name="connsiteX2" fmla="*/ 403174 w 429086"/>
              <a:gd name="connsiteY2" fmla="*/ 240206 h 771517"/>
              <a:gd name="connsiteX3" fmla="*/ 424235 w 429086"/>
              <a:gd name="connsiteY3" fmla="*/ 151761 h 771517"/>
              <a:gd name="connsiteX4" fmla="*/ 427409 w 429086"/>
              <a:gd name="connsiteY4" fmla="*/ 63653 h 771517"/>
              <a:gd name="connsiteX5" fmla="*/ 425678 w 429086"/>
              <a:gd name="connsiteY5" fmla="*/ 52826 h 771517"/>
              <a:gd name="connsiteX6" fmla="*/ 424620 w 429086"/>
              <a:gd name="connsiteY6" fmla="*/ 47437 h 771517"/>
              <a:gd name="connsiteX7" fmla="*/ 423177 w 429086"/>
              <a:gd name="connsiteY7" fmla="*/ 42096 h 771517"/>
              <a:gd name="connsiteX8" fmla="*/ 419667 w 429086"/>
              <a:gd name="connsiteY8" fmla="*/ 31605 h 771517"/>
              <a:gd name="connsiteX9" fmla="*/ 417311 w 429086"/>
              <a:gd name="connsiteY9" fmla="*/ 26505 h 771517"/>
              <a:gd name="connsiteX10" fmla="*/ 414618 w 429086"/>
              <a:gd name="connsiteY10" fmla="*/ 21548 h 771517"/>
              <a:gd name="connsiteX11" fmla="*/ 398509 w 429086"/>
              <a:gd name="connsiteY11" fmla="*/ 5187 h 771517"/>
              <a:gd name="connsiteX12" fmla="*/ 376150 w 429086"/>
              <a:gd name="connsiteY12" fmla="*/ 135 h 771517"/>
              <a:gd name="connsiteX13" fmla="*/ 370620 w 429086"/>
              <a:gd name="connsiteY13" fmla="*/ 712 h 771517"/>
              <a:gd name="connsiteX14" fmla="*/ 365186 w 429086"/>
              <a:gd name="connsiteY14" fmla="*/ 1675 h 771517"/>
              <a:gd name="connsiteX15" fmla="*/ 354992 w 429086"/>
              <a:gd name="connsiteY15" fmla="*/ 5043 h 771517"/>
              <a:gd name="connsiteX16" fmla="*/ 345471 w 429086"/>
              <a:gd name="connsiteY16" fmla="*/ 9422 h 771517"/>
              <a:gd name="connsiteX17" fmla="*/ 336479 w 429086"/>
              <a:gd name="connsiteY17" fmla="*/ 14475 h 771517"/>
              <a:gd name="connsiteX18" fmla="*/ 304550 w 429086"/>
              <a:gd name="connsiteY18" fmla="*/ 38390 h 771517"/>
              <a:gd name="connsiteX19" fmla="*/ 253146 w 429086"/>
              <a:gd name="connsiteY19" fmla="*/ 93825 h 771517"/>
              <a:gd name="connsiteX20" fmla="*/ 182316 w 429086"/>
              <a:gd name="connsiteY20" fmla="*/ 208688 h 771517"/>
              <a:gd name="connsiteX21" fmla="*/ 135432 w 429086"/>
              <a:gd name="connsiteY21" fmla="*/ 309355 h 771517"/>
              <a:gd name="connsiteX22" fmla="*/ 103455 w 429086"/>
              <a:gd name="connsiteY22" fmla="*/ 386780 h 771517"/>
              <a:gd name="connsiteX23" fmla="*/ 84317 w 429086"/>
              <a:gd name="connsiteY23" fmla="*/ 436103 h 771517"/>
              <a:gd name="connsiteX24" fmla="*/ 79604 w 429086"/>
              <a:gd name="connsiteY24" fmla="*/ 449048 h 771517"/>
              <a:gd name="connsiteX25" fmla="*/ 78354 w 429086"/>
              <a:gd name="connsiteY25" fmla="*/ 453571 h 771517"/>
              <a:gd name="connsiteX26" fmla="*/ 80614 w 429086"/>
              <a:gd name="connsiteY26" fmla="*/ 449433 h 771517"/>
              <a:gd name="connsiteX27" fmla="*/ 86288 w 429086"/>
              <a:gd name="connsiteY27" fmla="*/ 436873 h 771517"/>
              <a:gd name="connsiteX28" fmla="*/ 107302 w 429086"/>
              <a:gd name="connsiteY28" fmla="*/ 388320 h 771517"/>
              <a:gd name="connsiteX29" fmla="*/ 140914 w 429086"/>
              <a:gd name="connsiteY29" fmla="*/ 311713 h 771517"/>
              <a:gd name="connsiteX30" fmla="*/ 189000 w 429086"/>
              <a:gd name="connsiteY30" fmla="*/ 212104 h 771517"/>
              <a:gd name="connsiteX31" fmla="*/ 260118 w 429086"/>
              <a:gd name="connsiteY31" fmla="*/ 99214 h 771517"/>
              <a:gd name="connsiteX32" fmla="*/ 310705 w 429086"/>
              <a:gd name="connsiteY32" fmla="*/ 45416 h 771517"/>
              <a:gd name="connsiteX33" fmla="*/ 341480 w 429086"/>
              <a:gd name="connsiteY33" fmla="*/ 22655 h 771517"/>
              <a:gd name="connsiteX34" fmla="*/ 349895 w 429086"/>
              <a:gd name="connsiteY34" fmla="*/ 18036 h 771517"/>
              <a:gd name="connsiteX35" fmla="*/ 358598 w 429086"/>
              <a:gd name="connsiteY35" fmla="*/ 14090 h 771517"/>
              <a:gd name="connsiteX36" fmla="*/ 367542 w 429086"/>
              <a:gd name="connsiteY36" fmla="*/ 11154 h 771517"/>
              <a:gd name="connsiteX37" fmla="*/ 372110 w 429086"/>
              <a:gd name="connsiteY37" fmla="*/ 10384 h 771517"/>
              <a:gd name="connsiteX38" fmla="*/ 376630 w 429086"/>
              <a:gd name="connsiteY38" fmla="*/ 9903 h 771517"/>
              <a:gd name="connsiteX39" fmla="*/ 406059 w 429086"/>
              <a:gd name="connsiteY39" fmla="*/ 26649 h 771517"/>
              <a:gd name="connsiteX40" fmla="*/ 408319 w 429086"/>
              <a:gd name="connsiteY40" fmla="*/ 30836 h 771517"/>
              <a:gd name="connsiteX41" fmla="*/ 410339 w 429086"/>
              <a:gd name="connsiteY41" fmla="*/ 35263 h 771517"/>
              <a:gd name="connsiteX42" fmla="*/ 413464 w 429086"/>
              <a:gd name="connsiteY42" fmla="*/ 44694 h 771517"/>
              <a:gd name="connsiteX43" fmla="*/ 414762 w 429086"/>
              <a:gd name="connsiteY43" fmla="*/ 49554 h 771517"/>
              <a:gd name="connsiteX44" fmla="*/ 415724 w 429086"/>
              <a:gd name="connsiteY44" fmla="*/ 54559 h 771517"/>
              <a:gd name="connsiteX45" fmla="*/ 417311 w 429086"/>
              <a:gd name="connsiteY45" fmla="*/ 64712 h 771517"/>
              <a:gd name="connsiteX46" fmla="*/ 413945 w 429086"/>
              <a:gd name="connsiteY46" fmla="*/ 149981 h 771517"/>
              <a:gd name="connsiteX47" fmla="*/ 393124 w 429086"/>
              <a:gd name="connsiteY47" fmla="*/ 236742 h 771517"/>
              <a:gd name="connsiteX48" fmla="*/ 360089 w 429086"/>
              <a:gd name="connsiteY48" fmla="*/ 322877 h 771517"/>
              <a:gd name="connsiteX49" fmla="*/ 277381 w 429086"/>
              <a:gd name="connsiteY49" fmla="*/ 485282 h 771517"/>
              <a:gd name="connsiteX50" fmla="*/ 184624 w 429086"/>
              <a:gd name="connsiteY50" fmla="*/ 627429 h 771517"/>
              <a:gd name="connsiteX51" fmla="*/ 135047 w 429086"/>
              <a:gd name="connsiteY51" fmla="*/ 688831 h 771517"/>
              <a:gd name="connsiteX52" fmla="*/ 81768 w 429086"/>
              <a:gd name="connsiteY52" fmla="*/ 739982 h 771517"/>
              <a:gd name="connsiteX53" fmla="*/ 52484 w 429086"/>
              <a:gd name="connsiteY53" fmla="*/ 758075 h 771517"/>
              <a:gd name="connsiteX54" fmla="*/ 22094 w 429086"/>
              <a:gd name="connsiteY54" fmla="*/ 761877 h 771517"/>
              <a:gd name="connsiteX55" fmla="*/ 12140 w 429086"/>
              <a:gd name="connsiteY55" fmla="*/ 753697 h 771517"/>
              <a:gd name="connsiteX56" fmla="*/ 8389 w 429086"/>
              <a:gd name="connsiteY56" fmla="*/ 739309 h 771517"/>
              <a:gd name="connsiteX57" fmla="*/ 8582 w 429086"/>
              <a:gd name="connsiteY57" fmla="*/ 708608 h 771517"/>
              <a:gd name="connsiteX58" fmla="*/ 17910 w 429086"/>
              <a:gd name="connsiteY58" fmla="*/ 651249 h 771517"/>
              <a:gd name="connsiteX59" fmla="*/ 30509 w 429086"/>
              <a:gd name="connsiteY59" fmla="*/ 600723 h 771517"/>
              <a:gd name="connsiteX60" fmla="*/ 55129 w 429086"/>
              <a:gd name="connsiteY60" fmla="*/ 520891 h 771517"/>
              <a:gd name="connsiteX61" fmla="*/ 72584 w 429086"/>
              <a:gd name="connsiteY61" fmla="*/ 470991 h 771517"/>
              <a:gd name="connsiteX62" fmla="*/ 78402 w 429086"/>
              <a:gd name="connsiteY62" fmla="*/ 453475 h 771517"/>
              <a:gd name="connsiteX63" fmla="*/ 76142 w 429086"/>
              <a:gd name="connsiteY63" fmla="*/ 457613 h 771517"/>
              <a:gd name="connsiteX64" fmla="*/ 70564 w 429086"/>
              <a:gd name="connsiteY64" fmla="*/ 470221 h 771517"/>
              <a:gd name="connsiteX65" fmla="*/ 51186 w 429086"/>
              <a:gd name="connsiteY65" fmla="*/ 519496 h 771517"/>
              <a:gd name="connsiteX66" fmla="*/ 24738 w 429086"/>
              <a:gd name="connsiteY66" fmla="*/ 599086 h 771517"/>
              <a:gd name="connsiteX67" fmla="*/ 11274 w 429086"/>
              <a:gd name="connsiteY67" fmla="*/ 649757 h 771517"/>
              <a:gd name="connsiteX68" fmla="*/ 1080 w 429086"/>
              <a:gd name="connsiteY68" fmla="*/ 707886 h 771517"/>
              <a:gd name="connsiteX69" fmla="*/ 551 w 429086"/>
              <a:gd name="connsiteY69" fmla="*/ 740175 h 771517"/>
              <a:gd name="connsiteX70" fmla="*/ 4879 w 429086"/>
              <a:gd name="connsiteY70" fmla="*/ 757209 h 771517"/>
              <a:gd name="connsiteX71" fmla="*/ 7331 w 429086"/>
              <a:gd name="connsiteY71" fmla="*/ 761396 h 771517"/>
              <a:gd name="connsiteX72" fmla="*/ 10842 w 429086"/>
              <a:gd name="connsiteY72" fmla="*/ 765149 h 771517"/>
              <a:gd name="connsiteX73" fmla="*/ 19593 w 429086"/>
              <a:gd name="connsiteY73" fmla="*/ 769672 h 771517"/>
              <a:gd name="connsiteX74" fmla="*/ 38251 w 429086"/>
              <a:gd name="connsiteY74" fmla="*/ 771020 h 771517"/>
              <a:gd name="connsiteX75" fmla="*/ 55850 w 429086"/>
              <a:gd name="connsiteY75" fmla="*/ 765871 h 771517"/>
              <a:gd name="connsiteX76" fmla="*/ 87154 w 429086"/>
              <a:gd name="connsiteY76" fmla="*/ 746960 h 771517"/>
              <a:gd name="connsiteX77" fmla="*/ 142068 w 429086"/>
              <a:gd name="connsiteY77" fmla="*/ 695038 h 771517"/>
              <a:gd name="connsiteX78" fmla="*/ 192510 w 429086"/>
              <a:gd name="connsiteY78" fmla="*/ 633252 h 771517"/>
              <a:gd name="connsiteX79" fmla="*/ 286421 w 429086"/>
              <a:gd name="connsiteY79" fmla="*/ 490479 h 77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9086" h="771517">
                <a:moveTo>
                  <a:pt x="286325" y="490720"/>
                </a:moveTo>
                <a:cubicBezTo>
                  <a:pt x="316090" y="439472"/>
                  <a:pt x="344653" y="385048"/>
                  <a:pt x="369802" y="327352"/>
                </a:cubicBezTo>
                <a:cubicBezTo>
                  <a:pt x="382353" y="298480"/>
                  <a:pt x="393701" y="269463"/>
                  <a:pt x="403174" y="240206"/>
                </a:cubicBezTo>
                <a:cubicBezTo>
                  <a:pt x="412599" y="210901"/>
                  <a:pt x="419811" y="181307"/>
                  <a:pt x="424235" y="151761"/>
                </a:cubicBezTo>
                <a:cubicBezTo>
                  <a:pt x="428563" y="122264"/>
                  <a:pt x="430871" y="92718"/>
                  <a:pt x="427409" y="63653"/>
                </a:cubicBezTo>
                <a:cubicBezTo>
                  <a:pt x="426928" y="60044"/>
                  <a:pt x="426495" y="56387"/>
                  <a:pt x="425678" y="52826"/>
                </a:cubicBezTo>
                <a:lnTo>
                  <a:pt x="424620" y="47437"/>
                </a:lnTo>
                <a:lnTo>
                  <a:pt x="423177" y="42096"/>
                </a:lnTo>
                <a:cubicBezTo>
                  <a:pt x="422360" y="38535"/>
                  <a:pt x="420869" y="35070"/>
                  <a:pt x="419667" y="31605"/>
                </a:cubicBezTo>
                <a:cubicBezTo>
                  <a:pt x="418946" y="29873"/>
                  <a:pt x="418080" y="28189"/>
                  <a:pt x="417311" y="26505"/>
                </a:cubicBezTo>
                <a:cubicBezTo>
                  <a:pt x="416542" y="24820"/>
                  <a:pt x="415676" y="23136"/>
                  <a:pt x="414618" y="21548"/>
                </a:cubicBezTo>
                <a:cubicBezTo>
                  <a:pt x="410868" y="15052"/>
                  <a:pt x="405386" y="9085"/>
                  <a:pt x="398509" y="5187"/>
                </a:cubicBezTo>
                <a:cubicBezTo>
                  <a:pt x="391681" y="1338"/>
                  <a:pt x="383603" y="-539"/>
                  <a:pt x="376150" y="135"/>
                </a:cubicBezTo>
                <a:cubicBezTo>
                  <a:pt x="374226" y="87"/>
                  <a:pt x="372399" y="375"/>
                  <a:pt x="370620" y="712"/>
                </a:cubicBezTo>
                <a:cubicBezTo>
                  <a:pt x="368792" y="1049"/>
                  <a:pt x="366965" y="1338"/>
                  <a:pt x="365186" y="1675"/>
                </a:cubicBezTo>
                <a:cubicBezTo>
                  <a:pt x="361772" y="2781"/>
                  <a:pt x="358262" y="3648"/>
                  <a:pt x="354992" y="5043"/>
                </a:cubicBezTo>
                <a:cubicBezTo>
                  <a:pt x="351818" y="6487"/>
                  <a:pt x="348452" y="7690"/>
                  <a:pt x="345471" y="9422"/>
                </a:cubicBezTo>
                <a:cubicBezTo>
                  <a:pt x="342489" y="11106"/>
                  <a:pt x="339364" y="12694"/>
                  <a:pt x="336479" y="14475"/>
                </a:cubicBezTo>
                <a:cubicBezTo>
                  <a:pt x="324842" y="21596"/>
                  <a:pt x="314504" y="29969"/>
                  <a:pt x="304550" y="38390"/>
                </a:cubicBezTo>
                <a:cubicBezTo>
                  <a:pt x="285027" y="55762"/>
                  <a:pt x="268197" y="74721"/>
                  <a:pt x="253146" y="93825"/>
                </a:cubicBezTo>
                <a:cubicBezTo>
                  <a:pt x="223669" y="132658"/>
                  <a:pt x="201165" y="172068"/>
                  <a:pt x="182316" y="208688"/>
                </a:cubicBezTo>
                <a:cubicBezTo>
                  <a:pt x="163514" y="245355"/>
                  <a:pt x="148415" y="279376"/>
                  <a:pt x="135432" y="309355"/>
                </a:cubicBezTo>
                <a:cubicBezTo>
                  <a:pt x="122497" y="339334"/>
                  <a:pt x="112014" y="365463"/>
                  <a:pt x="103455" y="386780"/>
                </a:cubicBezTo>
                <a:cubicBezTo>
                  <a:pt x="94992" y="408146"/>
                  <a:pt x="88548" y="424795"/>
                  <a:pt x="84317" y="436103"/>
                </a:cubicBezTo>
                <a:cubicBezTo>
                  <a:pt x="82201" y="441782"/>
                  <a:pt x="80614" y="446113"/>
                  <a:pt x="79604" y="449048"/>
                </a:cubicBezTo>
                <a:cubicBezTo>
                  <a:pt x="78595" y="451983"/>
                  <a:pt x="78162" y="453523"/>
                  <a:pt x="78354" y="453571"/>
                </a:cubicBezTo>
                <a:cubicBezTo>
                  <a:pt x="78546" y="453619"/>
                  <a:pt x="79316" y="452224"/>
                  <a:pt x="80614" y="449433"/>
                </a:cubicBezTo>
                <a:cubicBezTo>
                  <a:pt x="81961" y="446642"/>
                  <a:pt x="83836" y="442407"/>
                  <a:pt x="86288" y="436873"/>
                </a:cubicBezTo>
                <a:cubicBezTo>
                  <a:pt x="91097" y="425758"/>
                  <a:pt x="98165" y="409397"/>
                  <a:pt x="107302" y="388320"/>
                </a:cubicBezTo>
                <a:cubicBezTo>
                  <a:pt x="116438" y="367244"/>
                  <a:pt x="127450" y="341403"/>
                  <a:pt x="140914" y="311713"/>
                </a:cubicBezTo>
                <a:cubicBezTo>
                  <a:pt x="154330" y="282023"/>
                  <a:pt x="169909" y="248339"/>
                  <a:pt x="189000" y="212104"/>
                </a:cubicBezTo>
                <a:cubicBezTo>
                  <a:pt x="208138" y="175966"/>
                  <a:pt x="230834" y="137133"/>
                  <a:pt x="260118" y="99214"/>
                </a:cubicBezTo>
                <a:cubicBezTo>
                  <a:pt x="275073" y="80544"/>
                  <a:pt x="291663" y="62162"/>
                  <a:pt x="310705" y="45416"/>
                </a:cubicBezTo>
                <a:cubicBezTo>
                  <a:pt x="320418" y="37284"/>
                  <a:pt x="330468" y="29248"/>
                  <a:pt x="341480" y="22655"/>
                </a:cubicBezTo>
                <a:cubicBezTo>
                  <a:pt x="344221" y="21019"/>
                  <a:pt x="347058" y="19575"/>
                  <a:pt x="349895" y="18036"/>
                </a:cubicBezTo>
                <a:cubicBezTo>
                  <a:pt x="352684" y="16448"/>
                  <a:pt x="355713" y="15437"/>
                  <a:pt x="358598" y="14090"/>
                </a:cubicBezTo>
                <a:cubicBezTo>
                  <a:pt x="361531" y="12839"/>
                  <a:pt x="364561" y="12165"/>
                  <a:pt x="367542" y="11154"/>
                </a:cubicBezTo>
                <a:lnTo>
                  <a:pt x="372110" y="10384"/>
                </a:lnTo>
                <a:cubicBezTo>
                  <a:pt x="373649" y="10096"/>
                  <a:pt x="375140" y="9807"/>
                  <a:pt x="376630" y="9903"/>
                </a:cubicBezTo>
                <a:cubicBezTo>
                  <a:pt x="388796" y="8989"/>
                  <a:pt x="399856" y="15437"/>
                  <a:pt x="406059" y="26649"/>
                </a:cubicBezTo>
                <a:cubicBezTo>
                  <a:pt x="406973" y="27948"/>
                  <a:pt x="407694" y="29344"/>
                  <a:pt x="408319" y="30836"/>
                </a:cubicBezTo>
                <a:cubicBezTo>
                  <a:pt x="408992" y="32327"/>
                  <a:pt x="409713" y="33723"/>
                  <a:pt x="410339" y="35263"/>
                </a:cubicBezTo>
                <a:cubicBezTo>
                  <a:pt x="411348" y="38390"/>
                  <a:pt x="412695" y="41422"/>
                  <a:pt x="413464" y="44694"/>
                </a:cubicBezTo>
                <a:lnTo>
                  <a:pt x="414762" y="49554"/>
                </a:lnTo>
                <a:lnTo>
                  <a:pt x="415724" y="54559"/>
                </a:lnTo>
                <a:cubicBezTo>
                  <a:pt x="416445" y="57879"/>
                  <a:pt x="416830" y="61296"/>
                  <a:pt x="417311" y="64712"/>
                </a:cubicBezTo>
                <a:cubicBezTo>
                  <a:pt x="420533" y="92237"/>
                  <a:pt x="418273" y="121157"/>
                  <a:pt x="413945" y="149981"/>
                </a:cubicBezTo>
                <a:cubicBezTo>
                  <a:pt x="409521" y="178901"/>
                  <a:pt x="402404" y="207918"/>
                  <a:pt x="393124" y="236742"/>
                </a:cubicBezTo>
                <a:cubicBezTo>
                  <a:pt x="383795" y="265566"/>
                  <a:pt x="372495" y="294293"/>
                  <a:pt x="360089" y="322877"/>
                </a:cubicBezTo>
                <a:cubicBezTo>
                  <a:pt x="335180" y="380092"/>
                  <a:pt x="306858" y="434275"/>
                  <a:pt x="277381" y="485282"/>
                </a:cubicBezTo>
                <a:cubicBezTo>
                  <a:pt x="247760" y="536193"/>
                  <a:pt x="216793" y="583977"/>
                  <a:pt x="184624" y="627429"/>
                </a:cubicBezTo>
                <a:cubicBezTo>
                  <a:pt x="168467" y="649083"/>
                  <a:pt x="152070" y="669775"/>
                  <a:pt x="135047" y="688831"/>
                </a:cubicBezTo>
                <a:cubicBezTo>
                  <a:pt x="118025" y="707838"/>
                  <a:pt x="100522" y="725498"/>
                  <a:pt x="81768" y="739982"/>
                </a:cubicBezTo>
                <a:cubicBezTo>
                  <a:pt x="72391" y="747248"/>
                  <a:pt x="62630" y="753504"/>
                  <a:pt x="52484" y="758075"/>
                </a:cubicBezTo>
                <a:cubicBezTo>
                  <a:pt x="42386" y="762406"/>
                  <a:pt x="31470" y="764957"/>
                  <a:pt x="22094" y="761877"/>
                </a:cubicBezTo>
                <a:cubicBezTo>
                  <a:pt x="17093" y="760337"/>
                  <a:pt x="14256" y="758172"/>
                  <a:pt x="12140" y="753697"/>
                </a:cubicBezTo>
                <a:cubicBezTo>
                  <a:pt x="10120" y="749414"/>
                  <a:pt x="9111" y="744361"/>
                  <a:pt x="8389" y="739309"/>
                </a:cubicBezTo>
                <a:cubicBezTo>
                  <a:pt x="7283" y="729059"/>
                  <a:pt x="7716" y="718665"/>
                  <a:pt x="8582" y="708608"/>
                </a:cubicBezTo>
                <a:cubicBezTo>
                  <a:pt x="10361" y="688398"/>
                  <a:pt x="14063" y="669246"/>
                  <a:pt x="17910" y="651249"/>
                </a:cubicBezTo>
                <a:cubicBezTo>
                  <a:pt x="21853" y="633252"/>
                  <a:pt x="26181" y="616410"/>
                  <a:pt x="30509" y="600723"/>
                </a:cubicBezTo>
                <a:cubicBezTo>
                  <a:pt x="39164" y="569348"/>
                  <a:pt x="47820" y="542642"/>
                  <a:pt x="55129" y="520891"/>
                </a:cubicBezTo>
                <a:cubicBezTo>
                  <a:pt x="62438" y="499141"/>
                  <a:pt x="68497" y="482395"/>
                  <a:pt x="72584" y="470991"/>
                </a:cubicBezTo>
                <a:cubicBezTo>
                  <a:pt x="76671" y="459586"/>
                  <a:pt x="78739" y="453619"/>
                  <a:pt x="78402" y="453475"/>
                </a:cubicBezTo>
                <a:cubicBezTo>
                  <a:pt x="78210" y="453427"/>
                  <a:pt x="77489" y="454822"/>
                  <a:pt x="76142" y="457613"/>
                </a:cubicBezTo>
                <a:cubicBezTo>
                  <a:pt x="74844" y="460452"/>
                  <a:pt x="72920" y="464639"/>
                  <a:pt x="70564" y="470221"/>
                </a:cubicBezTo>
                <a:cubicBezTo>
                  <a:pt x="65852" y="481385"/>
                  <a:pt x="59120" y="497938"/>
                  <a:pt x="51186" y="519496"/>
                </a:cubicBezTo>
                <a:cubicBezTo>
                  <a:pt x="43251" y="541102"/>
                  <a:pt x="34019" y="567712"/>
                  <a:pt x="24738" y="599086"/>
                </a:cubicBezTo>
                <a:cubicBezTo>
                  <a:pt x="20122" y="614774"/>
                  <a:pt x="15506" y="631664"/>
                  <a:pt x="11274" y="649757"/>
                </a:cubicBezTo>
                <a:cubicBezTo>
                  <a:pt x="7139" y="667898"/>
                  <a:pt x="3148" y="687195"/>
                  <a:pt x="1080" y="707886"/>
                </a:cubicBezTo>
                <a:cubicBezTo>
                  <a:pt x="118" y="718232"/>
                  <a:pt x="-507" y="728963"/>
                  <a:pt x="551" y="740175"/>
                </a:cubicBezTo>
                <a:cubicBezTo>
                  <a:pt x="1273" y="745757"/>
                  <a:pt x="2234" y="751531"/>
                  <a:pt x="4879" y="757209"/>
                </a:cubicBezTo>
                <a:cubicBezTo>
                  <a:pt x="5696" y="758605"/>
                  <a:pt x="6322" y="760048"/>
                  <a:pt x="7331" y="761396"/>
                </a:cubicBezTo>
                <a:cubicBezTo>
                  <a:pt x="8485" y="762647"/>
                  <a:pt x="9351" y="764139"/>
                  <a:pt x="10842" y="765149"/>
                </a:cubicBezTo>
                <a:cubicBezTo>
                  <a:pt x="13775" y="767555"/>
                  <a:pt x="16564" y="768614"/>
                  <a:pt x="19593" y="769672"/>
                </a:cubicBezTo>
                <a:cubicBezTo>
                  <a:pt x="25652" y="771645"/>
                  <a:pt x="32144" y="771934"/>
                  <a:pt x="38251" y="771020"/>
                </a:cubicBezTo>
                <a:cubicBezTo>
                  <a:pt x="44406" y="770106"/>
                  <a:pt x="50224" y="768181"/>
                  <a:pt x="55850" y="765871"/>
                </a:cubicBezTo>
                <a:cubicBezTo>
                  <a:pt x="67006" y="760963"/>
                  <a:pt x="77344" y="754418"/>
                  <a:pt x="87154" y="746960"/>
                </a:cubicBezTo>
                <a:cubicBezTo>
                  <a:pt x="106725" y="732042"/>
                  <a:pt x="124661" y="714190"/>
                  <a:pt x="142068" y="695038"/>
                </a:cubicBezTo>
                <a:cubicBezTo>
                  <a:pt x="159475" y="675838"/>
                  <a:pt x="176113" y="655050"/>
                  <a:pt x="192510" y="633252"/>
                </a:cubicBezTo>
                <a:cubicBezTo>
                  <a:pt x="225160" y="589607"/>
                  <a:pt x="256512" y="541631"/>
                  <a:pt x="286421" y="490479"/>
                </a:cubicBezTo>
                <a:close/>
              </a:path>
            </a:pathLst>
          </a:custGeom>
          <a:solidFill>
            <a:srgbClr val="29C8C1"/>
          </a:solidFill>
          <a:ln w="0" cap="flat">
            <a:noFill/>
            <a:prstDash val="solid"/>
            <a:miter/>
          </a:ln>
        </p:spPr>
        <p:txBody>
          <a:bodyPr rtlCol="0" anchor="ctr"/>
          <a:lstStyle/>
          <a:p>
            <a:pPr rtl="0"/>
            <a:endParaRPr lang="en-AU" dirty="0"/>
          </a:p>
        </p:txBody>
      </p:sp>
      <p:sp>
        <p:nvSpPr>
          <p:cNvPr id="35" name="Freeform: Shape 34">
            <a:extLst>
              <a:ext uri="{FF2B5EF4-FFF2-40B4-BE49-F238E27FC236}">
                <a16:creationId xmlns:a16="http://schemas.microsoft.com/office/drawing/2014/main" id="{99876072-C37C-8B38-EB38-448DC48C79F7}"/>
              </a:ext>
            </a:extLst>
          </p:cNvPr>
          <p:cNvSpPr/>
          <p:nvPr/>
        </p:nvSpPr>
        <p:spPr>
          <a:xfrm>
            <a:off x="5578726" y="1176978"/>
            <a:ext cx="4493400" cy="4503132"/>
          </a:xfrm>
          <a:custGeom>
            <a:avLst/>
            <a:gdLst>
              <a:gd name="connsiteX0" fmla="*/ 4492463 w 4493400"/>
              <a:gd name="connsiteY0" fmla="*/ 2215789 h 4503132"/>
              <a:gd name="connsiteX1" fmla="*/ 4490010 w 4493400"/>
              <a:gd name="connsiteY1" fmla="*/ 2143753 h 4503132"/>
              <a:gd name="connsiteX2" fmla="*/ 4485346 w 4493400"/>
              <a:gd name="connsiteY2" fmla="*/ 2074701 h 4503132"/>
              <a:gd name="connsiteX3" fmla="*/ 4485346 w 4493400"/>
              <a:gd name="connsiteY3" fmla="*/ 2073209 h 4503132"/>
              <a:gd name="connsiteX4" fmla="*/ 4485250 w 4493400"/>
              <a:gd name="connsiteY4" fmla="*/ 2071862 h 4503132"/>
              <a:gd name="connsiteX5" fmla="*/ 4485010 w 4493400"/>
              <a:gd name="connsiteY5" fmla="*/ 2069407 h 4503132"/>
              <a:gd name="connsiteX6" fmla="*/ 4484528 w 4493400"/>
              <a:gd name="connsiteY6" fmla="*/ 2064692 h 4503132"/>
              <a:gd name="connsiteX7" fmla="*/ 4483519 w 4493400"/>
              <a:gd name="connsiteY7" fmla="*/ 2055212 h 4503132"/>
              <a:gd name="connsiteX8" fmla="*/ 4481403 w 4493400"/>
              <a:gd name="connsiteY8" fmla="*/ 2036493 h 4503132"/>
              <a:gd name="connsiteX9" fmla="*/ 4476979 w 4493400"/>
              <a:gd name="connsiteY9" fmla="*/ 1999778 h 4503132"/>
              <a:gd name="connsiteX10" fmla="*/ 4467795 w 4493400"/>
              <a:gd name="connsiteY10" fmla="*/ 1929330 h 4503132"/>
              <a:gd name="connsiteX11" fmla="*/ 4464044 w 4493400"/>
              <a:gd name="connsiteY11" fmla="*/ 1904788 h 4503132"/>
              <a:gd name="connsiteX12" fmla="*/ 4463996 w 4493400"/>
              <a:gd name="connsiteY12" fmla="*/ 1904307 h 4503132"/>
              <a:gd name="connsiteX13" fmla="*/ 4434664 w 4493400"/>
              <a:gd name="connsiteY13" fmla="*/ 1746281 h 4503132"/>
              <a:gd name="connsiteX14" fmla="*/ 4421921 w 4493400"/>
              <a:gd name="connsiteY14" fmla="*/ 1693637 h 4503132"/>
              <a:gd name="connsiteX15" fmla="*/ 4419709 w 4493400"/>
              <a:gd name="connsiteY15" fmla="*/ 1694215 h 4503132"/>
              <a:gd name="connsiteX16" fmla="*/ 4408216 w 4493400"/>
              <a:gd name="connsiteY16" fmla="*/ 1651340 h 4503132"/>
              <a:gd name="connsiteX17" fmla="*/ 4405860 w 4493400"/>
              <a:gd name="connsiteY17" fmla="*/ 1643496 h 4503132"/>
              <a:gd name="connsiteX18" fmla="*/ 4401532 w 4493400"/>
              <a:gd name="connsiteY18" fmla="*/ 1624296 h 4503132"/>
              <a:gd name="connsiteX19" fmla="*/ 4395426 w 4493400"/>
              <a:gd name="connsiteY19" fmla="*/ 1599370 h 4503132"/>
              <a:gd name="connsiteX20" fmla="*/ 4387780 w 4493400"/>
              <a:gd name="connsiteY20" fmla="*/ 1575021 h 4503132"/>
              <a:gd name="connsiteX21" fmla="*/ 4387684 w 4493400"/>
              <a:gd name="connsiteY21" fmla="*/ 1575021 h 4503132"/>
              <a:gd name="connsiteX22" fmla="*/ 4387539 w 4493400"/>
              <a:gd name="connsiteY22" fmla="*/ 1574395 h 4503132"/>
              <a:gd name="connsiteX23" fmla="*/ 4385904 w 4493400"/>
              <a:gd name="connsiteY23" fmla="*/ 1575021 h 4503132"/>
              <a:gd name="connsiteX24" fmla="*/ 4385183 w 4493400"/>
              <a:gd name="connsiteY24" fmla="*/ 1570835 h 4503132"/>
              <a:gd name="connsiteX25" fmla="*/ 4384799 w 4493400"/>
              <a:gd name="connsiteY25" fmla="*/ 1567514 h 4503132"/>
              <a:gd name="connsiteX26" fmla="*/ 4384173 w 4493400"/>
              <a:gd name="connsiteY26" fmla="*/ 1563183 h 4503132"/>
              <a:gd name="connsiteX27" fmla="*/ 4383356 w 4493400"/>
              <a:gd name="connsiteY27" fmla="*/ 1560874 h 4503132"/>
              <a:gd name="connsiteX28" fmla="*/ 4383164 w 4493400"/>
              <a:gd name="connsiteY28" fmla="*/ 1560392 h 4503132"/>
              <a:gd name="connsiteX29" fmla="*/ 4382875 w 4493400"/>
              <a:gd name="connsiteY29" fmla="*/ 1559526 h 4503132"/>
              <a:gd name="connsiteX30" fmla="*/ 4381769 w 4493400"/>
              <a:gd name="connsiteY30" fmla="*/ 1556158 h 4503132"/>
              <a:gd name="connsiteX31" fmla="*/ 4377201 w 4493400"/>
              <a:gd name="connsiteY31" fmla="*/ 1542251 h 4503132"/>
              <a:gd name="connsiteX32" fmla="*/ 4376720 w 4493400"/>
              <a:gd name="connsiteY32" fmla="*/ 1541626 h 4503132"/>
              <a:gd name="connsiteX33" fmla="*/ 4377105 w 4493400"/>
              <a:gd name="connsiteY33" fmla="*/ 1542059 h 4503132"/>
              <a:gd name="connsiteX34" fmla="*/ 4376912 w 4493400"/>
              <a:gd name="connsiteY34" fmla="*/ 1541481 h 4503132"/>
              <a:gd name="connsiteX35" fmla="*/ 4376624 w 4493400"/>
              <a:gd name="connsiteY35" fmla="*/ 1541481 h 4503132"/>
              <a:gd name="connsiteX36" fmla="*/ 4376335 w 4493400"/>
              <a:gd name="connsiteY36" fmla="*/ 1541096 h 4503132"/>
              <a:gd name="connsiteX37" fmla="*/ 4375710 w 4493400"/>
              <a:gd name="connsiteY37" fmla="*/ 1540134 h 4503132"/>
              <a:gd name="connsiteX38" fmla="*/ 4374748 w 4493400"/>
              <a:gd name="connsiteY38" fmla="*/ 1538931 h 4503132"/>
              <a:gd name="connsiteX39" fmla="*/ 4373883 w 4493400"/>
              <a:gd name="connsiteY39" fmla="*/ 1538113 h 4503132"/>
              <a:gd name="connsiteX40" fmla="*/ 4373066 w 4493400"/>
              <a:gd name="connsiteY40" fmla="*/ 1537535 h 4503132"/>
              <a:gd name="connsiteX41" fmla="*/ 4371527 w 4493400"/>
              <a:gd name="connsiteY41" fmla="*/ 1536862 h 4503132"/>
              <a:gd name="connsiteX42" fmla="*/ 4368594 w 4493400"/>
              <a:gd name="connsiteY42" fmla="*/ 1536862 h 4503132"/>
              <a:gd name="connsiteX43" fmla="*/ 4366863 w 4493400"/>
              <a:gd name="connsiteY43" fmla="*/ 1537632 h 4503132"/>
              <a:gd name="connsiteX44" fmla="*/ 4365949 w 4493400"/>
              <a:gd name="connsiteY44" fmla="*/ 1538450 h 4503132"/>
              <a:gd name="connsiteX45" fmla="*/ 4364602 w 4493400"/>
              <a:gd name="connsiteY45" fmla="*/ 1540808 h 4503132"/>
              <a:gd name="connsiteX46" fmla="*/ 4360708 w 4493400"/>
              <a:gd name="connsiteY46" fmla="*/ 1525024 h 4503132"/>
              <a:gd name="connsiteX47" fmla="*/ 4359409 w 4493400"/>
              <a:gd name="connsiteY47" fmla="*/ 1518384 h 4503132"/>
              <a:gd name="connsiteX48" fmla="*/ 4359265 w 4493400"/>
              <a:gd name="connsiteY48" fmla="*/ 1516699 h 4503132"/>
              <a:gd name="connsiteX49" fmla="*/ 4359265 w 4493400"/>
              <a:gd name="connsiteY49" fmla="*/ 1515833 h 4503132"/>
              <a:gd name="connsiteX50" fmla="*/ 4359842 w 4493400"/>
              <a:gd name="connsiteY50" fmla="*/ 1515400 h 4503132"/>
              <a:gd name="connsiteX51" fmla="*/ 4361766 w 4493400"/>
              <a:gd name="connsiteY51" fmla="*/ 1518191 h 4503132"/>
              <a:gd name="connsiteX52" fmla="*/ 4362102 w 4493400"/>
              <a:gd name="connsiteY52" fmla="*/ 1518913 h 4503132"/>
              <a:gd name="connsiteX53" fmla="*/ 4362775 w 4493400"/>
              <a:gd name="connsiteY53" fmla="*/ 1520790 h 4503132"/>
              <a:gd name="connsiteX54" fmla="*/ 4364554 w 4493400"/>
              <a:gd name="connsiteY54" fmla="*/ 1525842 h 4503132"/>
              <a:gd name="connsiteX55" fmla="*/ 4365420 w 4493400"/>
              <a:gd name="connsiteY55" fmla="*/ 1528344 h 4503132"/>
              <a:gd name="connsiteX56" fmla="*/ 4365997 w 4493400"/>
              <a:gd name="connsiteY56" fmla="*/ 1529692 h 4503132"/>
              <a:gd name="connsiteX57" fmla="*/ 4366238 w 4493400"/>
              <a:gd name="connsiteY57" fmla="*/ 1530269 h 4503132"/>
              <a:gd name="connsiteX58" fmla="*/ 4366333 w 4493400"/>
              <a:gd name="connsiteY58" fmla="*/ 1530510 h 4503132"/>
              <a:gd name="connsiteX59" fmla="*/ 4366526 w 4493400"/>
              <a:gd name="connsiteY59" fmla="*/ 1530510 h 4503132"/>
              <a:gd name="connsiteX60" fmla="*/ 4367343 w 4493400"/>
              <a:gd name="connsiteY60" fmla="*/ 1530366 h 4503132"/>
              <a:gd name="connsiteX61" fmla="*/ 4367247 w 4493400"/>
              <a:gd name="connsiteY61" fmla="*/ 1530462 h 4503132"/>
              <a:gd name="connsiteX62" fmla="*/ 4366382 w 4493400"/>
              <a:gd name="connsiteY62" fmla="*/ 1530895 h 4503132"/>
              <a:gd name="connsiteX63" fmla="*/ 4367151 w 4493400"/>
              <a:gd name="connsiteY63" fmla="*/ 1530558 h 4503132"/>
              <a:gd name="connsiteX64" fmla="*/ 4369171 w 4493400"/>
              <a:gd name="connsiteY64" fmla="*/ 1529836 h 4503132"/>
              <a:gd name="connsiteX65" fmla="*/ 4369267 w 4493400"/>
              <a:gd name="connsiteY65" fmla="*/ 1530366 h 4503132"/>
              <a:gd name="connsiteX66" fmla="*/ 4369123 w 4493400"/>
              <a:gd name="connsiteY66" fmla="*/ 1529547 h 4503132"/>
              <a:gd name="connsiteX67" fmla="*/ 4368978 w 4493400"/>
              <a:gd name="connsiteY67" fmla="*/ 1529259 h 4503132"/>
              <a:gd name="connsiteX68" fmla="*/ 4368978 w 4493400"/>
              <a:gd name="connsiteY68" fmla="*/ 1529163 h 4503132"/>
              <a:gd name="connsiteX69" fmla="*/ 4368690 w 4493400"/>
              <a:gd name="connsiteY69" fmla="*/ 1528537 h 4503132"/>
              <a:gd name="connsiteX70" fmla="*/ 4368209 w 4493400"/>
              <a:gd name="connsiteY70" fmla="*/ 1527478 h 4503132"/>
              <a:gd name="connsiteX71" fmla="*/ 4367343 w 4493400"/>
              <a:gd name="connsiteY71" fmla="*/ 1524976 h 4503132"/>
              <a:gd name="connsiteX72" fmla="*/ 4365564 w 4493400"/>
              <a:gd name="connsiteY72" fmla="*/ 1519875 h 4503132"/>
              <a:gd name="connsiteX73" fmla="*/ 4361958 w 4493400"/>
              <a:gd name="connsiteY73" fmla="*/ 1509481 h 4503132"/>
              <a:gd name="connsiteX74" fmla="*/ 4361958 w 4493400"/>
              <a:gd name="connsiteY74" fmla="*/ 1509241 h 4503132"/>
              <a:gd name="connsiteX75" fmla="*/ 4362150 w 4493400"/>
              <a:gd name="connsiteY75" fmla="*/ 1509578 h 4503132"/>
              <a:gd name="connsiteX76" fmla="*/ 4362150 w 4493400"/>
              <a:gd name="connsiteY76" fmla="*/ 1509337 h 4503132"/>
              <a:gd name="connsiteX77" fmla="*/ 4361381 w 4493400"/>
              <a:gd name="connsiteY77" fmla="*/ 1507268 h 4503132"/>
              <a:gd name="connsiteX78" fmla="*/ 4359698 w 4493400"/>
              <a:gd name="connsiteY78" fmla="*/ 1503322 h 4503132"/>
              <a:gd name="connsiteX79" fmla="*/ 4356332 w 4493400"/>
              <a:gd name="connsiteY79" fmla="*/ 1495430 h 4503132"/>
              <a:gd name="connsiteX80" fmla="*/ 4353879 w 4493400"/>
              <a:gd name="connsiteY80" fmla="*/ 1489656 h 4503132"/>
              <a:gd name="connsiteX81" fmla="*/ 4356668 w 4493400"/>
              <a:gd name="connsiteY81" fmla="*/ 1488020 h 4503132"/>
              <a:gd name="connsiteX82" fmla="*/ 4356668 w 4493400"/>
              <a:gd name="connsiteY82" fmla="*/ 1487827 h 4503132"/>
              <a:gd name="connsiteX83" fmla="*/ 4356476 w 4493400"/>
              <a:gd name="connsiteY83" fmla="*/ 1487442 h 4503132"/>
              <a:gd name="connsiteX84" fmla="*/ 4356284 w 4493400"/>
              <a:gd name="connsiteY84" fmla="*/ 1486961 h 4503132"/>
              <a:gd name="connsiteX85" fmla="*/ 4355899 w 4493400"/>
              <a:gd name="connsiteY85" fmla="*/ 1486095 h 4503132"/>
              <a:gd name="connsiteX86" fmla="*/ 4355466 w 4493400"/>
              <a:gd name="connsiteY86" fmla="*/ 1485036 h 4503132"/>
              <a:gd name="connsiteX87" fmla="*/ 4352918 w 4493400"/>
              <a:gd name="connsiteY87" fmla="*/ 1477578 h 4503132"/>
              <a:gd name="connsiteX88" fmla="*/ 4347628 w 4493400"/>
              <a:gd name="connsiteY88" fmla="*/ 1462131 h 4503132"/>
              <a:gd name="connsiteX89" fmla="*/ 4347628 w 4493400"/>
              <a:gd name="connsiteY89" fmla="*/ 1462131 h 4503132"/>
              <a:gd name="connsiteX90" fmla="*/ 4347003 w 4493400"/>
              <a:gd name="connsiteY90" fmla="*/ 1459773 h 4503132"/>
              <a:gd name="connsiteX91" fmla="*/ 4345849 w 4493400"/>
              <a:gd name="connsiteY91" fmla="*/ 1456453 h 4503132"/>
              <a:gd name="connsiteX92" fmla="*/ 4343397 w 4493400"/>
              <a:gd name="connsiteY92" fmla="*/ 1449812 h 4503132"/>
              <a:gd name="connsiteX93" fmla="*/ 4338203 w 4493400"/>
              <a:gd name="connsiteY93" fmla="*/ 1436098 h 4503132"/>
              <a:gd name="connsiteX94" fmla="*/ 4326759 w 4493400"/>
              <a:gd name="connsiteY94" fmla="*/ 1406697 h 4503132"/>
              <a:gd name="connsiteX95" fmla="*/ 4321662 w 4493400"/>
              <a:gd name="connsiteY95" fmla="*/ 1393897 h 4503132"/>
              <a:gd name="connsiteX96" fmla="*/ 4318248 w 4493400"/>
              <a:gd name="connsiteY96" fmla="*/ 1384995 h 4503132"/>
              <a:gd name="connsiteX97" fmla="*/ 4315459 w 4493400"/>
              <a:gd name="connsiteY97" fmla="*/ 1378643 h 4503132"/>
              <a:gd name="connsiteX98" fmla="*/ 4299831 w 4493400"/>
              <a:gd name="connsiteY98" fmla="*/ 1341783 h 4503132"/>
              <a:gd name="connsiteX99" fmla="*/ 4278433 w 4493400"/>
              <a:gd name="connsiteY99" fmla="*/ 1295539 h 4503132"/>
              <a:gd name="connsiteX100" fmla="*/ 4278433 w 4493400"/>
              <a:gd name="connsiteY100" fmla="*/ 1295539 h 4503132"/>
              <a:gd name="connsiteX101" fmla="*/ 4278385 w 4493400"/>
              <a:gd name="connsiteY101" fmla="*/ 1295443 h 4503132"/>
              <a:gd name="connsiteX102" fmla="*/ 4276028 w 4493400"/>
              <a:gd name="connsiteY102" fmla="*/ 1296550 h 4503132"/>
              <a:gd name="connsiteX103" fmla="*/ 4262853 w 4493400"/>
              <a:gd name="connsiteY103" fmla="*/ 1265127 h 4503132"/>
              <a:gd name="connsiteX104" fmla="*/ 4246263 w 4493400"/>
              <a:gd name="connsiteY104" fmla="*/ 1229422 h 4503132"/>
              <a:gd name="connsiteX105" fmla="*/ 4245350 w 4493400"/>
              <a:gd name="connsiteY105" fmla="*/ 1227690 h 4503132"/>
              <a:gd name="connsiteX106" fmla="*/ 4233569 w 4493400"/>
              <a:gd name="connsiteY106" fmla="*/ 1204929 h 4503132"/>
              <a:gd name="connsiteX107" fmla="*/ 4227750 w 4493400"/>
              <a:gd name="connsiteY107" fmla="*/ 1193765 h 4503132"/>
              <a:gd name="connsiteX108" fmla="*/ 4223230 w 4493400"/>
              <a:gd name="connsiteY108" fmla="*/ 1185488 h 4503132"/>
              <a:gd name="connsiteX109" fmla="*/ 4214046 w 4493400"/>
              <a:gd name="connsiteY109" fmla="*/ 1168598 h 4503132"/>
              <a:gd name="connsiteX110" fmla="*/ 4210920 w 4493400"/>
              <a:gd name="connsiteY110" fmla="*/ 1170379 h 4503132"/>
              <a:gd name="connsiteX111" fmla="*/ 4211738 w 4493400"/>
              <a:gd name="connsiteY111" fmla="*/ 1168069 h 4503132"/>
              <a:gd name="connsiteX112" fmla="*/ 4211738 w 4493400"/>
              <a:gd name="connsiteY112" fmla="*/ 1166481 h 4503132"/>
              <a:gd name="connsiteX113" fmla="*/ 4211449 w 4493400"/>
              <a:gd name="connsiteY113" fmla="*/ 1165182 h 4503132"/>
              <a:gd name="connsiteX114" fmla="*/ 4210920 w 4493400"/>
              <a:gd name="connsiteY114" fmla="*/ 1163738 h 4503132"/>
              <a:gd name="connsiteX115" fmla="*/ 4206881 w 4493400"/>
              <a:gd name="connsiteY115" fmla="*/ 1155654 h 4503132"/>
              <a:gd name="connsiteX116" fmla="*/ 4174423 w 4493400"/>
              <a:gd name="connsiteY116" fmla="*/ 1100219 h 4503132"/>
              <a:gd name="connsiteX117" fmla="*/ 4174615 w 4493400"/>
              <a:gd name="connsiteY117" fmla="*/ 1100556 h 4503132"/>
              <a:gd name="connsiteX118" fmla="*/ 4159180 w 4493400"/>
              <a:gd name="connsiteY118" fmla="*/ 1075197 h 4503132"/>
              <a:gd name="connsiteX119" fmla="*/ 4144369 w 4493400"/>
              <a:gd name="connsiteY119" fmla="*/ 1051811 h 4503132"/>
              <a:gd name="connsiteX120" fmla="*/ 4116672 w 4493400"/>
              <a:gd name="connsiteY120" fmla="*/ 1010090 h 4503132"/>
              <a:gd name="connsiteX121" fmla="*/ 4073347 w 4493400"/>
              <a:gd name="connsiteY121" fmla="*/ 949844 h 4503132"/>
              <a:gd name="connsiteX122" fmla="*/ 4073347 w 4493400"/>
              <a:gd name="connsiteY122" fmla="*/ 949844 h 4503132"/>
              <a:gd name="connsiteX123" fmla="*/ 4073347 w 4493400"/>
              <a:gd name="connsiteY123" fmla="*/ 949844 h 4503132"/>
              <a:gd name="connsiteX124" fmla="*/ 4071327 w 4493400"/>
              <a:gd name="connsiteY124" fmla="*/ 951287 h 4503132"/>
              <a:gd name="connsiteX125" fmla="*/ 4062191 w 4493400"/>
              <a:gd name="connsiteY125" fmla="*/ 938488 h 4503132"/>
              <a:gd name="connsiteX126" fmla="*/ 4049833 w 4493400"/>
              <a:gd name="connsiteY126" fmla="*/ 922030 h 4503132"/>
              <a:gd name="connsiteX127" fmla="*/ 4054257 w 4493400"/>
              <a:gd name="connsiteY127" fmla="*/ 918421 h 4503132"/>
              <a:gd name="connsiteX128" fmla="*/ 4054257 w 4493400"/>
              <a:gd name="connsiteY128" fmla="*/ 918325 h 4503132"/>
              <a:gd name="connsiteX129" fmla="*/ 4054160 w 4493400"/>
              <a:gd name="connsiteY129" fmla="*/ 918325 h 4503132"/>
              <a:gd name="connsiteX130" fmla="*/ 4054160 w 4493400"/>
              <a:gd name="connsiteY130" fmla="*/ 918325 h 4503132"/>
              <a:gd name="connsiteX131" fmla="*/ 4054016 w 4493400"/>
              <a:gd name="connsiteY131" fmla="*/ 918133 h 4503132"/>
              <a:gd name="connsiteX132" fmla="*/ 4053391 w 4493400"/>
              <a:gd name="connsiteY132" fmla="*/ 917315 h 4503132"/>
              <a:gd name="connsiteX133" fmla="*/ 4052141 w 4493400"/>
              <a:gd name="connsiteY133" fmla="*/ 915630 h 4503132"/>
              <a:gd name="connsiteX134" fmla="*/ 4049640 w 4493400"/>
              <a:gd name="connsiteY134" fmla="*/ 912310 h 4503132"/>
              <a:gd name="connsiteX135" fmla="*/ 4039446 w 4493400"/>
              <a:gd name="connsiteY135" fmla="*/ 898452 h 4503132"/>
              <a:gd name="connsiteX136" fmla="*/ 4017471 w 4493400"/>
              <a:gd name="connsiteY136" fmla="*/ 869579 h 4503132"/>
              <a:gd name="connsiteX137" fmla="*/ 3941159 w 4493400"/>
              <a:gd name="connsiteY137" fmla="*/ 778536 h 4503132"/>
              <a:gd name="connsiteX138" fmla="*/ 3941159 w 4493400"/>
              <a:gd name="connsiteY138" fmla="*/ 778536 h 4503132"/>
              <a:gd name="connsiteX139" fmla="*/ 3941159 w 4493400"/>
              <a:gd name="connsiteY139" fmla="*/ 778536 h 4503132"/>
              <a:gd name="connsiteX140" fmla="*/ 3937120 w 4493400"/>
              <a:gd name="connsiteY140" fmla="*/ 782097 h 4503132"/>
              <a:gd name="connsiteX141" fmla="*/ 3934042 w 4493400"/>
              <a:gd name="connsiteY141" fmla="*/ 778536 h 4503132"/>
              <a:gd name="connsiteX142" fmla="*/ 3934090 w 4493400"/>
              <a:gd name="connsiteY142" fmla="*/ 778536 h 4503132"/>
              <a:gd name="connsiteX143" fmla="*/ 3934619 w 4493400"/>
              <a:gd name="connsiteY143" fmla="*/ 778007 h 4503132"/>
              <a:gd name="connsiteX144" fmla="*/ 3934859 w 4493400"/>
              <a:gd name="connsiteY144" fmla="*/ 777670 h 4503132"/>
              <a:gd name="connsiteX145" fmla="*/ 3935148 w 4493400"/>
              <a:gd name="connsiteY145" fmla="*/ 777477 h 4503132"/>
              <a:gd name="connsiteX146" fmla="*/ 3935677 w 4493400"/>
              <a:gd name="connsiteY146" fmla="*/ 777622 h 4503132"/>
              <a:gd name="connsiteX147" fmla="*/ 3920722 w 4493400"/>
              <a:gd name="connsiteY147" fmla="*/ 761405 h 4503132"/>
              <a:gd name="connsiteX148" fmla="*/ 3899035 w 4493400"/>
              <a:gd name="connsiteY148" fmla="*/ 737826 h 4503132"/>
              <a:gd name="connsiteX149" fmla="*/ 3899035 w 4493400"/>
              <a:gd name="connsiteY149" fmla="*/ 737730 h 4503132"/>
              <a:gd name="connsiteX150" fmla="*/ 3898122 w 4493400"/>
              <a:gd name="connsiteY150" fmla="*/ 736864 h 4503132"/>
              <a:gd name="connsiteX151" fmla="*/ 3892207 w 4493400"/>
              <a:gd name="connsiteY151" fmla="*/ 730464 h 4503132"/>
              <a:gd name="connsiteX152" fmla="*/ 3892207 w 4493400"/>
              <a:gd name="connsiteY152" fmla="*/ 730464 h 4503132"/>
              <a:gd name="connsiteX153" fmla="*/ 3850517 w 4493400"/>
              <a:gd name="connsiteY153" fmla="*/ 685135 h 4503132"/>
              <a:gd name="connsiteX154" fmla="*/ 3845997 w 4493400"/>
              <a:gd name="connsiteY154" fmla="*/ 680227 h 4503132"/>
              <a:gd name="connsiteX155" fmla="*/ 3865568 w 4493400"/>
              <a:gd name="connsiteY155" fmla="*/ 701159 h 4503132"/>
              <a:gd name="connsiteX156" fmla="*/ 3866626 w 4493400"/>
              <a:gd name="connsiteY156" fmla="*/ 702266 h 4503132"/>
              <a:gd name="connsiteX157" fmla="*/ 3870857 w 4493400"/>
              <a:gd name="connsiteY157" fmla="*/ 706693 h 4503132"/>
              <a:gd name="connsiteX158" fmla="*/ 3879369 w 4493400"/>
              <a:gd name="connsiteY158" fmla="*/ 715595 h 4503132"/>
              <a:gd name="connsiteX159" fmla="*/ 3887880 w 4493400"/>
              <a:gd name="connsiteY159" fmla="*/ 724642 h 4503132"/>
              <a:gd name="connsiteX160" fmla="*/ 3891919 w 4493400"/>
              <a:gd name="connsiteY160" fmla="*/ 729454 h 4503132"/>
              <a:gd name="connsiteX161" fmla="*/ 3892255 w 4493400"/>
              <a:gd name="connsiteY161" fmla="*/ 730223 h 4503132"/>
              <a:gd name="connsiteX162" fmla="*/ 3895910 w 4493400"/>
              <a:gd name="connsiteY162" fmla="*/ 733977 h 4503132"/>
              <a:gd name="connsiteX163" fmla="*/ 3896487 w 4493400"/>
              <a:gd name="connsiteY163" fmla="*/ 732629 h 4503132"/>
              <a:gd name="connsiteX164" fmla="*/ 3897785 w 4493400"/>
              <a:gd name="connsiteY164" fmla="*/ 730464 h 4503132"/>
              <a:gd name="connsiteX165" fmla="*/ 3898458 w 4493400"/>
              <a:gd name="connsiteY165" fmla="*/ 729502 h 4503132"/>
              <a:gd name="connsiteX166" fmla="*/ 3897593 w 4493400"/>
              <a:gd name="connsiteY166" fmla="*/ 728780 h 4503132"/>
              <a:gd name="connsiteX167" fmla="*/ 3895333 w 4493400"/>
              <a:gd name="connsiteY167" fmla="*/ 726855 h 4503132"/>
              <a:gd name="connsiteX168" fmla="*/ 3858307 w 4493400"/>
              <a:gd name="connsiteY168" fmla="*/ 691968 h 4503132"/>
              <a:gd name="connsiteX169" fmla="*/ 3843448 w 4493400"/>
              <a:gd name="connsiteY169" fmla="*/ 677724 h 4503132"/>
              <a:gd name="connsiteX170" fmla="*/ 3843160 w 4493400"/>
              <a:gd name="connsiteY170" fmla="*/ 677339 h 4503132"/>
              <a:gd name="connsiteX171" fmla="*/ 3820656 w 4493400"/>
              <a:gd name="connsiteY171" fmla="*/ 650536 h 4503132"/>
              <a:gd name="connsiteX172" fmla="*/ 3793247 w 4493400"/>
              <a:gd name="connsiteY172" fmla="*/ 622482 h 4503132"/>
              <a:gd name="connsiteX173" fmla="*/ 3776705 w 4493400"/>
              <a:gd name="connsiteY173" fmla="*/ 606314 h 4503132"/>
              <a:gd name="connsiteX174" fmla="*/ 3767809 w 4493400"/>
              <a:gd name="connsiteY174" fmla="*/ 597845 h 4503132"/>
              <a:gd name="connsiteX175" fmla="*/ 3763193 w 4493400"/>
              <a:gd name="connsiteY175" fmla="*/ 593562 h 4503132"/>
              <a:gd name="connsiteX176" fmla="*/ 3760693 w 4493400"/>
              <a:gd name="connsiteY176" fmla="*/ 591301 h 4503132"/>
              <a:gd name="connsiteX177" fmla="*/ 3759106 w 4493400"/>
              <a:gd name="connsiteY177" fmla="*/ 590001 h 4503132"/>
              <a:gd name="connsiteX178" fmla="*/ 3757952 w 4493400"/>
              <a:gd name="connsiteY178" fmla="*/ 589328 h 4503132"/>
              <a:gd name="connsiteX179" fmla="*/ 3754874 w 4493400"/>
              <a:gd name="connsiteY179" fmla="*/ 588895 h 4503132"/>
              <a:gd name="connsiteX180" fmla="*/ 3752278 w 4493400"/>
              <a:gd name="connsiteY180" fmla="*/ 590098 h 4503132"/>
              <a:gd name="connsiteX181" fmla="*/ 3705106 w 4493400"/>
              <a:gd name="connsiteY181" fmla="*/ 545346 h 4503132"/>
              <a:gd name="connsiteX182" fmla="*/ 3703471 w 4493400"/>
              <a:gd name="connsiteY182" fmla="*/ 543806 h 4503132"/>
              <a:gd name="connsiteX183" fmla="*/ 3704625 w 4493400"/>
              <a:gd name="connsiteY183" fmla="*/ 542459 h 4503132"/>
              <a:gd name="connsiteX184" fmla="*/ 3704625 w 4493400"/>
              <a:gd name="connsiteY184" fmla="*/ 542459 h 4503132"/>
              <a:gd name="connsiteX185" fmla="*/ 3704625 w 4493400"/>
              <a:gd name="connsiteY185" fmla="*/ 542459 h 4503132"/>
              <a:gd name="connsiteX186" fmla="*/ 3704625 w 4493400"/>
              <a:gd name="connsiteY186" fmla="*/ 542459 h 4503132"/>
              <a:gd name="connsiteX187" fmla="*/ 3693324 w 4493400"/>
              <a:gd name="connsiteY187" fmla="*/ 532690 h 4503132"/>
              <a:gd name="connsiteX188" fmla="*/ 3687554 w 4493400"/>
              <a:gd name="connsiteY188" fmla="*/ 527686 h 4503132"/>
              <a:gd name="connsiteX189" fmla="*/ 3684525 w 4493400"/>
              <a:gd name="connsiteY189" fmla="*/ 525183 h 4503132"/>
              <a:gd name="connsiteX190" fmla="*/ 3682938 w 4493400"/>
              <a:gd name="connsiteY190" fmla="*/ 523932 h 4503132"/>
              <a:gd name="connsiteX191" fmla="*/ 3681976 w 4493400"/>
              <a:gd name="connsiteY191" fmla="*/ 523211 h 4503132"/>
              <a:gd name="connsiteX192" fmla="*/ 3680918 w 4493400"/>
              <a:gd name="connsiteY192" fmla="*/ 522537 h 4503132"/>
              <a:gd name="connsiteX193" fmla="*/ 3679956 w 4493400"/>
              <a:gd name="connsiteY193" fmla="*/ 522200 h 4503132"/>
              <a:gd name="connsiteX194" fmla="*/ 3679331 w 4493400"/>
              <a:gd name="connsiteY194" fmla="*/ 522056 h 4503132"/>
              <a:gd name="connsiteX195" fmla="*/ 3632304 w 4493400"/>
              <a:gd name="connsiteY195" fmla="*/ 484281 h 4503132"/>
              <a:gd name="connsiteX196" fmla="*/ 3624369 w 4493400"/>
              <a:gd name="connsiteY196" fmla="*/ 477929 h 4503132"/>
              <a:gd name="connsiteX197" fmla="*/ 3623360 w 4493400"/>
              <a:gd name="connsiteY197" fmla="*/ 477111 h 4503132"/>
              <a:gd name="connsiteX198" fmla="*/ 3623023 w 4493400"/>
              <a:gd name="connsiteY198" fmla="*/ 476871 h 4503132"/>
              <a:gd name="connsiteX199" fmla="*/ 3622686 w 4493400"/>
              <a:gd name="connsiteY199" fmla="*/ 476630 h 4503132"/>
              <a:gd name="connsiteX200" fmla="*/ 3620619 w 4493400"/>
              <a:gd name="connsiteY200" fmla="*/ 476101 h 4503132"/>
              <a:gd name="connsiteX201" fmla="*/ 3618887 w 4493400"/>
              <a:gd name="connsiteY201" fmla="*/ 478026 h 4503132"/>
              <a:gd name="connsiteX202" fmla="*/ 3608741 w 4493400"/>
              <a:gd name="connsiteY202" fmla="*/ 468787 h 4503132"/>
              <a:gd name="connsiteX203" fmla="*/ 3601865 w 4493400"/>
              <a:gd name="connsiteY203" fmla="*/ 462579 h 4503132"/>
              <a:gd name="connsiteX204" fmla="*/ 3598451 w 4493400"/>
              <a:gd name="connsiteY204" fmla="*/ 459548 h 4503132"/>
              <a:gd name="connsiteX205" fmla="*/ 3596720 w 4493400"/>
              <a:gd name="connsiteY205" fmla="*/ 458056 h 4503132"/>
              <a:gd name="connsiteX206" fmla="*/ 3595854 w 4493400"/>
              <a:gd name="connsiteY206" fmla="*/ 457286 h 4503132"/>
              <a:gd name="connsiteX207" fmla="*/ 3595374 w 4493400"/>
              <a:gd name="connsiteY207" fmla="*/ 456901 h 4503132"/>
              <a:gd name="connsiteX208" fmla="*/ 3595085 w 4493400"/>
              <a:gd name="connsiteY208" fmla="*/ 456708 h 4503132"/>
              <a:gd name="connsiteX209" fmla="*/ 3594460 w 4493400"/>
              <a:gd name="connsiteY209" fmla="*/ 456324 h 4503132"/>
              <a:gd name="connsiteX210" fmla="*/ 3594845 w 4493400"/>
              <a:gd name="connsiteY210" fmla="*/ 456564 h 4503132"/>
              <a:gd name="connsiteX211" fmla="*/ 3565657 w 4493400"/>
              <a:gd name="connsiteY211" fmla="*/ 435295 h 4503132"/>
              <a:gd name="connsiteX212" fmla="*/ 3565657 w 4493400"/>
              <a:gd name="connsiteY212" fmla="*/ 435295 h 4503132"/>
              <a:gd name="connsiteX213" fmla="*/ 3565560 w 4493400"/>
              <a:gd name="connsiteY213" fmla="*/ 435247 h 4503132"/>
              <a:gd name="connsiteX214" fmla="*/ 3563445 w 4493400"/>
              <a:gd name="connsiteY214" fmla="*/ 438278 h 4503132"/>
              <a:gd name="connsiteX215" fmla="*/ 3554212 w 4493400"/>
              <a:gd name="connsiteY215" fmla="*/ 429665 h 4503132"/>
              <a:gd name="connsiteX216" fmla="*/ 3546038 w 4493400"/>
              <a:gd name="connsiteY216" fmla="*/ 422014 h 4503132"/>
              <a:gd name="connsiteX217" fmla="*/ 3541998 w 4493400"/>
              <a:gd name="connsiteY217" fmla="*/ 418260 h 4503132"/>
              <a:gd name="connsiteX218" fmla="*/ 3537334 w 4493400"/>
              <a:gd name="connsiteY218" fmla="*/ 414459 h 4503132"/>
              <a:gd name="connsiteX219" fmla="*/ 3537574 w 4493400"/>
              <a:gd name="connsiteY219" fmla="*/ 414603 h 4503132"/>
              <a:gd name="connsiteX220" fmla="*/ 3507906 w 4493400"/>
              <a:gd name="connsiteY220" fmla="*/ 394297 h 4503132"/>
              <a:gd name="connsiteX221" fmla="*/ 3507906 w 4493400"/>
              <a:gd name="connsiteY221" fmla="*/ 394297 h 4503132"/>
              <a:gd name="connsiteX222" fmla="*/ 3507809 w 4493400"/>
              <a:gd name="connsiteY222" fmla="*/ 394248 h 4503132"/>
              <a:gd name="connsiteX223" fmla="*/ 3505309 w 4493400"/>
              <a:gd name="connsiteY223" fmla="*/ 398194 h 4503132"/>
              <a:gd name="connsiteX224" fmla="*/ 3505549 w 4493400"/>
              <a:gd name="connsiteY224" fmla="*/ 398339 h 4503132"/>
              <a:gd name="connsiteX225" fmla="*/ 3511079 w 4493400"/>
              <a:gd name="connsiteY225" fmla="*/ 403343 h 4503132"/>
              <a:gd name="connsiteX226" fmla="*/ 3516657 w 4493400"/>
              <a:gd name="connsiteY226" fmla="*/ 409021 h 4503132"/>
              <a:gd name="connsiteX227" fmla="*/ 3527477 w 4493400"/>
              <a:gd name="connsiteY227" fmla="*/ 419800 h 4503132"/>
              <a:gd name="connsiteX228" fmla="*/ 3547384 w 4493400"/>
              <a:gd name="connsiteY228" fmla="*/ 439000 h 4503132"/>
              <a:gd name="connsiteX229" fmla="*/ 3579313 w 4493400"/>
              <a:gd name="connsiteY229" fmla="*/ 468450 h 4503132"/>
              <a:gd name="connsiteX230" fmla="*/ 3599365 w 4493400"/>
              <a:gd name="connsiteY230" fmla="*/ 486206 h 4503132"/>
              <a:gd name="connsiteX231" fmla="*/ 3606530 w 4493400"/>
              <a:gd name="connsiteY231" fmla="*/ 491932 h 4503132"/>
              <a:gd name="connsiteX232" fmla="*/ 3600230 w 4493400"/>
              <a:gd name="connsiteY232" fmla="*/ 485292 h 4503132"/>
              <a:gd name="connsiteX233" fmla="*/ 3580996 w 4493400"/>
              <a:gd name="connsiteY233" fmla="*/ 466669 h 4503132"/>
              <a:gd name="connsiteX234" fmla="*/ 3549884 w 4493400"/>
              <a:gd name="connsiteY234" fmla="*/ 436402 h 4503132"/>
              <a:gd name="connsiteX235" fmla="*/ 3530410 w 4493400"/>
              <a:gd name="connsiteY235" fmla="*/ 416865 h 4503132"/>
              <a:gd name="connsiteX236" fmla="*/ 3527380 w 4493400"/>
              <a:gd name="connsiteY236" fmla="*/ 413737 h 4503132"/>
              <a:gd name="connsiteX237" fmla="*/ 3534641 w 4493400"/>
              <a:gd name="connsiteY237" fmla="*/ 418886 h 4503132"/>
              <a:gd name="connsiteX238" fmla="*/ 3534882 w 4493400"/>
              <a:gd name="connsiteY238" fmla="*/ 419030 h 4503132"/>
              <a:gd name="connsiteX239" fmla="*/ 3538488 w 4493400"/>
              <a:gd name="connsiteY239" fmla="*/ 422158 h 4503132"/>
              <a:gd name="connsiteX240" fmla="*/ 3542431 w 4493400"/>
              <a:gd name="connsiteY240" fmla="*/ 425912 h 4503132"/>
              <a:gd name="connsiteX241" fmla="*/ 3550510 w 4493400"/>
              <a:gd name="connsiteY241" fmla="*/ 433659 h 4503132"/>
              <a:gd name="connsiteX242" fmla="*/ 3567291 w 4493400"/>
              <a:gd name="connsiteY242" fmla="*/ 449731 h 4503132"/>
              <a:gd name="connsiteX243" fmla="*/ 3603596 w 4493400"/>
              <a:gd name="connsiteY243" fmla="*/ 483896 h 4503132"/>
              <a:gd name="connsiteX244" fmla="*/ 3686881 w 4493400"/>
              <a:gd name="connsiteY244" fmla="*/ 559638 h 4503132"/>
              <a:gd name="connsiteX245" fmla="*/ 3713761 w 4493400"/>
              <a:gd name="connsiteY245" fmla="*/ 583890 h 4503132"/>
              <a:gd name="connsiteX246" fmla="*/ 3670964 w 4493400"/>
              <a:gd name="connsiteY246" fmla="*/ 546934 h 4503132"/>
              <a:gd name="connsiteX247" fmla="*/ 3623360 w 4493400"/>
              <a:gd name="connsiteY247" fmla="*/ 505935 h 4503132"/>
              <a:gd name="connsiteX248" fmla="*/ 3611002 w 4493400"/>
              <a:gd name="connsiteY248" fmla="*/ 495349 h 4503132"/>
              <a:gd name="connsiteX249" fmla="*/ 3606577 w 4493400"/>
              <a:gd name="connsiteY249" fmla="*/ 491981 h 4503132"/>
              <a:gd name="connsiteX250" fmla="*/ 3610328 w 4493400"/>
              <a:gd name="connsiteY250" fmla="*/ 496023 h 4503132"/>
              <a:gd name="connsiteX251" fmla="*/ 3622061 w 4493400"/>
              <a:gd name="connsiteY251" fmla="*/ 507283 h 4503132"/>
              <a:gd name="connsiteX252" fmla="*/ 3668512 w 4493400"/>
              <a:gd name="connsiteY252" fmla="*/ 549629 h 4503132"/>
              <a:gd name="connsiteX253" fmla="*/ 3685775 w 4493400"/>
              <a:gd name="connsiteY253" fmla="*/ 565123 h 4503132"/>
              <a:gd name="connsiteX254" fmla="*/ 3635670 w 4493400"/>
              <a:gd name="connsiteY254" fmla="*/ 522585 h 4503132"/>
              <a:gd name="connsiteX255" fmla="*/ 3554982 w 4493400"/>
              <a:gd name="connsiteY255" fmla="*/ 450405 h 4503132"/>
              <a:gd name="connsiteX256" fmla="*/ 3515311 w 4493400"/>
              <a:gd name="connsiteY256" fmla="*/ 412534 h 4503132"/>
              <a:gd name="connsiteX257" fmla="*/ 3495740 w 4493400"/>
              <a:gd name="connsiteY257" fmla="*/ 393094 h 4503132"/>
              <a:gd name="connsiteX258" fmla="*/ 3485978 w 4493400"/>
              <a:gd name="connsiteY258" fmla="*/ 383277 h 4503132"/>
              <a:gd name="connsiteX259" fmla="*/ 3480977 w 4493400"/>
              <a:gd name="connsiteY259" fmla="*/ 378417 h 4503132"/>
              <a:gd name="connsiteX260" fmla="*/ 3478621 w 4493400"/>
              <a:gd name="connsiteY260" fmla="*/ 376059 h 4503132"/>
              <a:gd name="connsiteX261" fmla="*/ 3477659 w 4493400"/>
              <a:gd name="connsiteY261" fmla="*/ 374904 h 4503132"/>
              <a:gd name="connsiteX262" fmla="*/ 3477515 w 4493400"/>
              <a:gd name="connsiteY262" fmla="*/ 374712 h 4503132"/>
              <a:gd name="connsiteX263" fmla="*/ 3476698 w 4493400"/>
              <a:gd name="connsiteY263" fmla="*/ 375097 h 4503132"/>
              <a:gd name="connsiteX264" fmla="*/ 3477515 w 4493400"/>
              <a:gd name="connsiteY264" fmla="*/ 373942 h 4503132"/>
              <a:gd name="connsiteX265" fmla="*/ 3477419 w 4493400"/>
              <a:gd name="connsiteY265" fmla="*/ 373846 h 4503132"/>
              <a:gd name="connsiteX266" fmla="*/ 3477419 w 4493400"/>
              <a:gd name="connsiteY266" fmla="*/ 373846 h 4503132"/>
              <a:gd name="connsiteX267" fmla="*/ 3447654 w 4493400"/>
              <a:gd name="connsiteY267" fmla="*/ 354549 h 4503132"/>
              <a:gd name="connsiteX268" fmla="*/ 3439527 w 4493400"/>
              <a:gd name="connsiteY268" fmla="*/ 349882 h 4503132"/>
              <a:gd name="connsiteX269" fmla="*/ 3436786 w 4493400"/>
              <a:gd name="connsiteY269" fmla="*/ 349737 h 4503132"/>
              <a:gd name="connsiteX270" fmla="*/ 3436114 w 4493400"/>
              <a:gd name="connsiteY270" fmla="*/ 354261 h 4503132"/>
              <a:gd name="connsiteX271" fmla="*/ 3437845 w 4493400"/>
              <a:gd name="connsiteY271" fmla="*/ 356137 h 4503132"/>
              <a:gd name="connsiteX272" fmla="*/ 3440970 w 4493400"/>
              <a:gd name="connsiteY272" fmla="*/ 359217 h 4503132"/>
              <a:gd name="connsiteX273" fmla="*/ 3453424 w 4493400"/>
              <a:gd name="connsiteY273" fmla="*/ 371969 h 4503132"/>
              <a:gd name="connsiteX274" fmla="*/ 3504107 w 4493400"/>
              <a:gd name="connsiteY274" fmla="*/ 422880 h 4503132"/>
              <a:gd name="connsiteX275" fmla="*/ 3612059 w 4493400"/>
              <a:gd name="connsiteY275" fmla="*/ 521093 h 4503132"/>
              <a:gd name="connsiteX276" fmla="*/ 3682217 w 4493400"/>
              <a:gd name="connsiteY276" fmla="*/ 578308 h 4503132"/>
              <a:gd name="connsiteX277" fmla="*/ 3586574 w 4493400"/>
              <a:gd name="connsiteY277" fmla="*/ 506176 h 4503132"/>
              <a:gd name="connsiteX278" fmla="*/ 3479294 w 4493400"/>
              <a:gd name="connsiteY278" fmla="*/ 400215 h 4503132"/>
              <a:gd name="connsiteX279" fmla="*/ 3425823 w 4493400"/>
              <a:gd name="connsiteY279" fmla="*/ 344973 h 4503132"/>
              <a:gd name="connsiteX280" fmla="*/ 3394904 w 4493400"/>
              <a:gd name="connsiteY280" fmla="*/ 321010 h 4503132"/>
              <a:gd name="connsiteX281" fmla="*/ 3391970 w 4493400"/>
              <a:gd name="connsiteY281" fmla="*/ 318940 h 4503132"/>
              <a:gd name="connsiteX282" fmla="*/ 3392980 w 4493400"/>
              <a:gd name="connsiteY282" fmla="*/ 317256 h 4503132"/>
              <a:gd name="connsiteX283" fmla="*/ 3392980 w 4493400"/>
              <a:gd name="connsiteY283" fmla="*/ 317256 h 4503132"/>
              <a:gd name="connsiteX284" fmla="*/ 3392836 w 4493400"/>
              <a:gd name="connsiteY284" fmla="*/ 317160 h 4503132"/>
              <a:gd name="connsiteX285" fmla="*/ 3384517 w 4493400"/>
              <a:gd name="connsiteY285" fmla="*/ 312348 h 4503132"/>
              <a:gd name="connsiteX286" fmla="*/ 3384325 w 4493400"/>
              <a:gd name="connsiteY286" fmla="*/ 312252 h 4503132"/>
              <a:gd name="connsiteX287" fmla="*/ 3377930 w 4493400"/>
              <a:gd name="connsiteY287" fmla="*/ 308546 h 4503132"/>
              <a:gd name="connsiteX288" fmla="*/ 3377304 w 4493400"/>
              <a:gd name="connsiteY288" fmla="*/ 308162 h 4503132"/>
              <a:gd name="connsiteX289" fmla="*/ 3376198 w 4493400"/>
              <a:gd name="connsiteY289" fmla="*/ 307536 h 4503132"/>
              <a:gd name="connsiteX290" fmla="*/ 3360426 w 4493400"/>
              <a:gd name="connsiteY290" fmla="*/ 298393 h 4503132"/>
              <a:gd name="connsiteX291" fmla="*/ 3359849 w 4493400"/>
              <a:gd name="connsiteY291" fmla="*/ 298056 h 4503132"/>
              <a:gd name="connsiteX292" fmla="*/ 3346818 w 4493400"/>
              <a:gd name="connsiteY292" fmla="*/ 290501 h 4503132"/>
              <a:gd name="connsiteX293" fmla="*/ 3346241 w 4493400"/>
              <a:gd name="connsiteY293" fmla="*/ 291512 h 4503132"/>
              <a:gd name="connsiteX294" fmla="*/ 3340759 w 4493400"/>
              <a:gd name="connsiteY294" fmla="*/ 288865 h 4503132"/>
              <a:gd name="connsiteX295" fmla="*/ 3311090 w 4493400"/>
              <a:gd name="connsiteY295" fmla="*/ 274333 h 4503132"/>
              <a:gd name="connsiteX296" fmla="*/ 3296280 w 4493400"/>
              <a:gd name="connsiteY296" fmla="*/ 267067 h 4503132"/>
              <a:gd name="connsiteX297" fmla="*/ 3294260 w 4493400"/>
              <a:gd name="connsiteY297" fmla="*/ 262447 h 4503132"/>
              <a:gd name="connsiteX298" fmla="*/ 3294886 w 4493400"/>
              <a:gd name="connsiteY298" fmla="*/ 262977 h 4503132"/>
              <a:gd name="connsiteX299" fmla="*/ 3291615 w 4493400"/>
              <a:gd name="connsiteY299" fmla="*/ 260956 h 4503132"/>
              <a:gd name="connsiteX300" fmla="*/ 3291904 w 4493400"/>
              <a:gd name="connsiteY300" fmla="*/ 261100 h 4503132"/>
              <a:gd name="connsiteX301" fmla="*/ 3248338 w 4493400"/>
              <a:gd name="connsiteY301" fmla="*/ 238339 h 4503132"/>
              <a:gd name="connsiteX302" fmla="*/ 3248194 w 4493400"/>
              <a:gd name="connsiteY302" fmla="*/ 238580 h 4503132"/>
              <a:gd name="connsiteX303" fmla="*/ 3247088 w 4493400"/>
              <a:gd name="connsiteY303" fmla="*/ 238050 h 4503132"/>
              <a:gd name="connsiteX304" fmla="*/ 3246896 w 4493400"/>
              <a:gd name="connsiteY304" fmla="*/ 237954 h 4503132"/>
              <a:gd name="connsiteX305" fmla="*/ 3246896 w 4493400"/>
              <a:gd name="connsiteY305" fmla="*/ 238195 h 4503132"/>
              <a:gd name="connsiteX306" fmla="*/ 3246896 w 4493400"/>
              <a:gd name="connsiteY306" fmla="*/ 238195 h 4503132"/>
              <a:gd name="connsiteX307" fmla="*/ 3246992 w 4493400"/>
              <a:gd name="connsiteY307" fmla="*/ 238195 h 4503132"/>
              <a:gd name="connsiteX308" fmla="*/ 3247184 w 4493400"/>
              <a:gd name="connsiteY308" fmla="*/ 238195 h 4503132"/>
              <a:gd name="connsiteX309" fmla="*/ 3247569 w 4493400"/>
              <a:gd name="connsiteY309" fmla="*/ 238243 h 4503132"/>
              <a:gd name="connsiteX310" fmla="*/ 3247809 w 4493400"/>
              <a:gd name="connsiteY310" fmla="*/ 239446 h 4503132"/>
              <a:gd name="connsiteX311" fmla="*/ 3246126 w 4493400"/>
              <a:gd name="connsiteY311" fmla="*/ 242718 h 4503132"/>
              <a:gd name="connsiteX312" fmla="*/ 3246896 w 4493400"/>
              <a:gd name="connsiteY312" fmla="*/ 237954 h 4503132"/>
              <a:gd name="connsiteX313" fmla="*/ 3244203 w 4493400"/>
              <a:gd name="connsiteY313" fmla="*/ 236847 h 4503132"/>
              <a:gd name="connsiteX314" fmla="*/ 3238240 w 4493400"/>
              <a:gd name="connsiteY314" fmla="*/ 234345 h 4503132"/>
              <a:gd name="connsiteX315" fmla="*/ 3226123 w 4493400"/>
              <a:gd name="connsiteY315" fmla="*/ 229244 h 4503132"/>
              <a:gd name="connsiteX316" fmla="*/ 3208812 w 4493400"/>
              <a:gd name="connsiteY316" fmla="*/ 221882 h 4503132"/>
              <a:gd name="connsiteX317" fmla="*/ 3207129 w 4493400"/>
              <a:gd name="connsiteY317" fmla="*/ 218899 h 4503132"/>
              <a:gd name="connsiteX318" fmla="*/ 3206456 w 4493400"/>
              <a:gd name="connsiteY318" fmla="*/ 218417 h 4503132"/>
              <a:gd name="connsiteX319" fmla="*/ 3206359 w 4493400"/>
              <a:gd name="connsiteY319" fmla="*/ 218417 h 4503132"/>
              <a:gd name="connsiteX320" fmla="*/ 3206215 w 4493400"/>
              <a:gd name="connsiteY320" fmla="*/ 218273 h 4503132"/>
              <a:gd name="connsiteX321" fmla="*/ 3205927 w 4493400"/>
              <a:gd name="connsiteY321" fmla="*/ 218129 h 4503132"/>
              <a:gd name="connsiteX322" fmla="*/ 3205061 w 4493400"/>
              <a:gd name="connsiteY322" fmla="*/ 217647 h 4503132"/>
              <a:gd name="connsiteX323" fmla="*/ 3203378 w 4493400"/>
              <a:gd name="connsiteY323" fmla="*/ 216781 h 4503132"/>
              <a:gd name="connsiteX324" fmla="*/ 3189577 w 4493400"/>
              <a:gd name="connsiteY324" fmla="*/ 209996 h 4503132"/>
              <a:gd name="connsiteX325" fmla="*/ 3127499 w 4493400"/>
              <a:gd name="connsiteY325" fmla="*/ 181702 h 4503132"/>
              <a:gd name="connsiteX326" fmla="*/ 3045272 w 4493400"/>
              <a:gd name="connsiteY326" fmla="*/ 149221 h 4503132"/>
              <a:gd name="connsiteX327" fmla="*/ 3044262 w 4493400"/>
              <a:gd name="connsiteY327" fmla="*/ 148836 h 4503132"/>
              <a:gd name="connsiteX328" fmla="*/ 3044118 w 4493400"/>
              <a:gd name="connsiteY328" fmla="*/ 148932 h 4503132"/>
              <a:gd name="connsiteX329" fmla="*/ 3041665 w 4493400"/>
              <a:gd name="connsiteY329" fmla="*/ 150905 h 4503132"/>
              <a:gd name="connsiteX330" fmla="*/ 3040079 w 4493400"/>
              <a:gd name="connsiteY330" fmla="*/ 150231 h 4503132"/>
              <a:gd name="connsiteX331" fmla="*/ 3023297 w 4493400"/>
              <a:gd name="connsiteY331" fmla="*/ 142628 h 4503132"/>
              <a:gd name="connsiteX332" fmla="*/ 3015170 w 4493400"/>
              <a:gd name="connsiteY332" fmla="*/ 138827 h 4503132"/>
              <a:gd name="connsiteX333" fmla="*/ 3011179 w 4493400"/>
              <a:gd name="connsiteY333" fmla="*/ 136902 h 4503132"/>
              <a:gd name="connsiteX334" fmla="*/ 3009256 w 4493400"/>
              <a:gd name="connsiteY334" fmla="*/ 135939 h 4503132"/>
              <a:gd name="connsiteX335" fmla="*/ 3008342 w 4493400"/>
              <a:gd name="connsiteY335" fmla="*/ 135458 h 4503132"/>
              <a:gd name="connsiteX336" fmla="*/ 3008438 w 4493400"/>
              <a:gd name="connsiteY336" fmla="*/ 135554 h 4503132"/>
              <a:gd name="connsiteX337" fmla="*/ 3005264 w 4493400"/>
              <a:gd name="connsiteY337" fmla="*/ 138971 h 4503132"/>
              <a:gd name="connsiteX338" fmla="*/ 3006707 w 4493400"/>
              <a:gd name="connsiteY338" fmla="*/ 134592 h 4503132"/>
              <a:gd name="connsiteX339" fmla="*/ 2965113 w 4493400"/>
              <a:gd name="connsiteY339" fmla="*/ 120397 h 4503132"/>
              <a:gd name="connsiteX340" fmla="*/ 2963093 w 4493400"/>
              <a:gd name="connsiteY340" fmla="*/ 125353 h 4503132"/>
              <a:gd name="connsiteX341" fmla="*/ 2956313 w 4493400"/>
              <a:gd name="connsiteY341" fmla="*/ 121215 h 4503132"/>
              <a:gd name="connsiteX342" fmla="*/ 2942801 w 4493400"/>
              <a:gd name="connsiteY342" fmla="*/ 112794 h 4503132"/>
              <a:gd name="connsiteX343" fmla="*/ 2940926 w 4493400"/>
              <a:gd name="connsiteY343" fmla="*/ 111687 h 4503132"/>
              <a:gd name="connsiteX344" fmla="*/ 2939243 w 4493400"/>
              <a:gd name="connsiteY344" fmla="*/ 110917 h 4503132"/>
              <a:gd name="connsiteX345" fmla="*/ 2938137 w 4493400"/>
              <a:gd name="connsiteY345" fmla="*/ 110580 h 4503132"/>
              <a:gd name="connsiteX346" fmla="*/ 2934338 w 4493400"/>
              <a:gd name="connsiteY346" fmla="*/ 109377 h 4503132"/>
              <a:gd name="connsiteX347" fmla="*/ 2926788 w 4493400"/>
              <a:gd name="connsiteY347" fmla="*/ 106971 h 4503132"/>
              <a:gd name="connsiteX348" fmla="*/ 2896591 w 4493400"/>
              <a:gd name="connsiteY348" fmla="*/ 97443 h 4503132"/>
              <a:gd name="connsiteX349" fmla="*/ 2892696 w 4493400"/>
              <a:gd name="connsiteY349" fmla="*/ 107164 h 4503132"/>
              <a:gd name="connsiteX350" fmla="*/ 2900630 w 4493400"/>
              <a:gd name="connsiteY350" fmla="*/ 111158 h 4503132"/>
              <a:gd name="connsiteX351" fmla="*/ 2908227 w 4493400"/>
              <a:gd name="connsiteY351" fmla="*/ 115825 h 4503132"/>
              <a:gd name="connsiteX352" fmla="*/ 2923423 w 4493400"/>
              <a:gd name="connsiteY352" fmla="*/ 125834 h 4503132"/>
              <a:gd name="connsiteX353" fmla="*/ 2953861 w 4493400"/>
              <a:gd name="connsiteY353" fmla="*/ 146141 h 4503132"/>
              <a:gd name="connsiteX354" fmla="*/ 3015940 w 4493400"/>
              <a:gd name="connsiteY354" fmla="*/ 184348 h 4503132"/>
              <a:gd name="connsiteX355" fmla="*/ 3080615 w 4493400"/>
              <a:gd name="connsiteY355" fmla="*/ 216926 h 4503132"/>
              <a:gd name="connsiteX356" fmla="*/ 3148031 w 4493400"/>
              <a:gd name="connsiteY356" fmla="*/ 241515 h 4503132"/>
              <a:gd name="connsiteX357" fmla="*/ 3216986 w 4493400"/>
              <a:gd name="connsiteY357" fmla="*/ 258357 h 4503132"/>
              <a:gd name="connsiteX358" fmla="*/ 3234297 w 4493400"/>
              <a:gd name="connsiteY358" fmla="*/ 261629 h 4503132"/>
              <a:gd name="connsiteX359" fmla="*/ 3251175 w 4493400"/>
              <a:gd name="connsiteY359" fmla="*/ 264661 h 4503132"/>
              <a:gd name="connsiteX360" fmla="*/ 3283153 w 4493400"/>
              <a:gd name="connsiteY360" fmla="*/ 275632 h 4503132"/>
              <a:gd name="connsiteX361" fmla="*/ 3313879 w 4493400"/>
              <a:gd name="connsiteY361" fmla="*/ 290598 h 4503132"/>
              <a:gd name="connsiteX362" fmla="*/ 3328834 w 4493400"/>
              <a:gd name="connsiteY362" fmla="*/ 298778 h 4503132"/>
              <a:gd name="connsiteX363" fmla="*/ 3342683 w 4493400"/>
              <a:gd name="connsiteY363" fmla="*/ 307969 h 4503132"/>
              <a:gd name="connsiteX364" fmla="*/ 3394423 w 4493400"/>
              <a:gd name="connsiteY364" fmla="*/ 351422 h 4503132"/>
              <a:gd name="connsiteX365" fmla="*/ 3487613 w 4493400"/>
              <a:gd name="connsiteY365" fmla="*/ 446555 h 4503132"/>
              <a:gd name="connsiteX366" fmla="*/ 3497807 w 4493400"/>
              <a:gd name="connsiteY366" fmla="*/ 459211 h 4503132"/>
              <a:gd name="connsiteX367" fmla="*/ 3502327 w 4493400"/>
              <a:gd name="connsiteY367" fmla="*/ 465659 h 4503132"/>
              <a:gd name="connsiteX368" fmla="*/ 3505886 w 4493400"/>
              <a:gd name="connsiteY368" fmla="*/ 471963 h 4503132"/>
              <a:gd name="connsiteX369" fmla="*/ 3506944 w 4493400"/>
              <a:gd name="connsiteY369" fmla="*/ 477496 h 4503132"/>
              <a:gd name="connsiteX370" fmla="*/ 3504588 w 4493400"/>
              <a:gd name="connsiteY370" fmla="*/ 480576 h 4503132"/>
              <a:gd name="connsiteX371" fmla="*/ 3490739 w 4493400"/>
              <a:gd name="connsiteY371" fmla="*/ 484522 h 4503132"/>
              <a:gd name="connsiteX372" fmla="*/ 3457993 w 4493400"/>
              <a:gd name="connsiteY372" fmla="*/ 492750 h 4503132"/>
              <a:gd name="connsiteX373" fmla="*/ 3450251 w 4493400"/>
              <a:gd name="connsiteY373" fmla="*/ 497803 h 4503132"/>
              <a:gd name="connsiteX374" fmla="*/ 3444144 w 4493400"/>
              <a:gd name="connsiteY374" fmla="*/ 504444 h 4503132"/>
              <a:gd name="connsiteX375" fmla="*/ 3435248 w 4493400"/>
              <a:gd name="connsiteY375" fmla="*/ 518832 h 4503132"/>
              <a:gd name="connsiteX376" fmla="*/ 3420774 w 4493400"/>
              <a:gd name="connsiteY376" fmla="*/ 547174 h 4503132"/>
              <a:gd name="connsiteX377" fmla="*/ 3401444 w 4493400"/>
              <a:gd name="connsiteY377" fmla="*/ 569839 h 4503132"/>
              <a:gd name="connsiteX378" fmla="*/ 3374612 w 4493400"/>
              <a:gd name="connsiteY378" fmla="*/ 581388 h 4503132"/>
              <a:gd name="connsiteX379" fmla="*/ 3344654 w 4493400"/>
              <a:gd name="connsiteY379" fmla="*/ 582735 h 4503132"/>
              <a:gd name="connsiteX380" fmla="*/ 3285220 w 4493400"/>
              <a:gd name="connsiteY380" fmla="*/ 570080 h 4503132"/>
              <a:gd name="connsiteX381" fmla="*/ 3228623 w 4493400"/>
              <a:gd name="connsiteY381" fmla="*/ 548714 h 4503132"/>
              <a:gd name="connsiteX382" fmla="*/ 3201310 w 4493400"/>
              <a:gd name="connsiteY382" fmla="*/ 536347 h 4503132"/>
              <a:gd name="connsiteX383" fmla="*/ 3174527 w 4493400"/>
              <a:gd name="connsiteY383" fmla="*/ 523451 h 4503132"/>
              <a:gd name="connsiteX384" fmla="*/ 3148416 w 4493400"/>
              <a:gd name="connsiteY384" fmla="*/ 509785 h 4503132"/>
              <a:gd name="connsiteX385" fmla="*/ 3122979 w 4493400"/>
              <a:gd name="connsiteY385" fmla="*/ 495445 h 4503132"/>
              <a:gd name="connsiteX386" fmla="*/ 3029307 w 4493400"/>
              <a:gd name="connsiteY386" fmla="*/ 430675 h 4503132"/>
              <a:gd name="connsiteX387" fmla="*/ 2953284 w 4493400"/>
              <a:gd name="connsiteY387" fmla="*/ 352240 h 4503132"/>
              <a:gd name="connsiteX388" fmla="*/ 2923519 w 4493400"/>
              <a:gd name="connsiteY388" fmla="*/ 308402 h 4503132"/>
              <a:gd name="connsiteX389" fmla="*/ 2898899 w 4493400"/>
              <a:gd name="connsiteY389" fmla="*/ 262640 h 4503132"/>
              <a:gd name="connsiteX390" fmla="*/ 2855718 w 4493400"/>
              <a:gd name="connsiteY390" fmla="*/ 171163 h 4503132"/>
              <a:gd name="connsiteX391" fmla="*/ 2828693 w 4493400"/>
              <a:gd name="connsiteY391" fmla="*/ 129924 h 4503132"/>
              <a:gd name="connsiteX392" fmla="*/ 2793206 w 4493400"/>
              <a:gd name="connsiteY392" fmla="*/ 97251 h 4503132"/>
              <a:gd name="connsiteX393" fmla="*/ 2775847 w 4493400"/>
              <a:gd name="connsiteY393" fmla="*/ 86664 h 4503132"/>
              <a:gd name="connsiteX394" fmla="*/ 2814797 w 4493400"/>
              <a:gd name="connsiteY394" fmla="*/ 105961 h 4503132"/>
              <a:gd name="connsiteX395" fmla="*/ 2850332 w 4493400"/>
              <a:gd name="connsiteY395" fmla="*/ 132956 h 4503132"/>
              <a:gd name="connsiteX396" fmla="*/ 2857545 w 4493400"/>
              <a:gd name="connsiteY396" fmla="*/ 140848 h 4503132"/>
              <a:gd name="connsiteX397" fmla="*/ 2863892 w 4493400"/>
              <a:gd name="connsiteY397" fmla="*/ 149269 h 4503132"/>
              <a:gd name="connsiteX398" fmla="*/ 2869374 w 4493400"/>
              <a:gd name="connsiteY398" fmla="*/ 158075 h 4503132"/>
              <a:gd name="connsiteX399" fmla="*/ 2872019 w 4493400"/>
              <a:gd name="connsiteY399" fmla="*/ 162502 h 4503132"/>
              <a:gd name="connsiteX400" fmla="*/ 2874279 w 4493400"/>
              <a:gd name="connsiteY400" fmla="*/ 167073 h 4503132"/>
              <a:gd name="connsiteX401" fmla="*/ 2878654 w 4493400"/>
              <a:gd name="connsiteY401" fmla="*/ 176168 h 4503132"/>
              <a:gd name="connsiteX402" fmla="*/ 2882453 w 4493400"/>
              <a:gd name="connsiteY402" fmla="*/ 185407 h 4503132"/>
              <a:gd name="connsiteX403" fmla="*/ 2889378 w 4493400"/>
              <a:gd name="connsiteY403" fmla="*/ 203645 h 4503132"/>
              <a:gd name="connsiteX404" fmla="*/ 2915632 w 4493400"/>
              <a:gd name="connsiteY404" fmla="*/ 269425 h 4503132"/>
              <a:gd name="connsiteX405" fmla="*/ 2970450 w 4493400"/>
              <a:gd name="connsiteY405" fmla="*/ 352143 h 4503132"/>
              <a:gd name="connsiteX406" fmla="*/ 2988242 w 4493400"/>
              <a:gd name="connsiteY406" fmla="*/ 371295 h 4503132"/>
              <a:gd name="connsiteX407" fmla="*/ 2994734 w 4493400"/>
              <a:gd name="connsiteY407" fmla="*/ 377503 h 4503132"/>
              <a:gd name="connsiteX408" fmla="*/ 2989300 w 4493400"/>
              <a:gd name="connsiteY408" fmla="*/ 370333 h 4503132"/>
              <a:gd name="connsiteX409" fmla="*/ 2972614 w 4493400"/>
              <a:gd name="connsiteY409" fmla="*/ 350363 h 4503132"/>
              <a:gd name="connsiteX410" fmla="*/ 2920489 w 4493400"/>
              <a:gd name="connsiteY410" fmla="*/ 267163 h 4503132"/>
              <a:gd name="connsiteX411" fmla="*/ 2895484 w 4493400"/>
              <a:gd name="connsiteY411" fmla="*/ 201527 h 4503132"/>
              <a:gd name="connsiteX412" fmla="*/ 2888753 w 4493400"/>
              <a:gd name="connsiteY412" fmla="*/ 182953 h 4503132"/>
              <a:gd name="connsiteX413" fmla="*/ 2885002 w 4493400"/>
              <a:gd name="connsiteY413" fmla="*/ 173425 h 4503132"/>
              <a:gd name="connsiteX414" fmla="*/ 2880578 w 4493400"/>
              <a:gd name="connsiteY414" fmla="*/ 163945 h 4503132"/>
              <a:gd name="connsiteX415" fmla="*/ 2878270 w 4493400"/>
              <a:gd name="connsiteY415" fmla="*/ 159133 h 4503132"/>
              <a:gd name="connsiteX416" fmla="*/ 2875577 w 4493400"/>
              <a:gd name="connsiteY416" fmla="*/ 154466 h 4503132"/>
              <a:gd name="connsiteX417" fmla="*/ 2869903 w 4493400"/>
              <a:gd name="connsiteY417" fmla="*/ 145130 h 4503132"/>
              <a:gd name="connsiteX418" fmla="*/ 2863315 w 4493400"/>
              <a:gd name="connsiteY418" fmla="*/ 136132 h 4503132"/>
              <a:gd name="connsiteX419" fmla="*/ 2855766 w 4493400"/>
              <a:gd name="connsiteY419" fmla="*/ 127663 h 4503132"/>
              <a:gd name="connsiteX420" fmla="*/ 2818884 w 4493400"/>
              <a:gd name="connsiteY420" fmla="*/ 98983 h 4503132"/>
              <a:gd name="connsiteX421" fmla="*/ 2811190 w 4493400"/>
              <a:gd name="connsiteY421" fmla="*/ 94652 h 4503132"/>
              <a:gd name="connsiteX422" fmla="*/ 2824414 w 4493400"/>
              <a:gd name="connsiteY422" fmla="*/ 98598 h 4503132"/>
              <a:gd name="connsiteX423" fmla="*/ 2836483 w 4493400"/>
              <a:gd name="connsiteY423" fmla="*/ 101389 h 4503132"/>
              <a:gd name="connsiteX424" fmla="*/ 2843456 w 4493400"/>
              <a:gd name="connsiteY424" fmla="*/ 101967 h 4503132"/>
              <a:gd name="connsiteX425" fmla="*/ 2848745 w 4493400"/>
              <a:gd name="connsiteY425" fmla="*/ 100571 h 4503132"/>
              <a:gd name="connsiteX426" fmla="*/ 2851871 w 4493400"/>
              <a:gd name="connsiteY426" fmla="*/ 96192 h 4503132"/>
              <a:gd name="connsiteX427" fmla="*/ 2852015 w 4493400"/>
              <a:gd name="connsiteY427" fmla="*/ 95230 h 4503132"/>
              <a:gd name="connsiteX428" fmla="*/ 2852015 w 4493400"/>
              <a:gd name="connsiteY428" fmla="*/ 95230 h 4503132"/>
              <a:gd name="connsiteX429" fmla="*/ 2852015 w 4493400"/>
              <a:gd name="connsiteY429" fmla="*/ 95182 h 4503132"/>
              <a:gd name="connsiteX430" fmla="*/ 2851823 w 4493400"/>
              <a:gd name="connsiteY430" fmla="*/ 94941 h 4503132"/>
              <a:gd name="connsiteX431" fmla="*/ 2852015 w 4493400"/>
              <a:gd name="connsiteY431" fmla="*/ 94941 h 4503132"/>
              <a:gd name="connsiteX432" fmla="*/ 2862354 w 4493400"/>
              <a:gd name="connsiteY432" fmla="*/ 97876 h 4503132"/>
              <a:gd name="connsiteX433" fmla="*/ 2866152 w 4493400"/>
              <a:gd name="connsiteY433" fmla="*/ 98935 h 4503132"/>
              <a:gd name="connsiteX434" fmla="*/ 2868364 w 4493400"/>
              <a:gd name="connsiteY434" fmla="*/ 100860 h 4503132"/>
              <a:gd name="connsiteX435" fmla="*/ 2875337 w 4493400"/>
              <a:gd name="connsiteY435" fmla="*/ 107019 h 4503132"/>
              <a:gd name="connsiteX436" fmla="*/ 2904477 w 4493400"/>
              <a:gd name="connsiteY436" fmla="*/ 130839 h 4503132"/>
              <a:gd name="connsiteX437" fmla="*/ 2967950 w 4493400"/>
              <a:gd name="connsiteY437" fmla="*/ 174099 h 4503132"/>
              <a:gd name="connsiteX438" fmla="*/ 3037290 w 4493400"/>
              <a:gd name="connsiteY438" fmla="*/ 211440 h 4503132"/>
              <a:gd name="connsiteX439" fmla="*/ 3073835 w 4493400"/>
              <a:gd name="connsiteY439" fmla="*/ 227801 h 4503132"/>
              <a:gd name="connsiteX440" fmla="*/ 3092588 w 4493400"/>
              <a:gd name="connsiteY440" fmla="*/ 235259 h 4503132"/>
              <a:gd name="connsiteX441" fmla="*/ 3111582 w 4493400"/>
              <a:gd name="connsiteY441" fmla="*/ 242429 h 4503132"/>
              <a:gd name="connsiteX442" fmla="*/ 3160918 w 4493400"/>
              <a:gd name="connsiteY442" fmla="*/ 257780 h 4503132"/>
              <a:gd name="connsiteX443" fmla="*/ 3210158 w 4493400"/>
              <a:gd name="connsiteY443" fmla="*/ 269954 h 4503132"/>
              <a:gd name="connsiteX444" fmla="*/ 3303445 w 4493400"/>
              <a:gd name="connsiteY444" fmla="*/ 299500 h 4503132"/>
              <a:gd name="connsiteX445" fmla="*/ 3324458 w 4493400"/>
              <a:gd name="connsiteY445" fmla="*/ 310279 h 4503132"/>
              <a:gd name="connsiteX446" fmla="*/ 3334268 w 4493400"/>
              <a:gd name="connsiteY446" fmla="*/ 316631 h 4503132"/>
              <a:gd name="connsiteX447" fmla="*/ 3343837 w 4493400"/>
              <a:gd name="connsiteY447" fmla="*/ 323464 h 4503132"/>
              <a:gd name="connsiteX448" fmla="*/ 3380093 w 4493400"/>
              <a:gd name="connsiteY448" fmla="*/ 353106 h 4503132"/>
              <a:gd name="connsiteX449" fmla="*/ 3413369 w 4493400"/>
              <a:gd name="connsiteY449" fmla="*/ 384769 h 4503132"/>
              <a:gd name="connsiteX450" fmla="*/ 3442605 w 4493400"/>
              <a:gd name="connsiteY450" fmla="*/ 418357 h 4503132"/>
              <a:gd name="connsiteX451" fmla="*/ 3453328 w 4493400"/>
              <a:gd name="connsiteY451" fmla="*/ 436305 h 4503132"/>
              <a:gd name="connsiteX452" fmla="*/ 3454434 w 4493400"/>
              <a:gd name="connsiteY452" fmla="*/ 443187 h 4503132"/>
              <a:gd name="connsiteX453" fmla="*/ 3448712 w 4493400"/>
              <a:gd name="connsiteY453" fmla="*/ 448287 h 4503132"/>
              <a:gd name="connsiteX454" fmla="*/ 3411253 w 4493400"/>
              <a:gd name="connsiteY454" fmla="*/ 471963 h 4503132"/>
              <a:gd name="connsiteX455" fmla="*/ 3400867 w 4493400"/>
              <a:gd name="connsiteY455" fmla="*/ 491836 h 4503132"/>
              <a:gd name="connsiteX456" fmla="*/ 3394327 w 4493400"/>
              <a:gd name="connsiteY456" fmla="*/ 511758 h 4503132"/>
              <a:gd name="connsiteX457" fmla="*/ 3376583 w 4493400"/>
              <a:gd name="connsiteY457" fmla="*/ 544576 h 4503132"/>
              <a:gd name="connsiteX458" fmla="*/ 3360811 w 4493400"/>
              <a:gd name="connsiteY458" fmla="*/ 551409 h 4503132"/>
              <a:gd name="connsiteX459" fmla="*/ 3351482 w 4493400"/>
              <a:gd name="connsiteY459" fmla="*/ 552419 h 4503132"/>
              <a:gd name="connsiteX460" fmla="*/ 3342058 w 4493400"/>
              <a:gd name="connsiteY460" fmla="*/ 552949 h 4503132"/>
              <a:gd name="connsiteX461" fmla="*/ 3305224 w 4493400"/>
              <a:gd name="connsiteY461" fmla="*/ 550976 h 4503132"/>
              <a:gd name="connsiteX462" fmla="*/ 3237519 w 4493400"/>
              <a:gd name="connsiteY462" fmla="*/ 534038 h 4503132"/>
              <a:gd name="connsiteX463" fmla="*/ 3129085 w 4493400"/>
              <a:gd name="connsiteY463" fmla="*/ 480913 h 4503132"/>
              <a:gd name="connsiteX464" fmla="*/ 3053975 w 4493400"/>
              <a:gd name="connsiteY464" fmla="*/ 428558 h 4503132"/>
              <a:gd name="connsiteX465" fmla="*/ 3009736 w 4493400"/>
              <a:gd name="connsiteY465" fmla="*/ 391121 h 4503132"/>
              <a:gd name="connsiteX466" fmla="*/ 2994734 w 4493400"/>
              <a:gd name="connsiteY466" fmla="*/ 377503 h 4503132"/>
              <a:gd name="connsiteX467" fmla="*/ 2997907 w 4493400"/>
              <a:gd name="connsiteY467" fmla="*/ 381593 h 4503132"/>
              <a:gd name="connsiteX468" fmla="*/ 3008246 w 4493400"/>
              <a:gd name="connsiteY468" fmla="*/ 392661 h 4503132"/>
              <a:gd name="connsiteX469" fmla="*/ 3051331 w 4493400"/>
              <a:gd name="connsiteY469" fmla="*/ 431782 h 4503132"/>
              <a:gd name="connsiteX470" fmla="*/ 3125864 w 4493400"/>
              <a:gd name="connsiteY470" fmla="*/ 485966 h 4503132"/>
              <a:gd name="connsiteX471" fmla="*/ 3234922 w 4493400"/>
              <a:gd name="connsiteY471" fmla="*/ 541159 h 4503132"/>
              <a:gd name="connsiteX472" fmla="*/ 3304070 w 4493400"/>
              <a:gd name="connsiteY472" fmla="*/ 559156 h 4503132"/>
              <a:gd name="connsiteX473" fmla="*/ 3342298 w 4493400"/>
              <a:gd name="connsiteY473" fmla="*/ 561514 h 4503132"/>
              <a:gd name="connsiteX474" fmla="*/ 3352156 w 4493400"/>
              <a:gd name="connsiteY474" fmla="*/ 561033 h 4503132"/>
              <a:gd name="connsiteX475" fmla="*/ 3362158 w 4493400"/>
              <a:gd name="connsiteY475" fmla="*/ 560022 h 4503132"/>
              <a:gd name="connsiteX476" fmla="*/ 3382113 w 4493400"/>
              <a:gd name="connsiteY476" fmla="*/ 551457 h 4503132"/>
              <a:gd name="connsiteX477" fmla="*/ 3395433 w 4493400"/>
              <a:gd name="connsiteY477" fmla="*/ 534182 h 4503132"/>
              <a:gd name="connsiteX478" fmla="*/ 3403030 w 4493400"/>
              <a:gd name="connsiteY478" fmla="*/ 514549 h 4503132"/>
              <a:gd name="connsiteX479" fmla="*/ 3409570 w 4493400"/>
              <a:gd name="connsiteY479" fmla="*/ 495156 h 4503132"/>
              <a:gd name="connsiteX480" fmla="*/ 3418610 w 4493400"/>
              <a:gd name="connsiteY480" fmla="*/ 477881 h 4503132"/>
              <a:gd name="connsiteX481" fmla="*/ 3433901 w 4493400"/>
              <a:gd name="connsiteY481" fmla="*/ 466092 h 4503132"/>
              <a:gd name="connsiteX482" fmla="*/ 3453521 w 4493400"/>
              <a:gd name="connsiteY482" fmla="*/ 456660 h 4503132"/>
              <a:gd name="connsiteX483" fmla="*/ 3463378 w 4493400"/>
              <a:gd name="connsiteY483" fmla="*/ 447036 h 4503132"/>
              <a:gd name="connsiteX484" fmla="*/ 3462464 w 4493400"/>
              <a:gd name="connsiteY484" fmla="*/ 432745 h 4503132"/>
              <a:gd name="connsiteX485" fmla="*/ 3450635 w 4493400"/>
              <a:gd name="connsiteY485" fmla="*/ 412534 h 4503132"/>
              <a:gd name="connsiteX486" fmla="*/ 3420630 w 4493400"/>
              <a:gd name="connsiteY486" fmla="*/ 377743 h 4503132"/>
              <a:gd name="connsiteX487" fmla="*/ 3386922 w 4493400"/>
              <a:gd name="connsiteY487" fmla="*/ 345455 h 4503132"/>
              <a:gd name="connsiteX488" fmla="*/ 3350040 w 4493400"/>
              <a:gd name="connsiteY488" fmla="*/ 315139 h 4503132"/>
              <a:gd name="connsiteX489" fmla="*/ 3340134 w 4493400"/>
              <a:gd name="connsiteY489" fmla="*/ 308065 h 4503132"/>
              <a:gd name="connsiteX490" fmla="*/ 3329748 w 4493400"/>
              <a:gd name="connsiteY490" fmla="*/ 301328 h 4503132"/>
              <a:gd name="connsiteX491" fmla="*/ 3307724 w 4493400"/>
              <a:gd name="connsiteY491" fmla="*/ 289924 h 4503132"/>
              <a:gd name="connsiteX492" fmla="*/ 3212659 w 4493400"/>
              <a:gd name="connsiteY492" fmla="*/ 259608 h 4503132"/>
              <a:gd name="connsiteX493" fmla="*/ 3163659 w 4493400"/>
              <a:gd name="connsiteY493" fmla="*/ 247434 h 4503132"/>
              <a:gd name="connsiteX494" fmla="*/ 3115093 w 4493400"/>
              <a:gd name="connsiteY494" fmla="*/ 232324 h 4503132"/>
              <a:gd name="connsiteX495" fmla="*/ 3096387 w 4493400"/>
              <a:gd name="connsiteY495" fmla="*/ 225250 h 4503132"/>
              <a:gd name="connsiteX496" fmla="*/ 3077874 w 4493400"/>
              <a:gd name="connsiteY496" fmla="*/ 217936 h 4503132"/>
              <a:gd name="connsiteX497" fmla="*/ 3041762 w 4493400"/>
              <a:gd name="connsiteY497" fmla="*/ 201816 h 4503132"/>
              <a:gd name="connsiteX498" fmla="*/ 2973288 w 4493400"/>
              <a:gd name="connsiteY498" fmla="*/ 165100 h 4503132"/>
              <a:gd name="connsiteX499" fmla="*/ 2910680 w 4493400"/>
              <a:gd name="connsiteY499" fmla="*/ 122610 h 4503132"/>
              <a:gd name="connsiteX500" fmla="*/ 2881972 w 4493400"/>
              <a:gd name="connsiteY500" fmla="*/ 99272 h 4503132"/>
              <a:gd name="connsiteX501" fmla="*/ 2875096 w 4493400"/>
              <a:gd name="connsiteY501" fmla="*/ 93209 h 4503132"/>
              <a:gd name="connsiteX502" fmla="*/ 2873317 w 4493400"/>
              <a:gd name="connsiteY502" fmla="*/ 91621 h 4503132"/>
              <a:gd name="connsiteX503" fmla="*/ 2872067 w 4493400"/>
              <a:gd name="connsiteY503" fmla="*/ 90562 h 4503132"/>
              <a:gd name="connsiteX504" fmla="*/ 2870192 w 4493400"/>
              <a:gd name="connsiteY504" fmla="*/ 89455 h 4503132"/>
              <a:gd name="connsiteX505" fmla="*/ 2865142 w 4493400"/>
              <a:gd name="connsiteY505" fmla="*/ 88012 h 4503132"/>
              <a:gd name="connsiteX506" fmla="*/ 2840282 w 4493400"/>
              <a:gd name="connsiteY506" fmla="*/ 80986 h 4503132"/>
              <a:gd name="connsiteX507" fmla="*/ 2838503 w 4493400"/>
              <a:gd name="connsiteY507" fmla="*/ 84691 h 4503132"/>
              <a:gd name="connsiteX508" fmla="*/ 2838118 w 4493400"/>
              <a:gd name="connsiteY508" fmla="*/ 85461 h 4503132"/>
              <a:gd name="connsiteX509" fmla="*/ 2838214 w 4493400"/>
              <a:gd name="connsiteY509" fmla="*/ 85461 h 4503132"/>
              <a:gd name="connsiteX510" fmla="*/ 2838263 w 4493400"/>
              <a:gd name="connsiteY510" fmla="*/ 85750 h 4503132"/>
              <a:gd name="connsiteX511" fmla="*/ 2836676 w 4493400"/>
              <a:gd name="connsiteY511" fmla="*/ 90707 h 4503132"/>
              <a:gd name="connsiteX512" fmla="*/ 2837637 w 4493400"/>
              <a:gd name="connsiteY512" fmla="*/ 91332 h 4503132"/>
              <a:gd name="connsiteX513" fmla="*/ 2826914 w 4493400"/>
              <a:gd name="connsiteY513" fmla="*/ 88878 h 4503132"/>
              <a:gd name="connsiteX514" fmla="*/ 2804699 w 4493400"/>
              <a:gd name="connsiteY514" fmla="*/ 82045 h 4503132"/>
              <a:gd name="connsiteX515" fmla="*/ 2761325 w 4493400"/>
              <a:gd name="connsiteY515" fmla="*/ 66502 h 4503132"/>
              <a:gd name="connsiteX516" fmla="*/ 2718144 w 4493400"/>
              <a:gd name="connsiteY516" fmla="*/ 52499 h 4503132"/>
              <a:gd name="connsiteX517" fmla="*/ 2675396 w 4493400"/>
              <a:gd name="connsiteY517" fmla="*/ 42490 h 4503132"/>
              <a:gd name="connsiteX518" fmla="*/ 2674626 w 4493400"/>
              <a:gd name="connsiteY518" fmla="*/ 45955 h 4503132"/>
              <a:gd name="connsiteX519" fmla="*/ 2669145 w 4493400"/>
              <a:gd name="connsiteY519" fmla="*/ 44271 h 4503132"/>
              <a:gd name="connsiteX520" fmla="*/ 2658854 w 4493400"/>
              <a:gd name="connsiteY520" fmla="*/ 41335 h 4503132"/>
              <a:gd name="connsiteX521" fmla="*/ 2648420 w 4493400"/>
              <a:gd name="connsiteY521" fmla="*/ 38833 h 4503132"/>
              <a:gd name="connsiteX522" fmla="*/ 2627791 w 4493400"/>
              <a:gd name="connsiteY522" fmla="*/ 35176 h 4503132"/>
              <a:gd name="connsiteX523" fmla="*/ 2627550 w 4493400"/>
              <a:gd name="connsiteY523" fmla="*/ 36379 h 4503132"/>
              <a:gd name="connsiteX524" fmla="*/ 2613413 w 4493400"/>
              <a:gd name="connsiteY524" fmla="*/ 32385 h 4503132"/>
              <a:gd name="connsiteX525" fmla="*/ 2609951 w 4493400"/>
              <a:gd name="connsiteY525" fmla="*/ 31471 h 4503132"/>
              <a:gd name="connsiteX526" fmla="*/ 2607883 w 4493400"/>
              <a:gd name="connsiteY526" fmla="*/ 31086 h 4503132"/>
              <a:gd name="connsiteX527" fmla="*/ 2606152 w 4493400"/>
              <a:gd name="connsiteY527" fmla="*/ 30797 h 4503132"/>
              <a:gd name="connsiteX528" fmla="*/ 2599180 w 4493400"/>
              <a:gd name="connsiteY528" fmla="*/ 29690 h 4503132"/>
              <a:gd name="connsiteX529" fmla="*/ 2585187 w 4493400"/>
              <a:gd name="connsiteY529" fmla="*/ 27428 h 4503132"/>
              <a:gd name="connsiteX530" fmla="*/ 2584898 w 4493400"/>
              <a:gd name="connsiteY530" fmla="*/ 28824 h 4503132"/>
              <a:gd name="connsiteX531" fmla="*/ 2583311 w 4493400"/>
              <a:gd name="connsiteY531" fmla="*/ 28343 h 4503132"/>
              <a:gd name="connsiteX532" fmla="*/ 2571530 w 4493400"/>
              <a:gd name="connsiteY532" fmla="*/ 25071 h 4503132"/>
              <a:gd name="connsiteX533" fmla="*/ 2565279 w 4493400"/>
              <a:gd name="connsiteY533" fmla="*/ 23579 h 4503132"/>
              <a:gd name="connsiteX534" fmla="*/ 2559269 w 4493400"/>
              <a:gd name="connsiteY534" fmla="*/ 22761 h 4503132"/>
              <a:gd name="connsiteX535" fmla="*/ 2535370 w 4493400"/>
              <a:gd name="connsiteY535" fmla="*/ 19441 h 4503132"/>
              <a:gd name="connsiteX536" fmla="*/ 2534985 w 4493400"/>
              <a:gd name="connsiteY536" fmla="*/ 21847 h 4503132"/>
              <a:gd name="connsiteX537" fmla="*/ 2531187 w 4493400"/>
              <a:gd name="connsiteY537" fmla="*/ 21029 h 4503132"/>
              <a:gd name="connsiteX538" fmla="*/ 2507865 w 4493400"/>
              <a:gd name="connsiteY538" fmla="*/ 17083 h 4503132"/>
              <a:gd name="connsiteX539" fmla="*/ 2485168 w 4493400"/>
              <a:gd name="connsiteY539" fmla="*/ 14580 h 4503132"/>
              <a:gd name="connsiteX540" fmla="*/ 2400778 w 4493400"/>
              <a:gd name="connsiteY540" fmla="*/ 7411 h 4503132"/>
              <a:gd name="connsiteX541" fmla="*/ 2342305 w 4493400"/>
              <a:gd name="connsiteY541" fmla="*/ 5726 h 4503132"/>
              <a:gd name="connsiteX542" fmla="*/ 2342305 w 4493400"/>
              <a:gd name="connsiteY542" fmla="*/ 5534 h 4503132"/>
              <a:gd name="connsiteX543" fmla="*/ 2342305 w 4493400"/>
              <a:gd name="connsiteY543" fmla="*/ 5534 h 4503132"/>
              <a:gd name="connsiteX544" fmla="*/ 2342305 w 4493400"/>
              <a:gd name="connsiteY544" fmla="*/ 5534 h 4503132"/>
              <a:gd name="connsiteX545" fmla="*/ 2280852 w 4493400"/>
              <a:gd name="connsiteY545" fmla="*/ 3994 h 4503132"/>
              <a:gd name="connsiteX546" fmla="*/ 2249452 w 4493400"/>
              <a:gd name="connsiteY546" fmla="*/ 5053 h 4503132"/>
              <a:gd name="connsiteX547" fmla="*/ 2249452 w 4493400"/>
              <a:gd name="connsiteY547" fmla="*/ 0 h 4503132"/>
              <a:gd name="connsiteX548" fmla="*/ 2191653 w 4493400"/>
              <a:gd name="connsiteY548" fmla="*/ 722 h 4503132"/>
              <a:gd name="connsiteX549" fmla="*/ 2150491 w 4493400"/>
              <a:gd name="connsiteY549" fmla="*/ 3946 h 4503132"/>
              <a:gd name="connsiteX550" fmla="*/ 2150395 w 4493400"/>
              <a:gd name="connsiteY550" fmla="*/ 1829 h 4503132"/>
              <a:gd name="connsiteX551" fmla="*/ 2150251 w 4493400"/>
              <a:gd name="connsiteY551" fmla="*/ 1829 h 4503132"/>
              <a:gd name="connsiteX552" fmla="*/ 2150251 w 4493400"/>
              <a:gd name="connsiteY552" fmla="*/ 1829 h 4503132"/>
              <a:gd name="connsiteX553" fmla="*/ 2150251 w 4493400"/>
              <a:gd name="connsiteY553" fmla="*/ 1829 h 4503132"/>
              <a:gd name="connsiteX554" fmla="*/ 2097404 w 4493400"/>
              <a:gd name="connsiteY554" fmla="*/ 4956 h 4503132"/>
              <a:gd name="connsiteX555" fmla="*/ 2071149 w 4493400"/>
              <a:gd name="connsiteY555" fmla="*/ 6641 h 4503132"/>
              <a:gd name="connsiteX556" fmla="*/ 2045135 w 4493400"/>
              <a:gd name="connsiteY556" fmla="*/ 9480 h 4503132"/>
              <a:gd name="connsiteX557" fmla="*/ 2019313 w 4493400"/>
              <a:gd name="connsiteY557" fmla="*/ 13041 h 4503132"/>
              <a:gd name="connsiteX558" fmla="*/ 1993443 w 4493400"/>
              <a:gd name="connsiteY558" fmla="*/ 18719 h 4503132"/>
              <a:gd name="connsiteX559" fmla="*/ 1980844 w 4493400"/>
              <a:gd name="connsiteY559" fmla="*/ 25071 h 4503132"/>
              <a:gd name="connsiteX560" fmla="*/ 1970746 w 4493400"/>
              <a:gd name="connsiteY560" fmla="*/ 33732 h 4503132"/>
              <a:gd name="connsiteX561" fmla="*/ 1951127 w 4493400"/>
              <a:gd name="connsiteY561" fmla="*/ 47880 h 4503132"/>
              <a:gd name="connsiteX562" fmla="*/ 1777489 w 4493400"/>
              <a:gd name="connsiteY562" fmla="*/ 137624 h 4503132"/>
              <a:gd name="connsiteX563" fmla="*/ 1609670 w 4493400"/>
              <a:gd name="connsiteY563" fmla="*/ 208457 h 4503132"/>
              <a:gd name="connsiteX564" fmla="*/ 1568460 w 4493400"/>
              <a:gd name="connsiteY564" fmla="*/ 221545 h 4503132"/>
              <a:gd name="connsiteX565" fmla="*/ 1547976 w 4493400"/>
              <a:gd name="connsiteY565" fmla="*/ 227127 h 4503132"/>
              <a:gd name="connsiteX566" fmla="*/ 1527539 w 4493400"/>
              <a:gd name="connsiteY566" fmla="*/ 231650 h 4503132"/>
              <a:gd name="connsiteX567" fmla="*/ 1507199 w 4493400"/>
              <a:gd name="connsiteY567" fmla="*/ 234730 h 4503132"/>
              <a:gd name="connsiteX568" fmla="*/ 1487532 w 4493400"/>
              <a:gd name="connsiteY568" fmla="*/ 234730 h 4503132"/>
              <a:gd name="connsiteX569" fmla="*/ 1479405 w 4493400"/>
              <a:gd name="connsiteY569" fmla="*/ 232035 h 4503132"/>
              <a:gd name="connsiteX570" fmla="*/ 1476088 w 4493400"/>
              <a:gd name="connsiteY570" fmla="*/ 226646 h 4503132"/>
              <a:gd name="connsiteX571" fmla="*/ 1482483 w 4493400"/>
              <a:gd name="connsiteY571" fmla="*/ 210429 h 4503132"/>
              <a:gd name="connsiteX572" fmla="*/ 1508257 w 4493400"/>
              <a:gd name="connsiteY572" fmla="*/ 181509 h 4503132"/>
              <a:gd name="connsiteX573" fmla="*/ 1537445 w 4493400"/>
              <a:gd name="connsiteY573" fmla="*/ 156679 h 4503132"/>
              <a:gd name="connsiteX574" fmla="*/ 1567835 w 4493400"/>
              <a:gd name="connsiteY574" fmla="*/ 134977 h 4503132"/>
              <a:gd name="connsiteX575" fmla="*/ 1575577 w 4493400"/>
              <a:gd name="connsiteY575" fmla="*/ 130165 h 4503132"/>
              <a:gd name="connsiteX576" fmla="*/ 1583463 w 4493400"/>
              <a:gd name="connsiteY576" fmla="*/ 125979 h 4503132"/>
              <a:gd name="connsiteX577" fmla="*/ 1599812 w 4493400"/>
              <a:gd name="connsiteY577" fmla="*/ 118183 h 4503132"/>
              <a:gd name="connsiteX578" fmla="*/ 1632078 w 4493400"/>
              <a:gd name="connsiteY578" fmla="*/ 103266 h 4503132"/>
              <a:gd name="connsiteX579" fmla="*/ 1647850 w 4493400"/>
              <a:gd name="connsiteY579" fmla="*/ 95711 h 4503132"/>
              <a:gd name="connsiteX580" fmla="*/ 1655592 w 4493400"/>
              <a:gd name="connsiteY580" fmla="*/ 91669 h 4503132"/>
              <a:gd name="connsiteX581" fmla="*/ 1659631 w 4493400"/>
              <a:gd name="connsiteY581" fmla="*/ 89070 h 4503132"/>
              <a:gd name="connsiteX582" fmla="*/ 1661314 w 4493400"/>
              <a:gd name="connsiteY582" fmla="*/ 87001 h 4503132"/>
              <a:gd name="connsiteX583" fmla="*/ 1661314 w 4493400"/>
              <a:gd name="connsiteY583" fmla="*/ 84210 h 4503132"/>
              <a:gd name="connsiteX584" fmla="*/ 1659439 w 4493400"/>
              <a:gd name="connsiteY584" fmla="*/ 82430 h 4503132"/>
              <a:gd name="connsiteX585" fmla="*/ 1658381 w 4493400"/>
              <a:gd name="connsiteY585" fmla="*/ 82141 h 4503132"/>
              <a:gd name="connsiteX586" fmla="*/ 1657804 w 4493400"/>
              <a:gd name="connsiteY586" fmla="*/ 82141 h 4503132"/>
              <a:gd name="connsiteX587" fmla="*/ 1655015 w 4493400"/>
              <a:gd name="connsiteY587" fmla="*/ 82334 h 4503132"/>
              <a:gd name="connsiteX588" fmla="*/ 1622364 w 4493400"/>
              <a:gd name="connsiteY588" fmla="*/ 91091 h 4503132"/>
              <a:gd name="connsiteX589" fmla="*/ 1591493 w 4493400"/>
              <a:gd name="connsiteY589" fmla="*/ 100571 h 4503132"/>
              <a:gd name="connsiteX590" fmla="*/ 1561824 w 4493400"/>
              <a:gd name="connsiteY590" fmla="*/ 110099 h 4503132"/>
              <a:gd name="connsiteX591" fmla="*/ 1533454 w 4493400"/>
              <a:gd name="connsiteY591" fmla="*/ 119867 h 4503132"/>
              <a:gd name="connsiteX592" fmla="*/ 1504843 w 4493400"/>
              <a:gd name="connsiteY592" fmla="*/ 129732 h 4503132"/>
              <a:gd name="connsiteX593" fmla="*/ 1497293 w 4493400"/>
              <a:gd name="connsiteY593" fmla="*/ 128914 h 4503132"/>
              <a:gd name="connsiteX594" fmla="*/ 1489648 w 4493400"/>
              <a:gd name="connsiteY594" fmla="*/ 130406 h 4503132"/>
              <a:gd name="connsiteX595" fmla="*/ 1485272 w 4493400"/>
              <a:gd name="connsiteY595" fmla="*/ 131657 h 4503132"/>
              <a:gd name="connsiteX596" fmla="*/ 1482964 w 4493400"/>
              <a:gd name="connsiteY596" fmla="*/ 132379 h 4503132"/>
              <a:gd name="connsiteX597" fmla="*/ 1481810 w 4493400"/>
              <a:gd name="connsiteY597" fmla="*/ 132764 h 4503132"/>
              <a:gd name="connsiteX598" fmla="*/ 1481233 w 4493400"/>
              <a:gd name="connsiteY598" fmla="*/ 132956 h 4503132"/>
              <a:gd name="connsiteX599" fmla="*/ 1480944 w 4493400"/>
              <a:gd name="connsiteY599" fmla="*/ 133052 h 4503132"/>
              <a:gd name="connsiteX600" fmla="*/ 1480800 w 4493400"/>
              <a:gd name="connsiteY600" fmla="*/ 133052 h 4503132"/>
              <a:gd name="connsiteX601" fmla="*/ 1480704 w 4493400"/>
              <a:gd name="connsiteY601" fmla="*/ 133148 h 4503132"/>
              <a:gd name="connsiteX602" fmla="*/ 1480704 w 4493400"/>
              <a:gd name="connsiteY602" fmla="*/ 133148 h 4503132"/>
              <a:gd name="connsiteX603" fmla="*/ 1480704 w 4493400"/>
              <a:gd name="connsiteY603" fmla="*/ 133148 h 4503132"/>
              <a:gd name="connsiteX604" fmla="*/ 1480704 w 4493400"/>
              <a:gd name="connsiteY604" fmla="*/ 133148 h 4503132"/>
              <a:gd name="connsiteX605" fmla="*/ 1482243 w 4493400"/>
              <a:gd name="connsiteY605" fmla="*/ 137527 h 4503132"/>
              <a:gd name="connsiteX606" fmla="*/ 1480175 w 4493400"/>
              <a:gd name="connsiteY606" fmla="*/ 138249 h 4503132"/>
              <a:gd name="connsiteX607" fmla="*/ 1431512 w 4493400"/>
              <a:gd name="connsiteY607" fmla="*/ 155091 h 4503132"/>
              <a:gd name="connsiteX608" fmla="*/ 1418481 w 4493400"/>
              <a:gd name="connsiteY608" fmla="*/ 160144 h 4503132"/>
              <a:gd name="connsiteX609" fmla="*/ 1396890 w 4493400"/>
              <a:gd name="connsiteY609" fmla="*/ 167603 h 4503132"/>
              <a:gd name="connsiteX610" fmla="*/ 1368183 w 4493400"/>
              <a:gd name="connsiteY610" fmla="*/ 177948 h 4503132"/>
              <a:gd name="connsiteX611" fmla="*/ 1360970 w 4493400"/>
              <a:gd name="connsiteY611" fmla="*/ 180643 h 4503132"/>
              <a:gd name="connsiteX612" fmla="*/ 1353950 w 4493400"/>
              <a:gd name="connsiteY612" fmla="*/ 183675 h 4503132"/>
              <a:gd name="connsiteX613" fmla="*/ 1339908 w 4493400"/>
              <a:gd name="connsiteY613" fmla="*/ 189786 h 4503132"/>
              <a:gd name="connsiteX614" fmla="*/ 1340437 w 4493400"/>
              <a:gd name="connsiteY614" fmla="*/ 191085 h 4503132"/>
              <a:gd name="connsiteX615" fmla="*/ 1322021 w 4493400"/>
              <a:gd name="connsiteY615" fmla="*/ 197966 h 4503132"/>
              <a:gd name="connsiteX616" fmla="*/ 1305960 w 4493400"/>
              <a:gd name="connsiteY616" fmla="*/ 204944 h 4503132"/>
              <a:gd name="connsiteX617" fmla="*/ 1290140 w 4493400"/>
              <a:gd name="connsiteY617" fmla="*/ 212258 h 4503132"/>
              <a:gd name="connsiteX618" fmla="*/ 1291053 w 4493400"/>
              <a:gd name="connsiteY618" fmla="*/ 214375 h 4503132"/>
              <a:gd name="connsiteX619" fmla="*/ 1279561 w 4493400"/>
              <a:gd name="connsiteY619" fmla="*/ 218850 h 4503132"/>
              <a:gd name="connsiteX620" fmla="*/ 1263885 w 4493400"/>
              <a:gd name="connsiteY620" fmla="*/ 225202 h 4503132"/>
              <a:gd name="connsiteX621" fmla="*/ 1248834 w 4493400"/>
              <a:gd name="connsiteY621" fmla="*/ 232565 h 4503132"/>
              <a:gd name="connsiteX622" fmla="*/ 1218973 w 4493400"/>
              <a:gd name="connsiteY622" fmla="*/ 247530 h 4503132"/>
              <a:gd name="connsiteX623" fmla="*/ 1220800 w 4493400"/>
              <a:gd name="connsiteY623" fmla="*/ 251283 h 4503132"/>
              <a:gd name="connsiteX624" fmla="*/ 1213347 w 4493400"/>
              <a:gd name="connsiteY624" fmla="*/ 254604 h 4503132"/>
              <a:gd name="connsiteX625" fmla="*/ 1157327 w 4493400"/>
              <a:gd name="connsiteY625" fmla="*/ 283332 h 4503132"/>
              <a:gd name="connsiteX626" fmla="*/ 1105153 w 4493400"/>
              <a:gd name="connsiteY626" fmla="*/ 316053 h 4503132"/>
              <a:gd name="connsiteX627" fmla="*/ 1056972 w 4493400"/>
              <a:gd name="connsiteY627" fmla="*/ 350796 h 4503132"/>
              <a:gd name="connsiteX628" fmla="*/ 1008453 w 4493400"/>
              <a:gd name="connsiteY628" fmla="*/ 381064 h 4503132"/>
              <a:gd name="connsiteX629" fmla="*/ 984025 w 4493400"/>
              <a:gd name="connsiteY629" fmla="*/ 391987 h 4503132"/>
              <a:gd name="connsiteX630" fmla="*/ 977534 w 4493400"/>
              <a:gd name="connsiteY630" fmla="*/ 393334 h 4503132"/>
              <a:gd name="connsiteX631" fmla="*/ 974985 w 4493400"/>
              <a:gd name="connsiteY631" fmla="*/ 393864 h 4503132"/>
              <a:gd name="connsiteX632" fmla="*/ 972533 w 4493400"/>
              <a:gd name="connsiteY632" fmla="*/ 395355 h 4503132"/>
              <a:gd name="connsiteX633" fmla="*/ 969696 w 4493400"/>
              <a:gd name="connsiteY633" fmla="*/ 397376 h 4503132"/>
              <a:gd name="connsiteX634" fmla="*/ 958492 w 4493400"/>
              <a:gd name="connsiteY634" fmla="*/ 405412 h 4503132"/>
              <a:gd name="connsiteX635" fmla="*/ 914782 w 4493400"/>
              <a:gd name="connsiteY635" fmla="*/ 436739 h 4503132"/>
              <a:gd name="connsiteX636" fmla="*/ 916849 w 4493400"/>
              <a:gd name="connsiteY636" fmla="*/ 441069 h 4503132"/>
              <a:gd name="connsiteX637" fmla="*/ 915984 w 4493400"/>
              <a:gd name="connsiteY637" fmla="*/ 441358 h 4503132"/>
              <a:gd name="connsiteX638" fmla="*/ 915166 w 4493400"/>
              <a:gd name="connsiteY638" fmla="*/ 441358 h 4503132"/>
              <a:gd name="connsiteX639" fmla="*/ 913772 w 4493400"/>
              <a:gd name="connsiteY639" fmla="*/ 441166 h 4503132"/>
              <a:gd name="connsiteX640" fmla="*/ 913195 w 4493400"/>
              <a:gd name="connsiteY640" fmla="*/ 441021 h 4503132"/>
              <a:gd name="connsiteX641" fmla="*/ 913195 w 4493400"/>
              <a:gd name="connsiteY641" fmla="*/ 441118 h 4503132"/>
              <a:gd name="connsiteX642" fmla="*/ 913051 w 4493400"/>
              <a:gd name="connsiteY642" fmla="*/ 441406 h 4503132"/>
              <a:gd name="connsiteX643" fmla="*/ 911993 w 4493400"/>
              <a:gd name="connsiteY643" fmla="*/ 443331 h 4503132"/>
              <a:gd name="connsiteX644" fmla="*/ 908963 w 4493400"/>
              <a:gd name="connsiteY644" fmla="*/ 447662 h 4503132"/>
              <a:gd name="connsiteX645" fmla="*/ 901943 w 4493400"/>
              <a:gd name="connsiteY645" fmla="*/ 456227 h 4503132"/>
              <a:gd name="connsiteX646" fmla="*/ 886892 w 4493400"/>
              <a:gd name="connsiteY646" fmla="*/ 472588 h 4503132"/>
              <a:gd name="connsiteX647" fmla="*/ 856165 w 4493400"/>
              <a:gd name="connsiteY647" fmla="*/ 503096 h 4503132"/>
              <a:gd name="connsiteX648" fmla="*/ 795962 w 4493400"/>
              <a:gd name="connsiteY648" fmla="*/ 557183 h 4503132"/>
              <a:gd name="connsiteX649" fmla="*/ 738884 w 4493400"/>
              <a:gd name="connsiteY649" fmla="*/ 601695 h 4503132"/>
              <a:gd name="connsiteX650" fmla="*/ 734123 w 4493400"/>
              <a:gd name="connsiteY650" fmla="*/ 604967 h 4503132"/>
              <a:gd name="connsiteX651" fmla="*/ 731334 w 4493400"/>
              <a:gd name="connsiteY651" fmla="*/ 606603 h 4503132"/>
              <a:gd name="connsiteX652" fmla="*/ 729796 w 4493400"/>
              <a:gd name="connsiteY652" fmla="*/ 606843 h 4503132"/>
              <a:gd name="connsiteX653" fmla="*/ 729892 w 4493400"/>
              <a:gd name="connsiteY653" fmla="*/ 605400 h 4503132"/>
              <a:gd name="connsiteX654" fmla="*/ 731479 w 4493400"/>
              <a:gd name="connsiteY654" fmla="*/ 602705 h 4503132"/>
              <a:gd name="connsiteX655" fmla="*/ 734412 w 4493400"/>
              <a:gd name="connsiteY655" fmla="*/ 598711 h 4503132"/>
              <a:gd name="connsiteX656" fmla="*/ 739172 w 4493400"/>
              <a:gd name="connsiteY656" fmla="*/ 592792 h 4503132"/>
              <a:gd name="connsiteX657" fmla="*/ 748886 w 4493400"/>
              <a:gd name="connsiteY657" fmla="*/ 581580 h 4503132"/>
              <a:gd name="connsiteX658" fmla="*/ 744798 w 4493400"/>
              <a:gd name="connsiteY658" fmla="*/ 577442 h 4503132"/>
              <a:gd name="connsiteX659" fmla="*/ 697963 w 4493400"/>
              <a:gd name="connsiteY659" fmla="*/ 621809 h 4503132"/>
              <a:gd name="connsiteX660" fmla="*/ 676468 w 4493400"/>
              <a:gd name="connsiteY660" fmla="*/ 649574 h 4503132"/>
              <a:gd name="connsiteX661" fmla="*/ 671612 w 4493400"/>
              <a:gd name="connsiteY661" fmla="*/ 645051 h 4503132"/>
              <a:gd name="connsiteX662" fmla="*/ 647136 w 4493400"/>
              <a:gd name="connsiteY662" fmla="*/ 669640 h 4503132"/>
              <a:gd name="connsiteX663" fmla="*/ 636076 w 4493400"/>
              <a:gd name="connsiteY663" fmla="*/ 682873 h 4503132"/>
              <a:gd name="connsiteX664" fmla="*/ 630114 w 4493400"/>
              <a:gd name="connsiteY664" fmla="*/ 690284 h 4503132"/>
              <a:gd name="connsiteX665" fmla="*/ 627325 w 4493400"/>
              <a:gd name="connsiteY665" fmla="*/ 687830 h 4503132"/>
              <a:gd name="connsiteX666" fmla="*/ 607994 w 4493400"/>
              <a:gd name="connsiteY666" fmla="*/ 708425 h 4503132"/>
              <a:gd name="connsiteX667" fmla="*/ 598233 w 4493400"/>
              <a:gd name="connsiteY667" fmla="*/ 718819 h 4503132"/>
              <a:gd name="connsiteX668" fmla="*/ 593328 w 4493400"/>
              <a:gd name="connsiteY668" fmla="*/ 724016 h 4503132"/>
              <a:gd name="connsiteX669" fmla="*/ 592126 w 4493400"/>
              <a:gd name="connsiteY669" fmla="*/ 725315 h 4503132"/>
              <a:gd name="connsiteX670" fmla="*/ 591741 w 4493400"/>
              <a:gd name="connsiteY670" fmla="*/ 725700 h 4503132"/>
              <a:gd name="connsiteX671" fmla="*/ 591260 w 4493400"/>
              <a:gd name="connsiteY671" fmla="*/ 726278 h 4503132"/>
              <a:gd name="connsiteX672" fmla="*/ 590731 w 4493400"/>
              <a:gd name="connsiteY672" fmla="*/ 726999 h 4503132"/>
              <a:gd name="connsiteX673" fmla="*/ 588519 w 4493400"/>
              <a:gd name="connsiteY673" fmla="*/ 729838 h 4503132"/>
              <a:gd name="connsiteX674" fmla="*/ 566592 w 4493400"/>
              <a:gd name="connsiteY674" fmla="*/ 758903 h 4503132"/>
              <a:gd name="connsiteX675" fmla="*/ 563900 w 4493400"/>
              <a:gd name="connsiteY675" fmla="*/ 756641 h 4503132"/>
              <a:gd name="connsiteX676" fmla="*/ 528460 w 4493400"/>
              <a:gd name="connsiteY676" fmla="*/ 797832 h 4503132"/>
              <a:gd name="connsiteX677" fmla="*/ 497541 w 4493400"/>
              <a:gd name="connsiteY677" fmla="*/ 841092 h 4503132"/>
              <a:gd name="connsiteX678" fmla="*/ 494656 w 4493400"/>
              <a:gd name="connsiteY678" fmla="*/ 838927 h 4503132"/>
              <a:gd name="connsiteX679" fmla="*/ 462775 w 4493400"/>
              <a:gd name="connsiteY679" fmla="*/ 879925 h 4503132"/>
              <a:gd name="connsiteX680" fmla="*/ 453831 w 4493400"/>
              <a:gd name="connsiteY680" fmla="*/ 891426 h 4503132"/>
              <a:gd name="connsiteX681" fmla="*/ 445705 w 4493400"/>
              <a:gd name="connsiteY681" fmla="*/ 903456 h 4503132"/>
              <a:gd name="connsiteX682" fmla="*/ 430317 w 4493400"/>
              <a:gd name="connsiteY682" fmla="*/ 927564 h 4503132"/>
              <a:gd name="connsiteX683" fmla="*/ 406996 w 4493400"/>
              <a:gd name="connsiteY683" fmla="*/ 965868 h 4503132"/>
              <a:gd name="connsiteX684" fmla="*/ 402139 w 4493400"/>
              <a:gd name="connsiteY684" fmla="*/ 962788 h 4503132"/>
              <a:gd name="connsiteX685" fmla="*/ 391464 w 4493400"/>
              <a:gd name="connsiteY685" fmla="*/ 978957 h 4503132"/>
              <a:gd name="connsiteX686" fmla="*/ 354582 w 4493400"/>
              <a:gd name="connsiteY686" fmla="*/ 1035257 h 4503132"/>
              <a:gd name="connsiteX687" fmla="*/ 346023 w 4493400"/>
              <a:gd name="connsiteY687" fmla="*/ 1048490 h 4503132"/>
              <a:gd name="connsiteX688" fmla="*/ 341984 w 4493400"/>
              <a:gd name="connsiteY688" fmla="*/ 1055179 h 4503132"/>
              <a:gd name="connsiteX689" fmla="*/ 338377 w 4493400"/>
              <a:gd name="connsiteY689" fmla="*/ 1061723 h 4503132"/>
              <a:gd name="connsiteX690" fmla="*/ 323663 w 4493400"/>
              <a:gd name="connsiteY690" fmla="*/ 1085687 h 4503132"/>
              <a:gd name="connsiteX691" fmla="*/ 322605 w 4493400"/>
              <a:gd name="connsiteY691" fmla="*/ 1087516 h 4503132"/>
              <a:gd name="connsiteX692" fmla="*/ 321739 w 4493400"/>
              <a:gd name="connsiteY692" fmla="*/ 1089056 h 4503132"/>
              <a:gd name="connsiteX693" fmla="*/ 320056 w 4493400"/>
              <a:gd name="connsiteY693" fmla="*/ 1092087 h 4503132"/>
              <a:gd name="connsiteX694" fmla="*/ 316738 w 4493400"/>
              <a:gd name="connsiteY694" fmla="*/ 1098054 h 4503132"/>
              <a:gd name="connsiteX695" fmla="*/ 310439 w 4493400"/>
              <a:gd name="connsiteY695" fmla="*/ 1109507 h 4503132"/>
              <a:gd name="connsiteX696" fmla="*/ 299043 w 4493400"/>
              <a:gd name="connsiteY696" fmla="*/ 1130343 h 4503132"/>
              <a:gd name="connsiteX697" fmla="*/ 281924 w 4493400"/>
              <a:gd name="connsiteY697" fmla="*/ 1162631 h 4503132"/>
              <a:gd name="connsiteX698" fmla="*/ 281684 w 4493400"/>
              <a:gd name="connsiteY698" fmla="*/ 1163112 h 4503132"/>
              <a:gd name="connsiteX699" fmla="*/ 281684 w 4493400"/>
              <a:gd name="connsiteY699" fmla="*/ 1163449 h 4503132"/>
              <a:gd name="connsiteX700" fmla="*/ 281684 w 4493400"/>
              <a:gd name="connsiteY700" fmla="*/ 1165278 h 4503132"/>
              <a:gd name="connsiteX701" fmla="*/ 282069 w 4493400"/>
              <a:gd name="connsiteY701" fmla="*/ 1166577 h 4503132"/>
              <a:gd name="connsiteX702" fmla="*/ 283752 w 4493400"/>
              <a:gd name="connsiteY702" fmla="*/ 1168069 h 4503132"/>
              <a:gd name="connsiteX703" fmla="*/ 285579 w 4493400"/>
              <a:gd name="connsiteY703" fmla="*/ 1168069 h 4503132"/>
              <a:gd name="connsiteX704" fmla="*/ 286541 w 4493400"/>
              <a:gd name="connsiteY704" fmla="*/ 1167636 h 4503132"/>
              <a:gd name="connsiteX705" fmla="*/ 287791 w 4493400"/>
              <a:gd name="connsiteY705" fmla="*/ 1166722 h 4503132"/>
              <a:gd name="connsiteX706" fmla="*/ 290964 w 4493400"/>
              <a:gd name="connsiteY706" fmla="*/ 1163305 h 4503132"/>
              <a:gd name="connsiteX707" fmla="*/ 295004 w 4493400"/>
              <a:gd name="connsiteY707" fmla="*/ 1157675 h 4503132"/>
              <a:gd name="connsiteX708" fmla="*/ 297552 w 4493400"/>
              <a:gd name="connsiteY708" fmla="*/ 1152478 h 4503132"/>
              <a:gd name="connsiteX709" fmla="*/ 293176 w 4493400"/>
              <a:gd name="connsiteY709" fmla="*/ 1156231 h 4503132"/>
              <a:gd name="connsiteX710" fmla="*/ 288416 w 4493400"/>
              <a:gd name="connsiteY710" fmla="*/ 1161043 h 4503132"/>
              <a:gd name="connsiteX711" fmla="*/ 288224 w 4493400"/>
              <a:gd name="connsiteY711" fmla="*/ 1161236 h 4503132"/>
              <a:gd name="connsiteX712" fmla="*/ 305150 w 4493400"/>
              <a:gd name="connsiteY712" fmla="*/ 1134000 h 4503132"/>
              <a:gd name="connsiteX713" fmla="*/ 330972 w 4493400"/>
              <a:gd name="connsiteY713" fmla="*/ 1091125 h 4503132"/>
              <a:gd name="connsiteX714" fmla="*/ 333472 w 4493400"/>
              <a:gd name="connsiteY714" fmla="*/ 1087660 h 4503132"/>
              <a:gd name="connsiteX715" fmla="*/ 327894 w 4493400"/>
              <a:gd name="connsiteY715" fmla="*/ 1097765 h 4503132"/>
              <a:gd name="connsiteX716" fmla="*/ 305438 w 4493400"/>
              <a:gd name="connsiteY716" fmla="*/ 1137705 h 4503132"/>
              <a:gd name="connsiteX717" fmla="*/ 297552 w 4493400"/>
              <a:gd name="connsiteY717" fmla="*/ 1152574 h 4503132"/>
              <a:gd name="connsiteX718" fmla="*/ 308756 w 4493400"/>
              <a:gd name="connsiteY718" fmla="*/ 1139870 h 4503132"/>
              <a:gd name="connsiteX719" fmla="*/ 314478 w 4493400"/>
              <a:gd name="connsiteY719" fmla="*/ 1131786 h 4503132"/>
              <a:gd name="connsiteX720" fmla="*/ 307939 w 4493400"/>
              <a:gd name="connsiteY720" fmla="*/ 1143816 h 4503132"/>
              <a:gd name="connsiteX721" fmla="*/ 288175 w 4493400"/>
              <a:gd name="connsiteY721" fmla="*/ 1177115 h 4503132"/>
              <a:gd name="connsiteX722" fmla="*/ 277452 w 4493400"/>
              <a:gd name="connsiteY722" fmla="*/ 1191022 h 4503132"/>
              <a:gd name="connsiteX723" fmla="*/ 271874 w 4493400"/>
              <a:gd name="connsiteY723" fmla="*/ 1196748 h 4503132"/>
              <a:gd name="connsiteX724" fmla="*/ 269374 w 4493400"/>
              <a:gd name="connsiteY724" fmla="*/ 1198433 h 4503132"/>
              <a:gd name="connsiteX725" fmla="*/ 269230 w 4493400"/>
              <a:gd name="connsiteY725" fmla="*/ 1198096 h 4503132"/>
              <a:gd name="connsiteX726" fmla="*/ 268124 w 4493400"/>
              <a:gd name="connsiteY726" fmla="*/ 1197037 h 4503132"/>
              <a:gd name="connsiteX727" fmla="*/ 267306 w 4493400"/>
              <a:gd name="connsiteY727" fmla="*/ 1196508 h 4503132"/>
              <a:gd name="connsiteX728" fmla="*/ 267066 w 4493400"/>
              <a:gd name="connsiteY728" fmla="*/ 1194391 h 4503132"/>
              <a:gd name="connsiteX729" fmla="*/ 263411 w 4493400"/>
              <a:gd name="connsiteY729" fmla="*/ 1195497 h 4503132"/>
              <a:gd name="connsiteX730" fmla="*/ 253650 w 4493400"/>
              <a:gd name="connsiteY730" fmla="*/ 1214938 h 4503132"/>
              <a:gd name="connsiteX731" fmla="*/ 249851 w 4493400"/>
              <a:gd name="connsiteY731" fmla="*/ 1222637 h 4503132"/>
              <a:gd name="connsiteX732" fmla="*/ 248793 w 4493400"/>
              <a:gd name="connsiteY732" fmla="*/ 1224802 h 4503132"/>
              <a:gd name="connsiteX733" fmla="*/ 248505 w 4493400"/>
              <a:gd name="connsiteY733" fmla="*/ 1227545 h 4503132"/>
              <a:gd name="connsiteX734" fmla="*/ 249130 w 4493400"/>
              <a:gd name="connsiteY734" fmla="*/ 1232502 h 4503132"/>
              <a:gd name="connsiteX735" fmla="*/ 250236 w 4493400"/>
              <a:gd name="connsiteY735" fmla="*/ 1234860 h 4503132"/>
              <a:gd name="connsiteX736" fmla="*/ 251005 w 4493400"/>
              <a:gd name="connsiteY736" fmla="*/ 1235870 h 4503132"/>
              <a:gd name="connsiteX737" fmla="*/ 252063 w 4493400"/>
              <a:gd name="connsiteY737" fmla="*/ 1236592 h 4503132"/>
              <a:gd name="connsiteX738" fmla="*/ 254419 w 4493400"/>
              <a:gd name="connsiteY738" fmla="*/ 1237314 h 4503132"/>
              <a:gd name="connsiteX739" fmla="*/ 256872 w 4493400"/>
              <a:gd name="connsiteY739" fmla="*/ 1237025 h 4503132"/>
              <a:gd name="connsiteX740" fmla="*/ 260911 w 4493400"/>
              <a:gd name="connsiteY740" fmla="*/ 1235052 h 4503132"/>
              <a:gd name="connsiteX741" fmla="*/ 263844 w 4493400"/>
              <a:gd name="connsiteY741" fmla="*/ 1232887 h 4503132"/>
              <a:gd name="connsiteX742" fmla="*/ 272355 w 4493400"/>
              <a:gd name="connsiteY742" fmla="*/ 1224081 h 4503132"/>
              <a:gd name="connsiteX743" fmla="*/ 282165 w 4493400"/>
              <a:gd name="connsiteY743" fmla="*/ 1210751 h 4503132"/>
              <a:gd name="connsiteX744" fmla="*/ 284858 w 4493400"/>
              <a:gd name="connsiteY744" fmla="*/ 1205699 h 4503132"/>
              <a:gd name="connsiteX745" fmla="*/ 269903 w 4493400"/>
              <a:gd name="connsiteY745" fmla="*/ 1221867 h 4503132"/>
              <a:gd name="connsiteX746" fmla="*/ 261296 w 4493400"/>
              <a:gd name="connsiteY746" fmla="*/ 1229711 h 4503132"/>
              <a:gd name="connsiteX747" fmla="*/ 256487 w 4493400"/>
              <a:gd name="connsiteY747" fmla="*/ 1232502 h 4503132"/>
              <a:gd name="connsiteX748" fmla="*/ 254467 w 4493400"/>
              <a:gd name="connsiteY748" fmla="*/ 1232309 h 4503132"/>
              <a:gd name="connsiteX749" fmla="*/ 253458 w 4493400"/>
              <a:gd name="connsiteY749" fmla="*/ 1230481 h 4503132"/>
              <a:gd name="connsiteX750" fmla="*/ 253361 w 4493400"/>
              <a:gd name="connsiteY750" fmla="*/ 1227642 h 4503132"/>
              <a:gd name="connsiteX751" fmla="*/ 254371 w 4493400"/>
              <a:gd name="connsiteY751" fmla="*/ 1224899 h 4503132"/>
              <a:gd name="connsiteX752" fmla="*/ 258458 w 4493400"/>
              <a:gd name="connsiteY752" fmla="*/ 1217392 h 4503132"/>
              <a:gd name="connsiteX753" fmla="*/ 262786 w 4493400"/>
              <a:gd name="connsiteY753" fmla="*/ 1209404 h 4503132"/>
              <a:gd name="connsiteX754" fmla="*/ 264950 w 4493400"/>
              <a:gd name="connsiteY754" fmla="*/ 1205410 h 4503132"/>
              <a:gd name="connsiteX755" fmla="*/ 266008 w 4493400"/>
              <a:gd name="connsiteY755" fmla="*/ 1203581 h 4503132"/>
              <a:gd name="connsiteX756" fmla="*/ 267018 w 4493400"/>
              <a:gd name="connsiteY756" fmla="*/ 1201801 h 4503132"/>
              <a:gd name="connsiteX757" fmla="*/ 267066 w 4493400"/>
              <a:gd name="connsiteY757" fmla="*/ 1204063 h 4503132"/>
              <a:gd name="connsiteX758" fmla="*/ 267739 w 4493400"/>
              <a:gd name="connsiteY758" fmla="*/ 1204784 h 4503132"/>
              <a:gd name="connsiteX759" fmla="*/ 271490 w 4493400"/>
              <a:gd name="connsiteY759" fmla="*/ 1204640 h 4503132"/>
              <a:gd name="connsiteX760" fmla="*/ 276010 w 4493400"/>
              <a:gd name="connsiteY760" fmla="*/ 1201945 h 4503132"/>
              <a:gd name="connsiteX761" fmla="*/ 282549 w 4493400"/>
              <a:gd name="connsiteY761" fmla="*/ 1195642 h 4503132"/>
              <a:gd name="connsiteX762" fmla="*/ 294090 w 4493400"/>
              <a:gd name="connsiteY762" fmla="*/ 1181398 h 4503132"/>
              <a:gd name="connsiteX763" fmla="*/ 315007 w 4493400"/>
              <a:gd name="connsiteY763" fmla="*/ 1147858 h 4503132"/>
              <a:gd name="connsiteX764" fmla="*/ 359246 w 4493400"/>
              <a:gd name="connsiteY764" fmla="*/ 1069471 h 4503132"/>
              <a:gd name="connsiteX765" fmla="*/ 376413 w 4493400"/>
              <a:gd name="connsiteY765" fmla="*/ 1039107 h 4503132"/>
              <a:gd name="connsiteX766" fmla="*/ 344003 w 4493400"/>
              <a:gd name="connsiteY766" fmla="*/ 1099209 h 4503132"/>
              <a:gd name="connsiteX767" fmla="*/ 300918 w 4493400"/>
              <a:gd name="connsiteY767" fmla="*/ 1177452 h 4503132"/>
              <a:gd name="connsiteX768" fmla="*/ 284761 w 4493400"/>
              <a:gd name="connsiteY768" fmla="*/ 1205699 h 4503132"/>
              <a:gd name="connsiteX769" fmla="*/ 290339 w 4493400"/>
              <a:gd name="connsiteY769" fmla="*/ 1199347 h 4503132"/>
              <a:gd name="connsiteX770" fmla="*/ 304236 w 4493400"/>
              <a:gd name="connsiteY770" fmla="*/ 1179521 h 4503132"/>
              <a:gd name="connsiteX771" fmla="*/ 336742 w 4493400"/>
              <a:gd name="connsiteY771" fmla="*/ 1126108 h 4503132"/>
              <a:gd name="connsiteX772" fmla="*/ 295388 w 4493400"/>
              <a:gd name="connsiteY772" fmla="*/ 1200454 h 4503132"/>
              <a:gd name="connsiteX773" fmla="*/ 264469 w 4493400"/>
              <a:gd name="connsiteY773" fmla="*/ 1245783 h 4503132"/>
              <a:gd name="connsiteX774" fmla="*/ 247351 w 4493400"/>
              <a:gd name="connsiteY774" fmla="*/ 1261855 h 4503132"/>
              <a:gd name="connsiteX775" fmla="*/ 243311 w 4493400"/>
              <a:gd name="connsiteY775" fmla="*/ 1263395 h 4503132"/>
              <a:gd name="connsiteX776" fmla="*/ 241148 w 4493400"/>
              <a:gd name="connsiteY776" fmla="*/ 1262144 h 4503132"/>
              <a:gd name="connsiteX777" fmla="*/ 240186 w 4493400"/>
              <a:gd name="connsiteY777" fmla="*/ 1253049 h 4503132"/>
              <a:gd name="connsiteX778" fmla="*/ 235089 w 4493400"/>
              <a:gd name="connsiteY778" fmla="*/ 1251557 h 4503132"/>
              <a:gd name="connsiteX779" fmla="*/ 226529 w 4493400"/>
              <a:gd name="connsiteY779" fmla="*/ 1269939 h 4503132"/>
              <a:gd name="connsiteX780" fmla="*/ 222635 w 4493400"/>
              <a:gd name="connsiteY780" fmla="*/ 1278360 h 4503132"/>
              <a:gd name="connsiteX781" fmla="*/ 221529 w 4493400"/>
              <a:gd name="connsiteY781" fmla="*/ 1280670 h 4503132"/>
              <a:gd name="connsiteX782" fmla="*/ 221288 w 4493400"/>
              <a:gd name="connsiteY782" fmla="*/ 1282162 h 4503132"/>
              <a:gd name="connsiteX783" fmla="*/ 221384 w 4493400"/>
              <a:gd name="connsiteY783" fmla="*/ 1283557 h 4503132"/>
              <a:gd name="connsiteX784" fmla="*/ 221913 w 4493400"/>
              <a:gd name="connsiteY784" fmla="*/ 1288032 h 4503132"/>
              <a:gd name="connsiteX785" fmla="*/ 225135 w 4493400"/>
              <a:gd name="connsiteY785" fmla="*/ 1296213 h 4503132"/>
              <a:gd name="connsiteX786" fmla="*/ 232540 w 4493400"/>
              <a:gd name="connsiteY786" fmla="*/ 1300640 h 4503132"/>
              <a:gd name="connsiteX787" fmla="*/ 245379 w 4493400"/>
              <a:gd name="connsiteY787" fmla="*/ 1295924 h 4503132"/>
              <a:gd name="connsiteX788" fmla="*/ 258074 w 4493400"/>
              <a:gd name="connsiteY788" fmla="*/ 1283557 h 4503132"/>
              <a:gd name="connsiteX789" fmla="*/ 261536 w 4493400"/>
              <a:gd name="connsiteY789" fmla="*/ 1278601 h 4503132"/>
              <a:gd name="connsiteX790" fmla="*/ 257016 w 4493400"/>
              <a:gd name="connsiteY790" fmla="*/ 1282595 h 4503132"/>
              <a:gd name="connsiteX791" fmla="*/ 243792 w 4493400"/>
              <a:gd name="connsiteY791" fmla="*/ 1293614 h 4503132"/>
              <a:gd name="connsiteX792" fmla="*/ 233021 w 4493400"/>
              <a:gd name="connsiteY792" fmla="*/ 1297175 h 4503132"/>
              <a:gd name="connsiteX793" fmla="*/ 226049 w 4493400"/>
              <a:gd name="connsiteY793" fmla="*/ 1287311 h 4503132"/>
              <a:gd name="connsiteX794" fmla="*/ 225712 w 4493400"/>
              <a:gd name="connsiteY794" fmla="*/ 1283365 h 4503132"/>
              <a:gd name="connsiteX795" fmla="*/ 226674 w 4493400"/>
              <a:gd name="connsiteY795" fmla="*/ 1280333 h 4503132"/>
              <a:gd name="connsiteX796" fmla="*/ 230809 w 4493400"/>
              <a:gd name="connsiteY796" fmla="*/ 1272105 h 4503132"/>
              <a:gd name="connsiteX797" fmla="*/ 235473 w 4493400"/>
              <a:gd name="connsiteY797" fmla="*/ 1262817 h 4503132"/>
              <a:gd name="connsiteX798" fmla="*/ 236243 w 4493400"/>
              <a:gd name="connsiteY798" fmla="*/ 1265031 h 4503132"/>
              <a:gd name="connsiteX799" fmla="*/ 243311 w 4493400"/>
              <a:gd name="connsiteY799" fmla="*/ 1269265 h 4503132"/>
              <a:gd name="connsiteX800" fmla="*/ 250236 w 4493400"/>
              <a:gd name="connsiteY800" fmla="*/ 1267100 h 4503132"/>
              <a:gd name="connsiteX801" fmla="*/ 269422 w 4493400"/>
              <a:gd name="connsiteY801" fmla="*/ 1250066 h 4503132"/>
              <a:gd name="connsiteX802" fmla="*/ 301880 w 4493400"/>
              <a:gd name="connsiteY802" fmla="*/ 1204351 h 4503132"/>
              <a:gd name="connsiteX803" fmla="*/ 367373 w 4493400"/>
              <a:gd name="connsiteY803" fmla="*/ 1088430 h 4503132"/>
              <a:gd name="connsiteX804" fmla="*/ 428971 w 4493400"/>
              <a:gd name="connsiteY804" fmla="*/ 976214 h 4503132"/>
              <a:gd name="connsiteX805" fmla="*/ 349293 w 4493400"/>
              <a:gd name="connsiteY805" fmla="*/ 1127840 h 4503132"/>
              <a:gd name="connsiteX806" fmla="*/ 286925 w 4493400"/>
              <a:gd name="connsiteY806" fmla="*/ 1239527 h 4503132"/>
              <a:gd name="connsiteX807" fmla="*/ 268028 w 4493400"/>
              <a:gd name="connsiteY807" fmla="*/ 1268448 h 4503132"/>
              <a:gd name="connsiteX808" fmla="*/ 261488 w 4493400"/>
              <a:gd name="connsiteY808" fmla="*/ 1278649 h 4503132"/>
              <a:gd name="connsiteX809" fmla="*/ 269662 w 4493400"/>
              <a:gd name="connsiteY809" fmla="*/ 1269699 h 4503132"/>
              <a:gd name="connsiteX810" fmla="*/ 290243 w 4493400"/>
              <a:gd name="connsiteY810" fmla="*/ 1241645 h 4503132"/>
              <a:gd name="connsiteX811" fmla="*/ 321836 w 4493400"/>
              <a:gd name="connsiteY811" fmla="*/ 1190733 h 4503132"/>
              <a:gd name="connsiteX812" fmla="*/ 290387 w 4493400"/>
              <a:gd name="connsiteY812" fmla="*/ 1248381 h 4503132"/>
              <a:gd name="connsiteX813" fmla="*/ 281107 w 4493400"/>
              <a:gd name="connsiteY813" fmla="*/ 1264550 h 4503132"/>
              <a:gd name="connsiteX814" fmla="*/ 271682 w 4493400"/>
              <a:gd name="connsiteY814" fmla="*/ 1279852 h 4503132"/>
              <a:gd name="connsiteX815" fmla="*/ 262209 w 4493400"/>
              <a:gd name="connsiteY815" fmla="*/ 1294240 h 4503132"/>
              <a:gd name="connsiteX816" fmla="*/ 257497 w 4493400"/>
              <a:gd name="connsiteY816" fmla="*/ 1301121 h 4503132"/>
              <a:gd name="connsiteX817" fmla="*/ 252448 w 4493400"/>
              <a:gd name="connsiteY817" fmla="*/ 1307425 h 4503132"/>
              <a:gd name="connsiteX818" fmla="*/ 247447 w 4493400"/>
              <a:gd name="connsiteY818" fmla="*/ 1313536 h 4503132"/>
              <a:gd name="connsiteX819" fmla="*/ 242061 w 4493400"/>
              <a:gd name="connsiteY819" fmla="*/ 1318877 h 4503132"/>
              <a:gd name="connsiteX820" fmla="*/ 230905 w 4493400"/>
              <a:gd name="connsiteY820" fmla="*/ 1324748 h 4503132"/>
              <a:gd name="connsiteX821" fmla="*/ 227010 w 4493400"/>
              <a:gd name="connsiteY821" fmla="*/ 1322053 h 4503132"/>
              <a:gd name="connsiteX822" fmla="*/ 224318 w 4493400"/>
              <a:gd name="connsiteY822" fmla="*/ 1316279 h 4503132"/>
              <a:gd name="connsiteX823" fmla="*/ 220567 w 4493400"/>
              <a:gd name="connsiteY823" fmla="*/ 1302950 h 4503132"/>
              <a:gd name="connsiteX824" fmla="*/ 220567 w 4493400"/>
              <a:gd name="connsiteY824" fmla="*/ 1302805 h 4503132"/>
              <a:gd name="connsiteX825" fmla="*/ 219461 w 4493400"/>
              <a:gd name="connsiteY825" fmla="*/ 1295443 h 4503132"/>
              <a:gd name="connsiteX826" fmla="*/ 218163 w 4493400"/>
              <a:gd name="connsiteY826" fmla="*/ 1286589 h 4503132"/>
              <a:gd name="connsiteX827" fmla="*/ 214604 w 4493400"/>
              <a:gd name="connsiteY827" fmla="*/ 1294577 h 4503132"/>
              <a:gd name="connsiteX828" fmla="*/ 205372 w 4493400"/>
              <a:gd name="connsiteY828" fmla="*/ 1315365 h 4503132"/>
              <a:gd name="connsiteX829" fmla="*/ 203256 w 4493400"/>
              <a:gd name="connsiteY829" fmla="*/ 1320177 h 4503132"/>
              <a:gd name="connsiteX830" fmla="*/ 202054 w 4493400"/>
              <a:gd name="connsiteY830" fmla="*/ 1323449 h 4503132"/>
              <a:gd name="connsiteX831" fmla="*/ 203304 w 4493400"/>
              <a:gd name="connsiteY831" fmla="*/ 1326432 h 4503132"/>
              <a:gd name="connsiteX832" fmla="*/ 205804 w 4493400"/>
              <a:gd name="connsiteY832" fmla="*/ 1335527 h 4503132"/>
              <a:gd name="connsiteX833" fmla="*/ 215566 w 4493400"/>
              <a:gd name="connsiteY833" fmla="*/ 1365891 h 4503132"/>
              <a:gd name="connsiteX834" fmla="*/ 225472 w 4493400"/>
              <a:gd name="connsiteY834" fmla="*/ 1372435 h 4503132"/>
              <a:gd name="connsiteX835" fmla="*/ 233454 w 4493400"/>
              <a:gd name="connsiteY835" fmla="*/ 1369211 h 4503132"/>
              <a:gd name="connsiteX836" fmla="*/ 237205 w 4493400"/>
              <a:gd name="connsiteY836" fmla="*/ 1365795 h 4503132"/>
              <a:gd name="connsiteX837" fmla="*/ 238214 w 4493400"/>
              <a:gd name="connsiteY837" fmla="*/ 1364399 h 4503132"/>
              <a:gd name="connsiteX838" fmla="*/ 232684 w 4493400"/>
              <a:gd name="connsiteY838" fmla="*/ 1368104 h 4503132"/>
              <a:gd name="connsiteX839" fmla="*/ 225472 w 4493400"/>
              <a:gd name="connsiteY839" fmla="*/ 1370414 h 4503132"/>
              <a:gd name="connsiteX840" fmla="*/ 217826 w 4493400"/>
              <a:gd name="connsiteY840" fmla="*/ 1364495 h 4503132"/>
              <a:gd name="connsiteX841" fmla="*/ 209603 w 4493400"/>
              <a:gd name="connsiteY841" fmla="*/ 1334709 h 4503132"/>
              <a:gd name="connsiteX842" fmla="*/ 207295 w 4493400"/>
              <a:gd name="connsiteY842" fmla="*/ 1325085 h 4503132"/>
              <a:gd name="connsiteX843" fmla="*/ 206670 w 4493400"/>
              <a:gd name="connsiteY843" fmla="*/ 1323401 h 4503132"/>
              <a:gd name="connsiteX844" fmla="*/ 207247 w 4493400"/>
              <a:gd name="connsiteY844" fmla="*/ 1322005 h 4503132"/>
              <a:gd name="connsiteX845" fmla="*/ 209507 w 4493400"/>
              <a:gd name="connsiteY845" fmla="*/ 1317241 h 4503132"/>
              <a:gd name="connsiteX846" fmla="*/ 215566 w 4493400"/>
              <a:gd name="connsiteY846" fmla="*/ 1304489 h 4503132"/>
              <a:gd name="connsiteX847" fmla="*/ 215566 w 4493400"/>
              <a:gd name="connsiteY847" fmla="*/ 1304586 h 4503132"/>
              <a:gd name="connsiteX848" fmla="*/ 219076 w 4493400"/>
              <a:gd name="connsiteY848" fmla="*/ 1318011 h 4503132"/>
              <a:gd name="connsiteX849" fmla="*/ 222346 w 4493400"/>
              <a:gd name="connsiteY849" fmla="*/ 1325326 h 4503132"/>
              <a:gd name="connsiteX850" fmla="*/ 230328 w 4493400"/>
              <a:gd name="connsiteY850" fmla="*/ 1330571 h 4503132"/>
              <a:gd name="connsiteX851" fmla="*/ 239224 w 4493400"/>
              <a:gd name="connsiteY851" fmla="*/ 1328357 h 4503132"/>
              <a:gd name="connsiteX852" fmla="*/ 246100 w 4493400"/>
              <a:gd name="connsiteY852" fmla="*/ 1323545 h 4503132"/>
              <a:gd name="connsiteX853" fmla="*/ 252063 w 4493400"/>
              <a:gd name="connsiteY853" fmla="*/ 1317867 h 4503132"/>
              <a:gd name="connsiteX854" fmla="*/ 257449 w 4493400"/>
              <a:gd name="connsiteY854" fmla="*/ 1311563 h 4503132"/>
              <a:gd name="connsiteX855" fmla="*/ 262834 w 4493400"/>
              <a:gd name="connsiteY855" fmla="*/ 1305067 h 4503132"/>
              <a:gd name="connsiteX856" fmla="*/ 267787 w 4493400"/>
              <a:gd name="connsiteY856" fmla="*/ 1298090 h 4503132"/>
              <a:gd name="connsiteX857" fmla="*/ 277645 w 4493400"/>
              <a:gd name="connsiteY857" fmla="*/ 1283605 h 4503132"/>
              <a:gd name="connsiteX858" fmla="*/ 287358 w 4493400"/>
              <a:gd name="connsiteY858" fmla="*/ 1268303 h 4503132"/>
              <a:gd name="connsiteX859" fmla="*/ 296927 w 4493400"/>
              <a:gd name="connsiteY859" fmla="*/ 1252183 h 4503132"/>
              <a:gd name="connsiteX860" fmla="*/ 328039 w 4493400"/>
              <a:gd name="connsiteY860" fmla="*/ 1196748 h 4503132"/>
              <a:gd name="connsiteX861" fmla="*/ 270576 w 4493400"/>
              <a:gd name="connsiteY861" fmla="*/ 1313488 h 4503132"/>
              <a:gd name="connsiteX862" fmla="*/ 247447 w 4493400"/>
              <a:gd name="connsiteY862" fmla="*/ 1351840 h 4503132"/>
              <a:gd name="connsiteX863" fmla="*/ 243552 w 4493400"/>
              <a:gd name="connsiteY863" fmla="*/ 1357373 h 4503132"/>
              <a:gd name="connsiteX864" fmla="*/ 240522 w 4493400"/>
              <a:gd name="connsiteY864" fmla="*/ 1361175 h 4503132"/>
              <a:gd name="connsiteX865" fmla="*/ 238262 w 4493400"/>
              <a:gd name="connsiteY865" fmla="*/ 1364495 h 4503132"/>
              <a:gd name="connsiteX866" fmla="*/ 241292 w 4493400"/>
              <a:gd name="connsiteY866" fmla="*/ 1361897 h 4503132"/>
              <a:gd name="connsiteX867" fmla="*/ 244802 w 4493400"/>
              <a:gd name="connsiteY867" fmla="*/ 1358384 h 4503132"/>
              <a:gd name="connsiteX868" fmla="*/ 249130 w 4493400"/>
              <a:gd name="connsiteY868" fmla="*/ 1353139 h 4503132"/>
              <a:gd name="connsiteX869" fmla="*/ 274086 w 4493400"/>
              <a:gd name="connsiteY869" fmla="*/ 1315509 h 4503132"/>
              <a:gd name="connsiteX870" fmla="*/ 349870 w 4493400"/>
              <a:gd name="connsiteY870" fmla="*/ 1167443 h 4503132"/>
              <a:gd name="connsiteX871" fmla="*/ 360929 w 4493400"/>
              <a:gd name="connsiteY871" fmla="*/ 1144682 h 4503132"/>
              <a:gd name="connsiteX872" fmla="*/ 313372 w 4493400"/>
              <a:gd name="connsiteY872" fmla="*/ 1250980 h 4503132"/>
              <a:gd name="connsiteX873" fmla="*/ 274856 w 4493400"/>
              <a:gd name="connsiteY873" fmla="*/ 1332929 h 4503132"/>
              <a:gd name="connsiteX874" fmla="*/ 233742 w 4493400"/>
              <a:gd name="connsiteY874" fmla="*/ 1403617 h 4503132"/>
              <a:gd name="connsiteX875" fmla="*/ 221336 w 4493400"/>
              <a:gd name="connsiteY875" fmla="*/ 1417764 h 4503132"/>
              <a:gd name="connsiteX876" fmla="*/ 214364 w 4493400"/>
              <a:gd name="connsiteY876" fmla="*/ 1422095 h 4503132"/>
              <a:gd name="connsiteX877" fmla="*/ 211190 w 4493400"/>
              <a:gd name="connsiteY877" fmla="*/ 1421758 h 4503132"/>
              <a:gd name="connsiteX878" fmla="*/ 208593 w 4493400"/>
              <a:gd name="connsiteY878" fmla="*/ 1419304 h 4503132"/>
              <a:gd name="connsiteX879" fmla="*/ 203448 w 4493400"/>
              <a:gd name="connsiteY879" fmla="*/ 1402991 h 4503132"/>
              <a:gd name="connsiteX880" fmla="*/ 201525 w 4493400"/>
              <a:gd name="connsiteY880" fmla="*/ 1385668 h 4503132"/>
              <a:gd name="connsiteX881" fmla="*/ 200659 w 4493400"/>
              <a:gd name="connsiteY881" fmla="*/ 1377007 h 4503132"/>
              <a:gd name="connsiteX882" fmla="*/ 200178 w 4493400"/>
              <a:gd name="connsiteY882" fmla="*/ 1374697 h 4503132"/>
              <a:gd name="connsiteX883" fmla="*/ 199650 w 4493400"/>
              <a:gd name="connsiteY883" fmla="*/ 1372676 h 4503132"/>
              <a:gd name="connsiteX884" fmla="*/ 198544 w 4493400"/>
              <a:gd name="connsiteY884" fmla="*/ 1368586 h 4503132"/>
              <a:gd name="connsiteX885" fmla="*/ 197149 w 4493400"/>
              <a:gd name="connsiteY885" fmla="*/ 1364255 h 4503132"/>
              <a:gd name="connsiteX886" fmla="*/ 194697 w 4493400"/>
              <a:gd name="connsiteY886" fmla="*/ 1359587 h 4503132"/>
              <a:gd name="connsiteX887" fmla="*/ 190898 w 4493400"/>
              <a:gd name="connsiteY887" fmla="*/ 1356892 h 4503132"/>
              <a:gd name="connsiteX888" fmla="*/ 188494 w 4493400"/>
              <a:gd name="connsiteY888" fmla="*/ 1357037 h 4503132"/>
              <a:gd name="connsiteX889" fmla="*/ 187340 w 4493400"/>
              <a:gd name="connsiteY889" fmla="*/ 1359010 h 4503132"/>
              <a:gd name="connsiteX890" fmla="*/ 183252 w 4493400"/>
              <a:gd name="connsiteY890" fmla="*/ 1367238 h 4503132"/>
              <a:gd name="connsiteX891" fmla="*/ 180223 w 4493400"/>
              <a:gd name="connsiteY891" fmla="*/ 1374504 h 4503132"/>
              <a:gd name="connsiteX892" fmla="*/ 174404 w 4493400"/>
              <a:gd name="connsiteY892" fmla="*/ 1388700 h 4503132"/>
              <a:gd name="connsiteX893" fmla="*/ 159498 w 4493400"/>
              <a:gd name="connsiteY893" fmla="*/ 1426330 h 4503132"/>
              <a:gd name="connsiteX894" fmla="*/ 159161 w 4493400"/>
              <a:gd name="connsiteY894" fmla="*/ 1427100 h 4503132"/>
              <a:gd name="connsiteX895" fmla="*/ 152333 w 4493400"/>
              <a:gd name="connsiteY895" fmla="*/ 1445193 h 4503132"/>
              <a:gd name="connsiteX896" fmla="*/ 138340 w 4493400"/>
              <a:gd name="connsiteY896" fmla="*/ 1483593 h 4503132"/>
              <a:gd name="connsiteX897" fmla="*/ 132089 w 4493400"/>
              <a:gd name="connsiteY897" fmla="*/ 1502071 h 4503132"/>
              <a:gd name="connsiteX898" fmla="*/ 129300 w 4493400"/>
              <a:gd name="connsiteY898" fmla="*/ 1518769 h 4503132"/>
              <a:gd name="connsiteX899" fmla="*/ 126511 w 4493400"/>
              <a:gd name="connsiteY899" fmla="*/ 1544898 h 4503132"/>
              <a:gd name="connsiteX900" fmla="*/ 125838 w 4493400"/>
              <a:gd name="connsiteY900" fmla="*/ 1560826 h 4503132"/>
              <a:gd name="connsiteX901" fmla="*/ 125838 w 4493400"/>
              <a:gd name="connsiteY901" fmla="*/ 1564868 h 4503132"/>
              <a:gd name="connsiteX902" fmla="*/ 125982 w 4493400"/>
              <a:gd name="connsiteY902" fmla="*/ 1566215 h 4503132"/>
              <a:gd name="connsiteX903" fmla="*/ 126126 w 4493400"/>
              <a:gd name="connsiteY903" fmla="*/ 1564868 h 4503132"/>
              <a:gd name="connsiteX904" fmla="*/ 126367 w 4493400"/>
              <a:gd name="connsiteY904" fmla="*/ 1560874 h 4503132"/>
              <a:gd name="connsiteX905" fmla="*/ 127569 w 4493400"/>
              <a:gd name="connsiteY905" fmla="*/ 1544994 h 4503132"/>
              <a:gd name="connsiteX906" fmla="*/ 130887 w 4493400"/>
              <a:gd name="connsiteY906" fmla="*/ 1519057 h 4503132"/>
              <a:gd name="connsiteX907" fmla="*/ 133916 w 4493400"/>
              <a:gd name="connsiteY907" fmla="*/ 1502504 h 4503132"/>
              <a:gd name="connsiteX908" fmla="*/ 140360 w 4493400"/>
              <a:gd name="connsiteY908" fmla="*/ 1484411 h 4503132"/>
              <a:gd name="connsiteX909" fmla="*/ 144880 w 4493400"/>
              <a:gd name="connsiteY909" fmla="*/ 1472236 h 4503132"/>
              <a:gd name="connsiteX910" fmla="*/ 136946 w 4493400"/>
              <a:gd name="connsiteY910" fmla="*/ 1520357 h 4503132"/>
              <a:gd name="connsiteX911" fmla="*/ 136465 w 4493400"/>
              <a:gd name="connsiteY911" fmla="*/ 1554955 h 4503132"/>
              <a:gd name="connsiteX912" fmla="*/ 137330 w 4493400"/>
              <a:gd name="connsiteY912" fmla="*/ 1559815 h 4503132"/>
              <a:gd name="connsiteX913" fmla="*/ 138292 w 4493400"/>
              <a:gd name="connsiteY913" fmla="*/ 1562847 h 4503132"/>
              <a:gd name="connsiteX914" fmla="*/ 140360 w 4493400"/>
              <a:gd name="connsiteY914" fmla="*/ 1566552 h 4503132"/>
              <a:gd name="connsiteX915" fmla="*/ 147140 w 4493400"/>
              <a:gd name="connsiteY915" fmla="*/ 1570161 h 4503132"/>
              <a:gd name="connsiteX916" fmla="*/ 154545 w 4493400"/>
              <a:gd name="connsiteY916" fmla="*/ 1566793 h 4503132"/>
              <a:gd name="connsiteX917" fmla="*/ 156901 w 4493400"/>
              <a:gd name="connsiteY917" fmla="*/ 1564290 h 4503132"/>
              <a:gd name="connsiteX918" fmla="*/ 158488 w 4493400"/>
              <a:gd name="connsiteY918" fmla="*/ 1562221 h 4503132"/>
              <a:gd name="connsiteX919" fmla="*/ 161181 w 4493400"/>
              <a:gd name="connsiteY919" fmla="*/ 1558035 h 4503132"/>
              <a:gd name="connsiteX920" fmla="*/ 165653 w 4493400"/>
              <a:gd name="connsiteY920" fmla="*/ 1549517 h 4503132"/>
              <a:gd name="connsiteX921" fmla="*/ 179117 w 4493400"/>
              <a:gd name="connsiteY921" fmla="*/ 1515352 h 4503132"/>
              <a:gd name="connsiteX922" fmla="*/ 187099 w 4493400"/>
              <a:gd name="connsiteY922" fmla="*/ 1482197 h 4503132"/>
              <a:gd name="connsiteX923" fmla="*/ 191619 w 4493400"/>
              <a:gd name="connsiteY923" fmla="*/ 1424790 h 4503132"/>
              <a:gd name="connsiteX924" fmla="*/ 187868 w 4493400"/>
              <a:gd name="connsiteY924" fmla="*/ 1402270 h 4503132"/>
              <a:gd name="connsiteX925" fmla="*/ 184454 w 4493400"/>
              <a:gd name="connsiteY925" fmla="*/ 1396976 h 4503132"/>
              <a:gd name="connsiteX926" fmla="*/ 178732 w 4493400"/>
              <a:gd name="connsiteY926" fmla="*/ 1395437 h 4503132"/>
              <a:gd name="connsiteX927" fmla="*/ 174116 w 4493400"/>
              <a:gd name="connsiteY927" fmla="*/ 1398372 h 4503132"/>
              <a:gd name="connsiteX928" fmla="*/ 173635 w 4493400"/>
              <a:gd name="connsiteY928" fmla="*/ 1398949 h 4503132"/>
              <a:gd name="connsiteX929" fmla="*/ 177290 w 4493400"/>
              <a:gd name="connsiteY929" fmla="*/ 1390047 h 4503132"/>
              <a:gd name="connsiteX930" fmla="*/ 188734 w 4493400"/>
              <a:gd name="connsiteY930" fmla="*/ 1363148 h 4503132"/>
              <a:gd name="connsiteX931" fmla="*/ 189359 w 4493400"/>
              <a:gd name="connsiteY931" fmla="*/ 1361849 h 4503132"/>
              <a:gd name="connsiteX932" fmla="*/ 190706 w 4493400"/>
              <a:gd name="connsiteY932" fmla="*/ 1361849 h 4503132"/>
              <a:gd name="connsiteX933" fmla="*/ 192677 w 4493400"/>
              <a:gd name="connsiteY933" fmla="*/ 1363677 h 4503132"/>
              <a:gd name="connsiteX934" fmla="*/ 193783 w 4493400"/>
              <a:gd name="connsiteY934" fmla="*/ 1366180 h 4503132"/>
              <a:gd name="connsiteX935" fmla="*/ 194889 w 4493400"/>
              <a:gd name="connsiteY935" fmla="*/ 1369789 h 4503132"/>
              <a:gd name="connsiteX936" fmla="*/ 195947 w 4493400"/>
              <a:gd name="connsiteY936" fmla="*/ 1373831 h 4503132"/>
              <a:gd name="connsiteX937" fmla="*/ 196476 w 4493400"/>
              <a:gd name="connsiteY937" fmla="*/ 1375900 h 4503132"/>
              <a:gd name="connsiteX938" fmla="*/ 196861 w 4493400"/>
              <a:gd name="connsiteY938" fmla="*/ 1377777 h 4503132"/>
              <a:gd name="connsiteX939" fmla="*/ 197630 w 4493400"/>
              <a:gd name="connsiteY939" fmla="*/ 1386198 h 4503132"/>
              <a:gd name="connsiteX940" fmla="*/ 199457 w 4493400"/>
              <a:gd name="connsiteY940" fmla="*/ 1403810 h 4503132"/>
              <a:gd name="connsiteX941" fmla="*/ 205179 w 4493400"/>
              <a:gd name="connsiteY941" fmla="*/ 1421806 h 4503132"/>
              <a:gd name="connsiteX942" fmla="*/ 209267 w 4493400"/>
              <a:gd name="connsiteY942" fmla="*/ 1425560 h 4503132"/>
              <a:gd name="connsiteX943" fmla="*/ 215133 w 4493400"/>
              <a:gd name="connsiteY943" fmla="*/ 1426282 h 4503132"/>
              <a:gd name="connsiteX944" fmla="*/ 224077 w 4493400"/>
              <a:gd name="connsiteY944" fmla="*/ 1421037 h 4503132"/>
              <a:gd name="connsiteX945" fmla="*/ 237060 w 4493400"/>
              <a:gd name="connsiteY945" fmla="*/ 1406408 h 4503132"/>
              <a:gd name="connsiteX946" fmla="*/ 278991 w 4493400"/>
              <a:gd name="connsiteY946" fmla="*/ 1335286 h 4503132"/>
              <a:gd name="connsiteX947" fmla="*/ 317989 w 4493400"/>
              <a:gd name="connsiteY947" fmla="*/ 1253338 h 4503132"/>
              <a:gd name="connsiteX948" fmla="*/ 404158 w 4493400"/>
              <a:gd name="connsiteY948" fmla="*/ 1066968 h 4503132"/>
              <a:gd name="connsiteX949" fmla="*/ 450706 w 4493400"/>
              <a:gd name="connsiteY949" fmla="*/ 982902 h 4503132"/>
              <a:gd name="connsiteX950" fmla="*/ 404399 w 4493400"/>
              <a:gd name="connsiteY950" fmla="*/ 1070626 h 4503132"/>
              <a:gd name="connsiteX951" fmla="*/ 359198 w 4493400"/>
              <a:gd name="connsiteY951" fmla="*/ 1167876 h 4503132"/>
              <a:gd name="connsiteX952" fmla="*/ 331982 w 4493400"/>
              <a:gd name="connsiteY952" fmla="*/ 1229903 h 4503132"/>
              <a:gd name="connsiteX953" fmla="*/ 325202 w 4493400"/>
              <a:gd name="connsiteY953" fmla="*/ 1246168 h 4503132"/>
              <a:gd name="connsiteX954" fmla="*/ 323230 w 4493400"/>
              <a:gd name="connsiteY954" fmla="*/ 1251846 h 4503132"/>
              <a:gd name="connsiteX955" fmla="*/ 326211 w 4493400"/>
              <a:gd name="connsiteY955" fmla="*/ 1246601 h 4503132"/>
              <a:gd name="connsiteX956" fmla="*/ 333953 w 4493400"/>
              <a:gd name="connsiteY956" fmla="*/ 1230769 h 4503132"/>
              <a:gd name="connsiteX957" fmla="*/ 362949 w 4493400"/>
              <a:gd name="connsiteY957" fmla="*/ 1169609 h 4503132"/>
              <a:gd name="connsiteX958" fmla="*/ 408342 w 4493400"/>
              <a:gd name="connsiteY958" fmla="*/ 1075967 h 4503132"/>
              <a:gd name="connsiteX959" fmla="*/ 334915 w 4493400"/>
              <a:gd name="connsiteY959" fmla="*/ 1238469 h 4503132"/>
              <a:gd name="connsiteX960" fmla="*/ 267114 w 4493400"/>
              <a:gd name="connsiteY960" fmla="*/ 1400970 h 4503132"/>
              <a:gd name="connsiteX961" fmla="*/ 253409 w 4493400"/>
              <a:gd name="connsiteY961" fmla="*/ 1439418 h 4503132"/>
              <a:gd name="connsiteX962" fmla="*/ 242109 w 4493400"/>
              <a:gd name="connsiteY962" fmla="*/ 1477000 h 4503132"/>
              <a:gd name="connsiteX963" fmla="*/ 225472 w 4493400"/>
              <a:gd name="connsiteY963" fmla="*/ 1549036 h 4503132"/>
              <a:gd name="connsiteX964" fmla="*/ 222923 w 4493400"/>
              <a:gd name="connsiteY964" fmla="*/ 1616741 h 4503132"/>
              <a:gd name="connsiteX965" fmla="*/ 227635 w 4493400"/>
              <a:gd name="connsiteY965" fmla="*/ 1632476 h 4503132"/>
              <a:gd name="connsiteX966" fmla="*/ 237589 w 4493400"/>
              <a:gd name="connsiteY966" fmla="*/ 1645661 h 4503132"/>
              <a:gd name="connsiteX967" fmla="*/ 252640 w 4493400"/>
              <a:gd name="connsiteY967" fmla="*/ 1651676 h 4503132"/>
              <a:gd name="connsiteX968" fmla="*/ 267739 w 4493400"/>
              <a:gd name="connsiteY968" fmla="*/ 1650618 h 4503132"/>
              <a:gd name="connsiteX969" fmla="*/ 293369 w 4493400"/>
              <a:gd name="connsiteY969" fmla="*/ 1640176 h 4503132"/>
              <a:gd name="connsiteX970" fmla="*/ 314527 w 4493400"/>
              <a:gd name="connsiteY970" fmla="*/ 1626365 h 4503132"/>
              <a:gd name="connsiteX971" fmla="*/ 347994 w 4493400"/>
              <a:gd name="connsiteY971" fmla="*/ 1598022 h 4503132"/>
              <a:gd name="connsiteX972" fmla="*/ 389348 w 4493400"/>
              <a:gd name="connsiteY972" fmla="*/ 1553896 h 4503132"/>
              <a:gd name="connsiteX973" fmla="*/ 399206 w 4493400"/>
              <a:gd name="connsiteY973" fmla="*/ 1541674 h 4503132"/>
              <a:gd name="connsiteX974" fmla="*/ 402235 w 4493400"/>
              <a:gd name="connsiteY974" fmla="*/ 1537247 h 4503132"/>
              <a:gd name="connsiteX975" fmla="*/ 398388 w 4493400"/>
              <a:gd name="connsiteY975" fmla="*/ 1541000 h 4503132"/>
              <a:gd name="connsiteX976" fmla="*/ 387761 w 4493400"/>
              <a:gd name="connsiteY976" fmla="*/ 1552549 h 4503132"/>
              <a:gd name="connsiteX977" fmla="*/ 345205 w 4493400"/>
              <a:gd name="connsiteY977" fmla="*/ 1595039 h 4503132"/>
              <a:gd name="connsiteX978" fmla="*/ 311593 w 4493400"/>
              <a:gd name="connsiteY978" fmla="*/ 1622323 h 4503132"/>
              <a:gd name="connsiteX979" fmla="*/ 266537 w 4493400"/>
              <a:gd name="connsiteY979" fmla="*/ 1644843 h 4503132"/>
              <a:gd name="connsiteX980" fmla="*/ 241677 w 4493400"/>
              <a:gd name="connsiteY980" fmla="*/ 1640753 h 4503132"/>
              <a:gd name="connsiteX981" fmla="*/ 229703 w 4493400"/>
              <a:gd name="connsiteY981" fmla="*/ 1615731 h 4503132"/>
              <a:gd name="connsiteX982" fmla="*/ 233021 w 4493400"/>
              <a:gd name="connsiteY982" fmla="*/ 1550480 h 4503132"/>
              <a:gd name="connsiteX983" fmla="*/ 250140 w 4493400"/>
              <a:gd name="connsiteY983" fmla="*/ 1479454 h 4503132"/>
              <a:gd name="connsiteX984" fmla="*/ 261680 w 4493400"/>
              <a:gd name="connsiteY984" fmla="*/ 1442258 h 4503132"/>
              <a:gd name="connsiteX985" fmla="*/ 275481 w 4493400"/>
              <a:gd name="connsiteY985" fmla="*/ 1404339 h 4503132"/>
              <a:gd name="connsiteX986" fmla="*/ 344051 w 4493400"/>
              <a:gd name="connsiteY986" fmla="*/ 1242607 h 4503132"/>
              <a:gd name="connsiteX987" fmla="*/ 424932 w 4493400"/>
              <a:gd name="connsiteY987" fmla="*/ 1066150 h 4503132"/>
              <a:gd name="connsiteX988" fmla="*/ 473835 w 4493400"/>
              <a:gd name="connsiteY988" fmla="*/ 976310 h 4503132"/>
              <a:gd name="connsiteX989" fmla="*/ 535192 w 4493400"/>
              <a:gd name="connsiteY989" fmla="*/ 891378 h 4503132"/>
              <a:gd name="connsiteX990" fmla="*/ 553128 w 4493400"/>
              <a:gd name="connsiteY990" fmla="*/ 872034 h 4503132"/>
              <a:gd name="connsiteX991" fmla="*/ 562409 w 4493400"/>
              <a:gd name="connsiteY991" fmla="*/ 862746 h 4503132"/>
              <a:gd name="connsiteX992" fmla="*/ 572026 w 4493400"/>
              <a:gd name="connsiteY992" fmla="*/ 853844 h 4503132"/>
              <a:gd name="connsiteX993" fmla="*/ 613476 w 4493400"/>
              <a:gd name="connsiteY993" fmla="*/ 823528 h 4503132"/>
              <a:gd name="connsiteX994" fmla="*/ 659254 w 4493400"/>
              <a:gd name="connsiteY994" fmla="*/ 801730 h 4503132"/>
              <a:gd name="connsiteX995" fmla="*/ 682768 w 4493400"/>
              <a:gd name="connsiteY995" fmla="*/ 795667 h 4503132"/>
              <a:gd name="connsiteX996" fmla="*/ 688298 w 4493400"/>
              <a:gd name="connsiteY996" fmla="*/ 795378 h 4503132"/>
              <a:gd name="connsiteX997" fmla="*/ 692673 w 4493400"/>
              <a:gd name="connsiteY997" fmla="*/ 796341 h 4503132"/>
              <a:gd name="connsiteX998" fmla="*/ 699838 w 4493400"/>
              <a:gd name="connsiteY998" fmla="*/ 802741 h 4503132"/>
              <a:gd name="connsiteX999" fmla="*/ 708734 w 4493400"/>
              <a:gd name="connsiteY999" fmla="*/ 824106 h 4503132"/>
              <a:gd name="connsiteX1000" fmla="*/ 713062 w 4493400"/>
              <a:gd name="connsiteY1000" fmla="*/ 847925 h 4503132"/>
              <a:gd name="connsiteX1001" fmla="*/ 715322 w 4493400"/>
              <a:gd name="connsiteY1001" fmla="*/ 896286 h 4503132"/>
              <a:gd name="connsiteX1002" fmla="*/ 706330 w 4493400"/>
              <a:gd name="connsiteY1002" fmla="*/ 990072 h 4503132"/>
              <a:gd name="connsiteX1003" fmla="*/ 681950 w 4493400"/>
              <a:gd name="connsiteY1003" fmla="*/ 1076063 h 4503132"/>
              <a:gd name="connsiteX1004" fmla="*/ 673583 w 4493400"/>
              <a:gd name="connsiteY1004" fmla="*/ 1096081 h 4503132"/>
              <a:gd name="connsiteX1005" fmla="*/ 664928 w 4493400"/>
              <a:gd name="connsiteY1005" fmla="*/ 1115666 h 4503132"/>
              <a:gd name="connsiteX1006" fmla="*/ 646607 w 4493400"/>
              <a:gd name="connsiteY1006" fmla="*/ 1153296 h 4503132"/>
              <a:gd name="connsiteX1007" fmla="*/ 571786 w 4493400"/>
              <a:gd name="connsiteY1007" fmla="*/ 1286589 h 4503132"/>
              <a:gd name="connsiteX1008" fmla="*/ 450080 w 4493400"/>
              <a:gd name="connsiteY1008" fmla="*/ 1471755 h 4503132"/>
              <a:gd name="connsiteX1009" fmla="*/ 414497 w 4493400"/>
              <a:gd name="connsiteY1009" fmla="*/ 1520405 h 4503132"/>
              <a:gd name="connsiteX1010" fmla="*/ 405072 w 4493400"/>
              <a:gd name="connsiteY1010" fmla="*/ 1532916 h 4503132"/>
              <a:gd name="connsiteX1011" fmla="*/ 402139 w 4493400"/>
              <a:gd name="connsiteY1011" fmla="*/ 1537439 h 4503132"/>
              <a:gd name="connsiteX1012" fmla="*/ 405938 w 4493400"/>
              <a:gd name="connsiteY1012" fmla="*/ 1533638 h 4503132"/>
              <a:gd name="connsiteX1013" fmla="*/ 416228 w 4493400"/>
              <a:gd name="connsiteY1013" fmla="*/ 1521752 h 4503132"/>
              <a:gd name="connsiteX1014" fmla="*/ 453446 w 4493400"/>
              <a:gd name="connsiteY1014" fmla="*/ 1474209 h 4503132"/>
              <a:gd name="connsiteX1015" fmla="*/ 578229 w 4493400"/>
              <a:gd name="connsiteY1015" fmla="*/ 1290535 h 4503132"/>
              <a:gd name="connsiteX1016" fmla="*/ 654493 w 4493400"/>
              <a:gd name="connsiteY1016" fmla="*/ 1157290 h 4503132"/>
              <a:gd name="connsiteX1017" fmla="*/ 673199 w 4493400"/>
              <a:gd name="connsiteY1017" fmla="*/ 1119516 h 4503132"/>
              <a:gd name="connsiteX1018" fmla="*/ 682046 w 4493400"/>
              <a:gd name="connsiteY1018" fmla="*/ 1099786 h 4503132"/>
              <a:gd name="connsiteX1019" fmla="*/ 690654 w 4493400"/>
              <a:gd name="connsiteY1019" fmla="*/ 1079528 h 4503132"/>
              <a:gd name="connsiteX1020" fmla="*/ 698732 w 4493400"/>
              <a:gd name="connsiteY1020" fmla="*/ 1058692 h 4503132"/>
              <a:gd name="connsiteX1021" fmla="*/ 705657 w 4493400"/>
              <a:gd name="connsiteY1021" fmla="*/ 1036989 h 4503132"/>
              <a:gd name="connsiteX1022" fmla="*/ 715995 w 4493400"/>
              <a:gd name="connsiteY1022" fmla="*/ 991853 h 4503132"/>
              <a:gd name="connsiteX1023" fmla="*/ 725468 w 4493400"/>
              <a:gd name="connsiteY1023" fmla="*/ 896479 h 4503132"/>
              <a:gd name="connsiteX1024" fmla="*/ 723304 w 4493400"/>
              <a:gd name="connsiteY1024" fmla="*/ 846722 h 4503132"/>
              <a:gd name="connsiteX1025" fmla="*/ 718784 w 4493400"/>
              <a:gd name="connsiteY1025" fmla="*/ 821507 h 4503132"/>
              <a:gd name="connsiteX1026" fmla="*/ 708349 w 4493400"/>
              <a:gd name="connsiteY1026" fmla="*/ 796677 h 4503132"/>
              <a:gd name="connsiteX1027" fmla="*/ 696713 w 4493400"/>
              <a:gd name="connsiteY1027" fmla="*/ 786717 h 4503132"/>
              <a:gd name="connsiteX1028" fmla="*/ 688778 w 4493400"/>
              <a:gd name="connsiteY1028" fmla="*/ 784936 h 4503132"/>
              <a:gd name="connsiteX1029" fmla="*/ 681614 w 4493400"/>
              <a:gd name="connsiteY1029" fmla="*/ 785273 h 4503132"/>
              <a:gd name="connsiteX1030" fmla="*/ 655695 w 4493400"/>
              <a:gd name="connsiteY1030" fmla="*/ 791865 h 4503132"/>
              <a:gd name="connsiteX1031" fmla="*/ 608090 w 4493400"/>
              <a:gd name="connsiteY1031" fmla="*/ 814434 h 4503132"/>
              <a:gd name="connsiteX1032" fmla="*/ 564861 w 4493400"/>
              <a:gd name="connsiteY1032" fmla="*/ 846001 h 4503132"/>
              <a:gd name="connsiteX1033" fmla="*/ 555004 w 4493400"/>
              <a:gd name="connsiteY1033" fmla="*/ 855095 h 4503132"/>
              <a:gd name="connsiteX1034" fmla="*/ 545531 w 4493400"/>
              <a:gd name="connsiteY1034" fmla="*/ 864623 h 4503132"/>
              <a:gd name="connsiteX1035" fmla="*/ 527162 w 4493400"/>
              <a:gd name="connsiteY1035" fmla="*/ 884449 h 4503132"/>
              <a:gd name="connsiteX1036" fmla="*/ 522401 w 4493400"/>
              <a:gd name="connsiteY1036" fmla="*/ 889982 h 4503132"/>
              <a:gd name="connsiteX1037" fmla="*/ 527210 w 4493400"/>
              <a:gd name="connsiteY1037" fmla="*/ 883727 h 4503132"/>
              <a:gd name="connsiteX1038" fmla="*/ 555004 w 4493400"/>
              <a:gd name="connsiteY1038" fmla="*/ 849995 h 4503132"/>
              <a:gd name="connsiteX1039" fmla="*/ 569958 w 4493400"/>
              <a:gd name="connsiteY1039" fmla="*/ 833201 h 4503132"/>
              <a:gd name="connsiteX1040" fmla="*/ 577652 w 4493400"/>
              <a:gd name="connsiteY1040" fmla="*/ 824635 h 4503132"/>
              <a:gd name="connsiteX1041" fmla="*/ 585057 w 4493400"/>
              <a:gd name="connsiteY1041" fmla="*/ 815733 h 4503132"/>
              <a:gd name="connsiteX1042" fmla="*/ 592991 w 4493400"/>
              <a:gd name="connsiteY1042" fmla="*/ 808082 h 4503132"/>
              <a:gd name="connsiteX1043" fmla="*/ 601887 w 4493400"/>
              <a:gd name="connsiteY1043" fmla="*/ 800912 h 4503132"/>
              <a:gd name="connsiteX1044" fmla="*/ 621362 w 4493400"/>
              <a:gd name="connsiteY1044" fmla="*/ 788449 h 4503132"/>
              <a:gd name="connsiteX1045" fmla="*/ 665409 w 4493400"/>
              <a:gd name="connsiteY1045" fmla="*/ 770741 h 4503132"/>
              <a:gd name="connsiteX1046" fmla="*/ 713735 w 4493400"/>
              <a:gd name="connsiteY1046" fmla="*/ 762705 h 4503132"/>
              <a:gd name="connsiteX1047" fmla="*/ 738595 w 4493400"/>
              <a:gd name="connsiteY1047" fmla="*/ 762897 h 4503132"/>
              <a:gd name="connsiteX1048" fmla="*/ 750761 w 4493400"/>
              <a:gd name="connsiteY1048" fmla="*/ 764629 h 4503132"/>
              <a:gd name="connsiteX1049" fmla="*/ 761532 w 4493400"/>
              <a:gd name="connsiteY1049" fmla="*/ 768238 h 4503132"/>
              <a:gd name="connsiteX1050" fmla="*/ 763696 w 4493400"/>
              <a:gd name="connsiteY1050" fmla="*/ 770067 h 4503132"/>
              <a:gd name="connsiteX1051" fmla="*/ 763792 w 4493400"/>
              <a:gd name="connsiteY1051" fmla="*/ 770067 h 4503132"/>
              <a:gd name="connsiteX1052" fmla="*/ 763792 w 4493400"/>
              <a:gd name="connsiteY1052" fmla="*/ 770693 h 4503132"/>
              <a:gd name="connsiteX1053" fmla="*/ 763792 w 4493400"/>
              <a:gd name="connsiteY1053" fmla="*/ 772040 h 4503132"/>
              <a:gd name="connsiteX1054" fmla="*/ 763792 w 4493400"/>
              <a:gd name="connsiteY1054" fmla="*/ 774879 h 4503132"/>
              <a:gd name="connsiteX1055" fmla="*/ 762061 w 4493400"/>
              <a:gd name="connsiteY1055" fmla="*/ 787198 h 4503132"/>
              <a:gd name="connsiteX1056" fmla="*/ 755762 w 4493400"/>
              <a:gd name="connsiteY1056" fmla="*/ 812557 h 4503132"/>
              <a:gd name="connsiteX1057" fmla="*/ 741336 w 4493400"/>
              <a:gd name="connsiteY1057" fmla="*/ 864912 h 4503132"/>
              <a:gd name="connsiteX1058" fmla="*/ 739990 w 4493400"/>
              <a:gd name="connsiteY1058" fmla="*/ 871889 h 4503132"/>
              <a:gd name="connsiteX1059" fmla="*/ 739220 w 4493400"/>
              <a:gd name="connsiteY1059" fmla="*/ 879204 h 4503132"/>
              <a:gd name="connsiteX1060" fmla="*/ 738932 w 4493400"/>
              <a:gd name="connsiteY1060" fmla="*/ 893303 h 4503132"/>
              <a:gd name="connsiteX1061" fmla="*/ 741096 w 4493400"/>
              <a:gd name="connsiteY1061" fmla="*/ 921549 h 4503132"/>
              <a:gd name="connsiteX1062" fmla="*/ 745472 w 4493400"/>
              <a:gd name="connsiteY1062" fmla="*/ 949170 h 4503132"/>
              <a:gd name="connsiteX1063" fmla="*/ 746530 w 4493400"/>
              <a:gd name="connsiteY1063" fmla="*/ 976262 h 4503132"/>
              <a:gd name="connsiteX1064" fmla="*/ 732681 w 4493400"/>
              <a:gd name="connsiteY1064" fmla="*/ 1030012 h 4503132"/>
              <a:gd name="connsiteX1065" fmla="*/ 721669 w 4493400"/>
              <a:gd name="connsiteY1065" fmla="*/ 1056430 h 4503132"/>
              <a:gd name="connsiteX1066" fmla="*/ 709263 w 4493400"/>
              <a:gd name="connsiteY1066" fmla="*/ 1082607 h 4503132"/>
              <a:gd name="connsiteX1067" fmla="*/ 651945 w 4493400"/>
              <a:gd name="connsiteY1067" fmla="*/ 1186114 h 4503132"/>
              <a:gd name="connsiteX1068" fmla="*/ 524613 w 4493400"/>
              <a:gd name="connsiteY1068" fmla="*/ 1382203 h 4503132"/>
              <a:gd name="connsiteX1069" fmla="*/ 460515 w 4493400"/>
              <a:gd name="connsiteY1069" fmla="*/ 1473103 h 4503132"/>
              <a:gd name="connsiteX1070" fmla="*/ 428634 w 4493400"/>
              <a:gd name="connsiteY1070" fmla="*/ 1516459 h 4503132"/>
              <a:gd name="connsiteX1071" fmla="*/ 395599 w 4493400"/>
              <a:gd name="connsiteY1071" fmla="*/ 1557265 h 4503132"/>
              <a:gd name="connsiteX1072" fmla="*/ 326019 w 4493400"/>
              <a:gd name="connsiteY1072" fmla="*/ 1630407 h 4503132"/>
              <a:gd name="connsiteX1073" fmla="*/ 289137 w 4493400"/>
              <a:gd name="connsiteY1073" fmla="*/ 1661300 h 4503132"/>
              <a:gd name="connsiteX1074" fmla="*/ 249755 w 4493400"/>
              <a:gd name="connsiteY1074" fmla="*/ 1684976 h 4503132"/>
              <a:gd name="connsiteX1075" fmla="*/ 229030 w 4493400"/>
              <a:gd name="connsiteY1075" fmla="*/ 1690606 h 4503132"/>
              <a:gd name="connsiteX1076" fmla="*/ 219076 w 4493400"/>
              <a:gd name="connsiteY1076" fmla="*/ 1689980 h 4503132"/>
              <a:gd name="connsiteX1077" fmla="*/ 210565 w 4493400"/>
              <a:gd name="connsiteY1077" fmla="*/ 1685986 h 4503132"/>
              <a:gd name="connsiteX1078" fmla="*/ 199890 w 4493400"/>
              <a:gd name="connsiteY1078" fmla="*/ 1669866 h 4503132"/>
              <a:gd name="connsiteX1079" fmla="*/ 195851 w 4493400"/>
              <a:gd name="connsiteY1079" fmla="*/ 1649607 h 4503132"/>
              <a:gd name="connsiteX1080" fmla="*/ 196716 w 4493400"/>
              <a:gd name="connsiteY1080" fmla="*/ 1608272 h 4503132"/>
              <a:gd name="connsiteX1081" fmla="*/ 202535 w 4493400"/>
              <a:gd name="connsiteY1081" fmla="*/ 1568669 h 4503132"/>
              <a:gd name="connsiteX1082" fmla="*/ 245091 w 4493400"/>
              <a:gd name="connsiteY1082" fmla="*/ 1434318 h 4503132"/>
              <a:gd name="connsiteX1083" fmla="*/ 287406 w 4493400"/>
              <a:gd name="connsiteY1083" fmla="*/ 1335960 h 4503132"/>
              <a:gd name="connsiteX1084" fmla="*/ 314575 w 4493400"/>
              <a:gd name="connsiteY1084" fmla="*/ 1273933 h 4503132"/>
              <a:gd name="connsiteX1085" fmla="*/ 321355 w 4493400"/>
              <a:gd name="connsiteY1085" fmla="*/ 1257669 h 4503132"/>
              <a:gd name="connsiteX1086" fmla="*/ 323326 w 4493400"/>
              <a:gd name="connsiteY1086" fmla="*/ 1251990 h 4503132"/>
              <a:gd name="connsiteX1087" fmla="*/ 320345 w 4493400"/>
              <a:gd name="connsiteY1087" fmla="*/ 1257235 h 4503132"/>
              <a:gd name="connsiteX1088" fmla="*/ 312603 w 4493400"/>
              <a:gd name="connsiteY1088" fmla="*/ 1273067 h 4503132"/>
              <a:gd name="connsiteX1089" fmla="*/ 283607 w 4493400"/>
              <a:gd name="connsiteY1089" fmla="*/ 1334276 h 4503132"/>
              <a:gd name="connsiteX1090" fmla="*/ 239561 w 4493400"/>
              <a:gd name="connsiteY1090" fmla="*/ 1432056 h 4503132"/>
              <a:gd name="connsiteX1091" fmla="*/ 195081 w 4493400"/>
              <a:gd name="connsiteY1091" fmla="*/ 1567274 h 4503132"/>
              <a:gd name="connsiteX1092" fmla="*/ 188782 w 4493400"/>
              <a:gd name="connsiteY1092" fmla="*/ 1607454 h 4503132"/>
              <a:gd name="connsiteX1093" fmla="*/ 187580 w 4493400"/>
              <a:gd name="connsiteY1093" fmla="*/ 1650329 h 4503132"/>
              <a:gd name="connsiteX1094" fmla="*/ 191908 w 4493400"/>
              <a:gd name="connsiteY1094" fmla="*/ 1672609 h 4503132"/>
              <a:gd name="connsiteX1095" fmla="*/ 205372 w 4493400"/>
              <a:gd name="connsiteY1095" fmla="*/ 1692819 h 4503132"/>
              <a:gd name="connsiteX1096" fmla="*/ 217008 w 4493400"/>
              <a:gd name="connsiteY1096" fmla="*/ 1698353 h 4503132"/>
              <a:gd name="connsiteX1097" fmla="*/ 229607 w 4493400"/>
              <a:gd name="connsiteY1097" fmla="*/ 1699267 h 4503132"/>
              <a:gd name="connsiteX1098" fmla="*/ 253121 w 4493400"/>
              <a:gd name="connsiteY1098" fmla="*/ 1693156 h 4503132"/>
              <a:gd name="connsiteX1099" fmla="*/ 294475 w 4493400"/>
              <a:gd name="connsiteY1099" fmla="*/ 1668615 h 4503132"/>
              <a:gd name="connsiteX1100" fmla="*/ 332270 w 4493400"/>
              <a:gd name="connsiteY1100" fmla="*/ 1637289 h 4503132"/>
              <a:gd name="connsiteX1101" fmla="*/ 402956 w 4493400"/>
              <a:gd name="connsiteY1101" fmla="*/ 1563665 h 4503132"/>
              <a:gd name="connsiteX1102" fmla="*/ 436472 w 4493400"/>
              <a:gd name="connsiteY1102" fmla="*/ 1522570 h 4503132"/>
              <a:gd name="connsiteX1103" fmla="*/ 468690 w 4493400"/>
              <a:gd name="connsiteY1103" fmla="*/ 1479069 h 4503132"/>
              <a:gd name="connsiteX1104" fmla="*/ 500522 w 4493400"/>
              <a:gd name="connsiteY1104" fmla="*/ 1434703 h 4503132"/>
              <a:gd name="connsiteX1105" fmla="*/ 500186 w 4493400"/>
              <a:gd name="connsiteY1105" fmla="*/ 1435232 h 4503132"/>
              <a:gd name="connsiteX1106" fmla="*/ 444983 w 4493400"/>
              <a:gd name="connsiteY1106" fmla="*/ 1517758 h 4503132"/>
              <a:gd name="connsiteX1107" fmla="*/ 417526 w 4493400"/>
              <a:gd name="connsiteY1107" fmla="*/ 1555677 h 4503132"/>
              <a:gd name="connsiteX1108" fmla="*/ 389877 w 4493400"/>
              <a:gd name="connsiteY1108" fmla="*/ 1591237 h 4503132"/>
              <a:gd name="connsiteX1109" fmla="*/ 285050 w 4493400"/>
              <a:gd name="connsiteY1109" fmla="*/ 1712452 h 4503132"/>
              <a:gd name="connsiteX1110" fmla="*/ 228645 w 4493400"/>
              <a:gd name="connsiteY1110" fmla="*/ 1748687 h 4503132"/>
              <a:gd name="connsiteX1111" fmla="*/ 213594 w 4493400"/>
              <a:gd name="connsiteY1111" fmla="*/ 1751285 h 4503132"/>
              <a:gd name="connsiteX1112" fmla="*/ 200034 w 4493400"/>
              <a:gd name="connsiteY1112" fmla="*/ 1748013 h 4503132"/>
              <a:gd name="connsiteX1113" fmla="*/ 183877 w 4493400"/>
              <a:gd name="connsiteY1113" fmla="*/ 1725637 h 4503132"/>
              <a:gd name="connsiteX1114" fmla="*/ 168490 w 4493400"/>
              <a:gd name="connsiteY1114" fmla="*/ 1676747 h 4503132"/>
              <a:gd name="connsiteX1115" fmla="*/ 161181 w 4493400"/>
              <a:gd name="connsiteY1115" fmla="*/ 1655382 h 4503132"/>
              <a:gd name="connsiteX1116" fmla="*/ 151227 w 4493400"/>
              <a:gd name="connsiteY1116" fmla="*/ 1637625 h 4503132"/>
              <a:gd name="connsiteX1117" fmla="*/ 133483 w 4493400"/>
              <a:gd name="connsiteY1117" fmla="*/ 1609331 h 4503132"/>
              <a:gd name="connsiteX1118" fmla="*/ 127136 w 4493400"/>
              <a:gd name="connsiteY1118" fmla="*/ 1586185 h 4503132"/>
              <a:gd name="connsiteX1119" fmla="*/ 126030 w 4493400"/>
              <a:gd name="connsiteY1119" fmla="*/ 1571508 h 4503132"/>
              <a:gd name="connsiteX1120" fmla="*/ 125886 w 4493400"/>
              <a:gd name="connsiteY1120" fmla="*/ 1567803 h 4503132"/>
              <a:gd name="connsiteX1121" fmla="*/ 125742 w 4493400"/>
              <a:gd name="connsiteY1121" fmla="*/ 1566552 h 4503132"/>
              <a:gd name="connsiteX1122" fmla="*/ 126030 w 4493400"/>
              <a:gd name="connsiteY1122" fmla="*/ 1586329 h 4503132"/>
              <a:gd name="connsiteX1123" fmla="*/ 131993 w 4493400"/>
              <a:gd name="connsiteY1123" fmla="*/ 1610004 h 4503132"/>
              <a:gd name="connsiteX1124" fmla="*/ 149448 w 4493400"/>
              <a:gd name="connsiteY1124" fmla="*/ 1638828 h 4503132"/>
              <a:gd name="connsiteX1125" fmla="*/ 159017 w 4493400"/>
              <a:gd name="connsiteY1125" fmla="*/ 1656392 h 4503132"/>
              <a:gd name="connsiteX1126" fmla="*/ 165989 w 4493400"/>
              <a:gd name="connsiteY1126" fmla="*/ 1677565 h 4503132"/>
              <a:gd name="connsiteX1127" fmla="*/ 181040 w 4493400"/>
              <a:gd name="connsiteY1127" fmla="*/ 1726985 h 4503132"/>
              <a:gd name="connsiteX1128" fmla="*/ 198255 w 4493400"/>
              <a:gd name="connsiteY1128" fmla="*/ 1750996 h 4503132"/>
              <a:gd name="connsiteX1129" fmla="*/ 213787 w 4493400"/>
              <a:gd name="connsiteY1129" fmla="*/ 1754990 h 4503132"/>
              <a:gd name="connsiteX1130" fmla="*/ 229799 w 4493400"/>
              <a:gd name="connsiteY1130" fmla="*/ 1752344 h 4503132"/>
              <a:gd name="connsiteX1131" fmla="*/ 287887 w 4493400"/>
              <a:gd name="connsiteY1131" fmla="*/ 1715676 h 4503132"/>
              <a:gd name="connsiteX1132" fmla="*/ 393916 w 4493400"/>
              <a:gd name="connsiteY1132" fmla="*/ 1594462 h 4503132"/>
              <a:gd name="connsiteX1133" fmla="*/ 421758 w 4493400"/>
              <a:gd name="connsiteY1133" fmla="*/ 1558997 h 4503132"/>
              <a:gd name="connsiteX1134" fmla="*/ 449551 w 4493400"/>
              <a:gd name="connsiteY1134" fmla="*/ 1521030 h 4503132"/>
              <a:gd name="connsiteX1135" fmla="*/ 505187 w 4493400"/>
              <a:gd name="connsiteY1135" fmla="*/ 1438600 h 4503132"/>
              <a:gd name="connsiteX1136" fmla="*/ 627709 w 4493400"/>
              <a:gd name="connsiteY1136" fmla="*/ 1256129 h 4503132"/>
              <a:gd name="connsiteX1137" fmla="*/ 701233 w 4493400"/>
              <a:gd name="connsiteY1137" fmla="*/ 1161717 h 4503132"/>
              <a:gd name="connsiteX1138" fmla="*/ 744558 w 4493400"/>
              <a:gd name="connsiteY1138" fmla="*/ 1117543 h 4503132"/>
              <a:gd name="connsiteX1139" fmla="*/ 769611 w 4493400"/>
              <a:gd name="connsiteY1139" fmla="*/ 1099257 h 4503132"/>
              <a:gd name="connsiteX1140" fmla="*/ 797933 w 4493400"/>
              <a:gd name="connsiteY1140" fmla="*/ 1092568 h 4503132"/>
              <a:gd name="connsiteX1141" fmla="*/ 804954 w 4493400"/>
              <a:gd name="connsiteY1141" fmla="*/ 1094397 h 4503132"/>
              <a:gd name="connsiteX1142" fmla="*/ 811445 w 4493400"/>
              <a:gd name="connsiteY1142" fmla="*/ 1097861 h 4503132"/>
              <a:gd name="connsiteX1143" fmla="*/ 822842 w 4493400"/>
              <a:gd name="connsiteY1143" fmla="*/ 1107967 h 4503132"/>
              <a:gd name="connsiteX1144" fmla="*/ 840393 w 4493400"/>
              <a:gd name="connsiteY1144" fmla="*/ 1134722 h 4503132"/>
              <a:gd name="connsiteX1145" fmla="*/ 868956 w 4493400"/>
              <a:gd name="connsiteY1145" fmla="*/ 1195257 h 4503132"/>
              <a:gd name="connsiteX1146" fmla="*/ 885690 w 4493400"/>
              <a:gd name="connsiteY1146" fmla="*/ 1225524 h 4503132"/>
              <a:gd name="connsiteX1147" fmla="*/ 909252 w 4493400"/>
              <a:gd name="connsiteY1147" fmla="*/ 1252279 h 4503132"/>
              <a:gd name="connsiteX1148" fmla="*/ 925216 w 4493400"/>
              <a:gd name="connsiteY1148" fmla="*/ 1261278 h 4503132"/>
              <a:gd name="connsiteX1149" fmla="*/ 933680 w 4493400"/>
              <a:gd name="connsiteY1149" fmla="*/ 1264453 h 4503132"/>
              <a:gd name="connsiteX1150" fmla="*/ 942335 w 4493400"/>
              <a:gd name="connsiteY1150" fmla="*/ 1266956 h 4503132"/>
              <a:gd name="connsiteX1151" fmla="*/ 977678 w 4493400"/>
              <a:gd name="connsiteY1151" fmla="*/ 1272634 h 4503132"/>
              <a:gd name="connsiteX1152" fmla="*/ 1049182 w 4493400"/>
              <a:gd name="connsiteY1152" fmla="*/ 1276484 h 4503132"/>
              <a:gd name="connsiteX1153" fmla="*/ 1121070 w 4493400"/>
              <a:gd name="connsiteY1153" fmla="*/ 1283750 h 4503132"/>
              <a:gd name="connsiteX1154" fmla="*/ 1190698 w 4493400"/>
              <a:gd name="connsiteY1154" fmla="*/ 1306270 h 4503132"/>
              <a:gd name="connsiteX1155" fmla="*/ 1262779 w 4493400"/>
              <a:gd name="connsiteY1155" fmla="*/ 1330571 h 4503132"/>
              <a:gd name="connsiteX1156" fmla="*/ 1301344 w 4493400"/>
              <a:gd name="connsiteY1156" fmla="*/ 1336441 h 4503132"/>
              <a:gd name="connsiteX1157" fmla="*/ 1311249 w 4493400"/>
              <a:gd name="connsiteY1157" fmla="*/ 1336441 h 4503132"/>
              <a:gd name="connsiteX1158" fmla="*/ 1316202 w 4493400"/>
              <a:gd name="connsiteY1158" fmla="*/ 1336441 h 4503132"/>
              <a:gd name="connsiteX1159" fmla="*/ 1321155 w 4493400"/>
              <a:gd name="connsiteY1159" fmla="*/ 1336008 h 4503132"/>
              <a:gd name="connsiteX1160" fmla="*/ 1331061 w 4493400"/>
              <a:gd name="connsiteY1160" fmla="*/ 1334998 h 4503132"/>
              <a:gd name="connsiteX1161" fmla="*/ 1340870 w 4493400"/>
              <a:gd name="connsiteY1161" fmla="*/ 1332977 h 4503132"/>
              <a:gd name="connsiteX1162" fmla="*/ 1378185 w 4493400"/>
              <a:gd name="connsiteY1162" fmla="*/ 1318685 h 4503132"/>
              <a:gd name="connsiteX1163" fmla="*/ 1411604 w 4493400"/>
              <a:gd name="connsiteY1163" fmla="*/ 1296935 h 4503132"/>
              <a:gd name="connsiteX1164" fmla="*/ 1470510 w 4493400"/>
              <a:gd name="connsiteY1164" fmla="*/ 1242703 h 4503132"/>
              <a:gd name="connsiteX1165" fmla="*/ 1523163 w 4493400"/>
              <a:gd name="connsiteY1165" fmla="*/ 1181206 h 4503132"/>
              <a:gd name="connsiteX1166" fmla="*/ 1621355 w 4493400"/>
              <a:gd name="connsiteY1166" fmla="*/ 1048827 h 4503132"/>
              <a:gd name="connsiteX1167" fmla="*/ 1647081 w 4493400"/>
              <a:gd name="connsiteY1167" fmla="*/ 1016298 h 4503132"/>
              <a:gd name="connsiteX1168" fmla="*/ 1676894 w 4493400"/>
              <a:gd name="connsiteY1168" fmla="*/ 987378 h 4503132"/>
              <a:gd name="connsiteX1169" fmla="*/ 1743445 w 4493400"/>
              <a:gd name="connsiteY1169" fmla="*/ 935023 h 4503132"/>
              <a:gd name="connsiteX1170" fmla="*/ 1813121 w 4493400"/>
              <a:gd name="connsiteY1170" fmla="*/ 884160 h 4503132"/>
              <a:gd name="connsiteX1171" fmla="*/ 1879527 w 4493400"/>
              <a:gd name="connsiteY1171" fmla="*/ 826416 h 4503132"/>
              <a:gd name="connsiteX1172" fmla="*/ 1907033 w 4493400"/>
              <a:gd name="connsiteY1172" fmla="*/ 790807 h 4503132"/>
              <a:gd name="connsiteX1173" fmla="*/ 1924199 w 4493400"/>
              <a:gd name="connsiteY1173" fmla="*/ 748413 h 4503132"/>
              <a:gd name="connsiteX1174" fmla="*/ 1926459 w 4493400"/>
              <a:gd name="connsiteY1174" fmla="*/ 725171 h 4503132"/>
              <a:gd name="connsiteX1175" fmla="*/ 1921218 w 4493400"/>
              <a:gd name="connsiteY1175" fmla="*/ 701784 h 4503132"/>
              <a:gd name="connsiteX1176" fmla="*/ 1893088 w 4493400"/>
              <a:gd name="connsiteY1176" fmla="*/ 664588 h 4503132"/>
              <a:gd name="connsiteX1177" fmla="*/ 1811149 w 4493400"/>
              <a:gd name="connsiteY1177" fmla="*/ 623397 h 4503132"/>
              <a:gd name="connsiteX1178" fmla="*/ 1719065 w 4493400"/>
              <a:gd name="connsiteY1178" fmla="*/ 616034 h 4503132"/>
              <a:gd name="connsiteX1179" fmla="*/ 1628279 w 4493400"/>
              <a:gd name="connsiteY1179" fmla="*/ 636052 h 4503132"/>
              <a:gd name="connsiteX1180" fmla="*/ 1542783 w 4493400"/>
              <a:gd name="connsiteY1180" fmla="*/ 673971 h 4503132"/>
              <a:gd name="connsiteX1181" fmla="*/ 1381214 w 4493400"/>
              <a:gd name="connsiteY1181" fmla="*/ 770500 h 4503132"/>
              <a:gd name="connsiteX1182" fmla="*/ 1297256 w 4493400"/>
              <a:gd name="connsiteY1182" fmla="*/ 814482 h 4503132"/>
              <a:gd name="connsiteX1183" fmla="*/ 1210125 w 4493400"/>
              <a:gd name="connsiteY1183" fmla="*/ 853940 h 4503132"/>
              <a:gd name="connsiteX1184" fmla="*/ 1120252 w 4493400"/>
              <a:gd name="connsiteY1184" fmla="*/ 888298 h 4503132"/>
              <a:gd name="connsiteX1185" fmla="*/ 1027062 w 4493400"/>
              <a:gd name="connsiteY1185" fmla="*/ 912118 h 4503132"/>
              <a:gd name="connsiteX1186" fmla="*/ 1003356 w 4493400"/>
              <a:gd name="connsiteY1186" fmla="*/ 914379 h 4503132"/>
              <a:gd name="connsiteX1187" fmla="*/ 991623 w 4493400"/>
              <a:gd name="connsiteY1187" fmla="*/ 914187 h 4503132"/>
              <a:gd name="connsiteX1188" fmla="*/ 986045 w 4493400"/>
              <a:gd name="connsiteY1188" fmla="*/ 913946 h 4503132"/>
              <a:gd name="connsiteX1189" fmla="*/ 981140 w 4493400"/>
              <a:gd name="connsiteY1189" fmla="*/ 912551 h 4503132"/>
              <a:gd name="connsiteX1190" fmla="*/ 937526 w 4493400"/>
              <a:gd name="connsiteY1190" fmla="*/ 891859 h 4503132"/>
              <a:gd name="connsiteX1191" fmla="*/ 852655 w 4493400"/>
              <a:gd name="connsiteY1191" fmla="*/ 842873 h 4503132"/>
              <a:gd name="connsiteX1192" fmla="*/ 849000 w 4493400"/>
              <a:gd name="connsiteY1192" fmla="*/ 840371 h 4503132"/>
              <a:gd name="connsiteX1193" fmla="*/ 846019 w 4493400"/>
              <a:gd name="connsiteY1193" fmla="*/ 838205 h 4503132"/>
              <a:gd name="connsiteX1194" fmla="*/ 846500 w 4493400"/>
              <a:gd name="connsiteY1194" fmla="*/ 837676 h 4503132"/>
              <a:gd name="connsiteX1195" fmla="*/ 846788 w 4493400"/>
              <a:gd name="connsiteY1195" fmla="*/ 837387 h 4503132"/>
              <a:gd name="connsiteX1196" fmla="*/ 848135 w 4493400"/>
              <a:gd name="connsiteY1196" fmla="*/ 836280 h 4503132"/>
              <a:gd name="connsiteX1197" fmla="*/ 851116 w 4493400"/>
              <a:gd name="connsiteY1197" fmla="*/ 833971 h 4503132"/>
              <a:gd name="connsiteX1198" fmla="*/ 854338 w 4493400"/>
              <a:gd name="connsiteY1198" fmla="*/ 832238 h 4503132"/>
              <a:gd name="connsiteX1199" fmla="*/ 857800 w 4493400"/>
              <a:gd name="connsiteY1199" fmla="*/ 831083 h 4503132"/>
              <a:gd name="connsiteX1200" fmla="*/ 874342 w 4493400"/>
              <a:gd name="connsiteY1200" fmla="*/ 830554 h 4503132"/>
              <a:gd name="connsiteX1201" fmla="*/ 892951 w 4493400"/>
              <a:gd name="connsiteY1201" fmla="*/ 831131 h 4503132"/>
              <a:gd name="connsiteX1202" fmla="*/ 930025 w 4493400"/>
              <a:gd name="connsiteY1202" fmla="*/ 822807 h 4503132"/>
              <a:gd name="connsiteX1203" fmla="*/ 962146 w 4493400"/>
              <a:gd name="connsiteY1203" fmla="*/ 803847 h 4503132"/>
              <a:gd name="connsiteX1204" fmla="*/ 1017397 w 4493400"/>
              <a:gd name="connsiteY1204" fmla="*/ 756497 h 4503132"/>
              <a:gd name="connsiteX1205" fmla="*/ 1067310 w 4493400"/>
              <a:gd name="connsiteY1205" fmla="*/ 704383 h 4503132"/>
              <a:gd name="connsiteX1206" fmla="*/ 1112174 w 4493400"/>
              <a:gd name="connsiteY1206" fmla="*/ 648130 h 4503132"/>
              <a:gd name="connsiteX1207" fmla="*/ 1122080 w 4493400"/>
              <a:gd name="connsiteY1207" fmla="*/ 633021 h 4503132"/>
              <a:gd name="connsiteX1208" fmla="*/ 1126648 w 4493400"/>
              <a:gd name="connsiteY1208" fmla="*/ 625129 h 4503132"/>
              <a:gd name="connsiteX1209" fmla="*/ 1130927 w 4493400"/>
              <a:gd name="connsiteY1209" fmla="*/ 617045 h 4503132"/>
              <a:gd name="connsiteX1210" fmla="*/ 1139294 w 4493400"/>
              <a:gd name="connsiteY1210" fmla="*/ 580185 h 4503132"/>
              <a:gd name="connsiteX1211" fmla="*/ 1128619 w 4493400"/>
              <a:gd name="connsiteY1211" fmla="*/ 545057 h 4503132"/>
              <a:gd name="connsiteX1212" fmla="*/ 1120685 w 4493400"/>
              <a:gd name="connsiteY1212" fmla="*/ 512817 h 4503132"/>
              <a:gd name="connsiteX1213" fmla="*/ 1127850 w 4493400"/>
              <a:gd name="connsiteY1213" fmla="*/ 481153 h 4503132"/>
              <a:gd name="connsiteX1214" fmla="*/ 1129533 w 4493400"/>
              <a:gd name="connsiteY1214" fmla="*/ 477352 h 4503132"/>
              <a:gd name="connsiteX1215" fmla="*/ 1131649 w 4493400"/>
              <a:gd name="connsiteY1215" fmla="*/ 473695 h 4503132"/>
              <a:gd name="connsiteX1216" fmla="*/ 1135880 w 4493400"/>
              <a:gd name="connsiteY1216" fmla="*/ 466381 h 4503132"/>
              <a:gd name="connsiteX1217" fmla="*/ 1145642 w 4493400"/>
              <a:gd name="connsiteY1217" fmla="*/ 452378 h 4503132"/>
              <a:gd name="connsiteX1218" fmla="*/ 1191948 w 4493400"/>
              <a:gd name="connsiteY1218" fmla="*/ 401322 h 4503132"/>
              <a:gd name="connsiteX1219" fmla="*/ 1204018 w 4493400"/>
              <a:gd name="connsiteY1219" fmla="*/ 389918 h 4503132"/>
              <a:gd name="connsiteX1220" fmla="*/ 1172618 w 4493400"/>
              <a:gd name="connsiteY1220" fmla="*/ 425382 h 4503132"/>
              <a:gd name="connsiteX1221" fmla="*/ 1164636 w 4493400"/>
              <a:gd name="connsiteY1221" fmla="*/ 436209 h 4503132"/>
              <a:gd name="connsiteX1222" fmla="*/ 1157279 w 4493400"/>
              <a:gd name="connsiteY1222" fmla="*/ 447614 h 4503132"/>
              <a:gd name="connsiteX1223" fmla="*/ 1145834 w 4493400"/>
              <a:gd name="connsiteY1223" fmla="*/ 472829 h 4503132"/>
              <a:gd name="connsiteX1224" fmla="*/ 1144632 w 4493400"/>
              <a:gd name="connsiteY1224" fmla="*/ 501171 h 4503132"/>
              <a:gd name="connsiteX1225" fmla="*/ 1153432 w 4493400"/>
              <a:gd name="connsiteY1225" fmla="*/ 527253 h 4503132"/>
              <a:gd name="connsiteX1226" fmla="*/ 1163722 w 4493400"/>
              <a:gd name="connsiteY1226" fmla="*/ 550783 h 4503132"/>
              <a:gd name="connsiteX1227" fmla="*/ 1165982 w 4493400"/>
              <a:gd name="connsiteY1227" fmla="*/ 573833 h 4503132"/>
              <a:gd name="connsiteX1228" fmla="*/ 1165453 w 4493400"/>
              <a:gd name="connsiteY1228" fmla="*/ 576672 h 4503132"/>
              <a:gd name="connsiteX1229" fmla="*/ 1164491 w 4493400"/>
              <a:gd name="connsiteY1229" fmla="*/ 579655 h 4503132"/>
              <a:gd name="connsiteX1230" fmla="*/ 1162472 w 4493400"/>
              <a:gd name="connsiteY1230" fmla="*/ 585622 h 4503132"/>
              <a:gd name="connsiteX1231" fmla="*/ 1160452 w 4493400"/>
              <a:gd name="connsiteY1231" fmla="*/ 591589 h 4503132"/>
              <a:gd name="connsiteX1232" fmla="*/ 1157904 w 4493400"/>
              <a:gd name="connsiteY1232" fmla="*/ 597412 h 4503132"/>
              <a:gd name="connsiteX1233" fmla="*/ 1152614 w 4493400"/>
              <a:gd name="connsiteY1233" fmla="*/ 608961 h 4503132"/>
              <a:gd name="connsiteX1234" fmla="*/ 1146459 w 4493400"/>
              <a:gd name="connsiteY1234" fmla="*/ 620173 h 4503132"/>
              <a:gd name="connsiteX1235" fmla="*/ 1117752 w 4493400"/>
              <a:gd name="connsiteY1235" fmla="*/ 662759 h 4503132"/>
              <a:gd name="connsiteX1236" fmla="*/ 1053077 w 4493400"/>
              <a:gd name="connsiteY1236" fmla="*/ 743745 h 4503132"/>
              <a:gd name="connsiteX1237" fmla="*/ 1024850 w 4493400"/>
              <a:gd name="connsiteY1237" fmla="*/ 788064 h 4503132"/>
              <a:gd name="connsiteX1238" fmla="*/ 1016002 w 4493400"/>
              <a:gd name="connsiteY1238" fmla="*/ 813519 h 4503132"/>
              <a:gd name="connsiteX1239" fmla="*/ 1015906 w 4493400"/>
              <a:gd name="connsiteY1239" fmla="*/ 841285 h 4503132"/>
              <a:gd name="connsiteX1240" fmla="*/ 1032977 w 4493400"/>
              <a:gd name="connsiteY1240" fmla="*/ 864527 h 4503132"/>
              <a:gd name="connsiteX1241" fmla="*/ 1059280 w 4493400"/>
              <a:gd name="connsiteY1241" fmla="*/ 872804 h 4503132"/>
              <a:gd name="connsiteX1242" fmla="*/ 1085727 w 4493400"/>
              <a:gd name="connsiteY1242" fmla="*/ 873285 h 4503132"/>
              <a:gd name="connsiteX1243" fmla="*/ 1111549 w 4493400"/>
              <a:gd name="connsiteY1243" fmla="*/ 870157 h 4503132"/>
              <a:gd name="connsiteX1244" fmla="*/ 1209933 w 4493400"/>
              <a:gd name="connsiteY1244" fmla="*/ 842247 h 4503132"/>
              <a:gd name="connsiteX1245" fmla="*/ 1302930 w 4493400"/>
              <a:gd name="connsiteY1245" fmla="*/ 802356 h 4503132"/>
              <a:gd name="connsiteX1246" fmla="*/ 1389773 w 4493400"/>
              <a:gd name="connsiteY1246" fmla="*/ 752070 h 4503132"/>
              <a:gd name="connsiteX1247" fmla="*/ 1473779 w 4493400"/>
              <a:gd name="connsiteY1247" fmla="*/ 699619 h 4503132"/>
              <a:gd name="connsiteX1248" fmla="*/ 1649004 w 4493400"/>
              <a:gd name="connsiteY1248" fmla="*/ 616997 h 4503132"/>
              <a:gd name="connsiteX1249" fmla="*/ 1742868 w 4493400"/>
              <a:gd name="connsiteY1249" fmla="*/ 599433 h 4503132"/>
              <a:gd name="connsiteX1250" fmla="*/ 1837212 w 4493400"/>
              <a:gd name="connsiteY1250" fmla="*/ 600155 h 4503132"/>
              <a:gd name="connsiteX1251" fmla="*/ 1925017 w 4493400"/>
              <a:gd name="connsiteY1251" fmla="*/ 627824 h 4503132"/>
              <a:gd name="connsiteX1252" fmla="*/ 1958773 w 4493400"/>
              <a:gd name="connsiteY1252" fmla="*/ 657370 h 4503132"/>
              <a:gd name="connsiteX1253" fmla="*/ 1975699 w 4493400"/>
              <a:gd name="connsiteY1253" fmla="*/ 697935 h 4503132"/>
              <a:gd name="connsiteX1254" fmla="*/ 1972910 w 4493400"/>
              <a:gd name="connsiteY1254" fmla="*/ 742109 h 4503132"/>
              <a:gd name="connsiteX1255" fmla="*/ 1954637 w 4493400"/>
              <a:gd name="connsiteY1255" fmla="*/ 782867 h 4503132"/>
              <a:gd name="connsiteX1256" fmla="*/ 1894674 w 4493400"/>
              <a:gd name="connsiteY1256" fmla="*/ 850428 h 4503132"/>
              <a:gd name="connsiteX1257" fmla="*/ 1825142 w 4493400"/>
              <a:gd name="connsiteY1257" fmla="*/ 908509 h 4503132"/>
              <a:gd name="connsiteX1258" fmla="*/ 1755177 w 4493400"/>
              <a:gd name="connsiteY1258" fmla="*/ 965050 h 4503132"/>
              <a:gd name="connsiteX1259" fmla="*/ 1688771 w 4493400"/>
              <a:gd name="connsiteY1259" fmla="*/ 1024526 h 4503132"/>
              <a:gd name="connsiteX1260" fmla="*/ 1628664 w 4493400"/>
              <a:gd name="connsiteY1260" fmla="*/ 1089007 h 4503132"/>
              <a:gd name="connsiteX1261" fmla="*/ 1524173 w 4493400"/>
              <a:gd name="connsiteY1261" fmla="*/ 1226487 h 4503132"/>
              <a:gd name="connsiteX1262" fmla="*/ 1500082 w 4493400"/>
              <a:gd name="connsiteY1262" fmla="*/ 1261422 h 4503132"/>
              <a:gd name="connsiteX1263" fmla="*/ 1477771 w 4493400"/>
              <a:gd name="connsiteY1263" fmla="*/ 1297416 h 4503132"/>
              <a:gd name="connsiteX1264" fmla="*/ 1435118 w 4493400"/>
              <a:gd name="connsiteY1264" fmla="*/ 1368874 h 4503132"/>
              <a:gd name="connsiteX1265" fmla="*/ 1388764 w 4493400"/>
              <a:gd name="connsiteY1265" fmla="*/ 1435954 h 4503132"/>
              <a:gd name="connsiteX1266" fmla="*/ 1361018 w 4493400"/>
              <a:gd name="connsiteY1266" fmla="*/ 1464104 h 4503132"/>
              <a:gd name="connsiteX1267" fmla="*/ 1344813 w 4493400"/>
              <a:gd name="connsiteY1267" fmla="*/ 1472525 h 4503132"/>
              <a:gd name="connsiteX1268" fmla="*/ 1327022 w 4493400"/>
              <a:gd name="connsiteY1268" fmla="*/ 1471659 h 4503132"/>
              <a:gd name="connsiteX1269" fmla="*/ 1292688 w 4493400"/>
              <a:gd name="connsiteY1269" fmla="*/ 1454336 h 4503132"/>
              <a:gd name="connsiteX1270" fmla="*/ 1261336 w 4493400"/>
              <a:gd name="connsiteY1270" fmla="*/ 1430612 h 4503132"/>
              <a:gd name="connsiteX1271" fmla="*/ 1201950 w 4493400"/>
              <a:gd name="connsiteY1271" fmla="*/ 1379413 h 4503132"/>
              <a:gd name="connsiteX1272" fmla="*/ 1138910 w 4493400"/>
              <a:gd name="connsiteY1272" fmla="*/ 1333410 h 4503132"/>
              <a:gd name="connsiteX1273" fmla="*/ 1120397 w 4493400"/>
              <a:gd name="connsiteY1273" fmla="*/ 1326336 h 4503132"/>
              <a:gd name="connsiteX1274" fmla="*/ 1111068 w 4493400"/>
              <a:gd name="connsiteY1274" fmla="*/ 1323689 h 4503132"/>
              <a:gd name="connsiteX1275" fmla="*/ 1101643 w 4493400"/>
              <a:gd name="connsiteY1275" fmla="*/ 1321620 h 4503132"/>
              <a:gd name="connsiteX1276" fmla="*/ 1063896 w 4493400"/>
              <a:gd name="connsiteY1276" fmla="*/ 1315798 h 4503132"/>
              <a:gd name="connsiteX1277" fmla="*/ 989170 w 4493400"/>
              <a:gd name="connsiteY1277" fmla="*/ 1311082 h 4503132"/>
              <a:gd name="connsiteX1278" fmla="*/ 916561 w 4493400"/>
              <a:gd name="connsiteY1278" fmla="*/ 1305259 h 4503132"/>
              <a:gd name="connsiteX1279" fmla="*/ 899202 w 4493400"/>
              <a:gd name="connsiteY1279" fmla="*/ 1301699 h 4503132"/>
              <a:gd name="connsiteX1280" fmla="*/ 883045 w 4493400"/>
              <a:gd name="connsiteY1280" fmla="*/ 1295828 h 4503132"/>
              <a:gd name="connsiteX1281" fmla="*/ 856694 w 4493400"/>
              <a:gd name="connsiteY1281" fmla="*/ 1274077 h 4503132"/>
              <a:gd name="connsiteX1282" fmla="*/ 817168 w 4493400"/>
              <a:gd name="connsiteY1282" fmla="*/ 1216141 h 4503132"/>
              <a:gd name="connsiteX1283" fmla="*/ 795240 w 4493400"/>
              <a:gd name="connsiteY1283" fmla="*/ 1188231 h 4503132"/>
              <a:gd name="connsiteX1284" fmla="*/ 781007 w 4493400"/>
              <a:gd name="connsiteY1284" fmla="*/ 1177019 h 4503132"/>
              <a:gd name="connsiteX1285" fmla="*/ 763792 w 4493400"/>
              <a:gd name="connsiteY1285" fmla="*/ 1170523 h 4503132"/>
              <a:gd name="connsiteX1286" fmla="*/ 745520 w 4493400"/>
              <a:gd name="connsiteY1286" fmla="*/ 1170523 h 4503132"/>
              <a:gd name="connsiteX1287" fmla="*/ 728497 w 4493400"/>
              <a:gd name="connsiteY1287" fmla="*/ 1176105 h 4503132"/>
              <a:gd name="connsiteX1288" fmla="*/ 699742 w 4493400"/>
              <a:gd name="connsiteY1288" fmla="*/ 1195305 h 4503132"/>
              <a:gd name="connsiteX1289" fmla="*/ 653003 w 4493400"/>
              <a:gd name="connsiteY1289" fmla="*/ 1243281 h 4503132"/>
              <a:gd name="connsiteX1290" fmla="*/ 612707 w 4493400"/>
              <a:gd name="connsiteY1290" fmla="*/ 1294577 h 4503132"/>
              <a:gd name="connsiteX1291" fmla="*/ 475518 w 4493400"/>
              <a:gd name="connsiteY1291" fmla="*/ 1497933 h 4503132"/>
              <a:gd name="connsiteX1292" fmla="*/ 344147 w 4493400"/>
              <a:gd name="connsiteY1292" fmla="*/ 1674485 h 4503132"/>
              <a:gd name="connsiteX1293" fmla="*/ 277164 w 4493400"/>
              <a:gd name="connsiteY1293" fmla="*/ 1748783 h 4503132"/>
              <a:gd name="connsiteX1294" fmla="*/ 240859 w 4493400"/>
              <a:gd name="connsiteY1294" fmla="*/ 1779002 h 4503132"/>
              <a:gd name="connsiteX1295" fmla="*/ 231194 w 4493400"/>
              <a:gd name="connsiteY1295" fmla="*/ 1785162 h 4503132"/>
              <a:gd name="connsiteX1296" fmla="*/ 221096 w 4493400"/>
              <a:gd name="connsiteY1296" fmla="*/ 1790166 h 4503132"/>
              <a:gd name="connsiteX1297" fmla="*/ 200082 w 4493400"/>
              <a:gd name="connsiteY1297" fmla="*/ 1795075 h 4503132"/>
              <a:gd name="connsiteX1298" fmla="*/ 180175 w 4493400"/>
              <a:gd name="connsiteY1298" fmla="*/ 1788915 h 4503132"/>
              <a:gd name="connsiteX1299" fmla="*/ 164403 w 4493400"/>
              <a:gd name="connsiteY1299" fmla="*/ 1774912 h 4503132"/>
              <a:gd name="connsiteX1300" fmla="*/ 143197 w 4493400"/>
              <a:gd name="connsiteY1300" fmla="*/ 1738966 h 4503132"/>
              <a:gd name="connsiteX1301" fmla="*/ 121991 w 4493400"/>
              <a:gd name="connsiteY1301" fmla="*/ 1662792 h 4503132"/>
              <a:gd name="connsiteX1302" fmla="*/ 118481 w 4493400"/>
              <a:gd name="connsiteY1302" fmla="*/ 1626028 h 4503132"/>
              <a:gd name="connsiteX1303" fmla="*/ 119106 w 4493400"/>
              <a:gd name="connsiteY1303" fmla="*/ 1590853 h 4503132"/>
              <a:gd name="connsiteX1304" fmla="*/ 126367 w 4493400"/>
              <a:gd name="connsiteY1304" fmla="*/ 1526372 h 4503132"/>
              <a:gd name="connsiteX1305" fmla="*/ 123289 w 4493400"/>
              <a:gd name="connsiteY1305" fmla="*/ 1525602 h 4503132"/>
              <a:gd name="connsiteX1306" fmla="*/ 114634 w 4493400"/>
              <a:gd name="connsiteY1306" fmla="*/ 1552164 h 4503132"/>
              <a:gd name="connsiteX1307" fmla="*/ 112566 w 4493400"/>
              <a:gd name="connsiteY1307" fmla="*/ 1558564 h 4503132"/>
              <a:gd name="connsiteX1308" fmla="*/ 111701 w 4493400"/>
              <a:gd name="connsiteY1308" fmla="*/ 1565349 h 4503132"/>
              <a:gd name="connsiteX1309" fmla="*/ 110306 w 4493400"/>
              <a:gd name="connsiteY1309" fmla="*/ 1578197 h 4503132"/>
              <a:gd name="connsiteX1310" fmla="*/ 110210 w 4493400"/>
              <a:gd name="connsiteY1310" fmla="*/ 1578967 h 4503132"/>
              <a:gd name="connsiteX1311" fmla="*/ 102612 w 4493400"/>
              <a:gd name="connsiteY1311" fmla="*/ 1577379 h 4503132"/>
              <a:gd name="connsiteX1312" fmla="*/ 94678 w 4493400"/>
              <a:gd name="connsiteY1312" fmla="*/ 1603653 h 4503132"/>
              <a:gd name="connsiteX1313" fmla="*/ 92707 w 4493400"/>
              <a:gd name="connsiteY1313" fmla="*/ 1610245 h 4503132"/>
              <a:gd name="connsiteX1314" fmla="*/ 92226 w 4493400"/>
              <a:gd name="connsiteY1314" fmla="*/ 1611929 h 4503132"/>
              <a:gd name="connsiteX1315" fmla="*/ 91889 w 4493400"/>
              <a:gd name="connsiteY1315" fmla="*/ 1613565 h 4503132"/>
              <a:gd name="connsiteX1316" fmla="*/ 91793 w 4493400"/>
              <a:gd name="connsiteY1316" fmla="*/ 1614576 h 4503132"/>
              <a:gd name="connsiteX1317" fmla="*/ 91505 w 4493400"/>
              <a:gd name="connsiteY1317" fmla="*/ 1617992 h 4503132"/>
              <a:gd name="connsiteX1318" fmla="*/ 90254 w 4493400"/>
              <a:gd name="connsiteY1318" fmla="*/ 1631755 h 4503132"/>
              <a:gd name="connsiteX1319" fmla="*/ 89581 w 4493400"/>
              <a:gd name="connsiteY1319" fmla="*/ 1639213 h 4503132"/>
              <a:gd name="connsiteX1320" fmla="*/ 85734 w 4493400"/>
              <a:gd name="connsiteY1320" fmla="*/ 1638395 h 4503132"/>
              <a:gd name="connsiteX1321" fmla="*/ 81214 w 4493400"/>
              <a:gd name="connsiteY1321" fmla="*/ 1654756 h 4503132"/>
              <a:gd name="connsiteX1322" fmla="*/ 78954 w 4493400"/>
              <a:gd name="connsiteY1322" fmla="*/ 1662985 h 4503132"/>
              <a:gd name="connsiteX1323" fmla="*/ 78377 w 4493400"/>
              <a:gd name="connsiteY1323" fmla="*/ 1665054 h 4503132"/>
              <a:gd name="connsiteX1324" fmla="*/ 77848 w 4493400"/>
              <a:gd name="connsiteY1324" fmla="*/ 1667508 h 4503132"/>
              <a:gd name="connsiteX1325" fmla="*/ 77175 w 4493400"/>
              <a:gd name="connsiteY1325" fmla="*/ 1671743 h 4503132"/>
              <a:gd name="connsiteX1326" fmla="*/ 71789 w 4493400"/>
              <a:gd name="connsiteY1326" fmla="*/ 1706004 h 4503132"/>
              <a:gd name="connsiteX1327" fmla="*/ 69722 w 4493400"/>
              <a:gd name="connsiteY1327" fmla="*/ 1719045 h 4503132"/>
              <a:gd name="connsiteX1328" fmla="*/ 69241 w 4493400"/>
              <a:gd name="connsiteY1328" fmla="*/ 1718419 h 4503132"/>
              <a:gd name="connsiteX1329" fmla="*/ 43130 w 4493400"/>
              <a:gd name="connsiteY1329" fmla="*/ 1812638 h 4503132"/>
              <a:gd name="connsiteX1330" fmla="*/ 52555 w 4493400"/>
              <a:gd name="connsiteY1330" fmla="*/ 1816921 h 4503132"/>
              <a:gd name="connsiteX1331" fmla="*/ 52747 w 4493400"/>
              <a:gd name="connsiteY1331" fmla="*/ 1816680 h 4503132"/>
              <a:gd name="connsiteX1332" fmla="*/ 55632 w 4493400"/>
              <a:gd name="connsiteY1332" fmla="*/ 1810858 h 4503132"/>
              <a:gd name="connsiteX1333" fmla="*/ 57267 w 4493400"/>
              <a:gd name="connsiteY1333" fmla="*/ 1805902 h 4503132"/>
              <a:gd name="connsiteX1334" fmla="*/ 59912 w 4493400"/>
              <a:gd name="connsiteY1334" fmla="*/ 1796326 h 4503132"/>
              <a:gd name="connsiteX1335" fmla="*/ 60201 w 4493400"/>
              <a:gd name="connsiteY1335" fmla="*/ 1795123 h 4503132"/>
              <a:gd name="connsiteX1336" fmla="*/ 52218 w 4493400"/>
              <a:gd name="connsiteY1336" fmla="*/ 1848969 h 4503132"/>
              <a:gd name="connsiteX1337" fmla="*/ 48708 w 4493400"/>
              <a:gd name="connsiteY1337" fmla="*/ 1867158 h 4503132"/>
              <a:gd name="connsiteX1338" fmla="*/ 46640 w 4493400"/>
              <a:gd name="connsiteY1338" fmla="*/ 1876157 h 4503132"/>
              <a:gd name="connsiteX1339" fmla="*/ 44525 w 4493400"/>
              <a:gd name="connsiteY1339" fmla="*/ 1884097 h 4503132"/>
              <a:gd name="connsiteX1340" fmla="*/ 43611 w 4493400"/>
              <a:gd name="connsiteY1340" fmla="*/ 1887032 h 4503132"/>
              <a:gd name="connsiteX1341" fmla="*/ 43371 w 4493400"/>
              <a:gd name="connsiteY1341" fmla="*/ 1887754 h 4503132"/>
              <a:gd name="connsiteX1342" fmla="*/ 43082 w 4493400"/>
              <a:gd name="connsiteY1342" fmla="*/ 1888139 h 4503132"/>
              <a:gd name="connsiteX1343" fmla="*/ 42745 w 4493400"/>
              <a:gd name="connsiteY1343" fmla="*/ 1887850 h 4503132"/>
              <a:gd name="connsiteX1344" fmla="*/ 42601 w 4493400"/>
              <a:gd name="connsiteY1344" fmla="*/ 1887369 h 4503132"/>
              <a:gd name="connsiteX1345" fmla="*/ 42457 w 4493400"/>
              <a:gd name="connsiteY1345" fmla="*/ 1886262 h 4503132"/>
              <a:gd name="connsiteX1346" fmla="*/ 41543 w 4493400"/>
              <a:gd name="connsiteY1346" fmla="*/ 1877119 h 4503132"/>
              <a:gd name="connsiteX1347" fmla="*/ 31974 w 4493400"/>
              <a:gd name="connsiteY1347" fmla="*/ 1876638 h 4503132"/>
              <a:gd name="connsiteX1348" fmla="*/ 26541 w 4493400"/>
              <a:gd name="connsiteY1348" fmla="*/ 1911381 h 4503132"/>
              <a:gd name="connsiteX1349" fmla="*/ 25194 w 4493400"/>
              <a:gd name="connsiteY1349" fmla="*/ 1920139 h 4503132"/>
              <a:gd name="connsiteX1350" fmla="*/ 24521 w 4493400"/>
              <a:gd name="connsiteY1350" fmla="*/ 1924518 h 4503132"/>
              <a:gd name="connsiteX1351" fmla="*/ 24136 w 4493400"/>
              <a:gd name="connsiteY1351" fmla="*/ 1927020 h 4503132"/>
              <a:gd name="connsiteX1352" fmla="*/ 24136 w 4493400"/>
              <a:gd name="connsiteY1352" fmla="*/ 1929570 h 4503132"/>
              <a:gd name="connsiteX1353" fmla="*/ 24184 w 4493400"/>
              <a:gd name="connsiteY1353" fmla="*/ 1947375 h 4503132"/>
              <a:gd name="connsiteX1354" fmla="*/ 24184 w 4493400"/>
              <a:gd name="connsiteY1354" fmla="*/ 1956855 h 4503132"/>
              <a:gd name="connsiteX1355" fmla="*/ 21540 w 4493400"/>
              <a:gd name="connsiteY1355" fmla="*/ 1956662 h 4503132"/>
              <a:gd name="connsiteX1356" fmla="*/ 17356 w 4493400"/>
              <a:gd name="connsiteY1356" fmla="*/ 1988325 h 4503132"/>
              <a:gd name="connsiteX1357" fmla="*/ 16250 w 4493400"/>
              <a:gd name="connsiteY1357" fmla="*/ 1996794 h 4503132"/>
              <a:gd name="connsiteX1358" fmla="*/ 15673 w 4493400"/>
              <a:gd name="connsiteY1358" fmla="*/ 2001125 h 4503132"/>
              <a:gd name="connsiteX1359" fmla="*/ 15385 w 4493400"/>
              <a:gd name="connsiteY1359" fmla="*/ 2003290 h 4503132"/>
              <a:gd name="connsiteX1360" fmla="*/ 15240 w 4493400"/>
              <a:gd name="connsiteY1360" fmla="*/ 2004830 h 4503132"/>
              <a:gd name="connsiteX1361" fmla="*/ 15240 w 4493400"/>
              <a:gd name="connsiteY1361" fmla="*/ 2005937 h 4503132"/>
              <a:gd name="connsiteX1362" fmla="*/ 15096 w 4493400"/>
              <a:gd name="connsiteY1362" fmla="*/ 2024078 h 4503132"/>
              <a:gd name="connsiteX1363" fmla="*/ 14952 w 4493400"/>
              <a:gd name="connsiteY1363" fmla="*/ 2043519 h 4503132"/>
              <a:gd name="connsiteX1364" fmla="*/ 11682 w 4493400"/>
              <a:gd name="connsiteY1364" fmla="*/ 2064018 h 4503132"/>
              <a:gd name="connsiteX1365" fmla="*/ 8749 w 4493400"/>
              <a:gd name="connsiteY1365" fmla="*/ 2089425 h 4503132"/>
              <a:gd name="connsiteX1366" fmla="*/ 7931 w 4493400"/>
              <a:gd name="connsiteY1366" fmla="*/ 2097125 h 4503132"/>
              <a:gd name="connsiteX1367" fmla="*/ 7691 w 4493400"/>
              <a:gd name="connsiteY1367" fmla="*/ 2105305 h 4503132"/>
              <a:gd name="connsiteX1368" fmla="*/ 7258 w 4493400"/>
              <a:gd name="connsiteY1368" fmla="*/ 2123110 h 4503132"/>
              <a:gd name="connsiteX1369" fmla="*/ 6633 w 4493400"/>
              <a:gd name="connsiteY1369" fmla="*/ 2156216 h 4503132"/>
              <a:gd name="connsiteX1370" fmla="*/ 3556 w 4493400"/>
              <a:gd name="connsiteY1370" fmla="*/ 2172914 h 4503132"/>
              <a:gd name="connsiteX1371" fmla="*/ 959 w 4493400"/>
              <a:gd name="connsiteY1371" fmla="*/ 2218340 h 4503132"/>
              <a:gd name="connsiteX1372" fmla="*/ 959 w 4493400"/>
              <a:gd name="connsiteY1372" fmla="*/ 2218340 h 4503132"/>
              <a:gd name="connsiteX1373" fmla="*/ 959 w 4493400"/>
              <a:gd name="connsiteY1373" fmla="*/ 2218532 h 4503132"/>
              <a:gd name="connsiteX1374" fmla="*/ 4469 w 4493400"/>
              <a:gd name="connsiteY1374" fmla="*/ 2218628 h 4503132"/>
              <a:gd name="connsiteX1375" fmla="*/ 2209 w 4493400"/>
              <a:gd name="connsiteY1375" fmla="*/ 2262273 h 4503132"/>
              <a:gd name="connsiteX1376" fmla="*/ 1536 w 4493400"/>
              <a:gd name="connsiteY1376" fmla="*/ 2275795 h 4503132"/>
              <a:gd name="connsiteX1377" fmla="*/ 1199 w 4493400"/>
              <a:gd name="connsiteY1377" fmla="*/ 2282628 h 4503132"/>
              <a:gd name="connsiteX1378" fmla="*/ 1103 w 4493400"/>
              <a:gd name="connsiteY1378" fmla="*/ 2286574 h 4503132"/>
              <a:gd name="connsiteX1379" fmla="*/ 1199 w 4493400"/>
              <a:gd name="connsiteY1379" fmla="*/ 2290039 h 4503132"/>
              <a:gd name="connsiteX1380" fmla="*/ 1824 w 4493400"/>
              <a:gd name="connsiteY1380" fmla="*/ 2318285 h 4503132"/>
              <a:gd name="connsiteX1381" fmla="*/ 1824 w 4493400"/>
              <a:gd name="connsiteY1381" fmla="*/ 2318285 h 4503132"/>
              <a:gd name="connsiteX1382" fmla="*/ 5719 w 4493400"/>
              <a:gd name="connsiteY1382" fmla="*/ 2318381 h 4503132"/>
              <a:gd name="connsiteX1383" fmla="*/ 3892 w 4493400"/>
              <a:gd name="connsiteY1383" fmla="*/ 2343356 h 4503132"/>
              <a:gd name="connsiteX1384" fmla="*/ 3411 w 4493400"/>
              <a:gd name="connsiteY1384" fmla="*/ 2349707 h 4503132"/>
              <a:gd name="connsiteX1385" fmla="*/ 3267 w 4493400"/>
              <a:gd name="connsiteY1385" fmla="*/ 2351296 h 4503132"/>
              <a:gd name="connsiteX1386" fmla="*/ 3267 w 4493400"/>
              <a:gd name="connsiteY1386" fmla="*/ 2352787 h 4503132"/>
              <a:gd name="connsiteX1387" fmla="*/ 3267 w 4493400"/>
              <a:gd name="connsiteY1387" fmla="*/ 2353557 h 4503132"/>
              <a:gd name="connsiteX1388" fmla="*/ 3507 w 4493400"/>
              <a:gd name="connsiteY1388" fmla="*/ 2356733 h 4503132"/>
              <a:gd name="connsiteX1389" fmla="*/ 4229 w 4493400"/>
              <a:gd name="connsiteY1389" fmla="*/ 2369292 h 4503132"/>
              <a:gd name="connsiteX1390" fmla="*/ 5671 w 4493400"/>
              <a:gd name="connsiteY1390" fmla="*/ 2394074 h 4503132"/>
              <a:gd name="connsiteX1391" fmla="*/ 10143 w 4493400"/>
              <a:gd name="connsiteY1391" fmla="*/ 2394074 h 4503132"/>
              <a:gd name="connsiteX1392" fmla="*/ 9759 w 4493400"/>
              <a:gd name="connsiteY1392" fmla="*/ 2401677 h 4503132"/>
              <a:gd name="connsiteX1393" fmla="*/ 8797 w 4493400"/>
              <a:gd name="connsiteY1393" fmla="*/ 2421647 h 4503132"/>
              <a:gd name="connsiteX1394" fmla="*/ 8556 w 4493400"/>
              <a:gd name="connsiteY1394" fmla="*/ 2426652 h 4503132"/>
              <a:gd name="connsiteX1395" fmla="*/ 8460 w 4493400"/>
              <a:gd name="connsiteY1395" fmla="*/ 2429154 h 4503132"/>
              <a:gd name="connsiteX1396" fmla="*/ 8460 w 4493400"/>
              <a:gd name="connsiteY1396" fmla="*/ 2430405 h 4503132"/>
              <a:gd name="connsiteX1397" fmla="*/ 8364 w 4493400"/>
              <a:gd name="connsiteY1397" fmla="*/ 2431031 h 4503132"/>
              <a:gd name="connsiteX1398" fmla="*/ 8364 w 4493400"/>
              <a:gd name="connsiteY1398" fmla="*/ 2432234 h 4503132"/>
              <a:gd name="connsiteX1399" fmla="*/ 9326 w 4493400"/>
              <a:gd name="connsiteY1399" fmla="*/ 2442339 h 4503132"/>
              <a:gd name="connsiteX1400" fmla="*/ 13077 w 4493400"/>
              <a:gd name="connsiteY1400" fmla="*/ 2482471 h 4503132"/>
              <a:gd name="connsiteX1401" fmla="*/ 23704 w 4493400"/>
              <a:gd name="connsiteY1401" fmla="*/ 2482086 h 4503132"/>
              <a:gd name="connsiteX1402" fmla="*/ 24569 w 4493400"/>
              <a:gd name="connsiteY1402" fmla="*/ 2460769 h 4503132"/>
              <a:gd name="connsiteX1403" fmla="*/ 23752 w 4493400"/>
              <a:gd name="connsiteY1403" fmla="*/ 2506772 h 4503132"/>
              <a:gd name="connsiteX1404" fmla="*/ 23655 w 4493400"/>
              <a:gd name="connsiteY1404" fmla="*/ 2536077 h 4503132"/>
              <a:gd name="connsiteX1405" fmla="*/ 23752 w 4493400"/>
              <a:gd name="connsiteY1405" fmla="*/ 2550176 h 4503132"/>
              <a:gd name="connsiteX1406" fmla="*/ 23848 w 4493400"/>
              <a:gd name="connsiteY1406" fmla="*/ 2557057 h 4503132"/>
              <a:gd name="connsiteX1407" fmla="*/ 23944 w 4493400"/>
              <a:gd name="connsiteY1407" fmla="*/ 2559175 h 4503132"/>
              <a:gd name="connsiteX1408" fmla="*/ 24232 w 4493400"/>
              <a:gd name="connsiteY1408" fmla="*/ 2560955 h 4503132"/>
              <a:gd name="connsiteX1409" fmla="*/ 24809 w 4493400"/>
              <a:gd name="connsiteY1409" fmla="*/ 2564275 h 4503132"/>
              <a:gd name="connsiteX1410" fmla="*/ 40918 w 4493400"/>
              <a:gd name="connsiteY1410" fmla="*/ 2657244 h 4503132"/>
              <a:gd name="connsiteX1411" fmla="*/ 46544 w 4493400"/>
              <a:gd name="connsiteY1411" fmla="*/ 2656714 h 4503132"/>
              <a:gd name="connsiteX1412" fmla="*/ 46737 w 4493400"/>
              <a:gd name="connsiteY1412" fmla="*/ 2589298 h 4503132"/>
              <a:gd name="connsiteX1413" fmla="*/ 48997 w 4493400"/>
              <a:gd name="connsiteY1413" fmla="*/ 2565430 h 4503132"/>
              <a:gd name="connsiteX1414" fmla="*/ 46977 w 4493400"/>
              <a:gd name="connsiteY1414" fmla="*/ 2571301 h 4503132"/>
              <a:gd name="connsiteX1415" fmla="*/ 43755 w 4493400"/>
              <a:gd name="connsiteY1415" fmla="*/ 2589009 h 4503132"/>
              <a:gd name="connsiteX1416" fmla="*/ 41447 w 4493400"/>
              <a:gd name="connsiteY1416" fmla="*/ 2622693 h 4503132"/>
              <a:gd name="connsiteX1417" fmla="*/ 32455 w 4493400"/>
              <a:gd name="connsiteY1417" fmla="*/ 2563217 h 4503132"/>
              <a:gd name="connsiteX1418" fmla="*/ 31686 w 4493400"/>
              <a:gd name="connsiteY1418" fmla="*/ 2557009 h 4503132"/>
              <a:gd name="connsiteX1419" fmla="*/ 31686 w 4493400"/>
              <a:gd name="connsiteY1419" fmla="*/ 2550128 h 4503132"/>
              <a:gd name="connsiteX1420" fmla="*/ 31830 w 4493400"/>
              <a:gd name="connsiteY1420" fmla="*/ 2536077 h 4503132"/>
              <a:gd name="connsiteX1421" fmla="*/ 32359 w 4493400"/>
              <a:gd name="connsiteY1421" fmla="*/ 2506868 h 4503132"/>
              <a:gd name="connsiteX1422" fmla="*/ 34330 w 4493400"/>
              <a:gd name="connsiteY1422" fmla="*/ 2444216 h 4503132"/>
              <a:gd name="connsiteX1423" fmla="*/ 37216 w 4493400"/>
              <a:gd name="connsiteY1423" fmla="*/ 2376510 h 4503132"/>
              <a:gd name="connsiteX1424" fmla="*/ 40293 w 4493400"/>
              <a:gd name="connsiteY1424" fmla="*/ 2304282 h 4503132"/>
              <a:gd name="connsiteX1425" fmla="*/ 46304 w 4493400"/>
              <a:gd name="connsiteY1425" fmla="*/ 2149431 h 4503132"/>
              <a:gd name="connsiteX1426" fmla="*/ 52026 w 4493400"/>
              <a:gd name="connsiteY1426" fmla="*/ 2088848 h 4503132"/>
              <a:gd name="connsiteX1427" fmla="*/ 55200 w 4493400"/>
              <a:gd name="connsiteY1427" fmla="*/ 2075038 h 4503132"/>
              <a:gd name="connsiteX1428" fmla="*/ 56402 w 4493400"/>
              <a:gd name="connsiteY1428" fmla="*/ 2071284 h 4503132"/>
              <a:gd name="connsiteX1429" fmla="*/ 56402 w 4493400"/>
              <a:gd name="connsiteY1429" fmla="*/ 2071284 h 4503132"/>
              <a:gd name="connsiteX1430" fmla="*/ 56402 w 4493400"/>
              <a:gd name="connsiteY1430" fmla="*/ 2071188 h 4503132"/>
              <a:gd name="connsiteX1431" fmla="*/ 56498 w 4493400"/>
              <a:gd name="connsiteY1431" fmla="*/ 2071380 h 4503132"/>
              <a:gd name="connsiteX1432" fmla="*/ 57315 w 4493400"/>
              <a:gd name="connsiteY1432" fmla="*/ 2073594 h 4503132"/>
              <a:gd name="connsiteX1433" fmla="*/ 58373 w 4493400"/>
              <a:gd name="connsiteY1433" fmla="*/ 2076818 h 4503132"/>
              <a:gd name="connsiteX1434" fmla="*/ 61499 w 4493400"/>
              <a:gd name="connsiteY1434" fmla="*/ 2090629 h 4503132"/>
              <a:gd name="connsiteX1435" fmla="*/ 67558 w 4493400"/>
              <a:gd name="connsiteY1435" fmla="*/ 2147266 h 4503132"/>
              <a:gd name="connsiteX1436" fmla="*/ 70058 w 4493400"/>
              <a:gd name="connsiteY1436" fmla="*/ 2202219 h 4503132"/>
              <a:gd name="connsiteX1437" fmla="*/ 70251 w 4493400"/>
              <a:gd name="connsiteY1437" fmla="*/ 2392919 h 4503132"/>
              <a:gd name="connsiteX1438" fmla="*/ 67991 w 4493400"/>
              <a:gd name="connsiteY1438" fmla="*/ 2466158 h 4503132"/>
              <a:gd name="connsiteX1439" fmla="*/ 66452 w 4493400"/>
              <a:gd name="connsiteY1439" fmla="*/ 2496137 h 4503132"/>
              <a:gd name="connsiteX1440" fmla="*/ 63903 w 4493400"/>
              <a:gd name="connsiteY1440" fmla="*/ 2520919 h 4503132"/>
              <a:gd name="connsiteX1441" fmla="*/ 57027 w 4493400"/>
              <a:gd name="connsiteY1441" fmla="*/ 2539397 h 4503132"/>
              <a:gd name="connsiteX1442" fmla="*/ 51353 w 4493400"/>
              <a:gd name="connsiteY1442" fmla="*/ 2553208 h 4503132"/>
              <a:gd name="connsiteX1443" fmla="*/ 48804 w 4493400"/>
              <a:gd name="connsiteY1443" fmla="*/ 2565238 h 4503132"/>
              <a:gd name="connsiteX1444" fmla="*/ 53372 w 4493400"/>
              <a:gd name="connsiteY1444" fmla="*/ 2553929 h 4503132"/>
              <a:gd name="connsiteX1445" fmla="*/ 59864 w 4493400"/>
              <a:gd name="connsiteY1445" fmla="*/ 2540793 h 4503132"/>
              <a:gd name="connsiteX1446" fmla="*/ 67942 w 4493400"/>
              <a:gd name="connsiteY1446" fmla="*/ 2521882 h 4503132"/>
              <a:gd name="connsiteX1447" fmla="*/ 71501 w 4493400"/>
              <a:gd name="connsiteY1447" fmla="*/ 2496522 h 4503132"/>
              <a:gd name="connsiteX1448" fmla="*/ 73905 w 4493400"/>
              <a:gd name="connsiteY1448" fmla="*/ 2466447 h 4503132"/>
              <a:gd name="connsiteX1449" fmla="*/ 77752 w 4493400"/>
              <a:gd name="connsiteY1449" fmla="*/ 2393112 h 4503132"/>
              <a:gd name="connsiteX1450" fmla="*/ 79579 w 4493400"/>
              <a:gd name="connsiteY1450" fmla="*/ 2333491 h 4503132"/>
              <a:gd name="connsiteX1451" fmla="*/ 79387 w 4493400"/>
              <a:gd name="connsiteY1451" fmla="*/ 2410916 h 4503132"/>
              <a:gd name="connsiteX1452" fmla="*/ 76742 w 4493400"/>
              <a:gd name="connsiteY1452" fmla="*/ 2555710 h 4503132"/>
              <a:gd name="connsiteX1453" fmla="*/ 72799 w 4493400"/>
              <a:gd name="connsiteY1453" fmla="*/ 2589538 h 4503132"/>
              <a:gd name="connsiteX1454" fmla="*/ 65779 w 4493400"/>
              <a:gd name="connsiteY1454" fmla="*/ 2622838 h 4503132"/>
              <a:gd name="connsiteX1455" fmla="*/ 61259 w 4493400"/>
              <a:gd name="connsiteY1455" fmla="*/ 2656377 h 4503132"/>
              <a:gd name="connsiteX1456" fmla="*/ 59431 w 4493400"/>
              <a:gd name="connsiteY1456" fmla="*/ 2689195 h 4503132"/>
              <a:gd name="connsiteX1457" fmla="*/ 58662 w 4493400"/>
              <a:gd name="connsiteY1457" fmla="*/ 2721292 h 4503132"/>
              <a:gd name="connsiteX1458" fmla="*/ 58566 w 4493400"/>
              <a:gd name="connsiteY1458" fmla="*/ 2737075 h 4503132"/>
              <a:gd name="connsiteX1459" fmla="*/ 58566 w 4493400"/>
              <a:gd name="connsiteY1459" fmla="*/ 2744918 h 4503132"/>
              <a:gd name="connsiteX1460" fmla="*/ 58566 w 4493400"/>
              <a:gd name="connsiteY1460" fmla="*/ 2746891 h 4503132"/>
              <a:gd name="connsiteX1461" fmla="*/ 58566 w 4493400"/>
              <a:gd name="connsiteY1461" fmla="*/ 2747902 h 4503132"/>
              <a:gd name="connsiteX1462" fmla="*/ 58758 w 4493400"/>
              <a:gd name="connsiteY1462" fmla="*/ 2749538 h 4503132"/>
              <a:gd name="connsiteX1463" fmla="*/ 59720 w 4493400"/>
              <a:gd name="connsiteY1463" fmla="*/ 2753436 h 4503132"/>
              <a:gd name="connsiteX1464" fmla="*/ 74242 w 4493400"/>
              <a:gd name="connsiteY1464" fmla="*/ 2812238 h 4503132"/>
              <a:gd name="connsiteX1465" fmla="*/ 81503 w 4493400"/>
              <a:gd name="connsiteY1465" fmla="*/ 2811661 h 4503132"/>
              <a:gd name="connsiteX1466" fmla="*/ 88090 w 4493400"/>
              <a:gd name="connsiteY1466" fmla="*/ 2757574 h 4503132"/>
              <a:gd name="connsiteX1467" fmla="*/ 90879 w 4493400"/>
              <a:gd name="connsiteY1467" fmla="*/ 2705797 h 4503132"/>
              <a:gd name="connsiteX1468" fmla="*/ 91168 w 4493400"/>
              <a:gd name="connsiteY1468" fmla="*/ 2611144 h 4503132"/>
              <a:gd name="connsiteX1469" fmla="*/ 88619 w 4493400"/>
              <a:gd name="connsiteY1469" fmla="*/ 2459903 h 4503132"/>
              <a:gd name="connsiteX1470" fmla="*/ 88331 w 4493400"/>
              <a:gd name="connsiteY1470" fmla="*/ 2447584 h 4503132"/>
              <a:gd name="connsiteX1471" fmla="*/ 88764 w 4493400"/>
              <a:gd name="connsiteY1471" fmla="*/ 2410965 h 4503132"/>
              <a:gd name="connsiteX1472" fmla="*/ 89004 w 4493400"/>
              <a:gd name="connsiteY1472" fmla="*/ 2378580 h 4503132"/>
              <a:gd name="connsiteX1473" fmla="*/ 90062 w 4493400"/>
              <a:gd name="connsiteY1473" fmla="*/ 2411061 h 4503132"/>
              <a:gd name="connsiteX1474" fmla="*/ 97852 w 4493400"/>
              <a:gd name="connsiteY1474" fmla="*/ 2559800 h 4503132"/>
              <a:gd name="connsiteX1475" fmla="*/ 103911 w 4493400"/>
              <a:gd name="connsiteY1475" fmla="*/ 2690735 h 4503132"/>
              <a:gd name="connsiteX1476" fmla="*/ 102516 w 4493400"/>
              <a:gd name="connsiteY1476" fmla="*/ 2748864 h 4503132"/>
              <a:gd name="connsiteX1477" fmla="*/ 95255 w 4493400"/>
              <a:gd name="connsiteY1477" fmla="*/ 2801027 h 4503132"/>
              <a:gd name="connsiteX1478" fmla="*/ 88187 w 4493400"/>
              <a:gd name="connsiteY1478" fmla="*/ 2824268 h 4503132"/>
              <a:gd name="connsiteX1479" fmla="*/ 84340 w 4493400"/>
              <a:gd name="connsiteY1479" fmla="*/ 2835481 h 4503132"/>
              <a:gd name="connsiteX1480" fmla="*/ 83426 w 4493400"/>
              <a:gd name="connsiteY1480" fmla="*/ 2838368 h 4503132"/>
              <a:gd name="connsiteX1481" fmla="*/ 82849 w 4493400"/>
              <a:gd name="connsiteY1481" fmla="*/ 2840389 h 4503132"/>
              <a:gd name="connsiteX1482" fmla="*/ 83426 w 4493400"/>
              <a:gd name="connsiteY1482" fmla="*/ 2842410 h 4503132"/>
              <a:gd name="connsiteX1483" fmla="*/ 85013 w 4493400"/>
              <a:gd name="connsiteY1483" fmla="*/ 2847896 h 4503132"/>
              <a:gd name="connsiteX1484" fmla="*/ 91120 w 4493400"/>
              <a:gd name="connsiteY1484" fmla="*/ 2868828 h 4503132"/>
              <a:gd name="connsiteX1485" fmla="*/ 94197 w 4493400"/>
              <a:gd name="connsiteY1485" fmla="*/ 2879270 h 4503132"/>
              <a:gd name="connsiteX1486" fmla="*/ 96169 w 4493400"/>
              <a:gd name="connsiteY1486" fmla="*/ 2886103 h 4503132"/>
              <a:gd name="connsiteX1487" fmla="*/ 97131 w 4493400"/>
              <a:gd name="connsiteY1487" fmla="*/ 2889471 h 4503132"/>
              <a:gd name="connsiteX1488" fmla="*/ 97611 w 4493400"/>
              <a:gd name="connsiteY1488" fmla="*/ 2891107 h 4503132"/>
              <a:gd name="connsiteX1489" fmla="*/ 97852 w 4493400"/>
              <a:gd name="connsiteY1489" fmla="*/ 2891877 h 4503132"/>
              <a:gd name="connsiteX1490" fmla="*/ 98188 w 4493400"/>
              <a:gd name="connsiteY1490" fmla="*/ 2892022 h 4503132"/>
              <a:gd name="connsiteX1491" fmla="*/ 104199 w 4493400"/>
              <a:gd name="connsiteY1491" fmla="*/ 2883071 h 4503132"/>
              <a:gd name="connsiteX1492" fmla="*/ 109489 w 4493400"/>
              <a:gd name="connsiteY1492" fmla="*/ 2877441 h 4503132"/>
              <a:gd name="connsiteX1493" fmla="*/ 117856 w 4493400"/>
              <a:gd name="connsiteY1493" fmla="*/ 2866855 h 4503132"/>
              <a:gd name="connsiteX1494" fmla="*/ 125309 w 4493400"/>
              <a:gd name="connsiteY1494" fmla="*/ 2843902 h 4503132"/>
              <a:gd name="connsiteX1495" fmla="*/ 127954 w 4493400"/>
              <a:gd name="connsiteY1495" fmla="*/ 2806753 h 4503132"/>
              <a:gd name="connsiteX1496" fmla="*/ 127377 w 4493400"/>
              <a:gd name="connsiteY1496" fmla="*/ 2783896 h 4503132"/>
              <a:gd name="connsiteX1497" fmla="*/ 126655 w 4493400"/>
              <a:gd name="connsiteY1497" fmla="*/ 2776100 h 4503132"/>
              <a:gd name="connsiteX1498" fmla="*/ 126222 w 4493400"/>
              <a:gd name="connsiteY1498" fmla="*/ 2783896 h 4503132"/>
              <a:gd name="connsiteX1499" fmla="*/ 125645 w 4493400"/>
              <a:gd name="connsiteY1499" fmla="*/ 2806657 h 4503132"/>
              <a:gd name="connsiteX1500" fmla="*/ 121991 w 4493400"/>
              <a:gd name="connsiteY1500" fmla="*/ 2843276 h 4503132"/>
              <a:gd name="connsiteX1501" fmla="*/ 114490 w 4493400"/>
              <a:gd name="connsiteY1501" fmla="*/ 2864882 h 4503132"/>
              <a:gd name="connsiteX1502" fmla="*/ 106555 w 4493400"/>
              <a:gd name="connsiteY1502" fmla="*/ 2874506 h 4503132"/>
              <a:gd name="connsiteX1503" fmla="*/ 99920 w 4493400"/>
              <a:gd name="connsiteY1503" fmla="*/ 2881965 h 4503132"/>
              <a:gd name="connsiteX1504" fmla="*/ 99727 w 4493400"/>
              <a:gd name="connsiteY1504" fmla="*/ 2882253 h 4503132"/>
              <a:gd name="connsiteX1505" fmla="*/ 99631 w 4493400"/>
              <a:gd name="connsiteY1505" fmla="*/ 2881965 h 4503132"/>
              <a:gd name="connsiteX1506" fmla="*/ 99439 w 4493400"/>
              <a:gd name="connsiteY1506" fmla="*/ 2881243 h 4503132"/>
              <a:gd name="connsiteX1507" fmla="*/ 99054 w 4493400"/>
              <a:gd name="connsiteY1507" fmla="*/ 2879799 h 4503132"/>
              <a:gd name="connsiteX1508" fmla="*/ 98285 w 4493400"/>
              <a:gd name="connsiteY1508" fmla="*/ 2876960 h 4503132"/>
              <a:gd name="connsiteX1509" fmla="*/ 95688 w 4493400"/>
              <a:gd name="connsiteY1509" fmla="*/ 2867528 h 4503132"/>
              <a:gd name="connsiteX1510" fmla="*/ 89918 w 4493400"/>
              <a:gd name="connsiteY1510" fmla="*/ 2846548 h 4503132"/>
              <a:gd name="connsiteX1511" fmla="*/ 88427 w 4493400"/>
              <a:gd name="connsiteY1511" fmla="*/ 2841159 h 4503132"/>
              <a:gd name="connsiteX1512" fmla="*/ 88235 w 4493400"/>
              <a:gd name="connsiteY1512" fmla="*/ 2840437 h 4503132"/>
              <a:gd name="connsiteX1513" fmla="*/ 88475 w 4493400"/>
              <a:gd name="connsiteY1513" fmla="*/ 2839715 h 4503132"/>
              <a:gd name="connsiteX1514" fmla="*/ 89341 w 4493400"/>
              <a:gd name="connsiteY1514" fmla="*/ 2837117 h 4503132"/>
              <a:gd name="connsiteX1515" fmla="*/ 93284 w 4493400"/>
              <a:gd name="connsiteY1515" fmla="*/ 2826097 h 4503132"/>
              <a:gd name="connsiteX1516" fmla="*/ 100833 w 4493400"/>
              <a:gd name="connsiteY1516" fmla="*/ 2802422 h 4503132"/>
              <a:gd name="connsiteX1517" fmla="*/ 108863 w 4493400"/>
              <a:gd name="connsiteY1517" fmla="*/ 2749345 h 4503132"/>
              <a:gd name="connsiteX1518" fmla="*/ 110883 w 4493400"/>
              <a:gd name="connsiteY1518" fmla="*/ 2690735 h 4503132"/>
              <a:gd name="connsiteX1519" fmla="*/ 105882 w 4493400"/>
              <a:gd name="connsiteY1519" fmla="*/ 2559367 h 4503132"/>
              <a:gd name="connsiteX1520" fmla="*/ 99006 w 4493400"/>
              <a:gd name="connsiteY1520" fmla="*/ 2410772 h 4503132"/>
              <a:gd name="connsiteX1521" fmla="*/ 98429 w 4493400"/>
              <a:gd name="connsiteY1521" fmla="*/ 2391524 h 4503132"/>
              <a:gd name="connsiteX1522" fmla="*/ 99871 w 4493400"/>
              <a:gd name="connsiteY1522" fmla="*/ 2423861 h 4503132"/>
              <a:gd name="connsiteX1523" fmla="*/ 110114 w 4493400"/>
              <a:gd name="connsiteY1523" fmla="*/ 2571301 h 4503132"/>
              <a:gd name="connsiteX1524" fmla="*/ 119490 w 4493400"/>
              <a:gd name="connsiteY1524" fmla="*/ 2682025 h 4503132"/>
              <a:gd name="connsiteX1525" fmla="*/ 124780 w 4493400"/>
              <a:gd name="connsiteY1525" fmla="*/ 2751848 h 4503132"/>
              <a:gd name="connsiteX1526" fmla="*/ 125982 w 4493400"/>
              <a:gd name="connsiteY1526" fmla="*/ 2769989 h 4503132"/>
              <a:gd name="connsiteX1527" fmla="*/ 126751 w 4493400"/>
              <a:gd name="connsiteY1527" fmla="*/ 2776148 h 4503132"/>
              <a:gd name="connsiteX1528" fmla="*/ 127040 w 4493400"/>
              <a:gd name="connsiteY1528" fmla="*/ 2769941 h 4503132"/>
              <a:gd name="connsiteX1529" fmla="*/ 126799 w 4493400"/>
              <a:gd name="connsiteY1529" fmla="*/ 2751751 h 4503132"/>
              <a:gd name="connsiteX1530" fmla="*/ 123385 w 4493400"/>
              <a:gd name="connsiteY1530" fmla="*/ 2681737 h 4503132"/>
              <a:gd name="connsiteX1531" fmla="*/ 115788 w 4493400"/>
              <a:gd name="connsiteY1531" fmla="*/ 2570868 h 4503132"/>
              <a:gd name="connsiteX1532" fmla="*/ 107084 w 4493400"/>
              <a:gd name="connsiteY1532" fmla="*/ 2423524 h 4503132"/>
              <a:gd name="connsiteX1533" fmla="*/ 106603 w 4493400"/>
              <a:gd name="connsiteY1533" fmla="*/ 2244324 h 4503132"/>
              <a:gd name="connsiteX1534" fmla="*/ 108046 w 4493400"/>
              <a:gd name="connsiteY1534" fmla="*/ 2219976 h 4503132"/>
              <a:gd name="connsiteX1535" fmla="*/ 109344 w 4493400"/>
              <a:gd name="connsiteY1535" fmla="*/ 2206213 h 4503132"/>
              <a:gd name="connsiteX1536" fmla="*/ 107373 w 4493400"/>
              <a:gd name="connsiteY1536" fmla="*/ 2239849 h 4503132"/>
              <a:gd name="connsiteX1537" fmla="*/ 110691 w 4493400"/>
              <a:gd name="connsiteY1537" fmla="*/ 2396480 h 4503132"/>
              <a:gd name="connsiteX1538" fmla="*/ 116653 w 4493400"/>
              <a:gd name="connsiteY1538" fmla="*/ 2498351 h 4503132"/>
              <a:gd name="connsiteX1539" fmla="*/ 129588 w 4493400"/>
              <a:gd name="connsiteY1539" fmla="*/ 2636022 h 4503132"/>
              <a:gd name="connsiteX1540" fmla="*/ 130117 w 4493400"/>
              <a:gd name="connsiteY1540" fmla="*/ 2641941 h 4503132"/>
              <a:gd name="connsiteX1541" fmla="*/ 137907 w 4493400"/>
              <a:gd name="connsiteY1541" fmla="*/ 2744678 h 4503132"/>
              <a:gd name="connsiteX1542" fmla="*/ 140841 w 4493400"/>
              <a:gd name="connsiteY1542" fmla="*/ 2848233 h 4503132"/>
              <a:gd name="connsiteX1543" fmla="*/ 134926 w 4493400"/>
              <a:gd name="connsiteY1543" fmla="*/ 2898807 h 4503132"/>
              <a:gd name="connsiteX1544" fmla="*/ 123530 w 4493400"/>
              <a:gd name="connsiteY1544" fmla="*/ 2915071 h 4503132"/>
              <a:gd name="connsiteX1545" fmla="*/ 118673 w 4493400"/>
              <a:gd name="connsiteY1545" fmla="*/ 2915264 h 4503132"/>
              <a:gd name="connsiteX1546" fmla="*/ 113480 w 4493400"/>
              <a:gd name="connsiteY1546" fmla="*/ 2914494 h 4503132"/>
              <a:gd name="connsiteX1547" fmla="*/ 110306 w 4493400"/>
              <a:gd name="connsiteY1547" fmla="*/ 2914061 h 4503132"/>
              <a:gd name="connsiteX1548" fmla="*/ 107373 w 4493400"/>
              <a:gd name="connsiteY1548" fmla="*/ 2913868 h 4503132"/>
              <a:gd name="connsiteX1549" fmla="*/ 104488 w 4493400"/>
              <a:gd name="connsiteY1549" fmla="*/ 2913676 h 4503132"/>
              <a:gd name="connsiteX1550" fmla="*/ 102035 w 4493400"/>
              <a:gd name="connsiteY1550" fmla="*/ 2914013 h 4503132"/>
              <a:gd name="connsiteX1551" fmla="*/ 103382 w 4493400"/>
              <a:gd name="connsiteY1551" fmla="*/ 2919691 h 4503132"/>
              <a:gd name="connsiteX1552" fmla="*/ 105257 w 4493400"/>
              <a:gd name="connsiteY1552" fmla="*/ 2925802 h 4503132"/>
              <a:gd name="connsiteX1553" fmla="*/ 106748 w 4493400"/>
              <a:gd name="connsiteY1553" fmla="*/ 2930470 h 4503132"/>
              <a:gd name="connsiteX1554" fmla="*/ 110787 w 4493400"/>
              <a:gd name="connsiteY1554" fmla="*/ 2943077 h 4503132"/>
              <a:gd name="connsiteX1555" fmla="*/ 112807 w 4493400"/>
              <a:gd name="connsiteY1555" fmla="*/ 2949381 h 4503132"/>
              <a:gd name="connsiteX1556" fmla="*/ 113816 w 4493400"/>
              <a:gd name="connsiteY1556" fmla="*/ 2952557 h 4503132"/>
              <a:gd name="connsiteX1557" fmla="*/ 114538 w 4493400"/>
              <a:gd name="connsiteY1557" fmla="*/ 2954867 h 4503132"/>
              <a:gd name="connsiteX1558" fmla="*/ 115644 w 4493400"/>
              <a:gd name="connsiteY1558" fmla="*/ 2957802 h 4503132"/>
              <a:gd name="connsiteX1559" fmla="*/ 117615 w 4493400"/>
              <a:gd name="connsiteY1559" fmla="*/ 2959631 h 4503132"/>
              <a:gd name="connsiteX1560" fmla="*/ 120693 w 4493400"/>
              <a:gd name="connsiteY1560" fmla="*/ 2960112 h 4503132"/>
              <a:gd name="connsiteX1561" fmla="*/ 122328 w 4493400"/>
              <a:gd name="connsiteY1561" fmla="*/ 2960497 h 4503132"/>
              <a:gd name="connsiteX1562" fmla="*/ 123482 w 4493400"/>
              <a:gd name="connsiteY1562" fmla="*/ 2960978 h 4503132"/>
              <a:gd name="connsiteX1563" fmla="*/ 128771 w 4493400"/>
              <a:gd name="connsiteY1563" fmla="*/ 2963721 h 4503132"/>
              <a:gd name="connsiteX1564" fmla="*/ 141225 w 4493400"/>
              <a:gd name="connsiteY1564" fmla="*/ 2970121 h 4503132"/>
              <a:gd name="connsiteX1565" fmla="*/ 149352 w 4493400"/>
              <a:gd name="connsiteY1565" fmla="*/ 2971901 h 4503132"/>
              <a:gd name="connsiteX1566" fmla="*/ 158728 w 4493400"/>
              <a:gd name="connsiteY1566" fmla="*/ 2969447 h 4503132"/>
              <a:gd name="connsiteX1567" fmla="*/ 167624 w 4493400"/>
              <a:gd name="connsiteY1567" fmla="*/ 2955300 h 4503132"/>
              <a:gd name="connsiteX1568" fmla="*/ 170413 w 4493400"/>
              <a:gd name="connsiteY1568" fmla="*/ 2927631 h 4503132"/>
              <a:gd name="connsiteX1569" fmla="*/ 167672 w 4493400"/>
              <a:gd name="connsiteY1569" fmla="*/ 2873929 h 4503132"/>
              <a:gd name="connsiteX1570" fmla="*/ 162143 w 4493400"/>
              <a:gd name="connsiteY1570" fmla="*/ 2820563 h 4503132"/>
              <a:gd name="connsiteX1571" fmla="*/ 158248 w 4493400"/>
              <a:gd name="connsiteY1571" fmla="*/ 2788756 h 4503132"/>
              <a:gd name="connsiteX1572" fmla="*/ 173106 w 4493400"/>
              <a:gd name="connsiteY1572" fmla="*/ 2874506 h 4503132"/>
              <a:gd name="connsiteX1573" fmla="*/ 182483 w 4493400"/>
              <a:gd name="connsiteY1573" fmla="*/ 2932779 h 4503132"/>
              <a:gd name="connsiteX1574" fmla="*/ 188878 w 4493400"/>
              <a:gd name="connsiteY1574" fmla="*/ 2988936 h 4503132"/>
              <a:gd name="connsiteX1575" fmla="*/ 189263 w 4493400"/>
              <a:gd name="connsiteY1575" fmla="*/ 2995769 h 4503132"/>
              <a:gd name="connsiteX1576" fmla="*/ 189263 w 4493400"/>
              <a:gd name="connsiteY1576" fmla="*/ 3002458 h 4503132"/>
              <a:gd name="connsiteX1577" fmla="*/ 188013 w 4493400"/>
              <a:gd name="connsiteY1577" fmla="*/ 3015161 h 4503132"/>
              <a:gd name="connsiteX1578" fmla="*/ 186041 w 4493400"/>
              <a:gd name="connsiteY1578" fmla="*/ 3019829 h 4503132"/>
              <a:gd name="connsiteX1579" fmla="*/ 183637 w 4493400"/>
              <a:gd name="connsiteY1579" fmla="*/ 3020840 h 4503132"/>
              <a:gd name="connsiteX1580" fmla="*/ 174116 w 4493400"/>
              <a:gd name="connsiteY1580" fmla="*/ 3015306 h 4503132"/>
              <a:gd name="connsiteX1581" fmla="*/ 155507 w 4493400"/>
              <a:gd name="connsiteY1581" fmla="*/ 2997116 h 4503132"/>
              <a:gd name="connsiteX1582" fmla="*/ 145793 w 4493400"/>
              <a:gd name="connsiteY1582" fmla="*/ 2987925 h 4503132"/>
              <a:gd name="connsiteX1583" fmla="*/ 143966 w 4493400"/>
              <a:gd name="connsiteY1583" fmla="*/ 2986530 h 4503132"/>
              <a:gd name="connsiteX1584" fmla="*/ 141850 w 4493400"/>
              <a:gd name="connsiteY1584" fmla="*/ 2984990 h 4503132"/>
              <a:gd name="connsiteX1585" fmla="*/ 137426 w 4493400"/>
              <a:gd name="connsiteY1585" fmla="*/ 2982776 h 4503132"/>
              <a:gd name="connsiteX1586" fmla="*/ 129540 w 4493400"/>
              <a:gd name="connsiteY1586" fmla="*/ 2983017 h 4503132"/>
              <a:gd name="connsiteX1587" fmla="*/ 128146 w 4493400"/>
              <a:gd name="connsiteY1587" fmla="*/ 2984268 h 4503132"/>
              <a:gd name="connsiteX1588" fmla="*/ 128050 w 4493400"/>
              <a:gd name="connsiteY1588" fmla="*/ 2985808 h 4503132"/>
              <a:gd name="connsiteX1589" fmla="*/ 127905 w 4493400"/>
              <a:gd name="connsiteY1589" fmla="*/ 2988839 h 4503132"/>
              <a:gd name="connsiteX1590" fmla="*/ 128434 w 4493400"/>
              <a:gd name="connsiteY1590" fmla="*/ 2990909 h 4503132"/>
              <a:gd name="connsiteX1591" fmla="*/ 129300 w 4493400"/>
              <a:gd name="connsiteY1591" fmla="*/ 2993266 h 4503132"/>
              <a:gd name="connsiteX1592" fmla="*/ 130935 w 4493400"/>
              <a:gd name="connsiteY1592" fmla="*/ 2997790 h 4503132"/>
              <a:gd name="connsiteX1593" fmla="*/ 134926 w 4493400"/>
              <a:gd name="connsiteY1593" fmla="*/ 3008761 h 4503132"/>
              <a:gd name="connsiteX1594" fmla="*/ 143053 w 4493400"/>
              <a:gd name="connsiteY1594" fmla="*/ 3031137 h 4503132"/>
              <a:gd name="connsiteX1595" fmla="*/ 144832 w 4493400"/>
              <a:gd name="connsiteY1595" fmla="*/ 3032725 h 4503132"/>
              <a:gd name="connsiteX1596" fmla="*/ 146851 w 4493400"/>
              <a:gd name="connsiteY1596" fmla="*/ 3034073 h 4503132"/>
              <a:gd name="connsiteX1597" fmla="*/ 153391 w 4493400"/>
              <a:gd name="connsiteY1597" fmla="*/ 3039414 h 4503132"/>
              <a:gd name="connsiteX1598" fmla="*/ 159690 w 4493400"/>
              <a:gd name="connsiteY1598" fmla="*/ 3046199 h 4503132"/>
              <a:gd name="connsiteX1599" fmla="*/ 170221 w 4493400"/>
              <a:gd name="connsiteY1599" fmla="*/ 3061068 h 4503132"/>
              <a:gd name="connsiteX1600" fmla="*/ 185849 w 4493400"/>
              <a:gd name="connsiteY1600" fmla="*/ 3093260 h 4503132"/>
              <a:gd name="connsiteX1601" fmla="*/ 207439 w 4493400"/>
              <a:gd name="connsiteY1601" fmla="*/ 3156683 h 4503132"/>
              <a:gd name="connsiteX1602" fmla="*/ 223740 w 4493400"/>
              <a:gd name="connsiteY1602" fmla="*/ 3214282 h 4503132"/>
              <a:gd name="connsiteX1603" fmla="*/ 225616 w 4493400"/>
              <a:gd name="connsiteY1603" fmla="*/ 3220971 h 4503132"/>
              <a:gd name="connsiteX1604" fmla="*/ 226529 w 4493400"/>
              <a:gd name="connsiteY1604" fmla="*/ 3224291 h 4503132"/>
              <a:gd name="connsiteX1605" fmla="*/ 227299 w 4493400"/>
              <a:gd name="connsiteY1605" fmla="*/ 3226312 h 4503132"/>
              <a:gd name="connsiteX1606" fmla="*/ 228068 w 4493400"/>
              <a:gd name="connsiteY1606" fmla="*/ 3227852 h 4503132"/>
              <a:gd name="connsiteX1607" fmla="*/ 234031 w 4493400"/>
              <a:gd name="connsiteY1607" fmla="*/ 3239738 h 4503132"/>
              <a:gd name="connsiteX1608" fmla="*/ 245283 w 4493400"/>
              <a:gd name="connsiteY1608" fmla="*/ 3262162 h 4503132"/>
              <a:gd name="connsiteX1609" fmla="*/ 249274 w 4493400"/>
              <a:gd name="connsiteY1609" fmla="*/ 3260430 h 4503132"/>
              <a:gd name="connsiteX1610" fmla="*/ 228309 w 4493400"/>
              <a:gd name="connsiteY1610" fmla="*/ 3167317 h 4503132"/>
              <a:gd name="connsiteX1611" fmla="*/ 231386 w 4493400"/>
              <a:gd name="connsiteY1611" fmla="*/ 3143161 h 4503132"/>
              <a:gd name="connsiteX1612" fmla="*/ 236243 w 4493400"/>
              <a:gd name="connsiteY1612" fmla="*/ 3140226 h 4503132"/>
              <a:gd name="connsiteX1613" fmla="*/ 238359 w 4493400"/>
              <a:gd name="connsiteY1613" fmla="*/ 3140322 h 4503132"/>
              <a:gd name="connsiteX1614" fmla="*/ 236243 w 4493400"/>
              <a:gd name="connsiteY1614" fmla="*/ 3139648 h 4503132"/>
              <a:gd name="connsiteX1615" fmla="*/ 230424 w 4493400"/>
              <a:gd name="connsiteY1615" fmla="*/ 3142535 h 4503132"/>
              <a:gd name="connsiteX1616" fmla="*/ 226001 w 4493400"/>
              <a:gd name="connsiteY1616" fmla="*/ 3167365 h 4503132"/>
              <a:gd name="connsiteX1617" fmla="*/ 236195 w 4493400"/>
              <a:gd name="connsiteY1617" fmla="*/ 3233483 h 4503132"/>
              <a:gd name="connsiteX1618" fmla="*/ 232444 w 4493400"/>
              <a:gd name="connsiteY1618" fmla="*/ 3225687 h 4503132"/>
              <a:gd name="connsiteX1619" fmla="*/ 231723 w 4493400"/>
              <a:gd name="connsiteY1619" fmla="*/ 3224147 h 4503132"/>
              <a:gd name="connsiteX1620" fmla="*/ 231290 w 4493400"/>
              <a:gd name="connsiteY1620" fmla="*/ 3222992 h 4503132"/>
              <a:gd name="connsiteX1621" fmla="*/ 230424 w 4493400"/>
              <a:gd name="connsiteY1621" fmla="*/ 3219672 h 4503132"/>
              <a:gd name="connsiteX1622" fmla="*/ 228645 w 4493400"/>
              <a:gd name="connsiteY1622" fmla="*/ 3212935 h 4503132"/>
              <a:gd name="connsiteX1623" fmla="*/ 213017 w 4493400"/>
              <a:gd name="connsiteY1623" fmla="*/ 3155046 h 4503132"/>
              <a:gd name="connsiteX1624" fmla="*/ 191860 w 4493400"/>
              <a:gd name="connsiteY1624" fmla="*/ 3090806 h 4503132"/>
              <a:gd name="connsiteX1625" fmla="*/ 176087 w 4493400"/>
              <a:gd name="connsiteY1625" fmla="*/ 3057603 h 4503132"/>
              <a:gd name="connsiteX1626" fmla="*/ 165028 w 4493400"/>
              <a:gd name="connsiteY1626" fmla="*/ 3041724 h 4503132"/>
              <a:gd name="connsiteX1627" fmla="*/ 158392 w 4493400"/>
              <a:gd name="connsiteY1627" fmla="*/ 3034457 h 4503132"/>
              <a:gd name="connsiteX1628" fmla="*/ 149929 w 4493400"/>
              <a:gd name="connsiteY1628" fmla="*/ 3027721 h 4503132"/>
              <a:gd name="connsiteX1629" fmla="*/ 149448 w 4493400"/>
              <a:gd name="connsiteY1629" fmla="*/ 3027528 h 4503132"/>
              <a:gd name="connsiteX1630" fmla="*/ 149207 w 4493400"/>
              <a:gd name="connsiteY1630" fmla="*/ 3027095 h 4503132"/>
              <a:gd name="connsiteX1631" fmla="*/ 141850 w 4493400"/>
              <a:gd name="connsiteY1631" fmla="*/ 3006355 h 4503132"/>
              <a:gd name="connsiteX1632" fmla="*/ 137955 w 4493400"/>
              <a:gd name="connsiteY1632" fmla="*/ 2995384 h 4503132"/>
              <a:gd name="connsiteX1633" fmla="*/ 137330 w 4493400"/>
              <a:gd name="connsiteY1633" fmla="*/ 2993507 h 4503132"/>
              <a:gd name="connsiteX1634" fmla="*/ 137042 w 4493400"/>
              <a:gd name="connsiteY1634" fmla="*/ 2992689 h 4503132"/>
              <a:gd name="connsiteX1635" fmla="*/ 136898 w 4493400"/>
              <a:gd name="connsiteY1635" fmla="*/ 2992256 h 4503132"/>
              <a:gd name="connsiteX1636" fmla="*/ 137234 w 4493400"/>
              <a:gd name="connsiteY1636" fmla="*/ 2992016 h 4503132"/>
              <a:gd name="connsiteX1637" fmla="*/ 139061 w 4493400"/>
              <a:gd name="connsiteY1637" fmla="*/ 2992400 h 4503132"/>
              <a:gd name="connsiteX1638" fmla="*/ 140985 w 4493400"/>
              <a:gd name="connsiteY1638" fmla="*/ 2993844 h 4503132"/>
              <a:gd name="connsiteX1639" fmla="*/ 150073 w 4493400"/>
              <a:gd name="connsiteY1639" fmla="*/ 3002554 h 4503132"/>
              <a:gd name="connsiteX1640" fmla="*/ 169115 w 4493400"/>
              <a:gd name="connsiteY1640" fmla="*/ 3021417 h 4503132"/>
              <a:gd name="connsiteX1641" fmla="*/ 182771 w 4493400"/>
              <a:gd name="connsiteY1641" fmla="*/ 3028779 h 4503132"/>
              <a:gd name="connsiteX1642" fmla="*/ 188061 w 4493400"/>
              <a:gd name="connsiteY1642" fmla="*/ 3028106 h 4503132"/>
              <a:gd name="connsiteX1643" fmla="*/ 192292 w 4493400"/>
              <a:gd name="connsiteY1643" fmla="*/ 3024881 h 4503132"/>
              <a:gd name="connsiteX1644" fmla="*/ 195851 w 4493400"/>
              <a:gd name="connsiteY1644" fmla="*/ 3017231 h 4503132"/>
              <a:gd name="connsiteX1645" fmla="*/ 197389 w 4493400"/>
              <a:gd name="connsiteY1645" fmla="*/ 3002698 h 4503132"/>
              <a:gd name="connsiteX1646" fmla="*/ 197486 w 4493400"/>
              <a:gd name="connsiteY1646" fmla="*/ 2995576 h 4503132"/>
              <a:gd name="connsiteX1647" fmla="*/ 197149 w 4493400"/>
              <a:gd name="connsiteY1647" fmla="*/ 2988503 h 4503132"/>
              <a:gd name="connsiteX1648" fmla="*/ 190994 w 4493400"/>
              <a:gd name="connsiteY1648" fmla="*/ 2931529 h 4503132"/>
              <a:gd name="connsiteX1649" fmla="*/ 181858 w 4493400"/>
              <a:gd name="connsiteY1649" fmla="*/ 2873014 h 4503132"/>
              <a:gd name="connsiteX1650" fmla="*/ 161421 w 4493400"/>
              <a:gd name="connsiteY1650" fmla="*/ 2750356 h 4503132"/>
              <a:gd name="connsiteX1651" fmla="*/ 144928 w 4493400"/>
              <a:gd name="connsiteY1651" fmla="*/ 2619614 h 4503132"/>
              <a:gd name="connsiteX1652" fmla="*/ 138100 w 4493400"/>
              <a:gd name="connsiteY1652" fmla="*/ 2546711 h 4503132"/>
              <a:gd name="connsiteX1653" fmla="*/ 166663 w 4493400"/>
              <a:gd name="connsiteY1653" fmla="*/ 2746218 h 4503132"/>
              <a:gd name="connsiteX1654" fmla="*/ 195755 w 4493400"/>
              <a:gd name="connsiteY1654" fmla="*/ 2903330 h 4503132"/>
              <a:gd name="connsiteX1655" fmla="*/ 215566 w 4493400"/>
              <a:gd name="connsiteY1655" fmla="*/ 2990235 h 4503132"/>
              <a:gd name="connsiteX1656" fmla="*/ 228501 w 4493400"/>
              <a:gd name="connsiteY1656" fmla="*/ 3035276 h 4503132"/>
              <a:gd name="connsiteX1657" fmla="*/ 232588 w 4493400"/>
              <a:gd name="connsiteY1657" fmla="*/ 3046632 h 4503132"/>
              <a:gd name="connsiteX1658" fmla="*/ 237830 w 4493400"/>
              <a:gd name="connsiteY1658" fmla="*/ 3058036 h 4503132"/>
              <a:gd name="connsiteX1659" fmla="*/ 252736 w 4493400"/>
              <a:gd name="connsiteY1659" fmla="*/ 3078295 h 4503132"/>
              <a:gd name="connsiteX1660" fmla="*/ 274471 w 4493400"/>
              <a:gd name="connsiteY1660" fmla="*/ 3093597 h 4503132"/>
              <a:gd name="connsiteX1661" fmla="*/ 288993 w 4493400"/>
              <a:gd name="connsiteY1661" fmla="*/ 3094608 h 4503132"/>
              <a:gd name="connsiteX1662" fmla="*/ 302120 w 4493400"/>
              <a:gd name="connsiteY1662" fmla="*/ 3089122 h 4503132"/>
              <a:gd name="connsiteX1663" fmla="*/ 320922 w 4493400"/>
              <a:gd name="connsiteY1663" fmla="*/ 3070500 h 4503132"/>
              <a:gd name="connsiteX1664" fmla="*/ 335636 w 4493400"/>
              <a:gd name="connsiteY1664" fmla="*/ 3049712 h 4503132"/>
              <a:gd name="connsiteX1665" fmla="*/ 342897 w 4493400"/>
              <a:gd name="connsiteY1665" fmla="*/ 3039703 h 4503132"/>
              <a:gd name="connsiteX1666" fmla="*/ 350639 w 4493400"/>
              <a:gd name="connsiteY1666" fmla="*/ 3031763 h 4503132"/>
              <a:gd name="connsiteX1667" fmla="*/ 352370 w 4493400"/>
              <a:gd name="connsiteY1667" fmla="*/ 3030848 h 4503132"/>
              <a:gd name="connsiteX1668" fmla="*/ 354582 w 4493400"/>
              <a:gd name="connsiteY1668" fmla="*/ 3030319 h 4503132"/>
              <a:gd name="connsiteX1669" fmla="*/ 360208 w 4493400"/>
              <a:gd name="connsiteY1669" fmla="*/ 3029742 h 4503132"/>
              <a:gd name="connsiteX1670" fmla="*/ 372326 w 4493400"/>
              <a:gd name="connsiteY1670" fmla="*/ 3030367 h 4503132"/>
              <a:gd name="connsiteX1671" fmla="*/ 423056 w 4493400"/>
              <a:gd name="connsiteY1671" fmla="*/ 3040039 h 4503132"/>
              <a:gd name="connsiteX1672" fmla="*/ 477201 w 4493400"/>
              <a:gd name="connsiteY1672" fmla="*/ 3045477 h 4503132"/>
              <a:gd name="connsiteX1673" fmla="*/ 504946 w 4493400"/>
              <a:gd name="connsiteY1673" fmla="*/ 3034746 h 4503132"/>
              <a:gd name="connsiteX1674" fmla="*/ 513890 w 4493400"/>
              <a:gd name="connsiteY1674" fmla="*/ 3021850 h 4503132"/>
              <a:gd name="connsiteX1675" fmla="*/ 516198 w 4493400"/>
              <a:gd name="connsiteY1675" fmla="*/ 3014536 h 4503132"/>
              <a:gd name="connsiteX1676" fmla="*/ 517353 w 4493400"/>
              <a:gd name="connsiteY1676" fmla="*/ 3007173 h 4503132"/>
              <a:gd name="connsiteX1677" fmla="*/ 517689 w 4493400"/>
              <a:gd name="connsiteY1677" fmla="*/ 2999859 h 4503132"/>
              <a:gd name="connsiteX1678" fmla="*/ 517353 w 4493400"/>
              <a:gd name="connsiteY1678" fmla="*/ 2992834 h 4503132"/>
              <a:gd name="connsiteX1679" fmla="*/ 516391 w 4493400"/>
              <a:gd name="connsiteY1679" fmla="*/ 2978783 h 4503132"/>
              <a:gd name="connsiteX1680" fmla="*/ 511438 w 4493400"/>
              <a:gd name="connsiteY1680" fmla="*/ 2951161 h 4503132"/>
              <a:gd name="connsiteX1681" fmla="*/ 494800 w 4493400"/>
              <a:gd name="connsiteY1681" fmla="*/ 2897459 h 4503132"/>
              <a:gd name="connsiteX1682" fmla="*/ 445608 w 4493400"/>
              <a:gd name="connsiteY1682" fmla="*/ 2792028 h 4503132"/>
              <a:gd name="connsiteX1683" fmla="*/ 394012 w 4493400"/>
              <a:gd name="connsiteY1683" fmla="*/ 2692708 h 4503132"/>
              <a:gd name="connsiteX1684" fmla="*/ 323230 w 4493400"/>
              <a:gd name="connsiteY1684" fmla="*/ 2494790 h 4503132"/>
              <a:gd name="connsiteX1685" fmla="*/ 302505 w 4493400"/>
              <a:gd name="connsiteY1685" fmla="*/ 2399704 h 4503132"/>
              <a:gd name="connsiteX1686" fmla="*/ 299091 w 4493400"/>
              <a:gd name="connsiteY1686" fmla="*/ 2376607 h 4503132"/>
              <a:gd name="connsiteX1687" fmla="*/ 297456 w 4493400"/>
              <a:gd name="connsiteY1687" fmla="*/ 2353990 h 4503132"/>
              <a:gd name="connsiteX1688" fmla="*/ 297456 w 4493400"/>
              <a:gd name="connsiteY1688" fmla="*/ 2309094 h 4503132"/>
              <a:gd name="connsiteX1689" fmla="*/ 297360 w 4493400"/>
              <a:gd name="connsiteY1689" fmla="*/ 2265545 h 4503132"/>
              <a:gd name="connsiteX1690" fmla="*/ 293465 w 4493400"/>
              <a:gd name="connsiteY1690" fmla="*/ 2223440 h 4503132"/>
              <a:gd name="connsiteX1691" fmla="*/ 287406 w 4493400"/>
              <a:gd name="connsiteY1691" fmla="*/ 2203278 h 4503132"/>
              <a:gd name="connsiteX1692" fmla="*/ 281155 w 4493400"/>
              <a:gd name="connsiteY1692" fmla="*/ 2193991 h 4503132"/>
              <a:gd name="connsiteX1693" fmla="*/ 276491 w 4493400"/>
              <a:gd name="connsiteY1693" fmla="*/ 2190334 h 4503132"/>
              <a:gd name="connsiteX1694" fmla="*/ 270768 w 4493400"/>
              <a:gd name="connsiteY1694" fmla="*/ 2188313 h 4503132"/>
              <a:gd name="connsiteX1695" fmla="*/ 249995 w 4493400"/>
              <a:gd name="connsiteY1695" fmla="*/ 2193173 h 4503132"/>
              <a:gd name="connsiteX1696" fmla="*/ 241725 w 4493400"/>
              <a:gd name="connsiteY1696" fmla="*/ 2198273 h 4503132"/>
              <a:gd name="connsiteX1697" fmla="*/ 237926 w 4493400"/>
              <a:gd name="connsiteY1697" fmla="*/ 2200728 h 4503132"/>
              <a:gd name="connsiteX1698" fmla="*/ 235329 w 4493400"/>
              <a:gd name="connsiteY1698" fmla="*/ 2202027 h 4503132"/>
              <a:gd name="connsiteX1699" fmla="*/ 173058 w 4493400"/>
              <a:gd name="connsiteY1699" fmla="*/ 2218147 h 4503132"/>
              <a:gd name="connsiteX1700" fmla="*/ 152333 w 4493400"/>
              <a:gd name="connsiteY1700" fmla="*/ 2240138 h 4503132"/>
              <a:gd name="connsiteX1701" fmla="*/ 140744 w 4493400"/>
              <a:gd name="connsiteY1701" fmla="*/ 2265642 h 4503132"/>
              <a:gd name="connsiteX1702" fmla="*/ 130983 w 4493400"/>
              <a:gd name="connsiteY1702" fmla="*/ 2314243 h 4503132"/>
              <a:gd name="connsiteX1703" fmla="*/ 130117 w 4493400"/>
              <a:gd name="connsiteY1703" fmla="*/ 2323241 h 4503132"/>
              <a:gd name="connsiteX1704" fmla="*/ 134349 w 4493400"/>
              <a:gd name="connsiteY1704" fmla="*/ 2263139 h 4503132"/>
              <a:gd name="connsiteX1705" fmla="*/ 140215 w 4493400"/>
              <a:gd name="connsiteY1705" fmla="*/ 2226424 h 4503132"/>
              <a:gd name="connsiteX1706" fmla="*/ 150987 w 4493400"/>
              <a:gd name="connsiteY1706" fmla="*/ 2191200 h 4503132"/>
              <a:gd name="connsiteX1707" fmla="*/ 159979 w 4493400"/>
              <a:gd name="connsiteY1707" fmla="*/ 2176234 h 4503132"/>
              <a:gd name="connsiteX1708" fmla="*/ 173491 w 4493400"/>
              <a:gd name="connsiteY1708" fmla="*/ 2165215 h 4503132"/>
              <a:gd name="connsiteX1709" fmla="*/ 207872 w 4493400"/>
              <a:gd name="connsiteY1709" fmla="*/ 2148710 h 4503132"/>
              <a:gd name="connsiteX1710" fmla="*/ 240811 w 4493400"/>
              <a:gd name="connsiteY1710" fmla="*/ 2125419 h 4503132"/>
              <a:gd name="connsiteX1711" fmla="*/ 266056 w 4493400"/>
              <a:gd name="connsiteY1711" fmla="*/ 2094959 h 4503132"/>
              <a:gd name="connsiteX1712" fmla="*/ 293176 w 4493400"/>
              <a:gd name="connsiteY1712" fmla="*/ 2070659 h 4503132"/>
              <a:gd name="connsiteX1713" fmla="*/ 297216 w 4493400"/>
              <a:gd name="connsiteY1713" fmla="*/ 2068638 h 4503132"/>
              <a:gd name="connsiteX1714" fmla="*/ 301640 w 4493400"/>
              <a:gd name="connsiteY1714" fmla="*/ 2066520 h 4503132"/>
              <a:gd name="connsiteX1715" fmla="*/ 310247 w 4493400"/>
              <a:gd name="connsiteY1715" fmla="*/ 2061901 h 4503132"/>
              <a:gd name="connsiteX1716" fmla="*/ 326548 w 4493400"/>
              <a:gd name="connsiteY1716" fmla="*/ 2055501 h 4503132"/>
              <a:gd name="connsiteX1717" fmla="*/ 339916 w 4493400"/>
              <a:gd name="connsiteY1717" fmla="*/ 2058484 h 4503132"/>
              <a:gd name="connsiteX1718" fmla="*/ 347225 w 4493400"/>
              <a:gd name="connsiteY1718" fmla="*/ 2072391 h 4503132"/>
              <a:gd name="connsiteX1719" fmla="*/ 348667 w 4493400"/>
              <a:gd name="connsiteY1719" fmla="*/ 2108529 h 4503132"/>
              <a:gd name="connsiteX1720" fmla="*/ 337127 w 4493400"/>
              <a:gd name="connsiteY1720" fmla="*/ 2181961 h 4503132"/>
              <a:gd name="connsiteX1721" fmla="*/ 319624 w 4493400"/>
              <a:gd name="connsiteY1721" fmla="*/ 2253515 h 4503132"/>
              <a:gd name="connsiteX1722" fmla="*/ 314815 w 4493400"/>
              <a:gd name="connsiteY1722" fmla="*/ 2271127 h 4503132"/>
              <a:gd name="connsiteX1723" fmla="*/ 312363 w 4493400"/>
              <a:gd name="connsiteY1723" fmla="*/ 2279933 h 4503132"/>
              <a:gd name="connsiteX1724" fmla="*/ 311209 w 4493400"/>
              <a:gd name="connsiteY1724" fmla="*/ 2285419 h 4503132"/>
              <a:gd name="connsiteX1725" fmla="*/ 311016 w 4493400"/>
              <a:gd name="connsiteY1725" fmla="*/ 2289991 h 4503132"/>
              <a:gd name="connsiteX1726" fmla="*/ 310295 w 4493400"/>
              <a:gd name="connsiteY1726" fmla="*/ 2308228 h 4503132"/>
              <a:gd name="connsiteX1727" fmla="*/ 309958 w 4493400"/>
              <a:gd name="connsiteY1727" fmla="*/ 2317323 h 4503132"/>
              <a:gd name="connsiteX1728" fmla="*/ 309958 w 4493400"/>
              <a:gd name="connsiteY1728" fmla="*/ 2326417 h 4503132"/>
              <a:gd name="connsiteX1729" fmla="*/ 310776 w 4493400"/>
              <a:gd name="connsiteY1729" fmla="*/ 2362459 h 4503132"/>
              <a:gd name="connsiteX1730" fmla="*/ 311689 w 4493400"/>
              <a:gd name="connsiteY1730" fmla="*/ 2380360 h 4503132"/>
              <a:gd name="connsiteX1731" fmla="*/ 313372 w 4493400"/>
              <a:gd name="connsiteY1731" fmla="*/ 2398116 h 4503132"/>
              <a:gd name="connsiteX1732" fmla="*/ 317748 w 4493400"/>
              <a:gd name="connsiteY1732" fmla="*/ 2433196 h 4503132"/>
              <a:gd name="connsiteX1733" fmla="*/ 323903 w 4493400"/>
              <a:gd name="connsiteY1733" fmla="*/ 2467602 h 4503132"/>
              <a:gd name="connsiteX1734" fmla="*/ 331789 w 4493400"/>
              <a:gd name="connsiteY1734" fmla="*/ 2501238 h 4503132"/>
              <a:gd name="connsiteX1735" fmla="*/ 336165 w 4493400"/>
              <a:gd name="connsiteY1735" fmla="*/ 2517791 h 4503132"/>
              <a:gd name="connsiteX1736" fmla="*/ 341070 w 4493400"/>
              <a:gd name="connsiteY1736" fmla="*/ 2534056 h 4503132"/>
              <a:gd name="connsiteX1737" fmla="*/ 388194 w 4493400"/>
              <a:gd name="connsiteY1737" fmla="*/ 2657051 h 4503132"/>
              <a:gd name="connsiteX1738" fmla="*/ 440511 w 4493400"/>
              <a:gd name="connsiteY1738" fmla="*/ 2769364 h 4503132"/>
              <a:gd name="connsiteX1739" fmla="*/ 488934 w 4493400"/>
              <a:gd name="connsiteY1739" fmla="*/ 2874121 h 4503132"/>
              <a:gd name="connsiteX1740" fmla="*/ 523796 w 4493400"/>
              <a:gd name="connsiteY1740" fmla="*/ 2973922 h 4503132"/>
              <a:gd name="connsiteX1741" fmla="*/ 528028 w 4493400"/>
              <a:gd name="connsiteY1741" fmla="*/ 3022043 h 4503132"/>
              <a:gd name="connsiteX1742" fmla="*/ 527066 w 4493400"/>
              <a:gd name="connsiteY1742" fmla="*/ 3027721 h 4503132"/>
              <a:gd name="connsiteX1743" fmla="*/ 525768 w 4493400"/>
              <a:gd name="connsiteY1743" fmla="*/ 3033254 h 4503132"/>
              <a:gd name="connsiteX1744" fmla="*/ 524036 w 4493400"/>
              <a:gd name="connsiteY1744" fmla="*/ 3038596 h 4503132"/>
              <a:gd name="connsiteX1745" fmla="*/ 521536 w 4493400"/>
              <a:gd name="connsiteY1745" fmla="*/ 3043504 h 4503132"/>
              <a:gd name="connsiteX1746" fmla="*/ 506822 w 4493400"/>
              <a:gd name="connsiteY1746" fmla="*/ 3058710 h 4503132"/>
              <a:gd name="connsiteX1747" fmla="*/ 465660 w 4493400"/>
              <a:gd name="connsiteY1747" fmla="*/ 3067564 h 4503132"/>
              <a:gd name="connsiteX1748" fmla="*/ 423729 w 4493400"/>
              <a:gd name="connsiteY1748" fmla="*/ 3067372 h 4503132"/>
              <a:gd name="connsiteX1749" fmla="*/ 384443 w 4493400"/>
              <a:gd name="connsiteY1749" fmla="*/ 3071703 h 4503132"/>
              <a:gd name="connsiteX1750" fmla="*/ 350591 w 4493400"/>
              <a:gd name="connsiteY1750" fmla="*/ 3086427 h 4503132"/>
              <a:gd name="connsiteX1751" fmla="*/ 328039 w 4493400"/>
              <a:gd name="connsiteY1751" fmla="*/ 3111642 h 4503132"/>
              <a:gd name="connsiteX1752" fmla="*/ 320441 w 4493400"/>
              <a:gd name="connsiteY1752" fmla="*/ 3125308 h 4503132"/>
              <a:gd name="connsiteX1753" fmla="*/ 315152 w 4493400"/>
              <a:gd name="connsiteY1753" fmla="*/ 3139311 h 4503132"/>
              <a:gd name="connsiteX1754" fmla="*/ 307795 w 4493400"/>
              <a:gd name="connsiteY1754" fmla="*/ 3165007 h 4503132"/>
              <a:gd name="connsiteX1755" fmla="*/ 301928 w 4493400"/>
              <a:gd name="connsiteY1755" fmla="*/ 3174631 h 4503132"/>
              <a:gd name="connsiteX1756" fmla="*/ 292599 w 4493400"/>
              <a:gd name="connsiteY1756" fmla="*/ 3177615 h 4503132"/>
              <a:gd name="connsiteX1757" fmla="*/ 275385 w 4493400"/>
              <a:gd name="connsiteY1757" fmla="*/ 3169531 h 4503132"/>
              <a:gd name="connsiteX1758" fmla="*/ 262546 w 4493400"/>
              <a:gd name="connsiteY1758" fmla="*/ 3158896 h 4503132"/>
              <a:gd name="connsiteX1759" fmla="*/ 245187 w 4493400"/>
              <a:gd name="connsiteY1759" fmla="*/ 3144172 h 4503132"/>
              <a:gd name="connsiteX1760" fmla="*/ 238359 w 4493400"/>
              <a:gd name="connsiteY1760" fmla="*/ 3140418 h 4503132"/>
              <a:gd name="connsiteX1761" fmla="*/ 244514 w 4493400"/>
              <a:gd name="connsiteY1761" fmla="*/ 3145038 h 4503132"/>
              <a:gd name="connsiteX1762" fmla="*/ 261151 w 4493400"/>
              <a:gd name="connsiteY1762" fmla="*/ 3160532 h 4503132"/>
              <a:gd name="connsiteX1763" fmla="*/ 273798 w 4493400"/>
              <a:gd name="connsiteY1763" fmla="*/ 3171696 h 4503132"/>
              <a:gd name="connsiteX1764" fmla="*/ 281876 w 4493400"/>
              <a:gd name="connsiteY1764" fmla="*/ 3177422 h 4503132"/>
              <a:gd name="connsiteX1765" fmla="*/ 286877 w 4493400"/>
              <a:gd name="connsiteY1765" fmla="*/ 3179732 h 4503132"/>
              <a:gd name="connsiteX1766" fmla="*/ 292455 w 4493400"/>
              <a:gd name="connsiteY1766" fmla="*/ 3180887 h 4503132"/>
              <a:gd name="connsiteX1767" fmla="*/ 304236 w 4493400"/>
              <a:gd name="connsiteY1767" fmla="*/ 3177326 h 4503132"/>
              <a:gd name="connsiteX1768" fmla="*/ 311257 w 4493400"/>
              <a:gd name="connsiteY1768" fmla="*/ 3166499 h 4503132"/>
              <a:gd name="connsiteX1769" fmla="*/ 319191 w 4493400"/>
              <a:gd name="connsiteY1769" fmla="*/ 3140707 h 4503132"/>
              <a:gd name="connsiteX1770" fmla="*/ 324432 w 4493400"/>
              <a:gd name="connsiteY1770" fmla="*/ 3127425 h 4503132"/>
              <a:gd name="connsiteX1771" fmla="*/ 332030 w 4493400"/>
              <a:gd name="connsiteY1771" fmla="*/ 3114289 h 4503132"/>
              <a:gd name="connsiteX1772" fmla="*/ 353668 w 4493400"/>
              <a:gd name="connsiteY1772" fmla="*/ 3090710 h 4503132"/>
              <a:gd name="connsiteX1773" fmla="*/ 385742 w 4493400"/>
              <a:gd name="connsiteY1773" fmla="*/ 3077284 h 4503132"/>
              <a:gd name="connsiteX1774" fmla="*/ 423970 w 4493400"/>
              <a:gd name="connsiteY1774" fmla="*/ 3073483 h 4503132"/>
              <a:gd name="connsiteX1775" fmla="*/ 465660 w 4493400"/>
              <a:gd name="connsiteY1775" fmla="*/ 3074109 h 4503132"/>
              <a:gd name="connsiteX1776" fmla="*/ 510428 w 4493400"/>
              <a:gd name="connsiteY1776" fmla="*/ 3064677 h 4503132"/>
              <a:gd name="connsiteX1777" fmla="*/ 527739 w 4493400"/>
              <a:gd name="connsiteY1777" fmla="*/ 3047065 h 4503132"/>
              <a:gd name="connsiteX1778" fmla="*/ 530624 w 4493400"/>
              <a:gd name="connsiteY1778" fmla="*/ 3041435 h 4503132"/>
              <a:gd name="connsiteX1779" fmla="*/ 532596 w 4493400"/>
              <a:gd name="connsiteY1779" fmla="*/ 3035420 h 4503132"/>
              <a:gd name="connsiteX1780" fmla="*/ 534086 w 4493400"/>
              <a:gd name="connsiteY1780" fmla="*/ 3029309 h 4503132"/>
              <a:gd name="connsiteX1781" fmla="*/ 535192 w 4493400"/>
              <a:gd name="connsiteY1781" fmla="*/ 3023101 h 4503132"/>
              <a:gd name="connsiteX1782" fmla="*/ 531201 w 4493400"/>
              <a:gd name="connsiteY1782" fmla="*/ 2972575 h 4503132"/>
              <a:gd name="connsiteX1783" fmla="*/ 496579 w 4493400"/>
              <a:gd name="connsiteY1783" fmla="*/ 2871137 h 4503132"/>
              <a:gd name="connsiteX1784" fmla="*/ 448590 w 4493400"/>
              <a:gd name="connsiteY1784" fmla="*/ 2765851 h 4503132"/>
              <a:gd name="connsiteX1785" fmla="*/ 396849 w 4493400"/>
              <a:gd name="connsiteY1785" fmla="*/ 2653538 h 4503132"/>
              <a:gd name="connsiteX1786" fmla="*/ 350543 w 4493400"/>
              <a:gd name="connsiteY1786" fmla="*/ 2531457 h 4503132"/>
              <a:gd name="connsiteX1787" fmla="*/ 345734 w 4493400"/>
              <a:gd name="connsiteY1787" fmla="*/ 2515385 h 4503132"/>
              <a:gd name="connsiteX1788" fmla="*/ 341455 w 4493400"/>
              <a:gd name="connsiteY1788" fmla="*/ 2499073 h 4503132"/>
              <a:gd name="connsiteX1789" fmla="*/ 333761 w 4493400"/>
              <a:gd name="connsiteY1789" fmla="*/ 2465918 h 4503132"/>
              <a:gd name="connsiteX1790" fmla="*/ 327798 w 4493400"/>
              <a:gd name="connsiteY1790" fmla="*/ 2431993 h 4503132"/>
              <a:gd name="connsiteX1791" fmla="*/ 323567 w 4493400"/>
              <a:gd name="connsiteY1791" fmla="*/ 2397443 h 4503132"/>
              <a:gd name="connsiteX1792" fmla="*/ 321980 w 4493400"/>
              <a:gd name="connsiteY1792" fmla="*/ 2379975 h 4503132"/>
              <a:gd name="connsiteX1793" fmla="*/ 321114 w 4493400"/>
              <a:gd name="connsiteY1793" fmla="*/ 2362363 h 4503132"/>
              <a:gd name="connsiteX1794" fmla="*/ 320441 w 4493400"/>
              <a:gd name="connsiteY1794" fmla="*/ 2326850 h 4503132"/>
              <a:gd name="connsiteX1795" fmla="*/ 320441 w 4493400"/>
              <a:gd name="connsiteY1795" fmla="*/ 2317900 h 4503132"/>
              <a:gd name="connsiteX1796" fmla="*/ 320778 w 4493400"/>
              <a:gd name="connsiteY1796" fmla="*/ 2308950 h 4503132"/>
              <a:gd name="connsiteX1797" fmla="*/ 321499 w 4493400"/>
              <a:gd name="connsiteY1797" fmla="*/ 2290953 h 4503132"/>
              <a:gd name="connsiteX1798" fmla="*/ 321691 w 4493400"/>
              <a:gd name="connsiteY1798" fmla="*/ 2286430 h 4503132"/>
              <a:gd name="connsiteX1799" fmla="*/ 322509 w 4493400"/>
              <a:gd name="connsiteY1799" fmla="*/ 2283061 h 4503132"/>
              <a:gd name="connsiteX1800" fmla="*/ 324961 w 4493400"/>
              <a:gd name="connsiteY1800" fmla="*/ 2274303 h 4503132"/>
              <a:gd name="connsiteX1801" fmla="*/ 329818 w 4493400"/>
              <a:gd name="connsiteY1801" fmla="*/ 2256643 h 4503132"/>
              <a:gd name="connsiteX1802" fmla="*/ 347561 w 4493400"/>
              <a:gd name="connsiteY1802" fmla="*/ 2184607 h 4503132"/>
              <a:gd name="connsiteX1803" fmla="*/ 359391 w 4493400"/>
              <a:gd name="connsiteY1803" fmla="*/ 2109732 h 4503132"/>
              <a:gd name="connsiteX1804" fmla="*/ 357659 w 4493400"/>
              <a:gd name="connsiteY1804" fmla="*/ 2070226 h 4503132"/>
              <a:gd name="connsiteX1805" fmla="*/ 347129 w 4493400"/>
              <a:gd name="connsiteY1805" fmla="*/ 2050978 h 4503132"/>
              <a:gd name="connsiteX1806" fmla="*/ 342128 w 4493400"/>
              <a:gd name="connsiteY1806" fmla="*/ 2047417 h 4503132"/>
              <a:gd name="connsiteX1807" fmla="*/ 336309 w 4493400"/>
              <a:gd name="connsiteY1807" fmla="*/ 2045347 h 4503132"/>
              <a:gd name="connsiteX1808" fmla="*/ 330395 w 4493400"/>
              <a:gd name="connsiteY1808" fmla="*/ 2044818 h 4503132"/>
              <a:gd name="connsiteX1809" fmla="*/ 327510 w 4493400"/>
              <a:gd name="connsiteY1809" fmla="*/ 2044914 h 4503132"/>
              <a:gd name="connsiteX1810" fmla="*/ 324769 w 4493400"/>
              <a:gd name="connsiteY1810" fmla="*/ 2045396 h 4503132"/>
              <a:gd name="connsiteX1811" fmla="*/ 305390 w 4493400"/>
              <a:gd name="connsiteY1811" fmla="*/ 2052854 h 4503132"/>
              <a:gd name="connsiteX1812" fmla="*/ 297023 w 4493400"/>
              <a:gd name="connsiteY1812" fmla="*/ 2057329 h 4503132"/>
              <a:gd name="connsiteX1813" fmla="*/ 292744 w 4493400"/>
              <a:gd name="connsiteY1813" fmla="*/ 2059399 h 4503132"/>
              <a:gd name="connsiteX1814" fmla="*/ 288175 w 4493400"/>
              <a:gd name="connsiteY1814" fmla="*/ 2061708 h 4503132"/>
              <a:gd name="connsiteX1815" fmla="*/ 257881 w 4493400"/>
              <a:gd name="connsiteY1815" fmla="*/ 2088656 h 4503132"/>
              <a:gd name="connsiteX1816" fmla="*/ 233406 w 4493400"/>
              <a:gd name="connsiteY1816" fmla="*/ 2118298 h 4503132"/>
              <a:gd name="connsiteX1817" fmla="*/ 203256 w 4493400"/>
              <a:gd name="connsiteY1817" fmla="*/ 2139567 h 4503132"/>
              <a:gd name="connsiteX1818" fmla="*/ 168201 w 4493400"/>
              <a:gd name="connsiteY1818" fmla="*/ 2156457 h 4503132"/>
              <a:gd name="connsiteX1819" fmla="*/ 152141 w 4493400"/>
              <a:gd name="connsiteY1819" fmla="*/ 2169642 h 4503132"/>
              <a:gd name="connsiteX1820" fmla="*/ 148823 w 4493400"/>
              <a:gd name="connsiteY1820" fmla="*/ 2173780 h 4503132"/>
              <a:gd name="connsiteX1821" fmla="*/ 146034 w 4493400"/>
              <a:gd name="connsiteY1821" fmla="*/ 2178207 h 4503132"/>
              <a:gd name="connsiteX1822" fmla="*/ 141466 w 4493400"/>
              <a:gd name="connsiteY1822" fmla="*/ 2187254 h 4503132"/>
              <a:gd name="connsiteX1823" fmla="*/ 130069 w 4493400"/>
              <a:gd name="connsiteY1823" fmla="*/ 2224595 h 4503132"/>
              <a:gd name="connsiteX1824" fmla="*/ 124059 w 4493400"/>
              <a:gd name="connsiteY1824" fmla="*/ 2262321 h 4503132"/>
              <a:gd name="connsiteX1825" fmla="*/ 122279 w 4493400"/>
              <a:gd name="connsiteY1825" fmla="*/ 2280174 h 4503132"/>
              <a:gd name="connsiteX1826" fmla="*/ 122376 w 4493400"/>
              <a:gd name="connsiteY1826" fmla="*/ 2278297 h 4503132"/>
              <a:gd name="connsiteX1827" fmla="*/ 150554 w 4493400"/>
              <a:gd name="connsiteY1827" fmla="*/ 2147362 h 4503132"/>
              <a:gd name="connsiteX1828" fmla="*/ 167769 w 4493400"/>
              <a:gd name="connsiteY1828" fmla="*/ 2119645 h 4503132"/>
              <a:gd name="connsiteX1829" fmla="*/ 191283 w 4493400"/>
              <a:gd name="connsiteY1829" fmla="*/ 2096788 h 4503132"/>
              <a:gd name="connsiteX1830" fmla="*/ 217826 w 4493400"/>
              <a:gd name="connsiteY1830" fmla="*/ 2075759 h 4503132"/>
              <a:gd name="connsiteX1831" fmla="*/ 243311 w 4493400"/>
              <a:gd name="connsiteY1831" fmla="*/ 2053143 h 4503132"/>
              <a:gd name="connsiteX1832" fmla="*/ 295965 w 4493400"/>
              <a:gd name="connsiteY1832" fmla="*/ 2012818 h 4503132"/>
              <a:gd name="connsiteX1833" fmla="*/ 324769 w 4493400"/>
              <a:gd name="connsiteY1833" fmla="*/ 1997420 h 4503132"/>
              <a:gd name="connsiteX1834" fmla="*/ 354967 w 4493400"/>
              <a:gd name="connsiteY1834" fmla="*/ 1990106 h 4503132"/>
              <a:gd name="connsiteX1835" fmla="*/ 368671 w 4493400"/>
              <a:gd name="connsiteY1835" fmla="*/ 1993233 h 4503132"/>
              <a:gd name="connsiteX1836" fmla="*/ 378673 w 4493400"/>
              <a:gd name="connsiteY1836" fmla="*/ 2002713 h 4503132"/>
              <a:gd name="connsiteX1837" fmla="*/ 386800 w 4493400"/>
              <a:gd name="connsiteY1837" fmla="*/ 2032259 h 4503132"/>
              <a:gd name="connsiteX1838" fmla="*/ 384059 w 4493400"/>
              <a:gd name="connsiteY1838" fmla="*/ 2097077 h 4503132"/>
              <a:gd name="connsiteX1839" fmla="*/ 352322 w 4493400"/>
              <a:gd name="connsiteY1839" fmla="*/ 2224499 h 4503132"/>
              <a:gd name="connsiteX1840" fmla="*/ 335396 w 4493400"/>
              <a:gd name="connsiteY1840" fmla="*/ 2288114 h 4503132"/>
              <a:gd name="connsiteX1841" fmla="*/ 327173 w 4493400"/>
              <a:gd name="connsiteY1841" fmla="*/ 2353798 h 4503132"/>
              <a:gd name="connsiteX1842" fmla="*/ 341887 w 4493400"/>
              <a:gd name="connsiteY1842" fmla="*/ 2483145 h 4503132"/>
              <a:gd name="connsiteX1843" fmla="*/ 379875 w 4493400"/>
              <a:gd name="connsiteY1843" fmla="*/ 2605947 h 4503132"/>
              <a:gd name="connsiteX1844" fmla="*/ 431327 w 4493400"/>
              <a:gd name="connsiteY1844" fmla="*/ 2721724 h 4503132"/>
              <a:gd name="connsiteX1845" fmla="*/ 458592 w 4493400"/>
              <a:gd name="connsiteY1845" fmla="*/ 2778073 h 4503132"/>
              <a:gd name="connsiteX1846" fmla="*/ 486770 w 4493400"/>
              <a:gd name="connsiteY1846" fmla="*/ 2833700 h 4503132"/>
              <a:gd name="connsiteX1847" fmla="*/ 538077 w 4493400"/>
              <a:gd name="connsiteY1847" fmla="*/ 2944809 h 4503132"/>
              <a:gd name="connsiteX1848" fmla="*/ 554282 w 4493400"/>
              <a:gd name="connsiteY1848" fmla="*/ 3002650 h 4503132"/>
              <a:gd name="connsiteX1849" fmla="*/ 556783 w 4493400"/>
              <a:gd name="connsiteY1849" fmla="*/ 3017375 h 4503132"/>
              <a:gd name="connsiteX1850" fmla="*/ 558322 w 4493400"/>
              <a:gd name="connsiteY1850" fmla="*/ 3032148 h 4503132"/>
              <a:gd name="connsiteX1851" fmla="*/ 558995 w 4493400"/>
              <a:gd name="connsiteY1851" fmla="*/ 3046921 h 4503132"/>
              <a:gd name="connsiteX1852" fmla="*/ 559139 w 4493400"/>
              <a:gd name="connsiteY1852" fmla="*/ 3054283 h 4503132"/>
              <a:gd name="connsiteX1853" fmla="*/ 558658 w 4493400"/>
              <a:gd name="connsiteY1853" fmla="*/ 3061308 h 4503132"/>
              <a:gd name="connsiteX1854" fmla="*/ 548079 w 4493400"/>
              <a:gd name="connsiteY1854" fmla="*/ 3085417 h 4503132"/>
              <a:gd name="connsiteX1855" fmla="*/ 524181 w 4493400"/>
              <a:gd name="connsiteY1855" fmla="*/ 3097302 h 4503132"/>
              <a:gd name="connsiteX1856" fmla="*/ 466574 w 4493400"/>
              <a:gd name="connsiteY1856" fmla="*/ 3096869 h 4503132"/>
              <a:gd name="connsiteX1857" fmla="*/ 437386 w 4493400"/>
              <a:gd name="connsiteY1857" fmla="*/ 3092490 h 4503132"/>
              <a:gd name="connsiteX1858" fmla="*/ 407188 w 4493400"/>
              <a:gd name="connsiteY1858" fmla="*/ 3089411 h 4503132"/>
              <a:gd name="connsiteX1859" fmla="*/ 377615 w 4493400"/>
              <a:gd name="connsiteY1859" fmla="*/ 3101152 h 4503132"/>
              <a:gd name="connsiteX1860" fmla="*/ 355976 w 4493400"/>
              <a:gd name="connsiteY1860" fmla="*/ 3122662 h 4503132"/>
              <a:gd name="connsiteX1861" fmla="*/ 340156 w 4493400"/>
              <a:gd name="connsiteY1861" fmla="*/ 3148358 h 4503132"/>
              <a:gd name="connsiteX1862" fmla="*/ 334626 w 4493400"/>
              <a:gd name="connsiteY1862" fmla="*/ 3162505 h 4503132"/>
              <a:gd name="connsiteX1863" fmla="*/ 330443 w 4493400"/>
              <a:gd name="connsiteY1863" fmla="*/ 3176604 h 4503132"/>
              <a:gd name="connsiteX1864" fmla="*/ 325057 w 4493400"/>
              <a:gd name="connsiteY1864" fmla="*/ 3235455 h 4503132"/>
              <a:gd name="connsiteX1865" fmla="*/ 338473 w 4493400"/>
              <a:gd name="connsiteY1865" fmla="*/ 3292285 h 4503132"/>
              <a:gd name="connsiteX1866" fmla="*/ 362516 w 4493400"/>
              <a:gd name="connsiteY1866" fmla="*/ 3344255 h 4503132"/>
              <a:gd name="connsiteX1867" fmla="*/ 422143 w 4493400"/>
              <a:gd name="connsiteY1867" fmla="*/ 3439677 h 4503132"/>
              <a:gd name="connsiteX1868" fmla="*/ 457678 w 4493400"/>
              <a:gd name="connsiteY1868" fmla="*/ 3482649 h 4503132"/>
              <a:gd name="connsiteX1869" fmla="*/ 467824 w 4493400"/>
              <a:gd name="connsiteY1869" fmla="*/ 3492321 h 4503132"/>
              <a:gd name="connsiteX1870" fmla="*/ 478595 w 4493400"/>
              <a:gd name="connsiteY1870" fmla="*/ 3501271 h 4503132"/>
              <a:gd name="connsiteX1871" fmla="*/ 501869 w 4493400"/>
              <a:gd name="connsiteY1871" fmla="*/ 3516525 h 4503132"/>
              <a:gd name="connsiteX1872" fmla="*/ 551445 w 4493400"/>
              <a:gd name="connsiteY1872" fmla="*/ 3539575 h 4503132"/>
              <a:gd name="connsiteX1873" fmla="*/ 600637 w 4493400"/>
              <a:gd name="connsiteY1873" fmla="*/ 3560074 h 4503132"/>
              <a:gd name="connsiteX1874" fmla="*/ 645405 w 4493400"/>
              <a:gd name="connsiteY1874" fmla="*/ 3586588 h 4503132"/>
              <a:gd name="connsiteX1875" fmla="*/ 655359 w 4493400"/>
              <a:gd name="connsiteY1875" fmla="*/ 3594768 h 4503132"/>
              <a:gd name="connsiteX1876" fmla="*/ 660312 w 4493400"/>
              <a:gd name="connsiteY1876" fmla="*/ 3598859 h 4503132"/>
              <a:gd name="connsiteX1877" fmla="*/ 664880 w 4493400"/>
              <a:gd name="connsiteY1877" fmla="*/ 3603382 h 4503132"/>
              <a:gd name="connsiteX1878" fmla="*/ 673968 w 4493400"/>
              <a:gd name="connsiteY1878" fmla="*/ 3612477 h 4503132"/>
              <a:gd name="connsiteX1879" fmla="*/ 682239 w 4493400"/>
              <a:gd name="connsiteY1879" fmla="*/ 3622293 h 4503132"/>
              <a:gd name="connsiteX1880" fmla="*/ 690173 w 4493400"/>
              <a:gd name="connsiteY1880" fmla="*/ 3632302 h 4503132"/>
              <a:gd name="connsiteX1881" fmla="*/ 697434 w 4493400"/>
              <a:gd name="connsiteY1881" fmla="*/ 3642841 h 4503132"/>
              <a:gd name="connsiteX1882" fmla="*/ 704310 w 4493400"/>
              <a:gd name="connsiteY1882" fmla="*/ 3653523 h 4503132"/>
              <a:gd name="connsiteX1883" fmla="*/ 710369 w 4493400"/>
              <a:gd name="connsiteY1883" fmla="*/ 3664591 h 4503132"/>
              <a:gd name="connsiteX1884" fmla="*/ 725324 w 4493400"/>
              <a:gd name="connsiteY1884" fmla="*/ 3711845 h 4503132"/>
              <a:gd name="connsiteX1885" fmla="*/ 717678 w 4493400"/>
              <a:gd name="connsiteY1885" fmla="*/ 3758281 h 4503132"/>
              <a:gd name="connsiteX1886" fmla="*/ 701377 w 4493400"/>
              <a:gd name="connsiteY1886" fmla="*/ 3773535 h 4503132"/>
              <a:gd name="connsiteX1887" fmla="*/ 679306 w 4493400"/>
              <a:gd name="connsiteY1887" fmla="*/ 3776807 h 4503132"/>
              <a:gd name="connsiteX1888" fmla="*/ 637134 w 4493400"/>
              <a:gd name="connsiteY1888" fmla="*/ 3756933 h 4503132"/>
              <a:gd name="connsiteX1889" fmla="*/ 602176 w 4493400"/>
              <a:gd name="connsiteY1889" fmla="*/ 3723923 h 4503132"/>
              <a:gd name="connsiteX1890" fmla="*/ 572795 w 4493400"/>
              <a:gd name="connsiteY1890" fmla="*/ 3686053 h 4503132"/>
              <a:gd name="connsiteX1891" fmla="*/ 544665 w 4493400"/>
              <a:gd name="connsiteY1891" fmla="*/ 3647508 h 4503132"/>
              <a:gd name="connsiteX1892" fmla="*/ 430894 w 4493400"/>
              <a:gd name="connsiteY1892" fmla="*/ 3502426 h 4503132"/>
              <a:gd name="connsiteX1893" fmla="*/ 380308 w 4493400"/>
              <a:gd name="connsiteY1893" fmla="*/ 3430919 h 4503132"/>
              <a:gd name="connsiteX1894" fmla="*/ 342320 w 4493400"/>
              <a:gd name="connsiteY1894" fmla="*/ 3354793 h 4503132"/>
              <a:gd name="connsiteX1895" fmla="*/ 308516 w 4493400"/>
              <a:gd name="connsiteY1895" fmla="*/ 3279149 h 4503132"/>
              <a:gd name="connsiteX1896" fmla="*/ 287647 w 4493400"/>
              <a:gd name="connsiteY1896" fmla="*/ 3244117 h 4503132"/>
              <a:gd name="connsiteX1897" fmla="*/ 281540 w 4493400"/>
              <a:gd name="connsiteY1897" fmla="*/ 3236033 h 4503132"/>
              <a:gd name="connsiteX1898" fmla="*/ 275000 w 4493400"/>
              <a:gd name="connsiteY1898" fmla="*/ 3228382 h 4503132"/>
              <a:gd name="connsiteX1899" fmla="*/ 267883 w 4493400"/>
              <a:gd name="connsiteY1899" fmla="*/ 3221116 h 4503132"/>
              <a:gd name="connsiteX1900" fmla="*/ 258987 w 4493400"/>
              <a:gd name="connsiteY1900" fmla="*/ 3214812 h 4503132"/>
              <a:gd name="connsiteX1901" fmla="*/ 251678 w 4493400"/>
              <a:gd name="connsiteY1901" fmla="*/ 3214330 h 4503132"/>
              <a:gd name="connsiteX1902" fmla="*/ 247110 w 4493400"/>
              <a:gd name="connsiteY1902" fmla="*/ 3220057 h 4503132"/>
              <a:gd name="connsiteX1903" fmla="*/ 246293 w 4493400"/>
              <a:gd name="connsiteY1903" fmla="*/ 3230980 h 4503132"/>
              <a:gd name="connsiteX1904" fmla="*/ 249418 w 4493400"/>
              <a:gd name="connsiteY1904" fmla="*/ 3250565 h 4503132"/>
              <a:gd name="connsiteX1905" fmla="*/ 259853 w 4493400"/>
              <a:gd name="connsiteY1905" fmla="*/ 3287521 h 4503132"/>
              <a:gd name="connsiteX1906" fmla="*/ 262834 w 4493400"/>
              <a:gd name="connsiteY1906" fmla="*/ 3296472 h 4503132"/>
              <a:gd name="connsiteX1907" fmla="*/ 264373 w 4493400"/>
              <a:gd name="connsiteY1907" fmla="*/ 3300899 h 4503132"/>
              <a:gd name="connsiteX1908" fmla="*/ 264806 w 4493400"/>
              <a:gd name="connsiteY1908" fmla="*/ 3302198 h 4503132"/>
              <a:gd name="connsiteX1909" fmla="*/ 265479 w 4493400"/>
              <a:gd name="connsiteY1909" fmla="*/ 3303497 h 4503132"/>
              <a:gd name="connsiteX1910" fmla="*/ 266585 w 4493400"/>
              <a:gd name="connsiteY1910" fmla="*/ 3305566 h 4503132"/>
              <a:gd name="connsiteX1911" fmla="*/ 275529 w 4493400"/>
              <a:gd name="connsiteY1911" fmla="*/ 3321879 h 4503132"/>
              <a:gd name="connsiteX1912" fmla="*/ 293128 w 4493400"/>
              <a:gd name="connsiteY1912" fmla="*/ 3354023 h 4503132"/>
              <a:gd name="connsiteX1913" fmla="*/ 298610 w 4493400"/>
              <a:gd name="connsiteY1913" fmla="*/ 3351521 h 4503132"/>
              <a:gd name="connsiteX1914" fmla="*/ 289233 w 4493400"/>
              <a:gd name="connsiteY1914" fmla="*/ 3320339 h 4503132"/>
              <a:gd name="connsiteX1915" fmla="*/ 288753 w 4493400"/>
              <a:gd name="connsiteY1915" fmla="*/ 3317885 h 4503132"/>
              <a:gd name="connsiteX1916" fmla="*/ 288560 w 4493400"/>
              <a:gd name="connsiteY1916" fmla="*/ 3316057 h 4503132"/>
              <a:gd name="connsiteX1917" fmla="*/ 288897 w 4493400"/>
              <a:gd name="connsiteY1917" fmla="*/ 3314276 h 4503132"/>
              <a:gd name="connsiteX1918" fmla="*/ 290532 w 4493400"/>
              <a:gd name="connsiteY1918" fmla="*/ 3314469 h 4503132"/>
              <a:gd name="connsiteX1919" fmla="*/ 293128 w 4493400"/>
              <a:gd name="connsiteY1919" fmla="*/ 3317067 h 4503132"/>
              <a:gd name="connsiteX1920" fmla="*/ 297696 w 4493400"/>
              <a:gd name="connsiteY1920" fmla="*/ 3323178 h 4503132"/>
              <a:gd name="connsiteX1921" fmla="*/ 329722 w 4493400"/>
              <a:gd name="connsiteY1921" fmla="*/ 3376736 h 4503132"/>
              <a:gd name="connsiteX1922" fmla="*/ 359054 w 4493400"/>
              <a:gd name="connsiteY1922" fmla="*/ 3429139 h 4503132"/>
              <a:gd name="connsiteX1923" fmla="*/ 373239 w 4493400"/>
              <a:gd name="connsiteY1923" fmla="*/ 3453440 h 4503132"/>
              <a:gd name="connsiteX1924" fmla="*/ 362324 w 4493400"/>
              <a:gd name="connsiteY1924" fmla="*/ 3437560 h 4503132"/>
              <a:gd name="connsiteX1925" fmla="*/ 349004 w 4493400"/>
              <a:gd name="connsiteY1925" fmla="*/ 3418841 h 4503132"/>
              <a:gd name="connsiteX1926" fmla="*/ 342657 w 4493400"/>
              <a:gd name="connsiteY1926" fmla="*/ 3410372 h 4503132"/>
              <a:gd name="connsiteX1927" fmla="*/ 338281 w 4493400"/>
              <a:gd name="connsiteY1927" fmla="*/ 3405464 h 4503132"/>
              <a:gd name="connsiteX1928" fmla="*/ 334819 w 4493400"/>
              <a:gd name="connsiteY1928" fmla="*/ 3402095 h 4503132"/>
              <a:gd name="connsiteX1929" fmla="*/ 333328 w 4493400"/>
              <a:gd name="connsiteY1929" fmla="*/ 3400844 h 4503132"/>
              <a:gd name="connsiteX1930" fmla="*/ 332078 w 4493400"/>
              <a:gd name="connsiteY1930" fmla="*/ 3399930 h 4503132"/>
              <a:gd name="connsiteX1931" fmla="*/ 329577 w 4493400"/>
              <a:gd name="connsiteY1931" fmla="*/ 3398390 h 4503132"/>
              <a:gd name="connsiteX1932" fmla="*/ 327991 w 4493400"/>
              <a:gd name="connsiteY1932" fmla="*/ 3397957 h 4503132"/>
              <a:gd name="connsiteX1933" fmla="*/ 325202 w 4493400"/>
              <a:gd name="connsiteY1933" fmla="*/ 3398679 h 4503132"/>
              <a:gd name="connsiteX1934" fmla="*/ 323374 w 4493400"/>
              <a:gd name="connsiteY1934" fmla="*/ 3401566 h 4503132"/>
              <a:gd name="connsiteX1935" fmla="*/ 325538 w 4493400"/>
              <a:gd name="connsiteY1935" fmla="*/ 3405319 h 4503132"/>
              <a:gd name="connsiteX1936" fmla="*/ 329914 w 4493400"/>
              <a:gd name="connsiteY1936" fmla="*/ 3412922 h 4503132"/>
              <a:gd name="connsiteX1937" fmla="*/ 338906 w 4493400"/>
              <a:gd name="connsiteY1937" fmla="*/ 3428513 h 4503132"/>
              <a:gd name="connsiteX1938" fmla="*/ 357708 w 4493400"/>
              <a:gd name="connsiteY1938" fmla="*/ 3461283 h 4503132"/>
              <a:gd name="connsiteX1939" fmla="*/ 377519 w 4493400"/>
              <a:gd name="connsiteY1939" fmla="*/ 3496026 h 4503132"/>
              <a:gd name="connsiteX1940" fmla="*/ 390502 w 4493400"/>
              <a:gd name="connsiteY1940" fmla="*/ 3511184 h 4503132"/>
              <a:gd name="connsiteX1941" fmla="*/ 403004 w 4493400"/>
              <a:gd name="connsiteY1941" fmla="*/ 3526390 h 4503132"/>
              <a:gd name="connsiteX1942" fmla="*/ 436376 w 4493400"/>
              <a:gd name="connsiteY1942" fmla="*/ 3568832 h 4503132"/>
              <a:gd name="connsiteX1943" fmla="*/ 432914 w 4493400"/>
              <a:gd name="connsiteY1943" fmla="*/ 3567052 h 4503132"/>
              <a:gd name="connsiteX1944" fmla="*/ 443877 w 4493400"/>
              <a:gd name="connsiteY1944" fmla="*/ 3587935 h 4503132"/>
              <a:gd name="connsiteX1945" fmla="*/ 458159 w 4493400"/>
              <a:gd name="connsiteY1945" fmla="*/ 3608868 h 4503132"/>
              <a:gd name="connsiteX1946" fmla="*/ 466910 w 4493400"/>
              <a:gd name="connsiteY1946" fmla="*/ 3621042 h 4503132"/>
              <a:gd name="connsiteX1947" fmla="*/ 471575 w 4493400"/>
              <a:gd name="connsiteY1947" fmla="*/ 3627442 h 4503132"/>
              <a:gd name="connsiteX1948" fmla="*/ 473979 w 4493400"/>
              <a:gd name="connsiteY1948" fmla="*/ 3630714 h 4503132"/>
              <a:gd name="connsiteX1949" fmla="*/ 475181 w 4493400"/>
              <a:gd name="connsiteY1949" fmla="*/ 3632350 h 4503132"/>
              <a:gd name="connsiteX1950" fmla="*/ 475806 w 4493400"/>
              <a:gd name="connsiteY1950" fmla="*/ 3633169 h 4503132"/>
              <a:gd name="connsiteX1951" fmla="*/ 476095 w 4493400"/>
              <a:gd name="connsiteY1951" fmla="*/ 3633601 h 4503132"/>
              <a:gd name="connsiteX1952" fmla="*/ 476239 w 4493400"/>
              <a:gd name="connsiteY1952" fmla="*/ 3633794 h 4503132"/>
              <a:gd name="connsiteX1953" fmla="*/ 476335 w 4493400"/>
              <a:gd name="connsiteY1953" fmla="*/ 3633890 h 4503132"/>
              <a:gd name="connsiteX1954" fmla="*/ 476335 w 4493400"/>
              <a:gd name="connsiteY1954" fmla="*/ 3633890 h 4503132"/>
              <a:gd name="connsiteX1955" fmla="*/ 476335 w 4493400"/>
              <a:gd name="connsiteY1955" fmla="*/ 3633987 h 4503132"/>
              <a:gd name="connsiteX1956" fmla="*/ 481769 w 4493400"/>
              <a:gd name="connsiteY1956" fmla="*/ 3629992 h 4503132"/>
              <a:gd name="connsiteX1957" fmla="*/ 507639 w 4493400"/>
              <a:gd name="connsiteY1957" fmla="*/ 3667815 h 4503132"/>
              <a:gd name="connsiteX1958" fmla="*/ 519997 w 4493400"/>
              <a:gd name="connsiteY1958" fmla="*/ 3686389 h 4503132"/>
              <a:gd name="connsiteX1959" fmla="*/ 523027 w 4493400"/>
              <a:gd name="connsiteY1959" fmla="*/ 3690961 h 4503132"/>
              <a:gd name="connsiteX1960" fmla="*/ 524565 w 4493400"/>
              <a:gd name="connsiteY1960" fmla="*/ 3693222 h 4503132"/>
              <a:gd name="connsiteX1961" fmla="*/ 524950 w 4493400"/>
              <a:gd name="connsiteY1961" fmla="*/ 3693800 h 4503132"/>
              <a:gd name="connsiteX1962" fmla="*/ 525719 w 4493400"/>
              <a:gd name="connsiteY1962" fmla="*/ 3694907 h 4503132"/>
              <a:gd name="connsiteX1963" fmla="*/ 526681 w 4493400"/>
              <a:gd name="connsiteY1963" fmla="*/ 3696013 h 4503132"/>
              <a:gd name="connsiteX1964" fmla="*/ 533798 w 4493400"/>
              <a:gd name="connsiteY1964" fmla="*/ 3704242 h 4503132"/>
              <a:gd name="connsiteX1965" fmla="*/ 561351 w 4493400"/>
              <a:gd name="connsiteY1965" fmla="*/ 3736097 h 4503132"/>
              <a:gd name="connsiteX1966" fmla="*/ 569189 w 4493400"/>
              <a:gd name="connsiteY1966" fmla="*/ 3730708 h 4503132"/>
              <a:gd name="connsiteX1967" fmla="*/ 518026 w 4493400"/>
              <a:gd name="connsiteY1967" fmla="*/ 3652705 h 4503132"/>
              <a:gd name="connsiteX1968" fmla="*/ 474220 w 4493400"/>
              <a:gd name="connsiteY1968" fmla="*/ 3595346 h 4503132"/>
              <a:gd name="connsiteX1969" fmla="*/ 444935 w 4493400"/>
              <a:gd name="connsiteY1969" fmla="*/ 3558871 h 4503132"/>
              <a:gd name="connsiteX1970" fmla="*/ 433635 w 4493400"/>
              <a:gd name="connsiteY1970" fmla="*/ 3546552 h 4503132"/>
              <a:gd name="connsiteX1971" fmla="*/ 436424 w 4493400"/>
              <a:gd name="connsiteY1971" fmla="*/ 3551701 h 4503132"/>
              <a:gd name="connsiteX1972" fmla="*/ 410987 w 4493400"/>
              <a:gd name="connsiteY1972" fmla="*/ 3519797 h 4503132"/>
              <a:gd name="connsiteX1973" fmla="*/ 398244 w 4493400"/>
              <a:gd name="connsiteY1973" fmla="*/ 3504543 h 4503132"/>
              <a:gd name="connsiteX1974" fmla="*/ 391848 w 4493400"/>
              <a:gd name="connsiteY1974" fmla="*/ 3497133 h 4503132"/>
              <a:gd name="connsiteX1975" fmla="*/ 385838 w 4493400"/>
              <a:gd name="connsiteY1975" fmla="*/ 3490396 h 4503132"/>
              <a:gd name="connsiteX1976" fmla="*/ 378529 w 4493400"/>
              <a:gd name="connsiteY1976" fmla="*/ 3479136 h 4503132"/>
              <a:gd name="connsiteX1977" fmla="*/ 370402 w 4493400"/>
              <a:gd name="connsiteY1977" fmla="*/ 3466673 h 4503132"/>
              <a:gd name="connsiteX1978" fmla="*/ 365978 w 4493400"/>
              <a:gd name="connsiteY1978" fmla="*/ 3459888 h 4503132"/>
              <a:gd name="connsiteX1979" fmla="*/ 363670 w 4493400"/>
              <a:gd name="connsiteY1979" fmla="*/ 3456327 h 4503132"/>
              <a:gd name="connsiteX1980" fmla="*/ 362468 w 4493400"/>
              <a:gd name="connsiteY1980" fmla="*/ 3454498 h 4503132"/>
              <a:gd name="connsiteX1981" fmla="*/ 362276 w 4493400"/>
              <a:gd name="connsiteY1981" fmla="*/ 3453391 h 4503132"/>
              <a:gd name="connsiteX1982" fmla="*/ 363430 w 4493400"/>
              <a:gd name="connsiteY1982" fmla="*/ 3453632 h 4503132"/>
              <a:gd name="connsiteX1983" fmla="*/ 364632 w 4493400"/>
              <a:gd name="connsiteY1983" fmla="*/ 3454931 h 4503132"/>
              <a:gd name="connsiteX1984" fmla="*/ 368190 w 4493400"/>
              <a:gd name="connsiteY1984" fmla="*/ 3459359 h 4503132"/>
              <a:gd name="connsiteX1985" fmla="*/ 371075 w 4493400"/>
              <a:gd name="connsiteY1985" fmla="*/ 3463160 h 4503132"/>
              <a:gd name="connsiteX1986" fmla="*/ 371893 w 4493400"/>
              <a:gd name="connsiteY1986" fmla="*/ 3464218 h 4503132"/>
              <a:gd name="connsiteX1987" fmla="*/ 373768 w 4493400"/>
              <a:gd name="connsiteY1987" fmla="*/ 3466817 h 4503132"/>
              <a:gd name="connsiteX1988" fmla="*/ 377471 w 4493400"/>
              <a:gd name="connsiteY1988" fmla="*/ 3471966 h 4503132"/>
              <a:gd name="connsiteX1989" fmla="*/ 391175 w 4493400"/>
              <a:gd name="connsiteY1989" fmla="*/ 3491118 h 4503132"/>
              <a:gd name="connsiteX1990" fmla="*/ 413343 w 4493400"/>
              <a:gd name="connsiteY1990" fmla="*/ 3521626 h 4503132"/>
              <a:gd name="connsiteX1991" fmla="*/ 433731 w 4493400"/>
              <a:gd name="connsiteY1991" fmla="*/ 3546552 h 4503132"/>
              <a:gd name="connsiteX1992" fmla="*/ 416757 w 4493400"/>
              <a:gd name="connsiteY1992" fmla="*/ 3519220 h 4503132"/>
              <a:gd name="connsiteX1993" fmla="*/ 405024 w 4493400"/>
              <a:gd name="connsiteY1993" fmla="*/ 3501319 h 4503132"/>
              <a:gd name="connsiteX1994" fmla="*/ 511294 w 4493400"/>
              <a:gd name="connsiteY1994" fmla="*/ 3638173 h 4503132"/>
              <a:gd name="connsiteX1995" fmla="*/ 561640 w 4493400"/>
              <a:gd name="connsiteY1995" fmla="*/ 3703905 h 4503132"/>
              <a:gd name="connsiteX1996" fmla="*/ 572507 w 4493400"/>
              <a:gd name="connsiteY1996" fmla="*/ 3719255 h 4503132"/>
              <a:gd name="connsiteX1997" fmla="*/ 582653 w 4493400"/>
              <a:gd name="connsiteY1997" fmla="*/ 3734125 h 4503132"/>
              <a:gd name="connsiteX1998" fmla="*/ 592126 w 4493400"/>
              <a:gd name="connsiteY1998" fmla="*/ 3748512 h 4503132"/>
              <a:gd name="connsiteX1999" fmla="*/ 599579 w 4493400"/>
              <a:gd name="connsiteY1999" fmla="*/ 3762948 h 4503132"/>
              <a:gd name="connsiteX2000" fmla="*/ 605686 w 4493400"/>
              <a:gd name="connsiteY2000" fmla="*/ 3777385 h 4503132"/>
              <a:gd name="connsiteX2001" fmla="*/ 607177 w 4493400"/>
              <a:gd name="connsiteY2001" fmla="*/ 3780897 h 4503132"/>
              <a:gd name="connsiteX2002" fmla="*/ 608235 w 4493400"/>
              <a:gd name="connsiteY2002" fmla="*/ 3782822 h 4503132"/>
              <a:gd name="connsiteX2003" fmla="*/ 609629 w 4493400"/>
              <a:gd name="connsiteY2003" fmla="*/ 3784218 h 4503132"/>
              <a:gd name="connsiteX2004" fmla="*/ 614774 w 4493400"/>
              <a:gd name="connsiteY2004" fmla="*/ 3789463 h 4503132"/>
              <a:gd name="connsiteX2005" fmla="*/ 633864 w 4493400"/>
              <a:gd name="connsiteY2005" fmla="*/ 3809048 h 4503132"/>
              <a:gd name="connsiteX2006" fmla="*/ 650694 w 4493400"/>
              <a:gd name="connsiteY2006" fmla="*/ 3826275 h 4503132"/>
              <a:gd name="connsiteX2007" fmla="*/ 658292 w 4493400"/>
              <a:gd name="connsiteY2007" fmla="*/ 3834070 h 4503132"/>
              <a:gd name="connsiteX2008" fmla="*/ 662427 w 4493400"/>
              <a:gd name="connsiteY2008" fmla="*/ 3838305 h 4503132"/>
              <a:gd name="connsiteX2009" fmla="*/ 664399 w 4493400"/>
              <a:gd name="connsiteY2009" fmla="*/ 3840326 h 4503132"/>
              <a:gd name="connsiteX2010" fmla="*/ 665361 w 4493400"/>
              <a:gd name="connsiteY2010" fmla="*/ 3841336 h 4503132"/>
              <a:gd name="connsiteX2011" fmla="*/ 665697 w 4493400"/>
              <a:gd name="connsiteY2011" fmla="*/ 3840566 h 4503132"/>
              <a:gd name="connsiteX2012" fmla="*/ 666322 w 4493400"/>
              <a:gd name="connsiteY2012" fmla="*/ 3836620 h 4503132"/>
              <a:gd name="connsiteX2013" fmla="*/ 667476 w 4493400"/>
              <a:gd name="connsiteY2013" fmla="*/ 3832963 h 4503132"/>
              <a:gd name="connsiteX2014" fmla="*/ 671131 w 4493400"/>
              <a:gd name="connsiteY2014" fmla="*/ 3828729 h 4503132"/>
              <a:gd name="connsiteX2015" fmla="*/ 680604 w 4493400"/>
              <a:gd name="connsiteY2015" fmla="*/ 3824639 h 4503132"/>
              <a:gd name="connsiteX2016" fmla="*/ 696568 w 4493400"/>
              <a:gd name="connsiteY2016" fmla="*/ 3820500 h 4503132"/>
              <a:gd name="connsiteX2017" fmla="*/ 708974 w 4493400"/>
              <a:gd name="connsiteY2017" fmla="*/ 3815496 h 4503132"/>
              <a:gd name="connsiteX2018" fmla="*/ 705801 w 4493400"/>
              <a:gd name="connsiteY2018" fmla="*/ 3816651 h 4503132"/>
              <a:gd name="connsiteX2019" fmla="*/ 696328 w 4493400"/>
              <a:gd name="connsiteY2019" fmla="*/ 3819682 h 4503132"/>
              <a:gd name="connsiteX2020" fmla="*/ 680267 w 4493400"/>
              <a:gd name="connsiteY2020" fmla="*/ 3823387 h 4503132"/>
              <a:gd name="connsiteX2021" fmla="*/ 670217 w 4493400"/>
              <a:gd name="connsiteY2021" fmla="*/ 3827526 h 4503132"/>
              <a:gd name="connsiteX2022" fmla="*/ 666130 w 4493400"/>
              <a:gd name="connsiteY2022" fmla="*/ 3832049 h 4503132"/>
              <a:gd name="connsiteX2023" fmla="*/ 664639 w 4493400"/>
              <a:gd name="connsiteY2023" fmla="*/ 3837102 h 4503132"/>
              <a:gd name="connsiteX2024" fmla="*/ 664495 w 4493400"/>
              <a:gd name="connsiteY2024" fmla="*/ 3838064 h 4503132"/>
              <a:gd name="connsiteX2025" fmla="*/ 663774 w 4493400"/>
              <a:gd name="connsiteY2025" fmla="*/ 3837294 h 4503132"/>
              <a:gd name="connsiteX2026" fmla="*/ 662331 w 4493400"/>
              <a:gd name="connsiteY2026" fmla="*/ 3835754 h 4503132"/>
              <a:gd name="connsiteX2027" fmla="*/ 659398 w 4493400"/>
              <a:gd name="connsiteY2027" fmla="*/ 3832675 h 4503132"/>
              <a:gd name="connsiteX2028" fmla="*/ 651993 w 4493400"/>
              <a:gd name="connsiteY2028" fmla="*/ 3824879 h 4503132"/>
              <a:gd name="connsiteX2029" fmla="*/ 635403 w 4493400"/>
              <a:gd name="connsiteY2029" fmla="*/ 3807460 h 4503132"/>
              <a:gd name="connsiteX2030" fmla="*/ 616554 w 4493400"/>
              <a:gd name="connsiteY2030" fmla="*/ 3787682 h 4503132"/>
              <a:gd name="connsiteX2031" fmla="*/ 611505 w 4493400"/>
              <a:gd name="connsiteY2031" fmla="*/ 3782389 h 4503132"/>
              <a:gd name="connsiteX2032" fmla="*/ 609581 w 4493400"/>
              <a:gd name="connsiteY2032" fmla="*/ 3779791 h 4503132"/>
              <a:gd name="connsiteX2033" fmla="*/ 608139 w 4493400"/>
              <a:gd name="connsiteY2033" fmla="*/ 3776278 h 4503132"/>
              <a:gd name="connsiteX2034" fmla="*/ 602176 w 4493400"/>
              <a:gd name="connsiteY2034" fmla="*/ 3761745 h 4503132"/>
              <a:gd name="connsiteX2035" fmla="*/ 594626 w 4493400"/>
              <a:gd name="connsiteY2035" fmla="*/ 3746877 h 4503132"/>
              <a:gd name="connsiteX2036" fmla="*/ 585202 w 4493400"/>
              <a:gd name="connsiteY2036" fmla="*/ 3732344 h 4503132"/>
              <a:gd name="connsiteX2037" fmla="*/ 575104 w 4493400"/>
              <a:gd name="connsiteY2037" fmla="*/ 3717331 h 4503132"/>
              <a:gd name="connsiteX2038" fmla="*/ 564332 w 4493400"/>
              <a:gd name="connsiteY2038" fmla="*/ 3701884 h 4503132"/>
              <a:gd name="connsiteX2039" fmla="*/ 514275 w 4493400"/>
              <a:gd name="connsiteY2039" fmla="*/ 3635671 h 4503132"/>
              <a:gd name="connsiteX2040" fmla="*/ 393243 w 4493400"/>
              <a:gd name="connsiteY2040" fmla="*/ 3475479 h 4503132"/>
              <a:gd name="connsiteX2041" fmla="*/ 363574 w 4493400"/>
              <a:gd name="connsiteY2041" fmla="*/ 3426685 h 4503132"/>
              <a:gd name="connsiteX2042" fmla="*/ 334482 w 4493400"/>
              <a:gd name="connsiteY2042" fmla="*/ 3374186 h 4503132"/>
              <a:gd name="connsiteX2043" fmla="*/ 302313 w 4493400"/>
              <a:gd name="connsiteY2043" fmla="*/ 3320002 h 4503132"/>
              <a:gd name="connsiteX2044" fmla="*/ 297264 w 4493400"/>
              <a:gd name="connsiteY2044" fmla="*/ 3313266 h 4503132"/>
              <a:gd name="connsiteX2045" fmla="*/ 288849 w 4493400"/>
              <a:gd name="connsiteY2045" fmla="*/ 3306144 h 4503132"/>
              <a:gd name="connsiteX2046" fmla="*/ 284425 w 4493400"/>
              <a:gd name="connsiteY2046" fmla="*/ 3306481 h 4503132"/>
              <a:gd name="connsiteX2047" fmla="*/ 282453 w 4493400"/>
              <a:gd name="connsiteY2047" fmla="*/ 3310523 h 4503132"/>
              <a:gd name="connsiteX2048" fmla="*/ 282357 w 4493400"/>
              <a:gd name="connsiteY2048" fmla="*/ 3316153 h 4503132"/>
              <a:gd name="connsiteX2049" fmla="*/ 283271 w 4493400"/>
              <a:gd name="connsiteY2049" fmla="*/ 3321687 h 4503132"/>
              <a:gd name="connsiteX2050" fmla="*/ 284136 w 4493400"/>
              <a:gd name="connsiteY2050" fmla="*/ 3325296 h 4503132"/>
              <a:gd name="connsiteX2051" fmla="*/ 280770 w 4493400"/>
              <a:gd name="connsiteY2051" fmla="*/ 3319088 h 4503132"/>
              <a:gd name="connsiteX2052" fmla="*/ 271922 w 4493400"/>
              <a:gd name="connsiteY2052" fmla="*/ 3302775 h 4503132"/>
              <a:gd name="connsiteX2053" fmla="*/ 270817 w 4493400"/>
              <a:gd name="connsiteY2053" fmla="*/ 3300706 h 4503132"/>
              <a:gd name="connsiteX2054" fmla="*/ 270432 w 4493400"/>
              <a:gd name="connsiteY2054" fmla="*/ 3299936 h 4503132"/>
              <a:gd name="connsiteX2055" fmla="*/ 270095 w 4493400"/>
              <a:gd name="connsiteY2055" fmla="*/ 3299022 h 4503132"/>
              <a:gd name="connsiteX2056" fmla="*/ 268605 w 4493400"/>
              <a:gd name="connsiteY2056" fmla="*/ 3294595 h 4503132"/>
              <a:gd name="connsiteX2057" fmla="*/ 265671 w 4493400"/>
              <a:gd name="connsiteY2057" fmla="*/ 3285693 h 4503132"/>
              <a:gd name="connsiteX2058" fmla="*/ 255525 w 4493400"/>
              <a:gd name="connsiteY2058" fmla="*/ 3249314 h 4503132"/>
              <a:gd name="connsiteX2059" fmla="*/ 252640 w 4493400"/>
              <a:gd name="connsiteY2059" fmla="*/ 3230740 h 4503132"/>
              <a:gd name="connsiteX2060" fmla="*/ 253121 w 4493400"/>
              <a:gd name="connsiteY2060" fmla="*/ 3222367 h 4503132"/>
              <a:gd name="connsiteX2061" fmla="*/ 256295 w 4493400"/>
              <a:gd name="connsiteY2061" fmla="*/ 3221067 h 4503132"/>
              <a:gd name="connsiteX2062" fmla="*/ 269903 w 4493400"/>
              <a:gd name="connsiteY2062" fmla="*/ 3233049 h 4503132"/>
              <a:gd name="connsiteX2063" fmla="*/ 276202 w 4493400"/>
              <a:gd name="connsiteY2063" fmla="*/ 3240460 h 4503132"/>
              <a:gd name="connsiteX2064" fmla="*/ 282069 w 4493400"/>
              <a:gd name="connsiteY2064" fmla="*/ 3248255 h 4503132"/>
              <a:gd name="connsiteX2065" fmla="*/ 302265 w 4493400"/>
              <a:gd name="connsiteY2065" fmla="*/ 3282421 h 4503132"/>
              <a:gd name="connsiteX2066" fmla="*/ 335684 w 4493400"/>
              <a:gd name="connsiteY2066" fmla="*/ 3357825 h 4503132"/>
              <a:gd name="connsiteX2067" fmla="*/ 373816 w 4493400"/>
              <a:gd name="connsiteY2067" fmla="*/ 3434721 h 4503132"/>
              <a:gd name="connsiteX2068" fmla="*/ 424787 w 4493400"/>
              <a:gd name="connsiteY2068" fmla="*/ 3507238 h 4503132"/>
              <a:gd name="connsiteX2069" fmla="*/ 538077 w 4493400"/>
              <a:gd name="connsiteY2069" fmla="*/ 3652465 h 4503132"/>
              <a:gd name="connsiteX2070" fmla="*/ 566063 w 4493400"/>
              <a:gd name="connsiteY2070" fmla="*/ 3691009 h 4503132"/>
              <a:gd name="connsiteX2071" fmla="*/ 595829 w 4493400"/>
              <a:gd name="connsiteY2071" fmla="*/ 3729505 h 4503132"/>
              <a:gd name="connsiteX2072" fmla="*/ 631797 w 4493400"/>
              <a:gd name="connsiteY2072" fmla="*/ 3763622 h 4503132"/>
              <a:gd name="connsiteX2073" fmla="*/ 678103 w 4493400"/>
              <a:gd name="connsiteY2073" fmla="*/ 3785324 h 4503132"/>
              <a:gd name="connsiteX2074" fmla="*/ 704743 w 4493400"/>
              <a:gd name="connsiteY2074" fmla="*/ 3781330 h 4503132"/>
              <a:gd name="connsiteX2075" fmla="*/ 724699 w 4493400"/>
              <a:gd name="connsiteY2075" fmla="*/ 3762852 h 4503132"/>
              <a:gd name="connsiteX2076" fmla="*/ 733594 w 4493400"/>
              <a:gd name="connsiteY2076" fmla="*/ 3711027 h 4503132"/>
              <a:gd name="connsiteX2077" fmla="*/ 717870 w 4493400"/>
              <a:gd name="connsiteY2077" fmla="*/ 3660886 h 4503132"/>
              <a:gd name="connsiteX2078" fmla="*/ 711571 w 4493400"/>
              <a:gd name="connsiteY2078" fmla="*/ 3649289 h 4503132"/>
              <a:gd name="connsiteX2079" fmla="*/ 704454 w 4493400"/>
              <a:gd name="connsiteY2079" fmla="*/ 3638173 h 4503132"/>
              <a:gd name="connsiteX2080" fmla="*/ 697001 w 4493400"/>
              <a:gd name="connsiteY2080" fmla="*/ 3627298 h 4503132"/>
              <a:gd name="connsiteX2081" fmla="*/ 688778 w 4493400"/>
              <a:gd name="connsiteY2081" fmla="*/ 3616904 h 4503132"/>
              <a:gd name="connsiteX2082" fmla="*/ 680219 w 4493400"/>
              <a:gd name="connsiteY2082" fmla="*/ 3606702 h 4503132"/>
              <a:gd name="connsiteX2083" fmla="*/ 670794 w 4493400"/>
              <a:gd name="connsiteY2083" fmla="*/ 3597223 h 4503132"/>
              <a:gd name="connsiteX2084" fmla="*/ 666034 w 4493400"/>
              <a:gd name="connsiteY2084" fmla="*/ 3592507 h 4503132"/>
              <a:gd name="connsiteX2085" fmla="*/ 660889 w 4493400"/>
              <a:gd name="connsiteY2085" fmla="*/ 3588224 h 4503132"/>
              <a:gd name="connsiteX2086" fmla="*/ 650550 w 4493400"/>
              <a:gd name="connsiteY2086" fmla="*/ 3579659 h 4503132"/>
              <a:gd name="connsiteX2087" fmla="*/ 604292 w 4493400"/>
              <a:gd name="connsiteY2087" fmla="*/ 3552134 h 4503132"/>
              <a:gd name="connsiteX2088" fmla="*/ 554667 w 4493400"/>
              <a:gd name="connsiteY2088" fmla="*/ 3531346 h 4503132"/>
              <a:gd name="connsiteX2089" fmla="*/ 506245 w 4493400"/>
              <a:gd name="connsiteY2089" fmla="*/ 3508730 h 4503132"/>
              <a:gd name="connsiteX2090" fmla="*/ 483981 w 4493400"/>
              <a:gd name="connsiteY2090" fmla="*/ 3494101 h 4503132"/>
              <a:gd name="connsiteX2091" fmla="*/ 473739 w 4493400"/>
              <a:gd name="connsiteY2091" fmla="*/ 3485584 h 4503132"/>
              <a:gd name="connsiteX2092" fmla="*/ 464073 w 4493400"/>
              <a:gd name="connsiteY2092" fmla="*/ 3476345 h 4503132"/>
              <a:gd name="connsiteX2093" fmla="*/ 429404 w 4493400"/>
              <a:gd name="connsiteY2093" fmla="*/ 3434288 h 4503132"/>
              <a:gd name="connsiteX2094" fmla="*/ 370643 w 4493400"/>
              <a:gd name="connsiteY2094" fmla="*/ 3339924 h 4503132"/>
              <a:gd name="connsiteX2095" fmla="*/ 334386 w 4493400"/>
              <a:gd name="connsiteY2095" fmla="*/ 3234733 h 4503132"/>
              <a:gd name="connsiteX2096" fmla="*/ 339579 w 4493400"/>
              <a:gd name="connsiteY2096" fmla="*/ 3179155 h 4503132"/>
              <a:gd name="connsiteX2097" fmla="*/ 343667 w 4493400"/>
              <a:gd name="connsiteY2097" fmla="*/ 3165441 h 4503132"/>
              <a:gd name="connsiteX2098" fmla="*/ 348764 w 4493400"/>
              <a:gd name="connsiteY2098" fmla="*/ 3152544 h 4503132"/>
              <a:gd name="connsiteX2099" fmla="*/ 363478 w 4493400"/>
              <a:gd name="connsiteY2099" fmla="*/ 3128677 h 4503132"/>
              <a:gd name="connsiteX2100" fmla="*/ 383241 w 4493400"/>
              <a:gd name="connsiteY2100" fmla="*/ 3108996 h 4503132"/>
              <a:gd name="connsiteX2101" fmla="*/ 407332 w 4493400"/>
              <a:gd name="connsiteY2101" fmla="*/ 3099179 h 4503132"/>
              <a:gd name="connsiteX2102" fmla="*/ 435751 w 4493400"/>
              <a:gd name="connsiteY2102" fmla="*/ 3102162 h 4503132"/>
              <a:gd name="connsiteX2103" fmla="*/ 465131 w 4493400"/>
              <a:gd name="connsiteY2103" fmla="*/ 3106590 h 4503132"/>
              <a:gd name="connsiteX2104" fmla="*/ 526104 w 4493400"/>
              <a:gd name="connsiteY2104" fmla="*/ 3106926 h 4503132"/>
              <a:gd name="connsiteX2105" fmla="*/ 555004 w 4493400"/>
              <a:gd name="connsiteY2105" fmla="*/ 3092346 h 4503132"/>
              <a:gd name="connsiteX2106" fmla="*/ 568420 w 4493400"/>
              <a:gd name="connsiteY2106" fmla="*/ 3062463 h 4503132"/>
              <a:gd name="connsiteX2107" fmla="*/ 547406 w 4493400"/>
              <a:gd name="connsiteY2107" fmla="*/ 2941345 h 4503132"/>
              <a:gd name="connsiteX2108" fmla="*/ 495666 w 4493400"/>
              <a:gd name="connsiteY2108" fmla="*/ 2828984 h 4503132"/>
              <a:gd name="connsiteX2109" fmla="*/ 467680 w 4493400"/>
              <a:gd name="connsiteY2109" fmla="*/ 2773598 h 4503132"/>
              <a:gd name="connsiteX2110" fmla="*/ 440463 w 4493400"/>
              <a:gd name="connsiteY2110" fmla="*/ 2717249 h 4503132"/>
              <a:gd name="connsiteX2111" fmla="*/ 389396 w 4493400"/>
              <a:gd name="connsiteY2111" fmla="*/ 2602146 h 4503132"/>
              <a:gd name="connsiteX2112" fmla="*/ 351985 w 4493400"/>
              <a:gd name="connsiteY2112" fmla="*/ 2480835 h 4503132"/>
              <a:gd name="connsiteX2113" fmla="*/ 337608 w 4493400"/>
              <a:gd name="connsiteY2113" fmla="*/ 2353653 h 4503132"/>
              <a:gd name="connsiteX2114" fmla="*/ 345638 w 4493400"/>
              <a:gd name="connsiteY2114" fmla="*/ 2290327 h 4503132"/>
              <a:gd name="connsiteX2115" fmla="*/ 362420 w 4493400"/>
              <a:gd name="connsiteY2115" fmla="*/ 2227290 h 4503132"/>
              <a:gd name="connsiteX2116" fmla="*/ 394445 w 4493400"/>
              <a:gd name="connsiteY2116" fmla="*/ 2098617 h 4503132"/>
              <a:gd name="connsiteX2117" fmla="*/ 397234 w 4493400"/>
              <a:gd name="connsiteY2117" fmla="*/ 2031008 h 4503132"/>
              <a:gd name="connsiteX2118" fmla="*/ 387521 w 4493400"/>
              <a:gd name="connsiteY2118" fmla="*/ 1996939 h 4503132"/>
              <a:gd name="connsiteX2119" fmla="*/ 373528 w 4493400"/>
              <a:gd name="connsiteY2119" fmla="*/ 1983754 h 4503132"/>
              <a:gd name="connsiteX2120" fmla="*/ 355015 w 4493400"/>
              <a:gd name="connsiteY2120" fmla="*/ 1979423 h 4503132"/>
              <a:gd name="connsiteX2121" fmla="*/ 320537 w 4493400"/>
              <a:gd name="connsiteY2121" fmla="*/ 1987555 h 4503132"/>
              <a:gd name="connsiteX2122" fmla="*/ 290195 w 4493400"/>
              <a:gd name="connsiteY2122" fmla="*/ 2003772 h 4503132"/>
              <a:gd name="connsiteX2123" fmla="*/ 236002 w 4493400"/>
              <a:gd name="connsiteY2123" fmla="*/ 2045251 h 4503132"/>
              <a:gd name="connsiteX2124" fmla="*/ 210950 w 4493400"/>
              <a:gd name="connsiteY2124" fmla="*/ 2067483 h 4503132"/>
              <a:gd name="connsiteX2125" fmla="*/ 184406 w 4493400"/>
              <a:gd name="connsiteY2125" fmla="*/ 2088511 h 4503132"/>
              <a:gd name="connsiteX2126" fmla="*/ 159354 w 4493400"/>
              <a:gd name="connsiteY2126" fmla="*/ 2112908 h 4503132"/>
              <a:gd name="connsiteX2127" fmla="*/ 140792 w 4493400"/>
              <a:gd name="connsiteY2127" fmla="*/ 2142839 h 4503132"/>
              <a:gd name="connsiteX2128" fmla="*/ 118384 w 4493400"/>
              <a:gd name="connsiteY2128" fmla="*/ 2218676 h 4503132"/>
              <a:gd name="connsiteX2129" fmla="*/ 129252 w 4493400"/>
              <a:gd name="connsiteY2129" fmla="*/ 2144716 h 4503132"/>
              <a:gd name="connsiteX2130" fmla="*/ 164403 w 4493400"/>
              <a:gd name="connsiteY2130" fmla="*/ 2055934 h 4503132"/>
              <a:gd name="connsiteX2131" fmla="*/ 214941 w 4493400"/>
              <a:gd name="connsiteY2131" fmla="*/ 1976487 h 4503132"/>
              <a:gd name="connsiteX2132" fmla="*/ 222586 w 4493400"/>
              <a:gd name="connsiteY2132" fmla="*/ 1967970 h 4503132"/>
              <a:gd name="connsiteX2133" fmla="*/ 230953 w 4493400"/>
              <a:gd name="connsiteY2133" fmla="*/ 1960656 h 4503132"/>
              <a:gd name="connsiteX2134" fmla="*/ 250284 w 4493400"/>
              <a:gd name="connsiteY2134" fmla="*/ 1948722 h 4503132"/>
              <a:gd name="connsiteX2135" fmla="*/ 293225 w 4493400"/>
              <a:gd name="connsiteY2135" fmla="*/ 1932746 h 4503132"/>
              <a:gd name="connsiteX2136" fmla="*/ 338185 w 4493400"/>
              <a:gd name="connsiteY2136" fmla="*/ 1926298 h 4503132"/>
              <a:gd name="connsiteX2137" fmla="*/ 381943 w 4493400"/>
              <a:gd name="connsiteY2137" fmla="*/ 1932698 h 4503132"/>
              <a:gd name="connsiteX2138" fmla="*/ 400696 w 4493400"/>
              <a:gd name="connsiteY2138" fmla="*/ 1943092 h 4503132"/>
              <a:gd name="connsiteX2139" fmla="*/ 414208 w 4493400"/>
              <a:gd name="connsiteY2139" fmla="*/ 1959212 h 4503132"/>
              <a:gd name="connsiteX2140" fmla="*/ 421181 w 4493400"/>
              <a:gd name="connsiteY2140" fmla="*/ 1979279 h 4503132"/>
              <a:gd name="connsiteX2141" fmla="*/ 423008 w 4493400"/>
              <a:gd name="connsiteY2141" fmla="*/ 2001366 h 4503132"/>
              <a:gd name="connsiteX2142" fmla="*/ 415122 w 4493400"/>
              <a:gd name="connsiteY2142" fmla="*/ 2089907 h 4503132"/>
              <a:gd name="connsiteX2143" fmla="*/ 389781 w 4493400"/>
              <a:gd name="connsiteY2143" fmla="*/ 2174598 h 4503132"/>
              <a:gd name="connsiteX2144" fmla="*/ 362228 w 4493400"/>
              <a:gd name="connsiteY2144" fmla="*/ 2258087 h 4503132"/>
              <a:gd name="connsiteX2145" fmla="*/ 348619 w 4493400"/>
              <a:gd name="connsiteY2145" fmla="*/ 2344078 h 4503132"/>
              <a:gd name="connsiteX2146" fmla="*/ 348427 w 4493400"/>
              <a:gd name="connsiteY2146" fmla="*/ 2354856 h 4503132"/>
              <a:gd name="connsiteX2147" fmla="*/ 348571 w 4493400"/>
              <a:gd name="connsiteY2147" fmla="*/ 2365587 h 4503132"/>
              <a:gd name="connsiteX2148" fmla="*/ 349100 w 4493400"/>
              <a:gd name="connsiteY2148" fmla="*/ 2386953 h 4503132"/>
              <a:gd name="connsiteX2149" fmla="*/ 352659 w 4493400"/>
              <a:gd name="connsiteY2149" fmla="*/ 2429250 h 4503132"/>
              <a:gd name="connsiteX2150" fmla="*/ 367661 w 4493400"/>
              <a:gd name="connsiteY2150" fmla="*/ 2511632 h 4503132"/>
              <a:gd name="connsiteX2151" fmla="*/ 391945 w 4493400"/>
              <a:gd name="connsiteY2151" fmla="*/ 2590068 h 4503132"/>
              <a:gd name="connsiteX2152" fmla="*/ 422672 w 4493400"/>
              <a:gd name="connsiteY2152" fmla="*/ 2664365 h 4503132"/>
              <a:gd name="connsiteX2153" fmla="*/ 490521 w 4493400"/>
              <a:gd name="connsiteY2153" fmla="*/ 2804395 h 4503132"/>
              <a:gd name="connsiteX2154" fmla="*/ 556446 w 4493400"/>
              <a:gd name="connsiteY2154" fmla="*/ 2937447 h 4503132"/>
              <a:gd name="connsiteX2155" fmla="*/ 590491 w 4493400"/>
              <a:gd name="connsiteY2155" fmla="*/ 3072906 h 4503132"/>
              <a:gd name="connsiteX2156" fmla="*/ 587173 w 4493400"/>
              <a:gd name="connsiteY2156" fmla="*/ 3105627 h 4503132"/>
              <a:gd name="connsiteX2157" fmla="*/ 568035 w 4493400"/>
              <a:gd name="connsiteY2157" fmla="*/ 3129447 h 4503132"/>
              <a:gd name="connsiteX2158" fmla="*/ 537500 w 4493400"/>
              <a:gd name="connsiteY2158" fmla="*/ 3137146 h 4503132"/>
              <a:gd name="connsiteX2159" fmla="*/ 505235 w 4493400"/>
              <a:gd name="connsiteY2159" fmla="*/ 3135462 h 4503132"/>
              <a:gd name="connsiteX2160" fmla="*/ 441713 w 4493400"/>
              <a:gd name="connsiteY2160" fmla="*/ 3124442 h 4503132"/>
              <a:gd name="connsiteX2161" fmla="*/ 425076 w 4493400"/>
              <a:gd name="connsiteY2161" fmla="*/ 3123865 h 4503132"/>
              <a:gd name="connsiteX2162" fmla="*/ 409256 w 4493400"/>
              <a:gd name="connsiteY2162" fmla="*/ 3130120 h 4503132"/>
              <a:gd name="connsiteX2163" fmla="*/ 387569 w 4493400"/>
              <a:gd name="connsiteY2163" fmla="*/ 3153940 h 4503132"/>
              <a:gd name="connsiteX2164" fmla="*/ 368046 w 4493400"/>
              <a:gd name="connsiteY2164" fmla="*/ 3212310 h 4503132"/>
              <a:gd name="connsiteX2165" fmla="*/ 367806 w 4493400"/>
              <a:gd name="connsiteY2165" fmla="*/ 3271690 h 4503132"/>
              <a:gd name="connsiteX2166" fmla="*/ 404110 w 4493400"/>
              <a:gd name="connsiteY2166" fmla="*/ 3377458 h 4503132"/>
              <a:gd name="connsiteX2167" fmla="*/ 467824 w 4493400"/>
              <a:gd name="connsiteY2167" fmla="*/ 3459070 h 4503132"/>
              <a:gd name="connsiteX2168" fmla="*/ 506533 w 4493400"/>
              <a:gd name="connsiteY2168" fmla="*/ 3488712 h 4503132"/>
              <a:gd name="connsiteX2169" fmla="*/ 547358 w 4493400"/>
              <a:gd name="connsiteY2169" fmla="*/ 3510799 h 4503132"/>
              <a:gd name="connsiteX2170" fmla="*/ 623911 w 4493400"/>
              <a:gd name="connsiteY2170" fmla="*/ 3549102 h 4503132"/>
              <a:gd name="connsiteX2171" fmla="*/ 724843 w 4493400"/>
              <a:gd name="connsiteY2171" fmla="*/ 3648134 h 4503132"/>
              <a:gd name="connsiteX2172" fmla="*/ 732585 w 4493400"/>
              <a:gd name="connsiteY2172" fmla="*/ 3661271 h 4503132"/>
              <a:gd name="connsiteX2173" fmla="*/ 738980 w 4493400"/>
              <a:gd name="connsiteY2173" fmla="*/ 3674455 h 4503132"/>
              <a:gd name="connsiteX2174" fmla="*/ 742058 w 4493400"/>
              <a:gd name="connsiteY2174" fmla="*/ 3680856 h 4503132"/>
              <a:gd name="connsiteX2175" fmla="*/ 744462 w 4493400"/>
              <a:gd name="connsiteY2175" fmla="*/ 3687352 h 4503132"/>
              <a:gd name="connsiteX2176" fmla="*/ 749078 w 4493400"/>
              <a:gd name="connsiteY2176" fmla="*/ 3699959 h 4503132"/>
              <a:gd name="connsiteX2177" fmla="*/ 754993 w 4493400"/>
              <a:gd name="connsiteY2177" fmla="*/ 3746684 h 4503132"/>
              <a:gd name="connsiteX2178" fmla="*/ 744029 w 4493400"/>
              <a:gd name="connsiteY2178" fmla="*/ 3781956 h 4503132"/>
              <a:gd name="connsiteX2179" fmla="*/ 735566 w 4493400"/>
              <a:gd name="connsiteY2179" fmla="*/ 3794082 h 4503132"/>
              <a:gd name="connsiteX2180" fmla="*/ 726959 w 4493400"/>
              <a:gd name="connsiteY2180" fmla="*/ 3802696 h 4503132"/>
              <a:gd name="connsiteX2181" fmla="*/ 713783 w 4493400"/>
              <a:gd name="connsiteY2181" fmla="*/ 3812512 h 4503132"/>
              <a:gd name="connsiteX2182" fmla="*/ 709023 w 4493400"/>
              <a:gd name="connsiteY2182" fmla="*/ 3815351 h 4503132"/>
              <a:gd name="connsiteX2183" fmla="*/ 710321 w 4493400"/>
              <a:gd name="connsiteY2183" fmla="*/ 3814822 h 4503132"/>
              <a:gd name="connsiteX2184" fmla="*/ 714072 w 4493400"/>
              <a:gd name="connsiteY2184" fmla="*/ 3812945 h 4503132"/>
              <a:gd name="connsiteX2185" fmla="*/ 727728 w 4493400"/>
              <a:gd name="connsiteY2185" fmla="*/ 3803514 h 4503132"/>
              <a:gd name="connsiteX2186" fmla="*/ 736672 w 4493400"/>
              <a:gd name="connsiteY2186" fmla="*/ 3794949 h 4503132"/>
              <a:gd name="connsiteX2187" fmla="*/ 745472 w 4493400"/>
              <a:gd name="connsiteY2187" fmla="*/ 3782774 h 4503132"/>
              <a:gd name="connsiteX2188" fmla="*/ 757156 w 4493400"/>
              <a:gd name="connsiteY2188" fmla="*/ 3746877 h 4503132"/>
              <a:gd name="connsiteX2189" fmla="*/ 751675 w 4493400"/>
              <a:gd name="connsiteY2189" fmla="*/ 3699189 h 4503132"/>
              <a:gd name="connsiteX2190" fmla="*/ 747107 w 4493400"/>
              <a:gd name="connsiteY2190" fmla="*/ 3686389 h 4503132"/>
              <a:gd name="connsiteX2191" fmla="*/ 744702 w 4493400"/>
              <a:gd name="connsiteY2191" fmla="*/ 3679749 h 4503132"/>
              <a:gd name="connsiteX2192" fmla="*/ 741625 w 4493400"/>
              <a:gd name="connsiteY2192" fmla="*/ 3673252 h 4503132"/>
              <a:gd name="connsiteX2193" fmla="*/ 735277 w 4493400"/>
              <a:gd name="connsiteY2193" fmla="*/ 3659875 h 4503132"/>
              <a:gd name="connsiteX2194" fmla="*/ 727584 w 4493400"/>
              <a:gd name="connsiteY2194" fmla="*/ 3646546 h 4503132"/>
              <a:gd name="connsiteX2195" fmla="*/ 651560 w 4493400"/>
              <a:gd name="connsiteY2195" fmla="*/ 3562095 h 4503132"/>
              <a:gd name="connsiteX2196" fmla="*/ 663678 w 4493400"/>
              <a:gd name="connsiteY2196" fmla="*/ 3570131 h 4503132"/>
              <a:gd name="connsiteX2197" fmla="*/ 710129 w 4493400"/>
              <a:gd name="connsiteY2197" fmla="*/ 3611129 h 4503132"/>
              <a:gd name="connsiteX2198" fmla="*/ 719986 w 4493400"/>
              <a:gd name="connsiteY2198" fmla="*/ 3623111 h 4503132"/>
              <a:gd name="connsiteX2199" fmla="*/ 729122 w 4493400"/>
              <a:gd name="connsiteY2199" fmla="*/ 3635719 h 4503132"/>
              <a:gd name="connsiteX2200" fmla="*/ 737441 w 4493400"/>
              <a:gd name="connsiteY2200" fmla="*/ 3648904 h 4503132"/>
              <a:gd name="connsiteX2201" fmla="*/ 741529 w 4493400"/>
              <a:gd name="connsiteY2201" fmla="*/ 3655544 h 4503132"/>
              <a:gd name="connsiteX2202" fmla="*/ 745087 w 4493400"/>
              <a:gd name="connsiteY2202" fmla="*/ 3662425 h 4503132"/>
              <a:gd name="connsiteX2203" fmla="*/ 765091 w 4493400"/>
              <a:gd name="connsiteY2203" fmla="*/ 3720458 h 4503132"/>
              <a:gd name="connsiteX2204" fmla="*/ 759176 w 4493400"/>
              <a:gd name="connsiteY2204" fmla="*/ 3780320 h 4503132"/>
              <a:gd name="connsiteX2205" fmla="*/ 752925 w 4493400"/>
              <a:gd name="connsiteY2205" fmla="*/ 3794178 h 4503132"/>
              <a:gd name="connsiteX2206" fmla="*/ 744991 w 4493400"/>
              <a:gd name="connsiteY2206" fmla="*/ 3807748 h 4503132"/>
              <a:gd name="connsiteX2207" fmla="*/ 736143 w 4493400"/>
              <a:gd name="connsiteY2207" fmla="*/ 3818960 h 4503132"/>
              <a:gd name="connsiteX2208" fmla="*/ 724362 w 4493400"/>
              <a:gd name="connsiteY2208" fmla="*/ 3827863 h 4503132"/>
              <a:gd name="connsiteX2209" fmla="*/ 710706 w 4493400"/>
              <a:gd name="connsiteY2209" fmla="*/ 3835514 h 4503132"/>
              <a:gd name="connsiteX2210" fmla="*/ 703445 w 4493400"/>
              <a:gd name="connsiteY2210" fmla="*/ 3839893 h 4503132"/>
              <a:gd name="connsiteX2211" fmla="*/ 699742 w 4493400"/>
              <a:gd name="connsiteY2211" fmla="*/ 3842780 h 4503132"/>
              <a:gd name="connsiteX2212" fmla="*/ 696328 w 4493400"/>
              <a:gd name="connsiteY2212" fmla="*/ 3846966 h 4503132"/>
              <a:gd name="connsiteX2213" fmla="*/ 694982 w 4493400"/>
              <a:gd name="connsiteY2213" fmla="*/ 3849613 h 4503132"/>
              <a:gd name="connsiteX2214" fmla="*/ 694212 w 4493400"/>
              <a:gd name="connsiteY2214" fmla="*/ 3852645 h 4503132"/>
              <a:gd name="connsiteX2215" fmla="*/ 694260 w 4493400"/>
              <a:gd name="connsiteY2215" fmla="*/ 3858082 h 4503132"/>
              <a:gd name="connsiteX2216" fmla="*/ 696472 w 4493400"/>
              <a:gd name="connsiteY2216" fmla="*/ 3866744 h 4503132"/>
              <a:gd name="connsiteX2217" fmla="*/ 702194 w 4493400"/>
              <a:gd name="connsiteY2217" fmla="*/ 3881757 h 4503132"/>
              <a:gd name="connsiteX2218" fmla="*/ 704070 w 4493400"/>
              <a:gd name="connsiteY2218" fmla="*/ 3885077 h 4503132"/>
              <a:gd name="connsiteX2219" fmla="*/ 705897 w 4493400"/>
              <a:gd name="connsiteY2219" fmla="*/ 3886762 h 4503132"/>
              <a:gd name="connsiteX2220" fmla="*/ 708830 w 4493400"/>
              <a:gd name="connsiteY2220" fmla="*/ 3889457 h 4503132"/>
              <a:gd name="connsiteX2221" fmla="*/ 714697 w 4493400"/>
              <a:gd name="connsiteY2221" fmla="*/ 3894846 h 4503132"/>
              <a:gd name="connsiteX2222" fmla="*/ 726430 w 4493400"/>
              <a:gd name="connsiteY2222" fmla="*/ 3905673 h 4503132"/>
              <a:gd name="connsiteX2223" fmla="*/ 749847 w 4493400"/>
              <a:gd name="connsiteY2223" fmla="*/ 3927279 h 4503132"/>
              <a:gd name="connsiteX2224" fmla="*/ 758118 w 4493400"/>
              <a:gd name="connsiteY2224" fmla="*/ 3920783 h 4503132"/>
              <a:gd name="connsiteX2225" fmla="*/ 742731 w 4493400"/>
              <a:gd name="connsiteY2225" fmla="*/ 3888013 h 4503132"/>
              <a:gd name="connsiteX2226" fmla="*/ 742586 w 4493400"/>
              <a:gd name="connsiteY2226" fmla="*/ 3871652 h 4503132"/>
              <a:gd name="connsiteX2227" fmla="*/ 749126 w 4493400"/>
              <a:gd name="connsiteY2227" fmla="*/ 3855965 h 4503132"/>
              <a:gd name="connsiteX2228" fmla="*/ 771919 w 4493400"/>
              <a:gd name="connsiteY2228" fmla="*/ 3826900 h 4503132"/>
              <a:gd name="connsiteX2229" fmla="*/ 793606 w 4493400"/>
              <a:gd name="connsiteY2229" fmla="*/ 3794515 h 4503132"/>
              <a:gd name="connsiteX2230" fmla="*/ 803319 w 4493400"/>
              <a:gd name="connsiteY2230" fmla="*/ 3756116 h 4503132"/>
              <a:gd name="connsiteX2231" fmla="*/ 799183 w 4493400"/>
              <a:gd name="connsiteY2231" fmla="*/ 3717138 h 4503132"/>
              <a:gd name="connsiteX2232" fmla="*/ 769034 w 4493400"/>
              <a:gd name="connsiteY2232" fmla="*/ 3646402 h 4503132"/>
              <a:gd name="connsiteX2233" fmla="*/ 756531 w 4493400"/>
              <a:gd name="connsiteY2233" fmla="*/ 3626672 h 4503132"/>
              <a:gd name="connsiteX2234" fmla="*/ 742731 w 4493400"/>
              <a:gd name="connsiteY2234" fmla="*/ 3607809 h 4503132"/>
              <a:gd name="connsiteX2235" fmla="*/ 711379 w 4493400"/>
              <a:gd name="connsiteY2235" fmla="*/ 3573307 h 4503132"/>
              <a:gd name="connsiteX2236" fmla="*/ 638385 w 4493400"/>
              <a:gd name="connsiteY2236" fmla="*/ 3516140 h 4503132"/>
              <a:gd name="connsiteX2237" fmla="*/ 559668 w 4493400"/>
              <a:gd name="connsiteY2237" fmla="*/ 3468501 h 4503132"/>
              <a:gd name="connsiteX2238" fmla="*/ 484750 w 4493400"/>
              <a:gd name="connsiteY2238" fmla="*/ 3417349 h 4503132"/>
              <a:gd name="connsiteX2239" fmla="*/ 453350 w 4493400"/>
              <a:gd name="connsiteY2239" fmla="*/ 3385494 h 4503132"/>
              <a:gd name="connsiteX2240" fmla="*/ 429932 w 4493400"/>
              <a:gd name="connsiteY2240" fmla="*/ 3347672 h 4503132"/>
              <a:gd name="connsiteX2241" fmla="*/ 406082 w 4493400"/>
              <a:gd name="connsiteY2241" fmla="*/ 3262114 h 4503132"/>
              <a:gd name="connsiteX2242" fmla="*/ 412381 w 4493400"/>
              <a:gd name="connsiteY2242" fmla="*/ 3219287 h 4503132"/>
              <a:gd name="connsiteX2243" fmla="*/ 422912 w 4493400"/>
              <a:gd name="connsiteY2243" fmla="*/ 3200953 h 4503132"/>
              <a:gd name="connsiteX2244" fmla="*/ 438780 w 4493400"/>
              <a:gd name="connsiteY2244" fmla="*/ 3188490 h 4503132"/>
              <a:gd name="connsiteX2245" fmla="*/ 481336 w 4493400"/>
              <a:gd name="connsiteY2245" fmla="*/ 3182523 h 4503132"/>
              <a:gd name="connsiteX2246" fmla="*/ 526248 w 4493400"/>
              <a:gd name="connsiteY2246" fmla="*/ 3187191 h 4503132"/>
              <a:gd name="connsiteX2247" fmla="*/ 571978 w 4493400"/>
              <a:gd name="connsiteY2247" fmla="*/ 3192725 h 4503132"/>
              <a:gd name="connsiteX2248" fmla="*/ 595444 w 4493400"/>
              <a:gd name="connsiteY2248" fmla="*/ 3193158 h 4503132"/>
              <a:gd name="connsiteX2249" fmla="*/ 619246 w 4493400"/>
              <a:gd name="connsiteY2249" fmla="*/ 3189164 h 4503132"/>
              <a:gd name="connsiteX2250" fmla="*/ 630739 w 4493400"/>
              <a:gd name="connsiteY2250" fmla="*/ 3184207 h 4503132"/>
              <a:gd name="connsiteX2251" fmla="*/ 636028 w 4493400"/>
              <a:gd name="connsiteY2251" fmla="*/ 3180598 h 4503132"/>
              <a:gd name="connsiteX2252" fmla="*/ 640789 w 4493400"/>
              <a:gd name="connsiteY2252" fmla="*/ 3176316 h 4503132"/>
              <a:gd name="connsiteX2253" fmla="*/ 653435 w 4493400"/>
              <a:gd name="connsiteY2253" fmla="*/ 3154662 h 4503132"/>
              <a:gd name="connsiteX2254" fmla="*/ 655022 w 4493400"/>
              <a:gd name="connsiteY2254" fmla="*/ 3148743 h 4503132"/>
              <a:gd name="connsiteX2255" fmla="*/ 656272 w 4493400"/>
              <a:gd name="connsiteY2255" fmla="*/ 3142776 h 4503132"/>
              <a:gd name="connsiteX2256" fmla="*/ 657378 w 4493400"/>
              <a:gd name="connsiteY2256" fmla="*/ 3130842 h 4503132"/>
              <a:gd name="connsiteX2257" fmla="*/ 657378 w 4493400"/>
              <a:gd name="connsiteY2257" fmla="*/ 3119004 h 4503132"/>
              <a:gd name="connsiteX2258" fmla="*/ 656561 w 4493400"/>
              <a:gd name="connsiteY2258" fmla="*/ 3107263 h 4503132"/>
              <a:gd name="connsiteX2259" fmla="*/ 634538 w 4493400"/>
              <a:gd name="connsiteY2259" fmla="*/ 3017519 h 4503132"/>
              <a:gd name="connsiteX2260" fmla="*/ 599339 w 4493400"/>
              <a:gd name="connsiteY2260" fmla="*/ 2932828 h 4503132"/>
              <a:gd name="connsiteX2261" fmla="*/ 523075 w 4493400"/>
              <a:gd name="connsiteY2261" fmla="*/ 2781009 h 4503132"/>
              <a:gd name="connsiteX2262" fmla="*/ 538174 w 4493400"/>
              <a:gd name="connsiteY2262" fmla="*/ 2806945 h 4503132"/>
              <a:gd name="connsiteX2263" fmla="*/ 611649 w 4493400"/>
              <a:gd name="connsiteY2263" fmla="*/ 2935715 h 4503132"/>
              <a:gd name="connsiteX2264" fmla="*/ 643145 w 4493400"/>
              <a:gd name="connsiteY2264" fmla="*/ 3002024 h 4503132"/>
              <a:gd name="connsiteX2265" fmla="*/ 667236 w 4493400"/>
              <a:gd name="connsiteY2265" fmla="*/ 3070788 h 4503132"/>
              <a:gd name="connsiteX2266" fmla="*/ 680748 w 4493400"/>
              <a:gd name="connsiteY2266" fmla="*/ 3141862 h 4503132"/>
              <a:gd name="connsiteX2267" fmla="*/ 680748 w 4493400"/>
              <a:gd name="connsiteY2267" fmla="*/ 3177037 h 4503132"/>
              <a:gd name="connsiteX2268" fmla="*/ 666515 w 4493400"/>
              <a:gd name="connsiteY2268" fmla="*/ 3205909 h 4503132"/>
              <a:gd name="connsiteX2269" fmla="*/ 635547 w 4493400"/>
              <a:gd name="connsiteY2269" fmla="*/ 3215967 h 4503132"/>
              <a:gd name="connsiteX2270" fmla="*/ 600397 w 4493400"/>
              <a:gd name="connsiteY2270" fmla="*/ 3213416 h 4503132"/>
              <a:gd name="connsiteX2271" fmla="*/ 529422 w 4493400"/>
              <a:gd name="connsiteY2271" fmla="*/ 3199702 h 4503132"/>
              <a:gd name="connsiteX2272" fmla="*/ 492973 w 4493400"/>
              <a:gd name="connsiteY2272" fmla="*/ 3195371 h 4503132"/>
              <a:gd name="connsiteX2273" fmla="*/ 483692 w 4493400"/>
              <a:gd name="connsiteY2273" fmla="*/ 3195227 h 4503132"/>
              <a:gd name="connsiteX2274" fmla="*/ 474316 w 4493400"/>
              <a:gd name="connsiteY2274" fmla="*/ 3195708 h 4503132"/>
              <a:gd name="connsiteX2275" fmla="*/ 469603 w 4493400"/>
              <a:gd name="connsiteY2275" fmla="*/ 3196189 h 4503132"/>
              <a:gd name="connsiteX2276" fmla="*/ 464747 w 4493400"/>
              <a:gd name="connsiteY2276" fmla="*/ 3197152 h 4503132"/>
              <a:gd name="connsiteX2277" fmla="*/ 455370 w 4493400"/>
              <a:gd name="connsiteY2277" fmla="*/ 3200183 h 4503132"/>
              <a:gd name="connsiteX2278" fmla="*/ 426663 w 4493400"/>
              <a:gd name="connsiteY2278" fmla="*/ 3225543 h 4503132"/>
              <a:gd name="connsiteX2279" fmla="*/ 415074 w 4493400"/>
              <a:gd name="connsiteY2279" fmla="*/ 3261440 h 4503132"/>
              <a:gd name="connsiteX2280" fmla="*/ 417190 w 4493400"/>
              <a:gd name="connsiteY2280" fmla="*/ 3298493 h 4503132"/>
              <a:gd name="connsiteX2281" fmla="*/ 427769 w 4493400"/>
              <a:gd name="connsiteY2281" fmla="*/ 3333476 h 4503132"/>
              <a:gd name="connsiteX2282" fmla="*/ 464554 w 4493400"/>
              <a:gd name="connsiteY2282" fmla="*/ 3395936 h 4503132"/>
              <a:gd name="connsiteX2283" fmla="*/ 490280 w 4493400"/>
              <a:gd name="connsiteY2283" fmla="*/ 3421440 h 4503132"/>
              <a:gd name="connsiteX2284" fmla="*/ 519180 w 4493400"/>
              <a:gd name="connsiteY2284" fmla="*/ 3442853 h 4503132"/>
              <a:gd name="connsiteX2285" fmla="*/ 580297 w 4493400"/>
              <a:gd name="connsiteY2285" fmla="*/ 3478703 h 4503132"/>
              <a:gd name="connsiteX2286" fmla="*/ 696905 w 4493400"/>
              <a:gd name="connsiteY2286" fmla="*/ 3554925 h 4503132"/>
              <a:gd name="connsiteX2287" fmla="*/ 745712 w 4493400"/>
              <a:gd name="connsiteY2287" fmla="*/ 3603093 h 4503132"/>
              <a:gd name="connsiteX2288" fmla="*/ 756147 w 4493400"/>
              <a:gd name="connsiteY2288" fmla="*/ 3616615 h 4503132"/>
              <a:gd name="connsiteX2289" fmla="*/ 765668 w 4493400"/>
              <a:gd name="connsiteY2289" fmla="*/ 3630763 h 4503132"/>
              <a:gd name="connsiteX2290" fmla="*/ 774708 w 4493400"/>
              <a:gd name="connsiteY2290" fmla="*/ 3645343 h 4503132"/>
              <a:gd name="connsiteX2291" fmla="*/ 783123 w 4493400"/>
              <a:gd name="connsiteY2291" fmla="*/ 3660260 h 4503132"/>
              <a:gd name="connsiteX2292" fmla="*/ 808512 w 4493400"/>
              <a:gd name="connsiteY2292" fmla="*/ 3722912 h 4503132"/>
              <a:gd name="connsiteX2293" fmla="*/ 808224 w 4493400"/>
              <a:gd name="connsiteY2293" fmla="*/ 3788260 h 4503132"/>
              <a:gd name="connsiteX2294" fmla="*/ 775285 w 4493400"/>
              <a:gd name="connsiteY2294" fmla="*/ 3846100 h 4503132"/>
              <a:gd name="connsiteX2295" fmla="*/ 758455 w 4493400"/>
              <a:gd name="connsiteY2295" fmla="*/ 3877186 h 4503132"/>
              <a:gd name="connsiteX2296" fmla="*/ 759368 w 4493400"/>
              <a:gd name="connsiteY2296" fmla="*/ 3913517 h 4503132"/>
              <a:gd name="connsiteX2297" fmla="*/ 767639 w 4493400"/>
              <a:gd name="connsiteY2297" fmla="*/ 3929300 h 4503132"/>
              <a:gd name="connsiteX2298" fmla="*/ 776679 w 4493400"/>
              <a:gd name="connsiteY2298" fmla="*/ 3943832 h 4503132"/>
              <a:gd name="connsiteX2299" fmla="*/ 786104 w 4493400"/>
              <a:gd name="connsiteY2299" fmla="*/ 3958028 h 4503132"/>
              <a:gd name="connsiteX2300" fmla="*/ 788412 w 4493400"/>
              <a:gd name="connsiteY2300" fmla="*/ 3960434 h 4503132"/>
              <a:gd name="connsiteX2301" fmla="*/ 790047 w 4493400"/>
              <a:gd name="connsiteY2301" fmla="*/ 3961781 h 4503132"/>
              <a:gd name="connsiteX2302" fmla="*/ 793317 w 4493400"/>
              <a:gd name="connsiteY2302" fmla="*/ 3964476 h 4503132"/>
              <a:gd name="connsiteX2303" fmla="*/ 799857 w 4493400"/>
              <a:gd name="connsiteY2303" fmla="*/ 3969865 h 4503132"/>
              <a:gd name="connsiteX2304" fmla="*/ 851885 w 4493400"/>
              <a:gd name="connsiteY2304" fmla="*/ 4012885 h 4503132"/>
              <a:gd name="connsiteX2305" fmla="*/ 858137 w 4493400"/>
              <a:gd name="connsiteY2305" fmla="*/ 4006100 h 4503132"/>
              <a:gd name="connsiteX2306" fmla="*/ 818322 w 4493400"/>
              <a:gd name="connsiteY2306" fmla="*/ 3959664 h 4503132"/>
              <a:gd name="connsiteX2307" fmla="*/ 796587 w 4493400"/>
              <a:gd name="connsiteY2307" fmla="*/ 3906299 h 4503132"/>
              <a:gd name="connsiteX2308" fmla="*/ 803944 w 4493400"/>
              <a:gd name="connsiteY2308" fmla="*/ 3879111 h 4503132"/>
              <a:gd name="connsiteX2309" fmla="*/ 819572 w 4493400"/>
              <a:gd name="connsiteY2309" fmla="*/ 3853318 h 4503132"/>
              <a:gd name="connsiteX2310" fmla="*/ 834094 w 4493400"/>
              <a:gd name="connsiteY2310" fmla="*/ 3825745 h 4503132"/>
              <a:gd name="connsiteX2311" fmla="*/ 842749 w 4493400"/>
              <a:gd name="connsiteY2311" fmla="*/ 3795622 h 4503132"/>
              <a:gd name="connsiteX2312" fmla="*/ 844769 w 4493400"/>
              <a:gd name="connsiteY2312" fmla="*/ 3764537 h 4503132"/>
              <a:gd name="connsiteX2313" fmla="*/ 841643 w 4493400"/>
              <a:gd name="connsiteY2313" fmla="*/ 3733836 h 4503132"/>
              <a:gd name="connsiteX2314" fmla="*/ 835104 w 4493400"/>
              <a:gd name="connsiteY2314" fmla="*/ 3703905 h 4503132"/>
              <a:gd name="connsiteX2315" fmla="*/ 825679 w 4493400"/>
              <a:gd name="connsiteY2315" fmla="*/ 3674840 h 4503132"/>
              <a:gd name="connsiteX2316" fmla="*/ 797597 w 4493400"/>
              <a:gd name="connsiteY2316" fmla="*/ 3620898 h 4503132"/>
              <a:gd name="connsiteX2317" fmla="*/ 793461 w 4493400"/>
              <a:gd name="connsiteY2317" fmla="*/ 3614546 h 4503132"/>
              <a:gd name="connsiteX2318" fmla="*/ 788941 w 4493400"/>
              <a:gd name="connsiteY2318" fmla="*/ 3608483 h 4503132"/>
              <a:gd name="connsiteX2319" fmla="*/ 779805 w 4493400"/>
              <a:gd name="connsiteY2319" fmla="*/ 3596405 h 4503132"/>
              <a:gd name="connsiteX2320" fmla="*/ 759753 w 4493400"/>
              <a:gd name="connsiteY2320" fmla="*/ 3573884 h 4503132"/>
              <a:gd name="connsiteX2321" fmla="*/ 715370 w 4493400"/>
              <a:gd name="connsiteY2321" fmla="*/ 3533608 h 4503132"/>
              <a:gd name="connsiteX2322" fmla="*/ 666947 w 4493400"/>
              <a:gd name="connsiteY2322" fmla="*/ 3499154 h 4503132"/>
              <a:gd name="connsiteX2323" fmla="*/ 616409 w 4493400"/>
              <a:gd name="connsiteY2323" fmla="*/ 3468694 h 4503132"/>
              <a:gd name="connsiteX2324" fmla="*/ 590347 w 4493400"/>
              <a:gd name="connsiteY2324" fmla="*/ 3455124 h 4503132"/>
              <a:gd name="connsiteX2325" fmla="*/ 564957 w 4493400"/>
              <a:gd name="connsiteY2325" fmla="*/ 3441217 h 4503132"/>
              <a:gd name="connsiteX2326" fmla="*/ 517449 w 4493400"/>
              <a:gd name="connsiteY2326" fmla="*/ 3408977 h 4503132"/>
              <a:gd name="connsiteX2327" fmla="*/ 477970 w 4493400"/>
              <a:gd name="connsiteY2327" fmla="*/ 3368604 h 4503132"/>
              <a:gd name="connsiteX2328" fmla="*/ 473931 w 4493400"/>
              <a:gd name="connsiteY2328" fmla="*/ 3362877 h 4503132"/>
              <a:gd name="connsiteX2329" fmla="*/ 470373 w 4493400"/>
              <a:gd name="connsiteY2329" fmla="*/ 3356911 h 4503132"/>
              <a:gd name="connsiteX2330" fmla="*/ 466910 w 4493400"/>
              <a:gd name="connsiteY2330" fmla="*/ 3350896 h 4503132"/>
              <a:gd name="connsiteX2331" fmla="*/ 463833 w 4493400"/>
              <a:gd name="connsiteY2331" fmla="*/ 3344544 h 4503132"/>
              <a:gd name="connsiteX2332" fmla="*/ 458063 w 4493400"/>
              <a:gd name="connsiteY2332" fmla="*/ 3331599 h 4503132"/>
              <a:gd name="connsiteX2333" fmla="*/ 455370 w 4493400"/>
              <a:gd name="connsiteY2333" fmla="*/ 3325055 h 4503132"/>
              <a:gd name="connsiteX2334" fmla="*/ 453062 w 4493400"/>
              <a:gd name="connsiteY2334" fmla="*/ 3318414 h 4503132"/>
              <a:gd name="connsiteX2335" fmla="*/ 446618 w 4493400"/>
              <a:gd name="connsiteY2335" fmla="*/ 3291564 h 4503132"/>
              <a:gd name="connsiteX2336" fmla="*/ 450032 w 4493400"/>
              <a:gd name="connsiteY2336" fmla="*/ 3266108 h 4503132"/>
              <a:gd name="connsiteX2337" fmla="*/ 469122 w 4493400"/>
              <a:gd name="connsiteY2337" fmla="*/ 3250757 h 4503132"/>
              <a:gd name="connsiteX2338" fmla="*/ 495714 w 4493400"/>
              <a:gd name="connsiteY2338" fmla="*/ 3247052 h 4503132"/>
              <a:gd name="connsiteX2339" fmla="*/ 550724 w 4493400"/>
              <a:gd name="connsiteY2339" fmla="*/ 3254126 h 4503132"/>
              <a:gd name="connsiteX2340" fmla="*/ 604821 w 4493400"/>
              <a:gd name="connsiteY2340" fmla="*/ 3268129 h 4503132"/>
              <a:gd name="connsiteX2341" fmla="*/ 618525 w 4493400"/>
              <a:gd name="connsiteY2341" fmla="*/ 3271882 h 4503132"/>
              <a:gd name="connsiteX2342" fmla="*/ 632566 w 4493400"/>
              <a:gd name="connsiteY2342" fmla="*/ 3274481 h 4503132"/>
              <a:gd name="connsiteX2343" fmla="*/ 659975 w 4493400"/>
              <a:gd name="connsiteY2343" fmla="*/ 3278812 h 4503132"/>
              <a:gd name="connsiteX2344" fmla="*/ 710561 w 4493400"/>
              <a:gd name="connsiteY2344" fmla="*/ 3297049 h 4503132"/>
              <a:gd name="connsiteX2345" fmla="*/ 731815 w 4493400"/>
              <a:gd name="connsiteY2345" fmla="*/ 3313121 h 4503132"/>
              <a:gd name="connsiteX2346" fmla="*/ 736480 w 4493400"/>
              <a:gd name="connsiteY2346" fmla="*/ 3317789 h 4503132"/>
              <a:gd name="connsiteX2347" fmla="*/ 740759 w 4493400"/>
              <a:gd name="connsiteY2347" fmla="*/ 3322890 h 4503132"/>
              <a:gd name="connsiteX2348" fmla="*/ 748789 w 4493400"/>
              <a:gd name="connsiteY2348" fmla="*/ 3333669 h 4503132"/>
              <a:gd name="connsiteX2349" fmla="*/ 775862 w 4493400"/>
              <a:gd name="connsiteY2349" fmla="*/ 3380778 h 4503132"/>
              <a:gd name="connsiteX2350" fmla="*/ 800434 w 4493400"/>
              <a:gd name="connsiteY2350" fmla="*/ 3429476 h 4503132"/>
              <a:gd name="connsiteX2351" fmla="*/ 826785 w 4493400"/>
              <a:gd name="connsiteY2351" fmla="*/ 3477211 h 4503132"/>
              <a:gd name="connsiteX2352" fmla="*/ 841836 w 4493400"/>
              <a:gd name="connsiteY2352" fmla="*/ 3499972 h 4503132"/>
              <a:gd name="connsiteX2353" fmla="*/ 845827 w 4493400"/>
              <a:gd name="connsiteY2353" fmla="*/ 3505506 h 4503132"/>
              <a:gd name="connsiteX2354" fmla="*/ 850203 w 4493400"/>
              <a:gd name="connsiteY2354" fmla="*/ 3510751 h 4503132"/>
              <a:gd name="connsiteX2355" fmla="*/ 859002 w 4493400"/>
              <a:gd name="connsiteY2355" fmla="*/ 3521193 h 4503132"/>
              <a:gd name="connsiteX2356" fmla="*/ 939786 w 4493400"/>
              <a:gd name="connsiteY2356" fmla="*/ 3591833 h 4503132"/>
              <a:gd name="connsiteX2357" fmla="*/ 1110972 w 4493400"/>
              <a:gd name="connsiteY2357" fmla="*/ 3712278 h 4503132"/>
              <a:gd name="connsiteX2358" fmla="*/ 1131745 w 4493400"/>
              <a:gd name="connsiteY2358" fmla="*/ 3727388 h 4503132"/>
              <a:gd name="connsiteX2359" fmla="*/ 1151989 w 4493400"/>
              <a:gd name="connsiteY2359" fmla="*/ 3742931 h 4503132"/>
              <a:gd name="connsiteX2360" fmla="*/ 1171416 w 4493400"/>
              <a:gd name="connsiteY2360" fmla="*/ 3759243 h 4503132"/>
              <a:gd name="connsiteX2361" fmla="*/ 1180696 w 4493400"/>
              <a:gd name="connsiteY2361" fmla="*/ 3767712 h 4503132"/>
              <a:gd name="connsiteX2362" fmla="*/ 1189448 w 4493400"/>
              <a:gd name="connsiteY2362" fmla="*/ 3776759 h 4503132"/>
              <a:gd name="connsiteX2363" fmla="*/ 1249507 w 4493400"/>
              <a:gd name="connsiteY2363" fmla="*/ 3856735 h 4503132"/>
              <a:gd name="connsiteX2364" fmla="*/ 1301296 w 4493400"/>
              <a:gd name="connsiteY2364" fmla="*/ 3942052 h 4503132"/>
              <a:gd name="connsiteX2365" fmla="*/ 1316010 w 4493400"/>
              <a:gd name="connsiteY2365" fmla="*/ 3962166 h 4503132"/>
              <a:gd name="connsiteX2366" fmla="*/ 1332311 w 4493400"/>
              <a:gd name="connsiteY2366" fmla="*/ 3980981 h 4503132"/>
              <a:gd name="connsiteX2367" fmla="*/ 1341207 w 4493400"/>
              <a:gd name="connsiteY2367" fmla="*/ 3989642 h 4503132"/>
              <a:gd name="connsiteX2368" fmla="*/ 1350295 w 4493400"/>
              <a:gd name="connsiteY2368" fmla="*/ 3998064 h 4503132"/>
              <a:gd name="connsiteX2369" fmla="*/ 1359960 w 4493400"/>
              <a:gd name="connsiteY2369" fmla="*/ 4005811 h 4503132"/>
              <a:gd name="connsiteX2370" fmla="*/ 1369866 w 4493400"/>
              <a:gd name="connsiteY2370" fmla="*/ 4013221 h 4503132"/>
              <a:gd name="connsiteX2371" fmla="*/ 1380252 w 4493400"/>
              <a:gd name="connsiteY2371" fmla="*/ 4019910 h 4503132"/>
              <a:gd name="connsiteX2372" fmla="*/ 1390783 w 4493400"/>
              <a:gd name="connsiteY2372" fmla="*/ 4026262 h 4503132"/>
              <a:gd name="connsiteX2373" fmla="*/ 1412710 w 4493400"/>
              <a:gd name="connsiteY2373" fmla="*/ 4037282 h 4503132"/>
              <a:gd name="connsiteX2374" fmla="*/ 1435455 w 4493400"/>
              <a:gd name="connsiteY2374" fmla="*/ 4046136 h 4503132"/>
              <a:gd name="connsiteX2375" fmla="*/ 1446899 w 4493400"/>
              <a:gd name="connsiteY2375" fmla="*/ 4050081 h 4503132"/>
              <a:gd name="connsiteX2376" fmla="*/ 1458392 w 4493400"/>
              <a:gd name="connsiteY2376" fmla="*/ 4053690 h 4503132"/>
              <a:gd name="connsiteX2377" fmla="*/ 1552736 w 4493400"/>
              <a:gd name="connsiteY2377" fmla="*/ 4070340 h 4503132"/>
              <a:gd name="connsiteX2378" fmla="*/ 1600197 w 4493400"/>
              <a:gd name="connsiteY2378" fmla="*/ 4065143 h 4503132"/>
              <a:gd name="connsiteX2379" fmla="*/ 1644388 w 4493400"/>
              <a:gd name="connsiteY2379" fmla="*/ 4048301 h 4503132"/>
              <a:gd name="connsiteX2380" fmla="*/ 1684876 w 4493400"/>
              <a:gd name="connsiteY2380" fmla="*/ 4025733 h 4503132"/>
              <a:gd name="connsiteX2381" fmla="*/ 1725701 w 4493400"/>
              <a:gd name="connsiteY2381" fmla="*/ 4006148 h 4503132"/>
              <a:gd name="connsiteX2382" fmla="*/ 1768834 w 4493400"/>
              <a:gd name="connsiteY2382" fmla="*/ 3994695 h 4503132"/>
              <a:gd name="connsiteX2383" fmla="*/ 1813169 w 4493400"/>
              <a:gd name="connsiteY2383" fmla="*/ 3992001 h 4503132"/>
              <a:gd name="connsiteX2384" fmla="*/ 1900493 w 4493400"/>
              <a:gd name="connsiteY2384" fmla="*/ 4003501 h 4503132"/>
              <a:gd name="connsiteX2385" fmla="*/ 1921410 w 4493400"/>
              <a:gd name="connsiteY2385" fmla="*/ 4009131 h 4503132"/>
              <a:gd name="connsiteX2386" fmla="*/ 1931460 w 4493400"/>
              <a:gd name="connsiteY2386" fmla="*/ 4012933 h 4503132"/>
              <a:gd name="connsiteX2387" fmla="*/ 1936461 w 4493400"/>
              <a:gd name="connsiteY2387" fmla="*/ 4014810 h 4503132"/>
              <a:gd name="connsiteX2388" fmla="*/ 1941222 w 4493400"/>
              <a:gd name="connsiteY2388" fmla="*/ 4017167 h 4503132"/>
              <a:gd name="connsiteX2389" fmla="*/ 1950743 w 4493400"/>
              <a:gd name="connsiteY2389" fmla="*/ 4021979 h 4503132"/>
              <a:gd name="connsiteX2390" fmla="*/ 1959638 w 4493400"/>
              <a:gd name="connsiteY2390" fmla="*/ 4027754 h 4503132"/>
              <a:gd name="connsiteX2391" fmla="*/ 1968005 w 4493400"/>
              <a:gd name="connsiteY2391" fmla="*/ 4034202 h 4503132"/>
              <a:gd name="connsiteX2392" fmla="*/ 1972093 w 4493400"/>
              <a:gd name="connsiteY2392" fmla="*/ 4037570 h 4503132"/>
              <a:gd name="connsiteX2393" fmla="*/ 1975843 w 4493400"/>
              <a:gd name="connsiteY2393" fmla="*/ 4041324 h 4503132"/>
              <a:gd name="connsiteX2394" fmla="*/ 2001906 w 4493400"/>
              <a:gd name="connsiteY2394" fmla="*/ 4074623 h 4503132"/>
              <a:gd name="connsiteX2395" fmla="*/ 2025756 w 4493400"/>
              <a:gd name="connsiteY2395" fmla="*/ 4110232 h 4503132"/>
              <a:gd name="connsiteX2396" fmla="*/ 2055041 w 4493400"/>
              <a:gd name="connsiteY2396" fmla="*/ 4141558 h 4503132"/>
              <a:gd name="connsiteX2397" fmla="*/ 2072207 w 4493400"/>
              <a:gd name="connsiteY2397" fmla="*/ 4154262 h 4503132"/>
              <a:gd name="connsiteX2398" fmla="*/ 2090672 w 4493400"/>
              <a:gd name="connsiteY2398" fmla="*/ 4164655 h 4503132"/>
              <a:gd name="connsiteX2399" fmla="*/ 2169196 w 4493400"/>
              <a:gd name="connsiteY2399" fmla="*/ 4191362 h 4503132"/>
              <a:gd name="connsiteX2400" fmla="*/ 2247817 w 4493400"/>
              <a:gd name="connsiteY2400" fmla="*/ 4209744 h 4503132"/>
              <a:gd name="connsiteX2401" fmla="*/ 2285179 w 4493400"/>
              <a:gd name="connsiteY2401" fmla="*/ 4221967 h 4503132"/>
              <a:gd name="connsiteX2402" fmla="*/ 2316339 w 4493400"/>
              <a:gd name="connsiteY2402" fmla="*/ 4242899 h 4503132"/>
              <a:gd name="connsiteX2403" fmla="*/ 2327543 w 4493400"/>
              <a:gd name="connsiteY2403" fmla="*/ 4277305 h 4503132"/>
              <a:gd name="connsiteX2404" fmla="*/ 2318359 w 4493400"/>
              <a:gd name="connsiteY2404" fmla="*/ 4312866 h 4503132"/>
              <a:gd name="connsiteX2405" fmla="*/ 2295422 w 4493400"/>
              <a:gd name="connsiteY2405" fmla="*/ 4342027 h 4503132"/>
              <a:gd name="connsiteX2406" fmla="*/ 2267147 w 4493400"/>
              <a:gd name="connsiteY2406" fmla="*/ 4366183 h 4503132"/>
              <a:gd name="connsiteX2407" fmla="*/ 2203722 w 4493400"/>
              <a:gd name="connsiteY2407" fmla="*/ 4402754 h 4503132"/>
              <a:gd name="connsiteX2408" fmla="*/ 2195451 w 4493400"/>
              <a:gd name="connsiteY2408" fmla="*/ 4406508 h 4503132"/>
              <a:gd name="connsiteX2409" fmla="*/ 2187036 w 4493400"/>
              <a:gd name="connsiteY2409" fmla="*/ 4409780 h 4503132"/>
              <a:gd name="connsiteX2410" fmla="*/ 2170158 w 4493400"/>
              <a:gd name="connsiteY2410" fmla="*/ 4415987 h 4503132"/>
              <a:gd name="connsiteX2411" fmla="*/ 2153136 w 4493400"/>
              <a:gd name="connsiteY2411" fmla="*/ 4421425 h 4503132"/>
              <a:gd name="connsiteX2412" fmla="*/ 2135921 w 4493400"/>
              <a:gd name="connsiteY2412" fmla="*/ 4425804 h 4503132"/>
              <a:gd name="connsiteX2413" fmla="*/ 1998684 w 4493400"/>
              <a:gd name="connsiteY2413" fmla="*/ 4431530 h 4503132"/>
              <a:gd name="connsiteX2414" fmla="*/ 1871257 w 4493400"/>
              <a:gd name="connsiteY2414" fmla="*/ 4400444 h 4503132"/>
              <a:gd name="connsiteX2415" fmla="*/ 1756139 w 4493400"/>
              <a:gd name="connsiteY2415" fmla="*/ 4353191 h 4503132"/>
              <a:gd name="connsiteX2416" fmla="*/ 1648042 w 4493400"/>
              <a:gd name="connsiteY2416" fmla="*/ 4307861 h 4503132"/>
              <a:gd name="connsiteX2417" fmla="*/ 1453583 w 4493400"/>
              <a:gd name="connsiteY2417" fmla="*/ 4225624 h 4503132"/>
              <a:gd name="connsiteX2418" fmla="*/ 1291390 w 4493400"/>
              <a:gd name="connsiteY2418" fmla="*/ 4147669 h 4503132"/>
              <a:gd name="connsiteX2419" fmla="*/ 1215943 w 4493400"/>
              <a:gd name="connsiteY2419" fmla="*/ 4128181 h 4503132"/>
              <a:gd name="connsiteX2420" fmla="*/ 1179927 w 4493400"/>
              <a:gd name="connsiteY2420" fmla="*/ 4129384 h 4503132"/>
              <a:gd name="connsiteX2421" fmla="*/ 1147758 w 4493400"/>
              <a:gd name="connsiteY2421" fmla="*/ 4139874 h 4503132"/>
              <a:gd name="connsiteX2422" fmla="*/ 1117127 w 4493400"/>
              <a:gd name="connsiteY2422" fmla="*/ 4145504 h 4503132"/>
              <a:gd name="connsiteX2423" fmla="*/ 1087650 w 4493400"/>
              <a:gd name="connsiteY2423" fmla="*/ 4148776 h 4503132"/>
              <a:gd name="connsiteX2424" fmla="*/ 1081014 w 4493400"/>
              <a:gd name="connsiteY2424" fmla="*/ 4152385 h 4503132"/>
              <a:gd name="connsiteX2425" fmla="*/ 1080582 w 4493400"/>
              <a:gd name="connsiteY2425" fmla="*/ 4159892 h 4503132"/>
              <a:gd name="connsiteX2426" fmla="*/ 1088804 w 4493400"/>
              <a:gd name="connsiteY2426" fmla="*/ 4170815 h 4503132"/>
              <a:gd name="connsiteX2427" fmla="*/ 1093276 w 4493400"/>
              <a:gd name="connsiteY2427" fmla="*/ 4175579 h 4503132"/>
              <a:gd name="connsiteX2428" fmla="*/ 1096017 w 4493400"/>
              <a:gd name="connsiteY2428" fmla="*/ 4177552 h 4503132"/>
              <a:gd name="connsiteX2429" fmla="*/ 1098758 w 4493400"/>
              <a:gd name="connsiteY2429" fmla="*/ 4179140 h 4503132"/>
              <a:gd name="connsiteX2430" fmla="*/ 1109481 w 4493400"/>
              <a:gd name="connsiteY2430" fmla="*/ 4185251 h 4503132"/>
              <a:gd name="connsiteX2431" fmla="*/ 1178004 w 4493400"/>
              <a:gd name="connsiteY2431" fmla="*/ 4224228 h 4503132"/>
              <a:gd name="connsiteX2432" fmla="*/ 1178581 w 4493400"/>
              <a:gd name="connsiteY2432" fmla="*/ 4223314 h 4503132"/>
              <a:gd name="connsiteX2433" fmla="*/ 1149296 w 4493400"/>
              <a:gd name="connsiteY2433" fmla="*/ 4198917 h 4503132"/>
              <a:gd name="connsiteX2434" fmla="*/ 1142709 w 4493400"/>
              <a:gd name="connsiteY2434" fmla="*/ 4191940 h 4503132"/>
              <a:gd name="connsiteX2435" fmla="*/ 1140689 w 4493400"/>
              <a:gd name="connsiteY2435" fmla="*/ 4189437 h 4503132"/>
              <a:gd name="connsiteX2436" fmla="*/ 1142516 w 4493400"/>
              <a:gd name="connsiteY2436" fmla="*/ 4192132 h 4503132"/>
              <a:gd name="connsiteX2437" fmla="*/ 1148960 w 4493400"/>
              <a:gd name="connsiteY2437" fmla="*/ 4199350 h 4503132"/>
              <a:gd name="connsiteX2438" fmla="*/ 1171897 w 4493400"/>
              <a:gd name="connsiteY2438" fmla="*/ 4219416 h 4503132"/>
              <a:gd name="connsiteX2439" fmla="*/ 1110443 w 4493400"/>
              <a:gd name="connsiteY2439" fmla="*/ 4183808 h 4503132"/>
              <a:gd name="connsiteX2440" fmla="*/ 1099768 w 4493400"/>
              <a:gd name="connsiteY2440" fmla="*/ 4177648 h 4503132"/>
              <a:gd name="connsiteX2441" fmla="*/ 1097027 w 4493400"/>
              <a:gd name="connsiteY2441" fmla="*/ 4176060 h 4503132"/>
              <a:gd name="connsiteX2442" fmla="*/ 1094623 w 4493400"/>
              <a:gd name="connsiteY2442" fmla="*/ 4174328 h 4503132"/>
              <a:gd name="connsiteX2443" fmla="*/ 1090199 w 4493400"/>
              <a:gd name="connsiteY2443" fmla="*/ 4169612 h 4503132"/>
              <a:gd name="connsiteX2444" fmla="*/ 1082361 w 4493400"/>
              <a:gd name="connsiteY2444" fmla="*/ 4159122 h 4503132"/>
              <a:gd name="connsiteX2445" fmla="*/ 1082601 w 4493400"/>
              <a:gd name="connsiteY2445" fmla="*/ 4153684 h 4503132"/>
              <a:gd name="connsiteX2446" fmla="*/ 1088227 w 4493400"/>
              <a:gd name="connsiteY2446" fmla="*/ 4150797 h 4503132"/>
              <a:gd name="connsiteX2447" fmla="*/ 1148575 w 4493400"/>
              <a:gd name="connsiteY2447" fmla="*/ 4142135 h 4503132"/>
              <a:gd name="connsiteX2448" fmla="*/ 1180408 w 4493400"/>
              <a:gd name="connsiteY2448" fmla="*/ 4131886 h 4503132"/>
              <a:gd name="connsiteX2449" fmla="*/ 1215655 w 4493400"/>
              <a:gd name="connsiteY2449" fmla="*/ 4130875 h 4503132"/>
              <a:gd name="connsiteX2450" fmla="*/ 1290332 w 4493400"/>
              <a:gd name="connsiteY2450" fmla="*/ 4150508 h 4503132"/>
              <a:gd name="connsiteX2451" fmla="*/ 1451948 w 4493400"/>
              <a:gd name="connsiteY2451" fmla="*/ 4228896 h 4503132"/>
              <a:gd name="connsiteX2452" fmla="*/ 1646504 w 4493400"/>
              <a:gd name="connsiteY2452" fmla="*/ 4311807 h 4503132"/>
              <a:gd name="connsiteX2453" fmla="*/ 1754360 w 4493400"/>
              <a:gd name="connsiteY2453" fmla="*/ 4357329 h 4503132"/>
              <a:gd name="connsiteX2454" fmla="*/ 1869670 w 4493400"/>
              <a:gd name="connsiteY2454" fmla="*/ 4404968 h 4503132"/>
              <a:gd name="connsiteX2455" fmla="*/ 1998059 w 4493400"/>
              <a:gd name="connsiteY2455" fmla="*/ 4436535 h 4503132"/>
              <a:gd name="connsiteX2456" fmla="*/ 2137171 w 4493400"/>
              <a:gd name="connsiteY2456" fmla="*/ 4431001 h 4503132"/>
              <a:gd name="connsiteX2457" fmla="*/ 2154626 w 4493400"/>
              <a:gd name="connsiteY2457" fmla="*/ 4426622 h 4503132"/>
              <a:gd name="connsiteX2458" fmla="*/ 2171889 w 4493400"/>
              <a:gd name="connsiteY2458" fmla="*/ 4421136 h 4503132"/>
              <a:gd name="connsiteX2459" fmla="*/ 2189008 w 4493400"/>
              <a:gd name="connsiteY2459" fmla="*/ 4414880 h 4503132"/>
              <a:gd name="connsiteX2460" fmla="*/ 2197567 w 4493400"/>
              <a:gd name="connsiteY2460" fmla="*/ 4411560 h 4503132"/>
              <a:gd name="connsiteX2461" fmla="*/ 2205934 w 4493400"/>
              <a:gd name="connsiteY2461" fmla="*/ 4407807 h 4503132"/>
              <a:gd name="connsiteX2462" fmla="*/ 2270465 w 4493400"/>
              <a:gd name="connsiteY2462" fmla="*/ 4370754 h 4503132"/>
              <a:gd name="connsiteX2463" fmla="*/ 2299413 w 4493400"/>
              <a:gd name="connsiteY2463" fmla="*/ 4346117 h 4503132"/>
              <a:gd name="connsiteX2464" fmla="*/ 2323408 w 4493400"/>
              <a:gd name="connsiteY2464" fmla="*/ 4315657 h 4503132"/>
              <a:gd name="connsiteX2465" fmla="*/ 2333361 w 4493400"/>
              <a:gd name="connsiteY2465" fmla="*/ 4277401 h 4503132"/>
              <a:gd name="connsiteX2466" fmla="*/ 2320907 w 4493400"/>
              <a:gd name="connsiteY2466" fmla="*/ 4239290 h 4503132"/>
              <a:gd name="connsiteX2467" fmla="*/ 2287536 w 4493400"/>
              <a:gd name="connsiteY2467" fmla="*/ 4216577 h 4503132"/>
              <a:gd name="connsiteX2468" fmla="*/ 2249404 w 4493400"/>
              <a:gd name="connsiteY2468" fmla="*/ 4204018 h 4503132"/>
              <a:gd name="connsiteX2469" fmla="*/ 2170735 w 4493400"/>
              <a:gd name="connsiteY2469" fmla="*/ 4185443 h 4503132"/>
              <a:gd name="connsiteX2470" fmla="*/ 2093509 w 4493400"/>
              <a:gd name="connsiteY2470" fmla="*/ 4159122 h 4503132"/>
              <a:gd name="connsiteX2471" fmla="*/ 2075670 w 4493400"/>
              <a:gd name="connsiteY2471" fmla="*/ 4149016 h 4503132"/>
              <a:gd name="connsiteX2472" fmla="*/ 2059128 w 4493400"/>
              <a:gd name="connsiteY2472" fmla="*/ 4136794 h 4503132"/>
              <a:gd name="connsiteX2473" fmla="*/ 2030902 w 4493400"/>
              <a:gd name="connsiteY2473" fmla="*/ 4106478 h 4503132"/>
              <a:gd name="connsiteX2474" fmla="*/ 2007340 w 4493400"/>
              <a:gd name="connsiteY2474" fmla="*/ 4071158 h 4503132"/>
              <a:gd name="connsiteX2475" fmla="*/ 1980460 w 4493400"/>
              <a:gd name="connsiteY2475" fmla="*/ 4036752 h 4503132"/>
              <a:gd name="connsiteX2476" fmla="*/ 1976565 w 4493400"/>
              <a:gd name="connsiteY2476" fmla="*/ 4032855 h 4503132"/>
              <a:gd name="connsiteX2477" fmla="*/ 1972285 w 4493400"/>
              <a:gd name="connsiteY2477" fmla="*/ 4029294 h 4503132"/>
              <a:gd name="connsiteX2478" fmla="*/ 1963485 w 4493400"/>
              <a:gd name="connsiteY2478" fmla="*/ 4022509 h 4503132"/>
              <a:gd name="connsiteX2479" fmla="*/ 1954157 w 4493400"/>
              <a:gd name="connsiteY2479" fmla="*/ 4016397 h 4503132"/>
              <a:gd name="connsiteX2480" fmla="*/ 1944203 w 4493400"/>
              <a:gd name="connsiteY2480" fmla="*/ 4011345 h 4503132"/>
              <a:gd name="connsiteX2481" fmla="*/ 1939202 w 4493400"/>
              <a:gd name="connsiteY2481" fmla="*/ 4008843 h 4503132"/>
              <a:gd name="connsiteX2482" fmla="*/ 1934009 w 4493400"/>
              <a:gd name="connsiteY2482" fmla="*/ 4006870 h 4503132"/>
              <a:gd name="connsiteX2483" fmla="*/ 1923574 w 4493400"/>
              <a:gd name="connsiteY2483" fmla="*/ 4002924 h 4503132"/>
              <a:gd name="connsiteX2484" fmla="*/ 1902080 w 4493400"/>
              <a:gd name="connsiteY2484" fmla="*/ 3997101 h 4503132"/>
              <a:gd name="connsiteX2485" fmla="*/ 1813458 w 4493400"/>
              <a:gd name="connsiteY2485" fmla="*/ 3985312 h 4503132"/>
              <a:gd name="connsiteX2486" fmla="*/ 1767968 w 4493400"/>
              <a:gd name="connsiteY2486" fmla="*/ 3988007 h 4503132"/>
              <a:gd name="connsiteX2487" fmla="*/ 1723441 w 4493400"/>
              <a:gd name="connsiteY2487" fmla="*/ 3999748 h 4503132"/>
              <a:gd name="connsiteX2488" fmla="*/ 1641407 w 4493400"/>
              <a:gd name="connsiteY2488" fmla="*/ 4042094 h 4503132"/>
              <a:gd name="connsiteX2489" fmla="*/ 1598706 w 4493400"/>
              <a:gd name="connsiteY2489" fmla="*/ 4058358 h 4503132"/>
              <a:gd name="connsiteX2490" fmla="*/ 1553025 w 4493400"/>
              <a:gd name="connsiteY2490" fmla="*/ 4063314 h 4503132"/>
              <a:gd name="connsiteX2491" fmla="*/ 1460700 w 4493400"/>
              <a:gd name="connsiteY2491" fmla="*/ 4046857 h 4503132"/>
              <a:gd name="connsiteX2492" fmla="*/ 1449352 w 4493400"/>
              <a:gd name="connsiteY2492" fmla="*/ 4043248 h 4503132"/>
              <a:gd name="connsiteX2493" fmla="*/ 1438100 w 4493400"/>
              <a:gd name="connsiteY2493" fmla="*/ 4039351 h 4503132"/>
              <a:gd name="connsiteX2494" fmla="*/ 1415932 w 4493400"/>
              <a:gd name="connsiteY2494" fmla="*/ 4030689 h 4503132"/>
              <a:gd name="connsiteX2495" fmla="*/ 1394630 w 4493400"/>
              <a:gd name="connsiteY2495" fmla="*/ 4019910 h 4503132"/>
              <a:gd name="connsiteX2496" fmla="*/ 1384436 w 4493400"/>
              <a:gd name="connsiteY2496" fmla="*/ 4013703 h 4503132"/>
              <a:gd name="connsiteX2497" fmla="*/ 1374386 w 4493400"/>
              <a:gd name="connsiteY2497" fmla="*/ 4007206 h 4503132"/>
              <a:gd name="connsiteX2498" fmla="*/ 1307739 w 4493400"/>
              <a:gd name="connsiteY2498" fmla="*/ 3937817 h 4503132"/>
              <a:gd name="connsiteX2499" fmla="*/ 1256287 w 4493400"/>
              <a:gd name="connsiteY2499" fmla="*/ 3852789 h 4503132"/>
              <a:gd name="connsiteX2500" fmla="*/ 1195314 w 4493400"/>
              <a:gd name="connsiteY2500" fmla="*/ 3771466 h 4503132"/>
              <a:gd name="connsiteX2501" fmla="*/ 1186370 w 4493400"/>
              <a:gd name="connsiteY2501" fmla="*/ 3762179 h 4503132"/>
              <a:gd name="connsiteX2502" fmla="*/ 1176849 w 4493400"/>
              <a:gd name="connsiteY2502" fmla="*/ 3753469 h 4503132"/>
              <a:gd name="connsiteX2503" fmla="*/ 1157134 w 4493400"/>
              <a:gd name="connsiteY2503" fmla="*/ 3736867 h 4503132"/>
              <a:gd name="connsiteX2504" fmla="*/ 1136698 w 4493400"/>
              <a:gd name="connsiteY2504" fmla="*/ 3721132 h 4503132"/>
              <a:gd name="connsiteX2505" fmla="*/ 1115829 w 4493400"/>
              <a:gd name="connsiteY2505" fmla="*/ 3705926 h 4503132"/>
              <a:gd name="connsiteX2506" fmla="*/ 944932 w 4493400"/>
              <a:gd name="connsiteY2506" fmla="*/ 3585433 h 4503132"/>
              <a:gd name="connsiteX2507" fmla="*/ 865350 w 4493400"/>
              <a:gd name="connsiteY2507" fmla="*/ 3515707 h 4503132"/>
              <a:gd name="connsiteX2508" fmla="*/ 856886 w 4493400"/>
              <a:gd name="connsiteY2508" fmla="*/ 3505602 h 4503132"/>
              <a:gd name="connsiteX2509" fmla="*/ 852655 w 4493400"/>
              <a:gd name="connsiteY2509" fmla="*/ 3500549 h 4503132"/>
              <a:gd name="connsiteX2510" fmla="*/ 848808 w 4493400"/>
              <a:gd name="connsiteY2510" fmla="*/ 3495160 h 4503132"/>
              <a:gd name="connsiteX2511" fmla="*/ 834094 w 4493400"/>
              <a:gd name="connsiteY2511" fmla="*/ 3472928 h 4503132"/>
              <a:gd name="connsiteX2512" fmla="*/ 808127 w 4493400"/>
              <a:gd name="connsiteY2512" fmla="*/ 3425722 h 4503132"/>
              <a:gd name="connsiteX2513" fmla="*/ 783604 w 4493400"/>
              <a:gd name="connsiteY2513" fmla="*/ 3376977 h 4503132"/>
              <a:gd name="connsiteX2514" fmla="*/ 756050 w 4493400"/>
              <a:gd name="connsiteY2514" fmla="*/ 3328953 h 4503132"/>
              <a:gd name="connsiteX2515" fmla="*/ 747635 w 4493400"/>
              <a:gd name="connsiteY2515" fmla="*/ 3317645 h 4503132"/>
              <a:gd name="connsiteX2516" fmla="*/ 743067 w 4493400"/>
              <a:gd name="connsiteY2516" fmla="*/ 3312207 h 4503132"/>
              <a:gd name="connsiteX2517" fmla="*/ 737970 w 4493400"/>
              <a:gd name="connsiteY2517" fmla="*/ 3307106 h 4503132"/>
              <a:gd name="connsiteX2518" fmla="*/ 715274 w 4493400"/>
              <a:gd name="connsiteY2518" fmla="*/ 3289879 h 4503132"/>
              <a:gd name="connsiteX2519" fmla="*/ 661995 w 4493400"/>
              <a:gd name="connsiteY2519" fmla="*/ 3270535 h 4503132"/>
              <a:gd name="connsiteX2520" fmla="*/ 634297 w 4493400"/>
              <a:gd name="connsiteY2520" fmla="*/ 3266156 h 4503132"/>
              <a:gd name="connsiteX2521" fmla="*/ 620881 w 4493400"/>
              <a:gd name="connsiteY2521" fmla="*/ 3263654 h 4503132"/>
              <a:gd name="connsiteX2522" fmla="*/ 607610 w 4493400"/>
              <a:gd name="connsiteY2522" fmla="*/ 3259996 h 4503132"/>
              <a:gd name="connsiteX2523" fmla="*/ 552984 w 4493400"/>
              <a:gd name="connsiteY2523" fmla="*/ 3245801 h 4503132"/>
              <a:gd name="connsiteX2524" fmla="*/ 496147 w 4493400"/>
              <a:gd name="connsiteY2524" fmla="*/ 3238487 h 4503132"/>
              <a:gd name="connsiteX2525" fmla="*/ 466814 w 4493400"/>
              <a:gd name="connsiteY2525" fmla="*/ 3242625 h 4503132"/>
              <a:gd name="connsiteX2526" fmla="*/ 442868 w 4493400"/>
              <a:gd name="connsiteY2526" fmla="*/ 3262114 h 4503132"/>
              <a:gd name="connsiteX2527" fmla="*/ 438540 w 4493400"/>
              <a:gd name="connsiteY2527" fmla="*/ 3292382 h 4503132"/>
              <a:gd name="connsiteX2528" fmla="*/ 445368 w 4493400"/>
              <a:gd name="connsiteY2528" fmla="*/ 3321109 h 4503132"/>
              <a:gd name="connsiteX2529" fmla="*/ 447820 w 4493400"/>
              <a:gd name="connsiteY2529" fmla="*/ 3328038 h 4503132"/>
              <a:gd name="connsiteX2530" fmla="*/ 450609 w 4493400"/>
              <a:gd name="connsiteY2530" fmla="*/ 3334775 h 4503132"/>
              <a:gd name="connsiteX2531" fmla="*/ 456524 w 4493400"/>
              <a:gd name="connsiteY2531" fmla="*/ 3348105 h 4503132"/>
              <a:gd name="connsiteX2532" fmla="*/ 459698 w 4493400"/>
              <a:gd name="connsiteY2532" fmla="*/ 3354697 h 4503132"/>
              <a:gd name="connsiteX2533" fmla="*/ 463352 w 4493400"/>
              <a:gd name="connsiteY2533" fmla="*/ 3361145 h 4503132"/>
              <a:gd name="connsiteX2534" fmla="*/ 467151 w 4493400"/>
              <a:gd name="connsiteY2534" fmla="*/ 3367545 h 4503132"/>
              <a:gd name="connsiteX2535" fmla="*/ 471431 w 4493400"/>
              <a:gd name="connsiteY2535" fmla="*/ 3373608 h 4503132"/>
              <a:gd name="connsiteX2536" fmla="*/ 512496 w 4493400"/>
              <a:gd name="connsiteY2536" fmla="*/ 3415665 h 4503132"/>
              <a:gd name="connsiteX2537" fmla="*/ 561014 w 4493400"/>
              <a:gd name="connsiteY2537" fmla="*/ 3448676 h 4503132"/>
              <a:gd name="connsiteX2538" fmla="*/ 586788 w 4493400"/>
              <a:gd name="connsiteY2538" fmla="*/ 3462823 h 4503132"/>
              <a:gd name="connsiteX2539" fmla="*/ 612611 w 4493400"/>
              <a:gd name="connsiteY2539" fmla="*/ 3476297 h 4503132"/>
              <a:gd name="connsiteX2540" fmla="*/ 662620 w 4493400"/>
              <a:gd name="connsiteY2540" fmla="*/ 3506516 h 4503132"/>
              <a:gd name="connsiteX2541" fmla="*/ 710321 w 4493400"/>
              <a:gd name="connsiteY2541" fmla="*/ 3540537 h 4503132"/>
              <a:gd name="connsiteX2542" fmla="*/ 753790 w 4493400"/>
              <a:gd name="connsiteY2542" fmla="*/ 3579996 h 4503132"/>
              <a:gd name="connsiteX2543" fmla="*/ 773313 w 4493400"/>
              <a:gd name="connsiteY2543" fmla="*/ 3601986 h 4503132"/>
              <a:gd name="connsiteX2544" fmla="*/ 782161 w 4493400"/>
              <a:gd name="connsiteY2544" fmla="*/ 3613728 h 4503132"/>
              <a:gd name="connsiteX2545" fmla="*/ 786585 w 4493400"/>
              <a:gd name="connsiteY2545" fmla="*/ 3619647 h 4503132"/>
              <a:gd name="connsiteX2546" fmla="*/ 790576 w 4493400"/>
              <a:gd name="connsiteY2546" fmla="*/ 3625854 h 4503132"/>
              <a:gd name="connsiteX2547" fmla="*/ 817745 w 4493400"/>
              <a:gd name="connsiteY2547" fmla="*/ 3678113 h 4503132"/>
              <a:gd name="connsiteX2548" fmla="*/ 826833 w 4493400"/>
              <a:gd name="connsiteY2548" fmla="*/ 3706263 h 4503132"/>
              <a:gd name="connsiteX2549" fmla="*/ 833132 w 4493400"/>
              <a:gd name="connsiteY2549" fmla="*/ 3735279 h 4503132"/>
              <a:gd name="connsiteX2550" fmla="*/ 836113 w 4493400"/>
              <a:gd name="connsiteY2550" fmla="*/ 3764729 h 4503132"/>
              <a:gd name="connsiteX2551" fmla="*/ 834190 w 4493400"/>
              <a:gd name="connsiteY2551" fmla="*/ 3794082 h 4503132"/>
              <a:gd name="connsiteX2552" fmla="*/ 812215 w 4493400"/>
              <a:gd name="connsiteY2552" fmla="*/ 3848506 h 4503132"/>
              <a:gd name="connsiteX2553" fmla="*/ 796202 w 4493400"/>
              <a:gd name="connsiteY2553" fmla="*/ 3874924 h 4503132"/>
              <a:gd name="connsiteX2554" fmla="*/ 787835 w 4493400"/>
              <a:gd name="connsiteY2554" fmla="*/ 3906299 h 4503132"/>
              <a:gd name="connsiteX2555" fmla="*/ 795289 w 4493400"/>
              <a:gd name="connsiteY2555" fmla="*/ 3937817 h 4503132"/>
              <a:gd name="connsiteX2556" fmla="*/ 802598 w 4493400"/>
              <a:gd name="connsiteY2556" fmla="*/ 3951916 h 4503132"/>
              <a:gd name="connsiteX2557" fmla="*/ 811349 w 4493400"/>
              <a:gd name="connsiteY2557" fmla="*/ 3965198 h 4503132"/>
              <a:gd name="connsiteX2558" fmla="*/ 815340 w 4493400"/>
              <a:gd name="connsiteY2558" fmla="*/ 3970298 h 4503132"/>
              <a:gd name="connsiteX2559" fmla="*/ 806300 w 4493400"/>
              <a:gd name="connsiteY2559" fmla="*/ 3962840 h 4503132"/>
              <a:gd name="connsiteX2560" fmla="*/ 794327 w 4493400"/>
              <a:gd name="connsiteY2560" fmla="*/ 3952879 h 4503132"/>
              <a:gd name="connsiteX2561" fmla="*/ 785046 w 4493400"/>
              <a:gd name="connsiteY2561" fmla="*/ 3938876 h 4503132"/>
              <a:gd name="connsiteX2562" fmla="*/ 776198 w 4493400"/>
              <a:gd name="connsiteY2562" fmla="*/ 3924632 h 4503132"/>
              <a:gd name="connsiteX2563" fmla="*/ 768697 w 4493400"/>
              <a:gd name="connsiteY2563" fmla="*/ 3910437 h 4503132"/>
              <a:gd name="connsiteX2564" fmla="*/ 767928 w 4493400"/>
              <a:gd name="connsiteY2564" fmla="*/ 3880073 h 4503132"/>
              <a:gd name="connsiteX2565" fmla="*/ 783507 w 4493400"/>
              <a:gd name="connsiteY2565" fmla="*/ 3851538 h 4503132"/>
              <a:gd name="connsiteX2566" fmla="*/ 817793 w 4493400"/>
              <a:gd name="connsiteY2566" fmla="*/ 3791099 h 4503132"/>
              <a:gd name="connsiteX2567" fmla="*/ 818225 w 4493400"/>
              <a:gd name="connsiteY2567" fmla="*/ 3720747 h 4503132"/>
              <a:gd name="connsiteX2568" fmla="*/ 792019 w 4493400"/>
              <a:gd name="connsiteY2568" fmla="*/ 3655785 h 4503132"/>
              <a:gd name="connsiteX2569" fmla="*/ 783411 w 4493400"/>
              <a:gd name="connsiteY2569" fmla="*/ 3640579 h 4503132"/>
              <a:gd name="connsiteX2570" fmla="*/ 774179 w 4493400"/>
              <a:gd name="connsiteY2570" fmla="*/ 3625710 h 4503132"/>
              <a:gd name="connsiteX2571" fmla="*/ 764369 w 4493400"/>
              <a:gd name="connsiteY2571" fmla="*/ 3611081 h 4503132"/>
              <a:gd name="connsiteX2572" fmla="*/ 753598 w 4493400"/>
              <a:gd name="connsiteY2572" fmla="*/ 3597127 h 4503132"/>
              <a:gd name="connsiteX2573" fmla="*/ 703445 w 4493400"/>
              <a:gd name="connsiteY2573" fmla="*/ 3547563 h 4503132"/>
              <a:gd name="connsiteX2574" fmla="*/ 585586 w 4493400"/>
              <a:gd name="connsiteY2574" fmla="*/ 3470426 h 4503132"/>
              <a:gd name="connsiteX2575" fmla="*/ 524998 w 4493400"/>
              <a:gd name="connsiteY2575" fmla="*/ 3434865 h 4503132"/>
              <a:gd name="connsiteX2576" fmla="*/ 497060 w 4493400"/>
              <a:gd name="connsiteY2576" fmla="*/ 3414125 h 4503132"/>
              <a:gd name="connsiteX2577" fmla="*/ 472488 w 4493400"/>
              <a:gd name="connsiteY2577" fmla="*/ 3389680 h 4503132"/>
              <a:gd name="connsiteX2578" fmla="*/ 437386 w 4493400"/>
              <a:gd name="connsiteY2578" fmla="*/ 3329963 h 4503132"/>
              <a:gd name="connsiteX2579" fmla="*/ 427336 w 4493400"/>
              <a:gd name="connsiteY2579" fmla="*/ 3296664 h 4503132"/>
              <a:gd name="connsiteX2580" fmla="*/ 425364 w 4493400"/>
              <a:gd name="connsiteY2580" fmla="*/ 3262451 h 4503132"/>
              <a:gd name="connsiteX2581" fmla="*/ 435559 w 4493400"/>
              <a:gd name="connsiteY2581" fmla="*/ 3230740 h 4503132"/>
              <a:gd name="connsiteX2582" fmla="*/ 459842 w 4493400"/>
              <a:gd name="connsiteY2582" fmla="*/ 3209230 h 4503132"/>
              <a:gd name="connsiteX2583" fmla="*/ 475758 w 4493400"/>
              <a:gd name="connsiteY2583" fmla="*/ 3205525 h 4503132"/>
              <a:gd name="connsiteX2584" fmla="*/ 484366 w 4493400"/>
              <a:gd name="connsiteY2584" fmla="*/ 3205092 h 4503132"/>
              <a:gd name="connsiteX2585" fmla="*/ 493069 w 4493400"/>
              <a:gd name="connsiteY2585" fmla="*/ 3205236 h 4503132"/>
              <a:gd name="connsiteX2586" fmla="*/ 528220 w 4493400"/>
              <a:gd name="connsiteY2586" fmla="*/ 3209470 h 4503132"/>
              <a:gd name="connsiteX2587" fmla="*/ 599387 w 4493400"/>
              <a:gd name="connsiteY2587" fmla="*/ 3223281 h 4503132"/>
              <a:gd name="connsiteX2588" fmla="*/ 636509 w 4493400"/>
              <a:gd name="connsiteY2588" fmla="*/ 3225928 h 4503132"/>
              <a:gd name="connsiteX2589" fmla="*/ 673343 w 4493400"/>
              <a:gd name="connsiteY2589" fmla="*/ 3213561 h 4503132"/>
              <a:gd name="connsiteX2590" fmla="*/ 691038 w 4493400"/>
              <a:gd name="connsiteY2590" fmla="*/ 3178625 h 4503132"/>
              <a:gd name="connsiteX2591" fmla="*/ 691183 w 4493400"/>
              <a:gd name="connsiteY2591" fmla="*/ 3140899 h 4503132"/>
              <a:gd name="connsiteX2592" fmla="*/ 677382 w 4493400"/>
              <a:gd name="connsiteY2592" fmla="*/ 3068141 h 4503132"/>
              <a:gd name="connsiteX2593" fmla="*/ 652906 w 4493400"/>
              <a:gd name="connsiteY2593" fmla="*/ 2998127 h 4503132"/>
              <a:gd name="connsiteX2594" fmla="*/ 621074 w 4493400"/>
              <a:gd name="connsiteY2594" fmla="*/ 2931047 h 4503132"/>
              <a:gd name="connsiteX2595" fmla="*/ 547406 w 4493400"/>
              <a:gd name="connsiteY2595" fmla="*/ 2801845 h 4503132"/>
              <a:gd name="connsiteX2596" fmla="*/ 476239 w 4493400"/>
              <a:gd name="connsiteY2596" fmla="*/ 2670765 h 4503132"/>
              <a:gd name="connsiteX2597" fmla="*/ 423729 w 4493400"/>
              <a:gd name="connsiteY2597" fmla="*/ 2530784 h 4503132"/>
              <a:gd name="connsiteX2598" fmla="*/ 402764 w 4493400"/>
              <a:gd name="connsiteY2598" fmla="*/ 2382092 h 4503132"/>
              <a:gd name="connsiteX2599" fmla="*/ 422143 w 4493400"/>
              <a:gd name="connsiteY2599" fmla="*/ 2232824 h 4503132"/>
              <a:gd name="connsiteX2600" fmla="*/ 477249 w 4493400"/>
              <a:gd name="connsiteY2600" fmla="*/ 2089859 h 4503132"/>
              <a:gd name="connsiteX2601" fmla="*/ 515862 w 4493400"/>
              <a:gd name="connsiteY2601" fmla="*/ 1939098 h 4503132"/>
              <a:gd name="connsiteX2602" fmla="*/ 517016 w 4493400"/>
              <a:gd name="connsiteY2602" fmla="*/ 1929378 h 4503132"/>
              <a:gd name="connsiteX2603" fmla="*/ 517593 w 4493400"/>
              <a:gd name="connsiteY2603" fmla="*/ 1919610 h 4503132"/>
              <a:gd name="connsiteX2604" fmla="*/ 518555 w 4493400"/>
              <a:gd name="connsiteY2604" fmla="*/ 1900025 h 4503132"/>
              <a:gd name="connsiteX2605" fmla="*/ 519035 w 4493400"/>
              <a:gd name="connsiteY2605" fmla="*/ 1890208 h 4503132"/>
              <a:gd name="connsiteX2606" fmla="*/ 518891 w 4493400"/>
              <a:gd name="connsiteY2606" fmla="*/ 1880247 h 4503132"/>
              <a:gd name="connsiteX2607" fmla="*/ 518555 w 4493400"/>
              <a:gd name="connsiteY2607" fmla="*/ 1870238 h 4503132"/>
              <a:gd name="connsiteX2608" fmla="*/ 517304 w 4493400"/>
              <a:gd name="connsiteY2608" fmla="*/ 1860277 h 4503132"/>
              <a:gd name="connsiteX2609" fmla="*/ 488116 w 4493400"/>
              <a:gd name="connsiteY2609" fmla="*/ 1786317 h 4503132"/>
              <a:gd name="connsiteX2610" fmla="*/ 466382 w 4493400"/>
              <a:gd name="connsiteY2610" fmla="*/ 1754076 h 4503132"/>
              <a:gd name="connsiteX2611" fmla="*/ 455178 w 4493400"/>
              <a:gd name="connsiteY2611" fmla="*/ 1720103 h 4503132"/>
              <a:gd name="connsiteX2612" fmla="*/ 462919 w 4493400"/>
              <a:gd name="connsiteY2612" fmla="*/ 1683869 h 4503132"/>
              <a:gd name="connsiteX2613" fmla="*/ 479894 w 4493400"/>
              <a:gd name="connsiteY2613" fmla="*/ 1649559 h 4503132"/>
              <a:gd name="connsiteX2614" fmla="*/ 526296 w 4493400"/>
              <a:gd name="connsiteY2614" fmla="*/ 1587436 h 4503132"/>
              <a:gd name="connsiteX2615" fmla="*/ 581884 w 4493400"/>
              <a:gd name="connsiteY2615" fmla="*/ 1532675 h 4503132"/>
              <a:gd name="connsiteX2616" fmla="*/ 597079 w 4493400"/>
              <a:gd name="connsiteY2616" fmla="*/ 1520741 h 4503132"/>
              <a:gd name="connsiteX2617" fmla="*/ 604724 w 4493400"/>
              <a:gd name="connsiteY2617" fmla="*/ 1515833 h 4503132"/>
              <a:gd name="connsiteX2618" fmla="*/ 606215 w 4493400"/>
              <a:gd name="connsiteY2618" fmla="*/ 1515160 h 4503132"/>
              <a:gd name="connsiteX2619" fmla="*/ 608187 w 4493400"/>
              <a:gd name="connsiteY2619" fmla="*/ 1514775 h 4503132"/>
              <a:gd name="connsiteX2620" fmla="*/ 612178 w 4493400"/>
              <a:gd name="connsiteY2620" fmla="*/ 1514245 h 4503132"/>
              <a:gd name="connsiteX2621" fmla="*/ 629729 w 4493400"/>
              <a:gd name="connsiteY2621" fmla="*/ 1517132 h 4503132"/>
              <a:gd name="connsiteX2622" fmla="*/ 647617 w 4493400"/>
              <a:gd name="connsiteY2622" fmla="*/ 1524062 h 4503132"/>
              <a:gd name="connsiteX2623" fmla="*/ 722583 w 4493400"/>
              <a:gd name="connsiteY2623" fmla="*/ 1552597 h 4503132"/>
              <a:gd name="connsiteX2624" fmla="*/ 762927 w 4493400"/>
              <a:gd name="connsiteY2624" fmla="*/ 1556495 h 4503132"/>
              <a:gd name="connsiteX2625" fmla="*/ 802934 w 4493400"/>
              <a:gd name="connsiteY2625" fmla="*/ 1556639 h 4503132"/>
              <a:gd name="connsiteX2626" fmla="*/ 882276 w 4493400"/>
              <a:gd name="connsiteY2626" fmla="*/ 1556687 h 4503132"/>
              <a:gd name="connsiteX2627" fmla="*/ 920889 w 4493400"/>
              <a:gd name="connsiteY2627" fmla="*/ 1561692 h 4503132"/>
              <a:gd name="connsiteX2628" fmla="*/ 954308 w 4493400"/>
              <a:gd name="connsiteY2628" fmla="*/ 1577620 h 4503132"/>
              <a:gd name="connsiteX2629" fmla="*/ 978207 w 4493400"/>
              <a:gd name="connsiteY2629" fmla="*/ 1607454 h 4503132"/>
              <a:gd name="connsiteX2630" fmla="*/ 995277 w 4493400"/>
              <a:gd name="connsiteY2630" fmla="*/ 1642774 h 4503132"/>
              <a:gd name="connsiteX2631" fmla="*/ 1018214 w 4493400"/>
              <a:gd name="connsiteY2631" fmla="*/ 1718948 h 4503132"/>
              <a:gd name="connsiteX2632" fmla="*/ 1033602 w 4493400"/>
              <a:gd name="connsiteY2632" fmla="*/ 1797721 h 4503132"/>
              <a:gd name="connsiteX2633" fmla="*/ 1040045 w 4493400"/>
              <a:gd name="connsiteY2633" fmla="*/ 1837516 h 4503132"/>
              <a:gd name="connsiteX2634" fmla="*/ 1045912 w 4493400"/>
              <a:gd name="connsiteY2634" fmla="*/ 1877312 h 4503132"/>
              <a:gd name="connsiteX2635" fmla="*/ 1054086 w 4493400"/>
              <a:gd name="connsiteY2635" fmla="*/ 1957865 h 4503132"/>
              <a:gd name="connsiteX2636" fmla="*/ 1065531 w 4493400"/>
              <a:gd name="connsiteY2636" fmla="*/ 2038659 h 4503132"/>
              <a:gd name="connsiteX2637" fmla="*/ 1074619 w 4493400"/>
              <a:gd name="connsiteY2637" fmla="*/ 2078695 h 4503132"/>
              <a:gd name="connsiteX2638" fmla="*/ 1087746 w 4493400"/>
              <a:gd name="connsiteY2638" fmla="*/ 2117913 h 4503132"/>
              <a:gd name="connsiteX2639" fmla="*/ 1107846 w 4493400"/>
              <a:gd name="connsiteY2639" fmla="*/ 2154676 h 4503132"/>
              <a:gd name="connsiteX2640" fmla="*/ 1139583 w 4493400"/>
              <a:gd name="connsiteY2640" fmla="*/ 2183404 h 4503132"/>
              <a:gd name="connsiteX2641" fmla="*/ 1149585 w 4493400"/>
              <a:gd name="connsiteY2641" fmla="*/ 2187880 h 4503132"/>
              <a:gd name="connsiteX2642" fmla="*/ 1160164 w 4493400"/>
              <a:gd name="connsiteY2642" fmla="*/ 2190863 h 4503132"/>
              <a:gd name="connsiteX2643" fmla="*/ 1182331 w 4493400"/>
              <a:gd name="connsiteY2643" fmla="*/ 2190719 h 4503132"/>
              <a:gd name="connsiteX2644" fmla="*/ 1222387 w 4493400"/>
              <a:gd name="connsiteY2644" fmla="*/ 2177341 h 4503132"/>
              <a:gd name="connsiteX2645" fmla="*/ 1293217 w 4493400"/>
              <a:gd name="connsiteY2645" fmla="*/ 2134514 h 4503132"/>
              <a:gd name="connsiteX2646" fmla="*/ 1358085 w 4493400"/>
              <a:gd name="connsiteY2646" fmla="*/ 2083507 h 4503132"/>
              <a:gd name="connsiteX2647" fmla="*/ 1477386 w 4493400"/>
              <a:gd name="connsiteY2647" fmla="*/ 1969125 h 4503132"/>
              <a:gd name="connsiteX2648" fmla="*/ 1582549 w 4493400"/>
              <a:gd name="connsiteY2648" fmla="*/ 1840500 h 4503132"/>
              <a:gd name="connsiteX2649" fmla="*/ 1604669 w 4493400"/>
              <a:gd name="connsiteY2649" fmla="*/ 1804891 h 4503132"/>
              <a:gd name="connsiteX2650" fmla="*/ 1621980 w 4493400"/>
              <a:gd name="connsiteY2650" fmla="*/ 1766010 h 4503132"/>
              <a:gd name="connsiteX2651" fmla="*/ 1626452 w 4493400"/>
              <a:gd name="connsiteY2651" fmla="*/ 1745174 h 4503132"/>
              <a:gd name="connsiteX2652" fmla="*/ 1630154 w 4493400"/>
              <a:gd name="connsiteY2652" fmla="*/ 1724579 h 4503132"/>
              <a:gd name="connsiteX2653" fmla="*/ 1635732 w 4493400"/>
              <a:gd name="connsiteY2653" fmla="*/ 1683099 h 4503132"/>
              <a:gd name="connsiteX2654" fmla="*/ 1641791 w 4493400"/>
              <a:gd name="connsiteY2654" fmla="*/ 1556735 h 4503132"/>
              <a:gd name="connsiteX2655" fmla="*/ 1643474 w 4493400"/>
              <a:gd name="connsiteY2655" fmla="*/ 1431334 h 4503132"/>
              <a:gd name="connsiteX2656" fmla="*/ 1662420 w 4493400"/>
              <a:gd name="connsiteY2656" fmla="*/ 1309157 h 4503132"/>
              <a:gd name="connsiteX2657" fmla="*/ 1672614 w 4493400"/>
              <a:gd name="connsiteY2657" fmla="*/ 1280141 h 4503132"/>
              <a:gd name="connsiteX2658" fmla="*/ 1685309 w 4493400"/>
              <a:gd name="connsiteY2658" fmla="*/ 1252183 h 4503132"/>
              <a:gd name="connsiteX2659" fmla="*/ 1718825 w 4493400"/>
              <a:gd name="connsiteY2659" fmla="*/ 1200791 h 4503132"/>
              <a:gd name="connsiteX2660" fmla="*/ 1801773 w 4493400"/>
              <a:gd name="connsiteY2660" fmla="*/ 1109314 h 4503132"/>
              <a:gd name="connsiteX2661" fmla="*/ 1893953 w 4493400"/>
              <a:gd name="connsiteY2661" fmla="*/ 1027173 h 4503132"/>
              <a:gd name="connsiteX2662" fmla="*/ 2093846 w 4493400"/>
              <a:gd name="connsiteY2662" fmla="*/ 884400 h 4503132"/>
              <a:gd name="connsiteX2663" fmla="*/ 2201125 w 4493400"/>
              <a:gd name="connsiteY2663" fmla="*/ 826416 h 4503132"/>
              <a:gd name="connsiteX2664" fmla="*/ 2228871 w 4493400"/>
              <a:gd name="connsiteY2664" fmla="*/ 814145 h 4503132"/>
              <a:gd name="connsiteX2665" fmla="*/ 2242960 w 4493400"/>
              <a:gd name="connsiteY2665" fmla="*/ 808659 h 4503132"/>
              <a:gd name="connsiteX2666" fmla="*/ 2250029 w 4493400"/>
              <a:gd name="connsiteY2666" fmla="*/ 805916 h 4503132"/>
              <a:gd name="connsiteX2667" fmla="*/ 2257194 w 4493400"/>
              <a:gd name="connsiteY2667" fmla="*/ 803510 h 4503132"/>
              <a:gd name="connsiteX2668" fmla="*/ 2315185 w 4493400"/>
              <a:gd name="connsiteY2668" fmla="*/ 789026 h 4503132"/>
              <a:gd name="connsiteX2669" fmla="*/ 2374523 w 4493400"/>
              <a:gd name="connsiteY2669" fmla="*/ 790759 h 4503132"/>
              <a:gd name="connsiteX2670" fmla="*/ 2433717 w 4493400"/>
              <a:gd name="connsiteY2670" fmla="*/ 802019 h 4503132"/>
              <a:gd name="connsiteX2671" fmla="*/ 2549603 w 4493400"/>
              <a:gd name="connsiteY2671" fmla="*/ 835703 h 4503132"/>
              <a:gd name="connsiteX2672" fmla="*/ 2772722 w 4493400"/>
              <a:gd name="connsiteY2672" fmla="*/ 924773 h 4503132"/>
              <a:gd name="connsiteX2673" fmla="*/ 2879376 w 4493400"/>
              <a:gd name="connsiteY2673" fmla="*/ 978283 h 4503132"/>
              <a:gd name="connsiteX2674" fmla="*/ 2930539 w 4493400"/>
              <a:gd name="connsiteY2674" fmla="*/ 1008310 h 4503132"/>
              <a:gd name="connsiteX2675" fmla="*/ 2978096 w 4493400"/>
              <a:gd name="connsiteY2675" fmla="*/ 1042668 h 4503132"/>
              <a:gd name="connsiteX2676" fmla="*/ 2997475 w 4493400"/>
              <a:gd name="connsiteY2676" fmla="*/ 1063311 h 4503132"/>
              <a:gd name="connsiteX2677" fmla="*/ 3012525 w 4493400"/>
              <a:gd name="connsiteY2677" fmla="*/ 1088286 h 4503132"/>
              <a:gd name="connsiteX2678" fmla="*/ 3036472 w 4493400"/>
              <a:gd name="connsiteY2678" fmla="*/ 1141699 h 4503132"/>
              <a:gd name="connsiteX2679" fmla="*/ 3067247 w 4493400"/>
              <a:gd name="connsiteY2679" fmla="*/ 1254733 h 4503132"/>
              <a:gd name="connsiteX2680" fmla="*/ 3081240 w 4493400"/>
              <a:gd name="connsiteY2680" fmla="*/ 1370799 h 4503132"/>
              <a:gd name="connsiteX2681" fmla="*/ 3079797 w 4493400"/>
              <a:gd name="connsiteY2681" fmla="*/ 1487057 h 4503132"/>
              <a:gd name="connsiteX2682" fmla="*/ 3058976 w 4493400"/>
              <a:gd name="connsiteY2682" fmla="*/ 1600380 h 4503132"/>
              <a:gd name="connsiteX2683" fmla="*/ 3037722 w 4493400"/>
              <a:gd name="connsiteY2683" fmla="*/ 1653312 h 4503132"/>
              <a:gd name="connsiteX2684" fmla="*/ 3005313 w 4493400"/>
              <a:gd name="connsiteY2684" fmla="*/ 1699171 h 4503132"/>
              <a:gd name="connsiteX2685" fmla="*/ 2959246 w 4493400"/>
              <a:gd name="connsiteY2685" fmla="*/ 1729006 h 4503132"/>
              <a:gd name="connsiteX2686" fmla="*/ 2904140 w 4493400"/>
              <a:gd name="connsiteY2686" fmla="*/ 1736993 h 4503132"/>
              <a:gd name="connsiteX2687" fmla="*/ 2792148 w 4493400"/>
              <a:gd name="connsiteY2687" fmla="*/ 1720970 h 4503132"/>
              <a:gd name="connsiteX2688" fmla="*/ 2572540 w 4493400"/>
              <a:gd name="connsiteY2688" fmla="*/ 1660867 h 4503132"/>
              <a:gd name="connsiteX2689" fmla="*/ 2460116 w 4493400"/>
              <a:gd name="connsiteY2689" fmla="*/ 1644410 h 4503132"/>
              <a:gd name="connsiteX2690" fmla="*/ 2403326 w 4493400"/>
              <a:gd name="connsiteY2690" fmla="*/ 1645806 h 4503132"/>
              <a:gd name="connsiteX2691" fmla="*/ 2375196 w 4493400"/>
              <a:gd name="connsiteY2691" fmla="*/ 1648837 h 4503132"/>
              <a:gd name="connsiteX2692" fmla="*/ 2347306 w 4493400"/>
              <a:gd name="connsiteY2692" fmla="*/ 1653794 h 4503132"/>
              <a:gd name="connsiteX2693" fmla="*/ 2241469 w 4493400"/>
              <a:gd name="connsiteY2693" fmla="*/ 1692482 h 4503132"/>
              <a:gd name="connsiteX2694" fmla="*/ 2155829 w 4493400"/>
              <a:gd name="connsiteY2694" fmla="*/ 1764807 h 4503132"/>
              <a:gd name="connsiteX2695" fmla="*/ 2098510 w 4493400"/>
              <a:gd name="connsiteY2695" fmla="*/ 1860229 h 4503132"/>
              <a:gd name="connsiteX2696" fmla="*/ 2062831 w 4493400"/>
              <a:gd name="connsiteY2696" fmla="*/ 1964650 h 4503132"/>
              <a:gd name="connsiteX2697" fmla="*/ 2039317 w 4493400"/>
              <a:gd name="connsiteY2697" fmla="*/ 2071477 h 4503132"/>
              <a:gd name="connsiteX2698" fmla="*/ 2021573 w 4493400"/>
              <a:gd name="connsiteY2698" fmla="*/ 2178496 h 4503132"/>
              <a:gd name="connsiteX2699" fmla="*/ 1987817 w 4493400"/>
              <a:gd name="connsiteY2699" fmla="*/ 2390225 h 4503132"/>
              <a:gd name="connsiteX2700" fmla="*/ 1940212 w 4493400"/>
              <a:gd name="connsiteY2700" fmla="*/ 2595890 h 4503132"/>
              <a:gd name="connsiteX2701" fmla="*/ 1868997 w 4493400"/>
              <a:gd name="connsiteY2701" fmla="*/ 2790825 h 4503132"/>
              <a:gd name="connsiteX2702" fmla="*/ 1813986 w 4493400"/>
              <a:gd name="connsiteY2702" fmla="*/ 2876431 h 4503132"/>
              <a:gd name="connsiteX2703" fmla="*/ 1776912 w 4493400"/>
              <a:gd name="connsiteY2703" fmla="*/ 2909922 h 4503132"/>
              <a:gd name="connsiteX2704" fmla="*/ 1731904 w 4493400"/>
              <a:gd name="connsiteY2704" fmla="*/ 2929170 h 4503132"/>
              <a:gd name="connsiteX2705" fmla="*/ 1725893 w 4493400"/>
              <a:gd name="connsiteY2705" fmla="*/ 2930326 h 4503132"/>
              <a:gd name="connsiteX2706" fmla="*/ 1719690 w 4493400"/>
              <a:gd name="connsiteY2706" fmla="*/ 2930903 h 4503132"/>
              <a:gd name="connsiteX2707" fmla="*/ 1707284 w 4493400"/>
              <a:gd name="connsiteY2707" fmla="*/ 2932106 h 4503132"/>
              <a:gd name="connsiteX2708" fmla="*/ 1694830 w 4493400"/>
              <a:gd name="connsiteY2708" fmla="*/ 2932250 h 4503132"/>
              <a:gd name="connsiteX2709" fmla="*/ 1682376 w 4493400"/>
              <a:gd name="connsiteY2709" fmla="*/ 2932010 h 4503132"/>
              <a:gd name="connsiteX2710" fmla="*/ 1669969 w 4493400"/>
              <a:gd name="connsiteY2710" fmla="*/ 2930807 h 4503132"/>
              <a:gd name="connsiteX2711" fmla="*/ 1663766 w 4493400"/>
              <a:gd name="connsiteY2711" fmla="*/ 2930181 h 4503132"/>
              <a:gd name="connsiteX2712" fmla="*/ 1657659 w 4493400"/>
              <a:gd name="connsiteY2712" fmla="*/ 2929026 h 4503132"/>
              <a:gd name="connsiteX2713" fmla="*/ 1645446 w 4493400"/>
              <a:gd name="connsiteY2713" fmla="*/ 2926764 h 4503132"/>
              <a:gd name="connsiteX2714" fmla="*/ 1633424 w 4493400"/>
              <a:gd name="connsiteY2714" fmla="*/ 2923637 h 4503132"/>
              <a:gd name="connsiteX2715" fmla="*/ 1542927 w 4493400"/>
              <a:gd name="connsiteY2715" fmla="*/ 2883023 h 4503132"/>
              <a:gd name="connsiteX2716" fmla="*/ 1388139 w 4493400"/>
              <a:gd name="connsiteY2716" fmla="*/ 2759258 h 4503132"/>
              <a:gd name="connsiteX2717" fmla="*/ 1314808 w 4493400"/>
              <a:gd name="connsiteY2717" fmla="*/ 2693334 h 4503132"/>
              <a:gd name="connsiteX2718" fmla="*/ 1234985 w 4493400"/>
              <a:gd name="connsiteY2718" fmla="*/ 2635830 h 4503132"/>
              <a:gd name="connsiteX2719" fmla="*/ 1188246 w 4493400"/>
              <a:gd name="connsiteY2719" fmla="*/ 2618892 h 4503132"/>
              <a:gd name="connsiteX2720" fmla="*/ 1162760 w 4493400"/>
              <a:gd name="connsiteY2720" fmla="*/ 2618411 h 4503132"/>
              <a:gd name="connsiteX2721" fmla="*/ 1138814 w 4493400"/>
              <a:gd name="connsiteY2721" fmla="*/ 2627313 h 4503132"/>
              <a:gd name="connsiteX2722" fmla="*/ 1102701 w 4493400"/>
              <a:gd name="connsiteY2722" fmla="*/ 2661141 h 4503132"/>
              <a:gd name="connsiteX2723" fmla="*/ 1076879 w 4493400"/>
              <a:gd name="connsiteY2723" fmla="*/ 2702284 h 4503132"/>
              <a:gd name="connsiteX2724" fmla="*/ 1039564 w 4493400"/>
              <a:gd name="connsiteY2724" fmla="*/ 2790392 h 4503132"/>
              <a:gd name="connsiteX2725" fmla="*/ 1011530 w 4493400"/>
              <a:gd name="connsiteY2725" fmla="*/ 2880665 h 4503132"/>
              <a:gd name="connsiteX2726" fmla="*/ 987872 w 4493400"/>
              <a:gd name="connsiteY2726" fmla="*/ 2971131 h 4503132"/>
              <a:gd name="connsiteX2727" fmla="*/ 976524 w 4493400"/>
              <a:gd name="connsiteY2727" fmla="*/ 3016076 h 4503132"/>
              <a:gd name="connsiteX2728" fmla="*/ 963637 w 4493400"/>
              <a:gd name="connsiteY2728" fmla="*/ 3060105 h 4503132"/>
              <a:gd name="connsiteX2729" fmla="*/ 895980 w 4493400"/>
              <a:gd name="connsiteY2729" fmla="*/ 3228574 h 4503132"/>
              <a:gd name="connsiteX2730" fmla="*/ 865061 w 4493400"/>
              <a:gd name="connsiteY2730" fmla="*/ 3313795 h 4503132"/>
              <a:gd name="connsiteX2731" fmla="*/ 862464 w 4493400"/>
              <a:gd name="connsiteY2731" fmla="*/ 3403635 h 4503132"/>
              <a:gd name="connsiteX2732" fmla="*/ 873861 w 4493400"/>
              <a:gd name="connsiteY2732" fmla="*/ 3446992 h 4503132"/>
              <a:gd name="connsiteX2733" fmla="*/ 893336 w 4493400"/>
              <a:gd name="connsiteY2733" fmla="*/ 3487076 h 4503132"/>
              <a:gd name="connsiteX2734" fmla="*/ 919254 w 4493400"/>
              <a:gd name="connsiteY2734" fmla="*/ 3522925 h 4503132"/>
              <a:gd name="connsiteX2735" fmla="*/ 934112 w 4493400"/>
              <a:gd name="connsiteY2735" fmla="*/ 3539142 h 4503132"/>
              <a:gd name="connsiteX2736" fmla="*/ 941854 w 4493400"/>
              <a:gd name="connsiteY2736" fmla="*/ 3546937 h 4503132"/>
              <a:gd name="connsiteX2737" fmla="*/ 949932 w 4493400"/>
              <a:gd name="connsiteY2737" fmla="*/ 3554348 h 4503132"/>
              <a:gd name="connsiteX2738" fmla="*/ 1019849 w 4493400"/>
              <a:gd name="connsiteY2738" fmla="*/ 3605596 h 4503132"/>
              <a:gd name="connsiteX2739" fmla="*/ 1099527 w 4493400"/>
              <a:gd name="connsiteY2739" fmla="*/ 3637596 h 4503132"/>
              <a:gd name="connsiteX2740" fmla="*/ 1181129 w 4493400"/>
              <a:gd name="connsiteY2740" fmla="*/ 3657950 h 4503132"/>
              <a:gd name="connsiteX2741" fmla="*/ 1219838 w 4493400"/>
              <a:gd name="connsiteY2741" fmla="*/ 3671617 h 4503132"/>
              <a:gd name="connsiteX2742" fmla="*/ 1253594 w 4493400"/>
              <a:gd name="connsiteY2742" fmla="*/ 3693222 h 4503132"/>
              <a:gd name="connsiteX2743" fmla="*/ 1296583 w 4493400"/>
              <a:gd name="connsiteY2743" fmla="*/ 3760542 h 4503132"/>
              <a:gd name="connsiteX2744" fmla="*/ 1324329 w 4493400"/>
              <a:gd name="connsiteY2744" fmla="*/ 3836717 h 4503132"/>
              <a:gd name="connsiteX2745" fmla="*/ 1339716 w 4493400"/>
              <a:gd name="connsiteY2745" fmla="*/ 3874202 h 4503132"/>
              <a:gd name="connsiteX2746" fmla="*/ 1359191 w 4493400"/>
              <a:gd name="connsiteY2746" fmla="*/ 3909667 h 4503132"/>
              <a:gd name="connsiteX2747" fmla="*/ 1384388 w 4493400"/>
              <a:gd name="connsiteY2747" fmla="*/ 3941186 h 4503132"/>
              <a:gd name="connsiteX2748" fmla="*/ 1399198 w 4493400"/>
              <a:gd name="connsiteY2748" fmla="*/ 3954852 h 4503132"/>
              <a:gd name="connsiteX2749" fmla="*/ 1415499 w 4493400"/>
              <a:gd name="connsiteY2749" fmla="*/ 3966593 h 4503132"/>
              <a:gd name="connsiteX2750" fmla="*/ 1432810 w 4493400"/>
              <a:gd name="connsiteY2750" fmla="*/ 3976650 h 4503132"/>
              <a:gd name="connsiteX2751" fmla="*/ 1441850 w 4493400"/>
              <a:gd name="connsiteY2751" fmla="*/ 3980885 h 4503132"/>
              <a:gd name="connsiteX2752" fmla="*/ 1450987 w 4493400"/>
              <a:gd name="connsiteY2752" fmla="*/ 3984783 h 4503132"/>
              <a:gd name="connsiteX2753" fmla="*/ 1469644 w 4493400"/>
              <a:gd name="connsiteY2753" fmla="*/ 3991231 h 4503132"/>
              <a:gd name="connsiteX2754" fmla="*/ 1488494 w 4493400"/>
              <a:gd name="connsiteY2754" fmla="*/ 3996572 h 4503132"/>
              <a:gd name="connsiteX2755" fmla="*/ 1565719 w 4493400"/>
              <a:gd name="connsiteY2755" fmla="*/ 4005859 h 4503132"/>
              <a:gd name="connsiteX2756" fmla="*/ 1641118 w 4493400"/>
              <a:gd name="connsiteY2756" fmla="*/ 3991519 h 4503132"/>
              <a:gd name="connsiteX2757" fmla="*/ 1711900 w 4493400"/>
              <a:gd name="connsiteY2757" fmla="*/ 3966882 h 4503132"/>
              <a:gd name="connsiteX2758" fmla="*/ 1855485 w 4493400"/>
              <a:gd name="connsiteY2758" fmla="*/ 3950906 h 4503132"/>
              <a:gd name="connsiteX2759" fmla="*/ 1925834 w 4493400"/>
              <a:gd name="connsiteY2759" fmla="*/ 3962118 h 4503132"/>
              <a:gd name="connsiteX2760" fmla="*/ 1990173 w 4493400"/>
              <a:gd name="connsiteY2760" fmla="*/ 3988103 h 4503132"/>
              <a:gd name="connsiteX2761" fmla="*/ 2043644 w 4493400"/>
              <a:gd name="connsiteY2761" fmla="*/ 4031122 h 4503132"/>
              <a:gd name="connsiteX2762" fmla="*/ 2090672 w 4493400"/>
              <a:gd name="connsiteY2762" fmla="*/ 4080878 h 4503132"/>
              <a:gd name="connsiteX2763" fmla="*/ 2143086 w 4493400"/>
              <a:gd name="connsiteY2763" fmla="*/ 4124138 h 4503132"/>
              <a:gd name="connsiteX2764" fmla="*/ 2158040 w 4493400"/>
              <a:gd name="connsiteY2764" fmla="*/ 4132127 h 4503132"/>
              <a:gd name="connsiteX2765" fmla="*/ 2173813 w 4493400"/>
              <a:gd name="connsiteY2765" fmla="*/ 4138382 h 4503132"/>
              <a:gd name="connsiteX2766" fmla="*/ 2205838 w 4493400"/>
              <a:gd name="connsiteY2766" fmla="*/ 4147188 h 4503132"/>
              <a:gd name="connsiteX2767" fmla="*/ 2331871 w 4493400"/>
              <a:gd name="connsiteY2767" fmla="*/ 4174569 h 4503132"/>
              <a:gd name="connsiteX2768" fmla="*/ 2361155 w 4493400"/>
              <a:gd name="connsiteY2768" fmla="*/ 4184385 h 4503132"/>
              <a:gd name="connsiteX2769" fmla="*/ 2364377 w 4493400"/>
              <a:gd name="connsiteY2769" fmla="*/ 4186117 h 4503132"/>
              <a:gd name="connsiteX2770" fmla="*/ 2365964 w 4493400"/>
              <a:gd name="connsiteY2770" fmla="*/ 4186983 h 4503132"/>
              <a:gd name="connsiteX2771" fmla="*/ 2367454 w 4493400"/>
              <a:gd name="connsiteY2771" fmla="*/ 4188138 h 4503132"/>
              <a:gd name="connsiteX2772" fmla="*/ 2373465 w 4493400"/>
              <a:gd name="connsiteY2772" fmla="*/ 4192806 h 4503132"/>
              <a:gd name="connsiteX2773" fmla="*/ 2379043 w 4493400"/>
              <a:gd name="connsiteY2773" fmla="*/ 4197907 h 4503132"/>
              <a:gd name="connsiteX2774" fmla="*/ 2384188 w 4493400"/>
              <a:gd name="connsiteY2774" fmla="*/ 4203393 h 4503132"/>
              <a:gd name="connsiteX2775" fmla="*/ 2397652 w 4493400"/>
              <a:gd name="connsiteY2775" fmla="*/ 4229474 h 4503132"/>
              <a:gd name="connsiteX2776" fmla="*/ 2397845 w 4493400"/>
              <a:gd name="connsiteY2776" fmla="*/ 4258683 h 4503132"/>
              <a:gd name="connsiteX2777" fmla="*/ 2387650 w 4493400"/>
              <a:gd name="connsiteY2777" fmla="*/ 4286400 h 4503132"/>
              <a:gd name="connsiteX2778" fmla="*/ 2371734 w 4493400"/>
              <a:gd name="connsiteY2778" fmla="*/ 4311326 h 4503132"/>
              <a:gd name="connsiteX2779" fmla="*/ 2331582 w 4493400"/>
              <a:gd name="connsiteY2779" fmla="*/ 4354057 h 4503132"/>
              <a:gd name="connsiteX2780" fmla="*/ 2285805 w 4493400"/>
              <a:gd name="connsiteY2780" fmla="*/ 4389136 h 4503132"/>
              <a:gd name="connsiteX2781" fmla="*/ 2236709 w 4493400"/>
              <a:gd name="connsiteY2781" fmla="*/ 4416902 h 4503132"/>
              <a:gd name="connsiteX2782" fmla="*/ 2131064 w 4493400"/>
              <a:gd name="connsiteY2782" fmla="*/ 4442261 h 4503132"/>
              <a:gd name="connsiteX2783" fmla="*/ 2026526 w 4493400"/>
              <a:gd name="connsiteY2783" fmla="*/ 4443175 h 4503132"/>
              <a:gd name="connsiteX2784" fmla="*/ 1837933 w 4493400"/>
              <a:gd name="connsiteY2784" fmla="*/ 4398183 h 4503132"/>
              <a:gd name="connsiteX2785" fmla="*/ 1676365 w 4493400"/>
              <a:gd name="connsiteY2785" fmla="*/ 4332403 h 4503132"/>
              <a:gd name="connsiteX2786" fmla="*/ 1533021 w 4493400"/>
              <a:gd name="connsiteY2786" fmla="*/ 4278460 h 4503132"/>
              <a:gd name="connsiteX2787" fmla="*/ 1412999 w 4493400"/>
              <a:gd name="connsiteY2787" fmla="*/ 4225431 h 4503132"/>
              <a:gd name="connsiteX2788" fmla="*/ 1312884 w 4493400"/>
              <a:gd name="connsiteY2788" fmla="*/ 4182605 h 4503132"/>
              <a:gd name="connsiteX2789" fmla="*/ 1229936 w 4493400"/>
              <a:gd name="connsiteY2789" fmla="*/ 4160950 h 4503132"/>
              <a:gd name="connsiteX2790" fmla="*/ 1168002 w 4493400"/>
              <a:gd name="connsiteY2790" fmla="*/ 4159218 h 4503132"/>
              <a:gd name="connsiteX2791" fmla="*/ 1146988 w 4493400"/>
              <a:gd name="connsiteY2791" fmla="*/ 4165522 h 4503132"/>
              <a:gd name="connsiteX2792" fmla="*/ 1140208 w 4493400"/>
              <a:gd name="connsiteY2792" fmla="*/ 4171007 h 4503132"/>
              <a:gd name="connsiteX2793" fmla="*/ 1137323 w 4493400"/>
              <a:gd name="connsiteY2793" fmla="*/ 4177552 h 4503132"/>
              <a:gd name="connsiteX2794" fmla="*/ 1139198 w 4493400"/>
              <a:gd name="connsiteY2794" fmla="*/ 4186839 h 4503132"/>
              <a:gd name="connsiteX2795" fmla="*/ 1140881 w 4493400"/>
              <a:gd name="connsiteY2795" fmla="*/ 4189582 h 4503132"/>
              <a:gd name="connsiteX2796" fmla="*/ 1139439 w 4493400"/>
              <a:gd name="connsiteY2796" fmla="*/ 4186743 h 4503132"/>
              <a:gd name="connsiteX2797" fmla="*/ 1137852 w 4493400"/>
              <a:gd name="connsiteY2797" fmla="*/ 4177648 h 4503132"/>
              <a:gd name="connsiteX2798" fmla="*/ 1140689 w 4493400"/>
              <a:gd name="connsiteY2798" fmla="*/ 4171441 h 4503132"/>
              <a:gd name="connsiteX2799" fmla="*/ 1147325 w 4493400"/>
              <a:gd name="connsiteY2799" fmla="*/ 4166244 h 4503132"/>
              <a:gd name="connsiteX2800" fmla="*/ 1168098 w 4493400"/>
              <a:gd name="connsiteY2800" fmla="*/ 4160277 h 4503132"/>
              <a:gd name="connsiteX2801" fmla="*/ 1229600 w 4493400"/>
              <a:gd name="connsiteY2801" fmla="*/ 4162538 h 4503132"/>
              <a:gd name="connsiteX2802" fmla="*/ 1312067 w 4493400"/>
              <a:gd name="connsiteY2802" fmla="*/ 4184577 h 4503132"/>
              <a:gd name="connsiteX2803" fmla="*/ 1411749 w 4493400"/>
              <a:gd name="connsiteY2803" fmla="*/ 4227790 h 4503132"/>
              <a:gd name="connsiteX2804" fmla="*/ 1531723 w 4493400"/>
              <a:gd name="connsiteY2804" fmla="*/ 4281347 h 4503132"/>
              <a:gd name="connsiteX2805" fmla="*/ 1674970 w 4493400"/>
              <a:gd name="connsiteY2805" fmla="*/ 4335771 h 4503132"/>
              <a:gd name="connsiteX2806" fmla="*/ 1747243 w 4493400"/>
              <a:gd name="connsiteY2806" fmla="*/ 4365654 h 4503132"/>
              <a:gd name="connsiteX2807" fmla="*/ 1529655 w 4493400"/>
              <a:gd name="connsiteY2807" fmla="*/ 4282069 h 4503132"/>
              <a:gd name="connsiteX2808" fmla="*/ 1408431 w 4493400"/>
              <a:gd name="connsiteY2808" fmla="*/ 4230821 h 4503132"/>
              <a:gd name="connsiteX2809" fmla="*/ 1347025 w 4493400"/>
              <a:gd name="connsiteY2809" fmla="*/ 4207098 h 4503132"/>
              <a:gd name="connsiteX2810" fmla="*/ 1284081 w 4493400"/>
              <a:gd name="connsiteY2810" fmla="*/ 4187753 h 4503132"/>
              <a:gd name="connsiteX2811" fmla="*/ 1218540 w 4493400"/>
              <a:gd name="connsiteY2811" fmla="*/ 4178851 h 4503132"/>
              <a:gd name="connsiteX2812" fmla="*/ 1201710 w 4493400"/>
              <a:gd name="connsiteY2812" fmla="*/ 4179910 h 4503132"/>
              <a:gd name="connsiteX2813" fmla="*/ 1184832 w 4493400"/>
              <a:gd name="connsiteY2813" fmla="*/ 4184577 h 4503132"/>
              <a:gd name="connsiteX2814" fmla="*/ 1176994 w 4493400"/>
              <a:gd name="connsiteY2814" fmla="*/ 4190640 h 4503132"/>
              <a:gd name="connsiteX2815" fmla="*/ 1173964 w 4493400"/>
              <a:gd name="connsiteY2815" fmla="*/ 4201179 h 4503132"/>
              <a:gd name="connsiteX2816" fmla="*/ 1183053 w 4493400"/>
              <a:gd name="connsiteY2816" fmla="*/ 4217395 h 4503132"/>
              <a:gd name="connsiteX2817" fmla="*/ 1208442 w 4493400"/>
              <a:gd name="connsiteY2817" fmla="*/ 4238713 h 4503132"/>
              <a:gd name="connsiteX2818" fmla="*/ 1221521 w 4493400"/>
              <a:gd name="connsiteY2818" fmla="*/ 4248433 h 4503132"/>
              <a:gd name="connsiteX2819" fmla="*/ 1234985 w 4493400"/>
              <a:gd name="connsiteY2819" fmla="*/ 4258249 h 4503132"/>
              <a:gd name="connsiteX2820" fmla="*/ 1293554 w 4493400"/>
              <a:gd name="connsiteY2820" fmla="*/ 4286929 h 4503132"/>
              <a:gd name="connsiteX2821" fmla="*/ 1297545 w 4493400"/>
              <a:gd name="connsiteY2821" fmla="*/ 4279903 h 4503132"/>
              <a:gd name="connsiteX2822" fmla="*/ 1267010 w 4493400"/>
              <a:gd name="connsiteY2822" fmla="*/ 4257624 h 4503132"/>
              <a:gd name="connsiteX2823" fmla="*/ 1239553 w 4493400"/>
              <a:gd name="connsiteY2823" fmla="*/ 4232361 h 4503132"/>
              <a:gd name="connsiteX2824" fmla="*/ 1234408 w 4493400"/>
              <a:gd name="connsiteY2824" fmla="*/ 4225384 h 4503132"/>
              <a:gd name="connsiteX2825" fmla="*/ 1231283 w 4493400"/>
              <a:gd name="connsiteY2825" fmla="*/ 4217684 h 4503132"/>
              <a:gd name="connsiteX2826" fmla="*/ 1231908 w 4493400"/>
              <a:gd name="connsiteY2826" fmla="*/ 4211910 h 4503132"/>
              <a:gd name="connsiteX2827" fmla="*/ 1237726 w 4493400"/>
              <a:gd name="connsiteY2827" fmla="*/ 4208878 h 4503132"/>
              <a:gd name="connsiteX2828" fmla="*/ 1255326 w 4493400"/>
              <a:gd name="connsiteY2828" fmla="*/ 4208445 h 4503132"/>
              <a:gd name="connsiteX2829" fmla="*/ 1273694 w 4493400"/>
              <a:gd name="connsiteY2829" fmla="*/ 4211188 h 4503132"/>
              <a:gd name="connsiteX2830" fmla="*/ 1346256 w 4493400"/>
              <a:gd name="connsiteY2830" fmla="*/ 4231158 h 4503132"/>
              <a:gd name="connsiteX2831" fmla="*/ 1379868 w 4493400"/>
              <a:gd name="connsiteY2831" fmla="*/ 4242514 h 4503132"/>
              <a:gd name="connsiteX2832" fmla="*/ 1375444 w 4493400"/>
              <a:gd name="connsiteY2832" fmla="*/ 4241119 h 4503132"/>
              <a:gd name="connsiteX2833" fmla="*/ 1345967 w 4493400"/>
              <a:gd name="connsiteY2833" fmla="*/ 4232457 h 4503132"/>
              <a:gd name="connsiteX2834" fmla="*/ 1316010 w 4493400"/>
              <a:gd name="connsiteY2834" fmla="*/ 4225191 h 4503132"/>
              <a:gd name="connsiteX2835" fmla="*/ 1284466 w 4493400"/>
              <a:gd name="connsiteY2835" fmla="*/ 4222111 h 4503132"/>
              <a:gd name="connsiteX2836" fmla="*/ 1275666 w 4493400"/>
              <a:gd name="connsiteY2836" fmla="*/ 4223747 h 4503132"/>
              <a:gd name="connsiteX2837" fmla="*/ 1266866 w 4493400"/>
              <a:gd name="connsiteY2837" fmla="*/ 4230821 h 4503132"/>
              <a:gd name="connsiteX2838" fmla="*/ 1265760 w 4493400"/>
              <a:gd name="connsiteY2838" fmla="*/ 4233949 h 4503132"/>
              <a:gd name="connsiteX2839" fmla="*/ 1265520 w 4493400"/>
              <a:gd name="connsiteY2839" fmla="*/ 4236980 h 4503132"/>
              <a:gd name="connsiteX2840" fmla="*/ 1266481 w 4493400"/>
              <a:gd name="connsiteY2840" fmla="*/ 4242177 h 4503132"/>
              <a:gd name="connsiteX2841" fmla="*/ 1268261 w 4493400"/>
              <a:gd name="connsiteY2841" fmla="*/ 4246460 h 4503132"/>
              <a:gd name="connsiteX2842" fmla="*/ 1270424 w 4493400"/>
              <a:gd name="connsiteY2842" fmla="*/ 4250213 h 4503132"/>
              <a:gd name="connsiteX2843" fmla="*/ 1291823 w 4493400"/>
              <a:gd name="connsiteY2843" fmla="*/ 4273359 h 4503132"/>
              <a:gd name="connsiteX2844" fmla="*/ 1315769 w 4493400"/>
              <a:gd name="connsiteY2844" fmla="*/ 4292222 h 4503132"/>
              <a:gd name="connsiteX2845" fmla="*/ 1340870 w 4493400"/>
              <a:gd name="connsiteY2845" fmla="*/ 4309064 h 4503132"/>
              <a:gd name="connsiteX2846" fmla="*/ 1344044 w 4493400"/>
              <a:gd name="connsiteY2846" fmla="*/ 4311037 h 4503132"/>
              <a:gd name="connsiteX2847" fmla="*/ 1344861 w 4493400"/>
              <a:gd name="connsiteY2847" fmla="*/ 4311518 h 4503132"/>
              <a:gd name="connsiteX2848" fmla="*/ 1346352 w 4493400"/>
              <a:gd name="connsiteY2848" fmla="*/ 4312289 h 4503132"/>
              <a:gd name="connsiteX2849" fmla="*/ 1348083 w 4493400"/>
              <a:gd name="connsiteY2849" fmla="*/ 4313010 h 4503132"/>
              <a:gd name="connsiteX2850" fmla="*/ 1354959 w 4493400"/>
              <a:gd name="connsiteY2850" fmla="*/ 4315898 h 4503132"/>
              <a:gd name="connsiteX2851" fmla="*/ 1368712 w 4493400"/>
              <a:gd name="connsiteY2851" fmla="*/ 4321672 h 4503132"/>
              <a:gd name="connsiteX2852" fmla="*/ 1423385 w 4493400"/>
              <a:gd name="connsiteY2852" fmla="*/ 4344577 h 4503132"/>
              <a:gd name="connsiteX2853" fmla="*/ 1427280 w 4493400"/>
              <a:gd name="connsiteY2853" fmla="*/ 4335964 h 4503132"/>
              <a:gd name="connsiteX2854" fmla="*/ 1465701 w 4493400"/>
              <a:gd name="connsiteY2854" fmla="*/ 4357040 h 4503132"/>
              <a:gd name="connsiteX2855" fmla="*/ 1484935 w 4493400"/>
              <a:gd name="connsiteY2855" fmla="*/ 4366520 h 4503132"/>
              <a:gd name="connsiteX2856" fmla="*/ 1494745 w 4493400"/>
              <a:gd name="connsiteY2856" fmla="*/ 4371043 h 4503132"/>
              <a:gd name="connsiteX2857" fmla="*/ 1499842 w 4493400"/>
              <a:gd name="connsiteY2857" fmla="*/ 4373305 h 4503132"/>
              <a:gd name="connsiteX2858" fmla="*/ 1505035 w 4493400"/>
              <a:gd name="connsiteY2858" fmla="*/ 4375181 h 4503132"/>
              <a:gd name="connsiteX2859" fmla="*/ 1546341 w 4493400"/>
              <a:gd name="connsiteY2859" fmla="*/ 4389329 h 4503132"/>
              <a:gd name="connsiteX2860" fmla="*/ 1631501 w 4493400"/>
              <a:gd name="connsiteY2860" fmla="*/ 4415747 h 4503132"/>
              <a:gd name="connsiteX2861" fmla="*/ 1633472 w 4493400"/>
              <a:gd name="connsiteY2861" fmla="*/ 4409347 h 4503132"/>
              <a:gd name="connsiteX2862" fmla="*/ 1667902 w 4493400"/>
              <a:gd name="connsiteY2862" fmla="*/ 4421040 h 4503132"/>
              <a:gd name="connsiteX2863" fmla="*/ 1731423 w 4493400"/>
              <a:gd name="connsiteY2863" fmla="*/ 4439518 h 4503132"/>
              <a:gd name="connsiteX2864" fmla="*/ 1801100 w 4493400"/>
              <a:gd name="connsiteY2864" fmla="*/ 4454676 h 4503132"/>
              <a:gd name="connsiteX2865" fmla="*/ 1810380 w 4493400"/>
              <a:gd name="connsiteY2865" fmla="*/ 4455783 h 4503132"/>
              <a:gd name="connsiteX2866" fmla="*/ 1822450 w 4493400"/>
              <a:gd name="connsiteY2866" fmla="*/ 4455975 h 4503132"/>
              <a:gd name="connsiteX2867" fmla="*/ 1832019 w 4493400"/>
              <a:gd name="connsiteY2867" fmla="*/ 4448132 h 4503132"/>
              <a:gd name="connsiteX2868" fmla="*/ 1829566 w 4493400"/>
              <a:gd name="connsiteY2868" fmla="*/ 4442213 h 4503132"/>
              <a:gd name="connsiteX2869" fmla="*/ 1826585 w 4493400"/>
              <a:gd name="connsiteY2869" fmla="*/ 4439374 h 4503132"/>
              <a:gd name="connsiteX2870" fmla="*/ 1823459 w 4493400"/>
              <a:gd name="connsiteY2870" fmla="*/ 4437016 h 4503132"/>
              <a:gd name="connsiteX2871" fmla="*/ 1819228 w 4493400"/>
              <a:gd name="connsiteY2871" fmla="*/ 4434225 h 4503132"/>
              <a:gd name="connsiteX2872" fmla="*/ 1815285 w 4493400"/>
              <a:gd name="connsiteY2872" fmla="*/ 4431915 h 4503132"/>
              <a:gd name="connsiteX2873" fmla="*/ 1814852 w 4493400"/>
              <a:gd name="connsiteY2873" fmla="*/ 4431723 h 4503132"/>
              <a:gd name="connsiteX2874" fmla="*/ 1904147 w 4493400"/>
              <a:gd name="connsiteY2874" fmla="*/ 4466417 h 4503132"/>
              <a:gd name="connsiteX2875" fmla="*/ 1933384 w 4493400"/>
              <a:gd name="connsiteY2875" fmla="*/ 4477726 h 4503132"/>
              <a:gd name="connsiteX2876" fmla="*/ 1935163 w 4493400"/>
              <a:gd name="connsiteY2876" fmla="*/ 4478399 h 4503132"/>
              <a:gd name="connsiteX2877" fmla="*/ 1937711 w 4493400"/>
              <a:gd name="connsiteY2877" fmla="*/ 4478977 h 4503132"/>
              <a:gd name="connsiteX2878" fmla="*/ 1941414 w 4493400"/>
              <a:gd name="connsiteY2878" fmla="*/ 4479410 h 4503132"/>
              <a:gd name="connsiteX2879" fmla="*/ 1948771 w 4493400"/>
              <a:gd name="connsiteY2879" fmla="*/ 4480276 h 4503132"/>
              <a:gd name="connsiteX2880" fmla="*/ 1963053 w 4493400"/>
              <a:gd name="connsiteY2880" fmla="*/ 4481912 h 4503132"/>
              <a:gd name="connsiteX2881" fmla="*/ 2014552 w 4493400"/>
              <a:gd name="connsiteY2881" fmla="*/ 4487783 h 4503132"/>
              <a:gd name="connsiteX2882" fmla="*/ 2014889 w 4493400"/>
              <a:gd name="connsiteY2882" fmla="*/ 4485184 h 4503132"/>
              <a:gd name="connsiteX2883" fmla="*/ 2014889 w 4493400"/>
              <a:gd name="connsiteY2883" fmla="*/ 4485184 h 4503132"/>
              <a:gd name="connsiteX2884" fmla="*/ 2016284 w 4493400"/>
              <a:gd name="connsiteY2884" fmla="*/ 4483307 h 4503132"/>
              <a:gd name="connsiteX2885" fmla="*/ 2016284 w 4493400"/>
              <a:gd name="connsiteY2885" fmla="*/ 4483307 h 4503132"/>
              <a:gd name="connsiteX2886" fmla="*/ 2016284 w 4493400"/>
              <a:gd name="connsiteY2886" fmla="*/ 4483307 h 4503132"/>
              <a:gd name="connsiteX2887" fmla="*/ 2016235 w 4493400"/>
              <a:gd name="connsiteY2887" fmla="*/ 4483307 h 4503132"/>
              <a:gd name="connsiteX2888" fmla="*/ 2016091 w 4493400"/>
              <a:gd name="connsiteY2888" fmla="*/ 4483115 h 4503132"/>
              <a:gd name="connsiteX2889" fmla="*/ 2015803 w 4493400"/>
              <a:gd name="connsiteY2889" fmla="*/ 4482971 h 4503132"/>
              <a:gd name="connsiteX2890" fmla="*/ 2015226 w 4493400"/>
              <a:gd name="connsiteY2890" fmla="*/ 4482634 h 4503132"/>
              <a:gd name="connsiteX2891" fmla="*/ 2013735 w 4493400"/>
              <a:gd name="connsiteY2891" fmla="*/ 4482153 h 4503132"/>
              <a:gd name="connsiteX2892" fmla="*/ 2013639 w 4493400"/>
              <a:gd name="connsiteY2892" fmla="*/ 4481816 h 4503132"/>
              <a:gd name="connsiteX2893" fmla="*/ 2013254 w 4493400"/>
              <a:gd name="connsiteY2893" fmla="*/ 4481671 h 4503132"/>
              <a:gd name="connsiteX2894" fmla="*/ 2012485 w 4493400"/>
              <a:gd name="connsiteY2894" fmla="*/ 4481383 h 4503132"/>
              <a:gd name="connsiteX2895" fmla="*/ 2010946 w 4493400"/>
              <a:gd name="connsiteY2895" fmla="*/ 4480805 h 4503132"/>
              <a:gd name="connsiteX2896" fmla="*/ 2007965 w 4493400"/>
              <a:gd name="connsiteY2896" fmla="*/ 4479891 h 4503132"/>
              <a:gd name="connsiteX2897" fmla="*/ 2002146 w 4493400"/>
              <a:gd name="connsiteY2897" fmla="*/ 4478255 h 4503132"/>
              <a:gd name="connsiteX2898" fmla="*/ 1991038 w 4493400"/>
              <a:gd name="connsiteY2898" fmla="*/ 4475512 h 4503132"/>
              <a:gd name="connsiteX2899" fmla="*/ 1981277 w 4493400"/>
              <a:gd name="connsiteY2899" fmla="*/ 4473298 h 4503132"/>
              <a:gd name="connsiteX2900" fmla="*/ 2023400 w 4493400"/>
              <a:gd name="connsiteY2900" fmla="*/ 4480516 h 4503132"/>
              <a:gd name="connsiteX2901" fmla="*/ 2048501 w 4493400"/>
              <a:gd name="connsiteY2901" fmla="*/ 4484655 h 4503132"/>
              <a:gd name="connsiteX2902" fmla="*/ 2060619 w 4493400"/>
              <a:gd name="connsiteY2902" fmla="*/ 4487157 h 4503132"/>
              <a:gd name="connsiteX2903" fmla="*/ 2066004 w 4493400"/>
              <a:gd name="connsiteY2903" fmla="*/ 4488841 h 4503132"/>
              <a:gd name="connsiteX2904" fmla="*/ 2068216 w 4493400"/>
              <a:gd name="connsiteY2904" fmla="*/ 4489900 h 4503132"/>
              <a:gd name="connsiteX2905" fmla="*/ 2068745 w 4493400"/>
              <a:gd name="connsiteY2905" fmla="*/ 4490285 h 4503132"/>
              <a:gd name="connsiteX2906" fmla="*/ 2069274 w 4493400"/>
              <a:gd name="connsiteY2906" fmla="*/ 4489804 h 4503132"/>
              <a:gd name="connsiteX2907" fmla="*/ 2069322 w 4493400"/>
              <a:gd name="connsiteY2907" fmla="*/ 4489804 h 4503132"/>
              <a:gd name="connsiteX2908" fmla="*/ 2069611 w 4493400"/>
              <a:gd name="connsiteY2908" fmla="*/ 4490285 h 4503132"/>
              <a:gd name="connsiteX2909" fmla="*/ 2069274 w 4493400"/>
              <a:gd name="connsiteY2909" fmla="*/ 4491151 h 4503132"/>
              <a:gd name="connsiteX2910" fmla="*/ 2070380 w 4493400"/>
              <a:gd name="connsiteY2910" fmla="*/ 4494904 h 4503132"/>
              <a:gd name="connsiteX2911" fmla="*/ 2102261 w 4493400"/>
              <a:gd name="connsiteY2911" fmla="*/ 4497070 h 4503132"/>
              <a:gd name="connsiteX2912" fmla="*/ 2116735 w 4493400"/>
              <a:gd name="connsiteY2912" fmla="*/ 4498032 h 4503132"/>
              <a:gd name="connsiteX2913" fmla="*/ 2120341 w 4493400"/>
              <a:gd name="connsiteY2913" fmla="*/ 4498273 h 4503132"/>
              <a:gd name="connsiteX2914" fmla="*/ 2121832 w 4493400"/>
              <a:gd name="connsiteY2914" fmla="*/ 4498273 h 4503132"/>
              <a:gd name="connsiteX2915" fmla="*/ 2122746 w 4493400"/>
              <a:gd name="connsiteY2915" fmla="*/ 4498177 h 4503132"/>
              <a:gd name="connsiteX2916" fmla="*/ 2124525 w 4493400"/>
              <a:gd name="connsiteY2916" fmla="*/ 4498032 h 4503132"/>
              <a:gd name="connsiteX2917" fmla="*/ 2131690 w 4493400"/>
              <a:gd name="connsiteY2917" fmla="*/ 4497407 h 4503132"/>
              <a:gd name="connsiteX2918" fmla="*/ 2160974 w 4493400"/>
              <a:gd name="connsiteY2918" fmla="*/ 4494423 h 4503132"/>
              <a:gd name="connsiteX2919" fmla="*/ 2161070 w 4493400"/>
              <a:gd name="connsiteY2919" fmla="*/ 4501304 h 4503132"/>
              <a:gd name="connsiteX2920" fmla="*/ 2180785 w 4493400"/>
              <a:gd name="connsiteY2920" fmla="*/ 4501978 h 4503132"/>
              <a:gd name="connsiteX2921" fmla="*/ 2190739 w 4493400"/>
              <a:gd name="connsiteY2921" fmla="*/ 4502315 h 4503132"/>
              <a:gd name="connsiteX2922" fmla="*/ 2191989 w 4493400"/>
              <a:gd name="connsiteY2922" fmla="*/ 4502315 h 4503132"/>
              <a:gd name="connsiteX2923" fmla="*/ 2192999 w 4493400"/>
              <a:gd name="connsiteY2923" fmla="*/ 4502315 h 4503132"/>
              <a:gd name="connsiteX2924" fmla="*/ 2193672 w 4493400"/>
              <a:gd name="connsiteY2924" fmla="*/ 4502315 h 4503132"/>
              <a:gd name="connsiteX2925" fmla="*/ 2196173 w 4493400"/>
              <a:gd name="connsiteY2925" fmla="*/ 4502122 h 4503132"/>
              <a:gd name="connsiteX2926" fmla="*/ 2201173 w 4493400"/>
              <a:gd name="connsiteY2926" fmla="*/ 4501834 h 4503132"/>
              <a:gd name="connsiteX2927" fmla="*/ 2239450 w 4493400"/>
              <a:gd name="connsiteY2927" fmla="*/ 4499524 h 4503132"/>
              <a:gd name="connsiteX2928" fmla="*/ 2239546 w 4493400"/>
              <a:gd name="connsiteY2928" fmla="*/ 4503133 h 4503132"/>
              <a:gd name="connsiteX2929" fmla="*/ 2264358 w 4493400"/>
              <a:gd name="connsiteY2929" fmla="*/ 4502941 h 4503132"/>
              <a:gd name="connsiteX2930" fmla="*/ 2481033 w 4493400"/>
              <a:gd name="connsiteY2930" fmla="*/ 4487494 h 4503132"/>
              <a:gd name="connsiteX2931" fmla="*/ 2524262 w 4493400"/>
              <a:gd name="connsiteY2931" fmla="*/ 4483307 h 4503132"/>
              <a:gd name="connsiteX2932" fmla="*/ 2543833 w 4493400"/>
              <a:gd name="connsiteY2932" fmla="*/ 4481527 h 4503132"/>
              <a:gd name="connsiteX2933" fmla="*/ 2561817 w 4493400"/>
              <a:gd name="connsiteY2933" fmla="*/ 4479410 h 4503132"/>
              <a:gd name="connsiteX2934" fmla="*/ 2616491 w 4493400"/>
              <a:gd name="connsiteY2934" fmla="*/ 4469738 h 4503132"/>
              <a:gd name="connsiteX2935" fmla="*/ 2616346 w 4493400"/>
              <a:gd name="connsiteY2935" fmla="*/ 4468390 h 4503132"/>
              <a:gd name="connsiteX2936" fmla="*/ 2621011 w 4493400"/>
              <a:gd name="connsiteY2936" fmla="*/ 4468005 h 4503132"/>
              <a:gd name="connsiteX2937" fmla="*/ 2644669 w 4493400"/>
              <a:gd name="connsiteY2937" fmla="*/ 4466465 h 4503132"/>
              <a:gd name="connsiteX2938" fmla="*/ 2646593 w 4493400"/>
              <a:gd name="connsiteY2938" fmla="*/ 4466273 h 4503132"/>
              <a:gd name="connsiteX2939" fmla="*/ 2647987 w 4493400"/>
              <a:gd name="connsiteY2939" fmla="*/ 4465984 h 4503132"/>
              <a:gd name="connsiteX2940" fmla="*/ 2650776 w 4493400"/>
              <a:gd name="connsiteY2940" fmla="*/ 4465407 h 4503132"/>
              <a:gd name="connsiteX2941" fmla="*/ 2656306 w 4493400"/>
              <a:gd name="connsiteY2941" fmla="*/ 4464300 h 4503132"/>
              <a:gd name="connsiteX2942" fmla="*/ 2667029 w 4493400"/>
              <a:gd name="connsiteY2942" fmla="*/ 4462087 h 4503132"/>
              <a:gd name="connsiteX2943" fmla="*/ 2705738 w 4493400"/>
              <a:gd name="connsiteY2943" fmla="*/ 4454050 h 4503132"/>
              <a:gd name="connsiteX2944" fmla="*/ 2705305 w 4493400"/>
              <a:gd name="connsiteY2944" fmla="*/ 4449479 h 4503132"/>
              <a:gd name="connsiteX2945" fmla="*/ 2713913 w 4493400"/>
              <a:gd name="connsiteY2945" fmla="*/ 4449768 h 4503132"/>
              <a:gd name="connsiteX2946" fmla="*/ 2723818 w 4493400"/>
              <a:gd name="connsiteY2946" fmla="*/ 4449575 h 4503132"/>
              <a:gd name="connsiteX2947" fmla="*/ 2726271 w 4493400"/>
              <a:gd name="connsiteY2947" fmla="*/ 4449431 h 4503132"/>
              <a:gd name="connsiteX2948" fmla="*/ 2727521 w 4493400"/>
              <a:gd name="connsiteY2948" fmla="*/ 4449335 h 4503132"/>
              <a:gd name="connsiteX2949" fmla="*/ 2729108 w 4493400"/>
              <a:gd name="connsiteY2949" fmla="*/ 4449094 h 4503132"/>
              <a:gd name="connsiteX2950" fmla="*/ 2733820 w 4493400"/>
              <a:gd name="connsiteY2950" fmla="*/ 4448035 h 4503132"/>
              <a:gd name="connsiteX2951" fmla="*/ 2752333 w 4493400"/>
              <a:gd name="connsiteY2951" fmla="*/ 4443801 h 4503132"/>
              <a:gd name="connsiteX2952" fmla="*/ 2821625 w 4493400"/>
              <a:gd name="connsiteY2952" fmla="*/ 4426429 h 4503132"/>
              <a:gd name="connsiteX2953" fmla="*/ 2883271 w 4493400"/>
              <a:gd name="connsiteY2953" fmla="*/ 4408914 h 4503132"/>
              <a:gd name="connsiteX2954" fmla="*/ 2911160 w 4493400"/>
              <a:gd name="connsiteY2954" fmla="*/ 4400060 h 4503132"/>
              <a:gd name="connsiteX2955" fmla="*/ 2929385 w 4493400"/>
              <a:gd name="connsiteY2955" fmla="*/ 4393034 h 4503132"/>
              <a:gd name="connsiteX2956" fmla="*/ 2929962 w 4493400"/>
              <a:gd name="connsiteY2956" fmla="*/ 4394766 h 4503132"/>
              <a:gd name="connsiteX2957" fmla="*/ 2966796 w 4493400"/>
              <a:gd name="connsiteY2957" fmla="*/ 4382640 h 4503132"/>
              <a:gd name="connsiteX2958" fmla="*/ 2995070 w 4493400"/>
              <a:gd name="connsiteY2958" fmla="*/ 4371091 h 4503132"/>
              <a:gd name="connsiteX2959" fmla="*/ 2996609 w 4493400"/>
              <a:gd name="connsiteY2959" fmla="*/ 4375133 h 4503132"/>
              <a:gd name="connsiteX2960" fmla="*/ 3017574 w 4493400"/>
              <a:gd name="connsiteY2960" fmla="*/ 4367530 h 4503132"/>
              <a:gd name="connsiteX2961" fmla="*/ 3038492 w 4493400"/>
              <a:gd name="connsiteY2961" fmla="*/ 4359302 h 4503132"/>
              <a:gd name="connsiteX2962" fmla="*/ 3068449 w 4493400"/>
              <a:gd name="connsiteY2962" fmla="*/ 4344529 h 4503132"/>
              <a:gd name="connsiteX2963" fmla="*/ 3069892 w 4493400"/>
              <a:gd name="connsiteY2963" fmla="*/ 4347945 h 4503132"/>
              <a:gd name="connsiteX2964" fmla="*/ 3199483 w 4493400"/>
              <a:gd name="connsiteY2964" fmla="*/ 4291934 h 4503132"/>
              <a:gd name="connsiteX2965" fmla="*/ 3203282 w 4493400"/>
              <a:gd name="connsiteY2965" fmla="*/ 4290105 h 4503132"/>
              <a:gd name="connsiteX2966" fmla="*/ 3205205 w 4493400"/>
              <a:gd name="connsiteY2966" fmla="*/ 4289191 h 4503132"/>
              <a:gd name="connsiteX2967" fmla="*/ 3206456 w 4493400"/>
              <a:gd name="connsiteY2967" fmla="*/ 4288613 h 4503132"/>
              <a:gd name="connsiteX2968" fmla="*/ 3208187 w 4493400"/>
              <a:gd name="connsiteY2968" fmla="*/ 4287314 h 4503132"/>
              <a:gd name="connsiteX2969" fmla="*/ 3214342 w 4493400"/>
              <a:gd name="connsiteY2969" fmla="*/ 4282646 h 4503132"/>
              <a:gd name="connsiteX2970" fmla="*/ 3228094 w 4493400"/>
              <a:gd name="connsiteY2970" fmla="*/ 4273552 h 4503132"/>
              <a:gd name="connsiteX2971" fmla="*/ 3240693 w 4493400"/>
              <a:gd name="connsiteY2971" fmla="*/ 4265467 h 4503132"/>
              <a:gd name="connsiteX2972" fmla="*/ 3244107 w 4493400"/>
              <a:gd name="connsiteY2972" fmla="*/ 4271050 h 4503132"/>
              <a:gd name="connsiteX2973" fmla="*/ 3273487 w 4493400"/>
              <a:gd name="connsiteY2973" fmla="*/ 4256132 h 4503132"/>
              <a:gd name="connsiteX2974" fmla="*/ 3280844 w 4493400"/>
              <a:gd name="connsiteY2974" fmla="*/ 4252427 h 4503132"/>
              <a:gd name="connsiteX2975" fmla="*/ 3284499 w 4493400"/>
              <a:gd name="connsiteY2975" fmla="*/ 4250550 h 4503132"/>
              <a:gd name="connsiteX2976" fmla="*/ 3286326 w 4493400"/>
              <a:gd name="connsiteY2976" fmla="*/ 4249636 h 4503132"/>
              <a:gd name="connsiteX2977" fmla="*/ 3288875 w 4493400"/>
              <a:gd name="connsiteY2977" fmla="*/ 4247952 h 4503132"/>
              <a:gd name="connsiteX2978" fmla="*/ 3301954 w 4493400"/>
              <a:gd name="connsiteY2978" fmla="*/ 4238905 h 4503132"/>
              <a:gd name="connsiteX2979" fmla="*/ 3312340 w 4493400"/>
              <a:gd name="connsiteY2979" fmla="*/ 4232361 h 4503132"/>
              <a:gd name="connsiteX2980" fmla="*/ 3313927 w 4493400"/>
              <a:gd name="connsiteY2980" fmla="*/ 4234911 h 4503132"/>
              <a:gd name="connsiteX2981" fmla="*/ 3341240 w 4493400"/>
              <a:gd name="connsiteY2981" fmla="*/ 4219850 h 4503132"/>
              <a:gd name="connsiteX2982" fmla="*/ 3355233 w 4493400"/>
              <a:gd name="connsiteY2982" fmla="*/ 4212102 h 4503132"/>
              <a:gd name="connsiteX2983" fmla="*/ 3362302 w 4493400"/>
              <a:gd name="connsiteY2983" fmla="*/ 4208156 h 4503132"/>
              <a:gd name="connsiteX2984" fmla="*/ 3369370 w 4493400"/>
              <a:gd name="connsiteY2984" fmla="*/ 4203489 h 4503132"/>
              <a:gd name="connsiteX2985" fmla="*/ 3425583 w 4493400"/>
              <a:gd name="connsiteY2985" fmla="*/ 4168794 h 4503132"/>
              <a:gd name="connsiteX2986" fmla="*/ 3477371 w 4493400"/>
              <a:gd name="connsiteY2986" fmla="*/ 4136698 h 4503132"/>
              <a:gd name="connsiteX2987" fmla="*/ 3500452 w 4493400"/>
              <a:gd name="connsiteY2987" fmla="*/ 4121011 h 4503132"/>
              <a:gd name="connsiteX2988" fmla="*/ 3521562 w 4493400"/>
              <a:gd name="connsiteY2988" fmla="*/ 4106045 h 4503132"/>
              <a:gd name="connsiteX2989" fmla="*/ 3558011 w 4493400"/>
              <a:gd name="connsiteY2989" fmla="*/ 4079916 h 4503132"/>
              <a:gd name="connsiteX2990" fmla="*/ 3557242 w 4493400"/>
              <a:gd name="connsiteY2990" fmla="*/ 4078809 h 4503132"/>
              <a:gd name="connsiteX2991" fmla="*/ 3575706 w 4493400"/>
              <a:gd name="connsiteY2991" fmla="*/ 4066250 h 4503132"/>
              <a:gd name="connsiteX2992" fmla="*/ 3627399 w 4493400"/>
              <a:gd name="connsiteY2992" fmla="*/ 4028572 h 4503132"/>
              <a:gd name="connsiteX2993" fmla="*/ 3675917 w 4493400"/>
              <a:gd name="connsiteY2993" fmla="*/ 3987140 h 4503132"/>
              <a:gd name="connsiteX2994" fmla="*/ 3697845 w 4493400"/>
              <a:gd name="connsiteY2994" fmla="*/ 3966401 h 4503132"/>
              <a:gd name="connsiteX2995" fmla="*/ 3701258 w 4493400"/>
              <a:gd name="connsiteY2995" fmla="*/ 3970250 h 4503132"/>
              <a:gd name="connsiteX2996" fmla="*/ 3759442 w 4493400"/>
              <a:gd name="connsiteY2996" fmla="*/ 3919291 h 4503132"/>
              <a:gd name="connsiteX2997" fmla="*/ 3802143 w 4493400"/>
              <a:gd name="connsiteY2997" fmla="*/ 3879207 h 4503132"/>
              <a:gd name="connsiteX2998" fmla="*/ 3798825 w 4493400"/>
              <a:gd name="connsiteY2998" fmla="*/ 3875405 h 4503132"/>
              <a:gd name="connsiteX2999" fmla="*/ 3799354 w 4493400"/>
              <a:gd name="connsiteY2999" fmla="*/ 3875646 h 4503132"/>
              <a:gd name="connsiteX3000" fmla="*/ 3800892 w 4493400"/>
              <a:gd name="connsiteY3000" fmla="*/ 3876464 h 4503132"/>
              <a:gd name="connsiteX3001" fmla="*/ 3803056 w 4493400"/>
              <a:gd name="connsiteY3001" fmla="*/ 3877715 h 4503132"/>
              <a:gd name="connsiteX3002" fmla="*/ 3803249 w 4493400"/>
              <a:gd name="connsiteY3002" fmla="*/ 3877427 h 4503132"/>
              <a:gd name="connsiteX3003" fmla="*/ 3804018 w 4493400"/>
              <a:gd name="connsiteY3003" fmla="*/ 3876416 h 4503132"/>
              <a:gd name="connsiteX3004" fmla="*/ 3805845 w 4493400"/>
              <a:gd name="connsiteY3004" fmla="*/ 3874250 h 4503132"/>
              <a:gd name="connsiteX3005" fmla="*/ 3809740 w 4493400"/>
              <a:gd name="connsiteY3005" fmla="*/ 3869823 h 4503132"/>
              <a:gd name="connsiteX3006" fmla="*/ 3817722 w 4493400"/>
              <a:gd name="connsiteY3006" fmla="*/ 3861066 h 4503132"/>
              <a:gd name="connsiteX3007" fmla="*/ 3833639 w 4493400"/>
              <a:gd name="connsiteY3007" fmla="*/ 3844031 h 4503132"/>
              <a:gd name="connsiteX3008" fmla="*/ 3864510 w 4493400"/>
              <a:gd name="connsiteY3008" fmla="*/ 3811598 h 4503132"/>
              <a:gd name="connsiteX3009" fmla="*/ 3893698 w 4493400"/>
              <a:gd name="connsiteY3009" fmla="*/ 3781571 h 4503132"/>
              <a:gd name="connsiteX3010" fmla="*/ 3907547 w 4493400"/>
              <a:gd name="connsiteY3010" fmla="*/ 3767520 h 4503132"/>
              <a:gd name="connsiteX3011" fmla="*/ 3908076 w 4493400"/>
              <a:gd name="connsiteY3011" fmla="*/ 3766991 h 4503132"/>
              <a:gd name="connsiteX3012" fmla="*/ 3909086 w 4493400"/>
              <a:gd name="connsiteY3012" fmla="*/ 3767857 h 4503132"/>
              <a:gd name="connsiteX3013" fmla="*/ 3909182 w 4493400"/>
              <a:gd name="connsiteY3013" fmla="*/ 3767761 h 4503132"/>
              <a:gd name="connsiteX3014" fmla="*/ 3909182 w 4493400"/>
              <a:gd name="connsiteY3014" fmla="*/ 3767761 h 4503132"/>
              <a:gd name="connsiteX3015" fmla="*/ 3912211 w 4493400"/>
              <a:gd name="connsiteY3015" fmla="*/ 3764200 h 4503132"/>
              <a:gd name="connsiteX3016" fmla="*/ 3912596 w 4493400"/>
              <a:gd name="connsiteY3016" fmla="*/ 3763719 h 4503132"/>
              <a:gd name="connsiteX3017" fmla="*/ 3957796 w 4493400"/>
              <a:gd name="connsiteY3017" fmla="*/ 3710642 h 4503132"/>
              <a:gd name="connsiteX3018" fmla="*/ 3958373 w 4493400"/>
              <a:gd name="connsiteY3018" fmla="*/ 3709968 h 4503132"/>
              <a:gd name="connsiteX3019" fmla="*/ 3958518 w 4493400"/>
              <a:gd name="connsiteY3019" fmla="*/ 3709198 h 4503132"/>
              <a:gd name="connsiteX3020" fmla="*/ 3958373 w 4493400"/>
              <a:gd name="connsiteY3020" fmla="*/ 3707418 h 4503132"/>
              <a:gd name="connsiteX3021" fmla="*/ 3956113 w 4493400"/>
              <a:gd name="connsiteY3021" fmla="*/ 3705301 h 4503132"/>
              <a:gd name="connsiteX3022" fmla="*/ 3954719 w 4493400"/>
              <a:gd name="connsiteY3022" fmla="*/ 3705204 h 4503132"/>
              <a:gd name="connsiteX3023" fmla="*/ 3953997 w 4493400"/>
              <a:gd name="connsiteY3023" fmla="*/ 3705349 h 4503132"/>
              <a:gd name="connsiteX3024" fmla="*/ 3952459 w 4493400"/>
              <a:gd name="connsiteY3024" fmla="*/ 3706022 h 4503132"/>
              <a:gd name="connsiteX3025" fmla="*/ 3950535 w 4493400"/>
              <a:gd name="connsiteY3025" fmla="*/ 3707225 h 4503132"/>
              <a:gd name="connsiteX3026" fmla="*/ 3947314 w 4493400"/>
              <a:gd name="connsiteY3026" fmla="*/ 3709679 h 4503132"/>
              <a:gd name="connsiteX3027" fmla="*/ 3941543 w 4493400"/>
              <a:gd name="connsiteY3027" fmla="*/ 3714491 h 4503132"/>
              <a:gd name="connsiteX3028" fmla="*/ 3931445 w 4493400"/>
              <a:gd name="connsiteY3028" fmla="*/ 3723634 h 4503132"/>
              <a:gd name="connsiteX3029" fmla="*/ 3916106 w 4493400"/>
              <a:gd name="connsiteY3029" fmla="*/ 3738696 h 4503132"/>
              <a:gd name="connsiteX3030" fmla="*/ 3904277 w 4493400"/>
              <a:gd name="connsiteY3030" fmla="*/ 3752362 h 4503132"/>
              <a:gd name="connsiteX3031" fmla="*/ 3918366 w 4493400"/>
              <a:gd name="connsiteY3031" fmla="*/ 3741054 h 4503132"/>
              <a:gd name="connsiteX3032" fmla="*/ 3934523 w 4493400"/>
              <a:gd name="connsiteY3032" fmla="*/ 3727243 h 4503132"/>
              <a:gd name="connsiteX3033" fmla="*/ 3910624 w 4493400"/>
              <a:gd name="connsiteY3033" fmla="*/ 3753661 h 4503132"/>
              <a:gd name="connsiteX3034" fmla="*/ 3910143 w 4493400"/>
              <a:gd name="connsiteY3034" fmla="*/ 3753806 h 4503132"/>
              <a:gd name="connsiteX3035" fmla="*/ 3909518 w 4493400"/>
              <a:gd name="connsiteY3035" fmla="*/ 3754095 h 4503132"/>
              <a:gd name="connsiteX3036" fmla="*/ 3908316 w 4493400"/>
              <a:gd name="connsiteY3036" fmla="*/ 3754913 h 4503132"/>
              <a:gd name="connsiteX3037" fmla="*/ 3907739 w 4493400"/>
              <a:gd name="connsiteY3037" fmla="*/ 3755394 h 4503132"/>
              <a:gd name="connsiteX3038" fmla="*/ 3906777 w 4493400"/>
              <a:gd name="connsiteY3038" fmla="*/ 3756260 h 4503132"/>
              <a:gd name="connsiteX3039" fmla="*/ 3904950 w 4493400"/>
              <a:gd name="connsiteY3039" fmla="*/ 3757944 h 4503132"/>
              <a:gd name="connsiteX3040" fmla="*/ 3901440 w 4493400"/>
              <a:gd name="connsiteY3040" fmla="*/ 3761313 h 4503132"/>
              <a:gd name="connsiteX3041" fmla="*/ 3887302 w 4493400"/>
              <a:gd name="connsiteY3041" fmla="*/ 3775171 h 4503132"/>
              <a:gd name="connsiteX3042" fmla="*/ 3858595 w 4493400"/>
              <a:gd name="connsiteY3042" fmla="*/ 3803802 h 4503132"/>
              <a:gd name="connsiteX3043" fmla="*/ 3889418 w 4493400"/>
              <a:gd name="connsiteY3043" fmla="*/ 3769397 h 4503132"/>
              <a:gd name="connsiteX3044" fmla="*/ 3904277 w 4493400"/>
              <a:gd name="connsiteY3044" fmla="*/ 3752410 h 4503132"/>
              <a:gd name="connsiteX3045" fmla="*/ 3886774 w 4493400"/>
              <a:gd name="connsiteY3045" fmla="*/ 3766846 h 4503132"/>
              <a:gd name="connsiteX3046" fmla="*/ 3875570 w 4493400"/>
              <a:gd name="connsiteY3046" fmla="*/ 3777770 h 4503132"/>
              <a:gd name="connsiteX3047" fmla="*/ 3890092 w 4493400"/>
              <a:gd name="connsiteY3047" fmla="*/ 3760687 h 4503132"/>
              <a:gd name="connsiteX3048" fmla="*/ 3928752 w 4493400"/>
              <a:gd name="connsiteY3048" fmla="*/ 3713048 h 4503132"/>
              <a:gd name="connsiteX3049" fmla="*/ 3945871 w 4493400"/>
              <a:gd name="connsiteY3049" fmla="*/ 3687063 h 4503132"/>
              <a:gd name="connsiteX3050" fmla="*/ 3952218 w 4493400"/>
              <a:gd name="connsiteY3050" fmla="*/ 3672531 h 4503132"/>
              <a:gd name="connsiteX3051" fmla="*/ 3958662 w 4493400"/>
              <a:gd name="connsiteY3051" fmla="*/ 3660549 h 4503132"/>
              <a:gd name="connsiteX3052" fmla="*/ 3978425 w 4493400"/>
              <a:gd name="connsiteY3052" fmla="*/ 3638702 h 4503132"/>
              <a:gd name="connsiteX3053" fmla="*/ 3997756 w 4493400"/>
              <a:gd name="connsiteY3053" fmla="*/ 3619743 h 4503132"/>
              <a:gd name="connsiteX3054" fmla="*/ 3981118 w 4493400"/>
              <a:gd name="connsiteY3054" fmla="*/ 3643370 h 4503132"/>
              <a:gd name="connsiteX3055" fmla="*/ 3970058 w 4493400"/>
              <a:gd name="connsiteY3055" fmla="*/ 3662089 h 4503132"/>
              <a:gd name="connsiteX3056" fmla="*/ 3967798 w 4493400"/>
              <a:gd name="connsiteY3056" fmla="*/ 3667430 h 4503132"/>
              <a:gd name="connsiteX3057" fmla="*/ 3966788 w 4493400"/>
              <a:gd name="connsiteY3057" fmla="*/ 3670895 h 4503132"/>
              <a:gd name="connsiteX3058" fmla="*/ 3966596 w 4493400"/>
              <a:gd name="connsiteY3058" fmla="*/ 3675707 h 4503132"/>
              <a:gd name="connsiteX3059" fmla="*/ 3972318 w 4493400"/>
              <a:gd name="connsiteY3059" fmla="*/ 3682203 h 4503132"/>
              <a:gd name="connsiteX3060" fmla="*/ 3977127 w 4493400"/>
              <a:gd name="connsiteY3060" fmla="*/ 3682588 h 4503132"/>
              <a:gd name="connsiteX3061" fmla="*/ 3978666 w 4493400"/>
              <a:gd name="connsiteY3061" fmla="*/ 3682492 h 4503132"/>
              <a:gd name="connsiteX3062" fmla="*/ 3980108 w 4493400"/>
              <a:gd name="connsiteY3062" fmla="*/ 3680038 h 4503132"/>
              <a:gd name="connsiteX3063" fmla="*/ 3981214 w 4493400"/>
              <a:gd name="connsiteY3063" fmla="*/ 3680423 h 4503132"/>
              <a:gd name="connsiteX3064" fmla="*/ 3981406 w 4493400"/>
              <a:gd name="connsiteY3064" fmla="*/ 3680519 h 4503132"/>
              <a:gd name="connsiteX3065" fmla="*/ 3981695 w 4493400"/>
              <a:gd name="connsiteY3065" fmla="*/ 3680615 h 4503132"/>
              <a:gd name="connsiteX3066" fmla="*/ 3984628 w 4493400"/>
              <a:gd name="connsiteY3066" fmla="*/ 3681481 h 4503132"/>
              <a:gd name="connsiteX3067" fmla="*/ 4008960 w 4493400"/>
              <a:gd name="connsiteY3067" fmla="*/ 3651214 h 4503132"/>
              <a:gd name="connsiteX3068" fmla="*/ 4006988 w 4493400"/>
              <a:gd name="connsiteY3068" fmla="*/ 3648952 h 4503132"/>
              <a:gd name="connsiteX3069" fmla="*/ 4008383 w 4493400"/>
              <a:gd name="connsiteY3069" fmla="*/ 3646113 h 4503132"/>
              <a:gd name="connsiteX3070" fmla="*/ 4014682 w 4493400"/>
              <a:gd name="connsiteY3070" fmla="*/ 3635671 h 4503132"/>
              <a:gd name="connsiteX3071" fmla="*/ 4022568 w 4493400"/>
              <a:gd name="connsiteY3071" fmla="*/ 3623833 h 4503132"/>
              <a:gd name="connsiteX3072" fmla="*/ 4022856 w 4493400"/>
              <a:gd name="connsiteY3072" fmla="*/ 3624362 h 4503132"/>
              <a:gd name="connsiteX3073" fmla="*/ 4024636 w 4493400"/>
              <a:gd name="connsiteY3073" fmla="*/ 3625180 h 4503132"/>
              <a:gd name="connsiteX3074" fmla="*/ 4025645 w 4493400"/>
              <a:gd name="connsiteY3074" fmla="*/ 3625084 h 4503132"/>
              <a:gd name="connsiteX3075" fmla="*/ 4026511 w 4493400"/>
              <a:gd name="connsiteY3075" fmla="*/ 3624748 h 4503132"/>
              <a:gd name="connsiteX3076" fmla="*/ 4026896 w 4493400"/>
              <a:gd name="connsiteY3076" fmla="*/ 3624555 h 4503132"/>
              <a:gd name="connsiteX3077" fmla="*/ 4027281 w 4493400"/>
              <a:gd name="connsiteY3077" fmla="*/ 3624122 h 4503132"/>
              <a:gd name="connsiteX3078" fmla="*/ 4074212 w 4493400"/>
              <a:gd name="connsiteY3078" fmla="*/ 3562961 h 4503132"/>
              <a:gd name="connsiteX3079" fmla="*/ 4136483 w 4493400"/>
              <a:gd name="connsiteY3079" fmla="*/ 3473025 h 4503132"/>
              <a:gd name="connsiteX3080" fmla="*/ 4151294 w 4493400"/>
              <a:gd name="connsiteY3080" fmla="*/ 3450023 h 4503132"/>
              <a:gd name="connsiteX3081" fmla="*/ 4148601 w 4493400"/>
              <a:gd name="connsiteY3081" fmla="*/ 3448291 h 4503132"/>
              <a:gd name="connsiteX3082" fmla="*/ 4220249 w 4493400"/>
              <a:gd name="connsiteY3082" fmla="*/ 3329290 h 4503132"/>
              <a:gd name="connsiteX3083" fmla="*/ 4230732 w 4493400"/>
              <a:gd name="connsiteY3083" fmla="*/ 3307587 h 4503132"/>
              <a:gd name="connsiteX3084" fmla="*/ 4233136 w 4493400"/>
              <a:gd name="connsiteY3084" fmla="*/ 3302006 h 4503132"/>
              <a:gd name="connsiteX3085" fmla="*/ 4235300 w 4493400"/>
              <a:gd name="connsiteY3085" fmla="*/ 3296472 h 4503132"/>
              <a:gd name="connsiteX3086" fmla="*/ 4238185 w 4493400"/>
              <a:gd name="connsiteY3086" fmla="*/ 3297963 h 4503132"/>
              <a:gd name="connsiteX3087" fmla="*/ 4238233 w 4493400"/>
              <a:gd name="connsiteY3087" fmla="*/ 3297867 h 4503132"/>
              <a:gd name="connsiteX3088" fmla="*/ 4238233 w 4493400"/>
              <a:gd name="connsiteY3088" fmla="*/ 3297867 h 4503132"/>
              <a:gd name="connsiteX3089" fmla="*/ 4238233 w 4493400"/>
              <a:gd name="connsiteY3089" fmla="*/ 3297867 h 4503132"/>
              <a:gd name="connsiteX3090" fmla="*/ 4260641 w 4493400"/>
              <a:gd name="connsiteY3090" fmla="*/ 3253741 h 4503132"/>
              <a:gd name="connsiteX3091" fmla="*/ 4265594 w 4493400"/>
              <a:gd name="connsiteY3091" fmla="*/ 3242000 h 4503132"/>
              <a:gd name="connsiteX3092" fmla="*/ 4267854 w 4493400"/>
              <a:gd name="connsiteY3092" fmla="*/ 3236081 h 4503132"/>
              <a:gd name="connsiteX3093" fmla="*/ 4269344 w 4493400"/>
              <a:gd name="connsiteY3093" fmla="*/ 3231943 h 4503132"/>
              <a:gd name="connsiteX3094" fmla="*/ 4271028 w 4493400"/>
              <a:gd name="connsiteY3094" fmla="*/ 3226216 h 4503132"/>
              <a:gd name="connsiteX3095" fmla="*/ 4271412 w 4493400"/>
              <a:gd name="connsiteY3095" fmla="*/ 3223618 h 4503132"/>
              <a:gd name="connsiteX3096" fmla="*/ 4271268 w 4493400"/>
              <a:gd name="connsiteY3096" fmla="*/ 3221452 h 4503132"/>
              <a:gd name="connsiteX3097" fmla="*/ 4269681 w 4493400"/>
              <a:gd name="connsiteY3097" fmla="*/ 3218373 h 4503132"/>
              <a:gd name="connsiteX3098" fmla="*/ 4262083 w 4493400"/>
              <a:gd name="connsiteY3098" fmla="*/ 3216400 h 4503132"/>
              <a:gd name="connsiteX3099" fmla="*/ 4257419 w 4493400"/>
              <a:gd name="connsiteY3099" fmla="*/ 3218373 h 4503132"/>
              <a:gd name="connsiteX3100" fmla="*/ 4252563 w 4493400"/>
              <a:gd name="connsiteY3100" fmla="*/ 3221885 h 4503132"/>
              <a:gd name="connsiteX3101" fmla="*/ 4249678 w 4493400"/>
              <a:gd name="connsiteY3101" fmla="*/ 3224436 h 4503132"/>
              <a:gd name="connsiteX3102" fmla="*/ 4247273 w 4493400"/>
              <a:gd name="connsiteY3102" fmla="*/ 3226697 h 4503132"/>
              <a:gd name="connsiteX3103" fmla="*/ 4239050 w 4493400"/>
              <a:gd name="connsiteY3103" fmla="*/ 3235503 h 4503132"/>
              <a:gd name="connsiteX3104" fmla="*/ 4241263 w 4493400"/>
              <a:gd name="connsiteY3104" fmla="*/ 3232183 h 4503132"/>
              <a:gd name="connsiteX3105" fmla="*/ 4251841 w 4493400"/>
              <a:gd name="connsiteY3105" fmla="*/ 3217266 h 4503132"/>
              <a:gd name="connsiteX3106" fmla="*/ 4263382 w 4493400"/>
              <a:gd name="connsiteY3106" fmla="*/ 3204177 h 4503132"/>
              <a:gd name="connsiteX3107" fmla="*/ 4276654 w 4493400"/>
              <a:gd name="connsiteY3107" fmla="*/ 3191907 h 4503132"/>
              <a:gd name="connsiteX3108" fmla="*/ 4288915 w 4493400"/>
              <a:gd name="connsiteY3108" fmla="*/ 3178240 h 4503132"/>
              <a:gd name="connsiteX3109" fmla="*/ 4307236 w 4493400"/>
              <a:gd name="connsiteY3109" fmla="*/ 3147877 h 4503132"/>
              <a:gd name="connsiteX3110" fmla="*/ 4331856 w 4493400"/>
              <a:gd name="connsiteY3110" fmla="*/ 3086427 h 4503132"/>
              <a:gd name="connsiteX3111" fmla="*/ 4349359 w 4493400"/>
              <a:gd name="connsiteY3111" fmla="*/ 3035516 h 4503132"/>
              <a:gd name="connsiteX3112" fmla="*/ 4352196 w 4493400"/>
              <a:gd name="connsiteY3112" fmla="*/ 3036575 h 4503132"/>
              <a:gd name="connsiteX3113" fmla="*/ 4352196 w 4493400"/>
              <a:gd name="connsiteY3113" fmla="*/ 3036575 h 4503132"/>
              <a:gd name="connsiteX3114" fmla="*/ 4352196 w 4493400"/>
              <a:gd name="connsiteY3114" fmla="*/ 3036575 h 4503132"/>
              <a:gd name="connsiteX3115" fmla="*/ 4369219 w 4493400"/>
              <a:gd name="connsiteY3115" fmla="*/ 2988166 h 4503132"/>
              <a:gd name="connsiteX3116" fmla="*/ 4383164 w 4493400"/>
              <a:gd name="connsiteY3116" fmla="*/ 2941537 h 4503132"/>
              <a:gd name="connsiteX3117" fmla="*/ 4385135 w 4493400"/>
              <a:gd name="connsiteY3117" fmla="*/ 2934271 h 4503132"/>
              <a:gd name="connsiteX3118" fmla="*/ 4385424 w 4493400"/>
              <a:gd name="connsiteY3118" fmla="*/ 2934367 h 4503132"/>
              <a:gd name="connsiteX3119" fmla="*/ 4427835 w 4493400"/>
              <a:gd name="connsiteY3119" fmla="*/ 2752425 h 4503132"/>
              <a:gd name="connsiteX3120" fmla="*/ 4435433 w 4493400"/>
              <a:gd name="connsiteY3120" fmla="*/ 2704690 h 4503132"/>
              <a:gd name="connsiteX3121" fmla="*/ 4436827 w 4493400"/>
              <a:gd name="connsiteY3121" fmla="*/ 2692468 h 4503132"/>
              <a:gd name="connsiteX3122" fmla="*/ 4437068 w 4493400"/>
              <a:gd name="connsiteY3122" fmla="*/ 2689388 h 4503132"/>
              <a:gd name="connsiteX3123" fmla="*/ 4437068 w 4493400"/>
              <a:gd name="connsiteY3123" fmla="*/ 2688329 h 4503132"/>
              <a:gd name="connsiteX3124" fmla="*/ 4436827 w 4493400"/>
              <a:gd name="connsiteY3124" fmla="*/ 2689340 h 4503132"/>
              <a:gd name="connsiteX3125" fmla="*/ 4436346 w 4493400"/>
              <a:gd name="connsiteY3125" fmla="*/ 2692419 h 4503132"/>
              <a:gd name="connsiteX3126" fmla="*/ 4434519 w 4493400"/>
              <a:gd name="connsiteY3126" fmla="*/ 2704546 h 4503132"/>
              <a:gd name="connsiteX3127" fmla="*/ 4426056 w 4493400"/>
              <a:gd name="connsiteY3127" fmla="*/ 2752040 h 4503132"/>
              <a:gd name="connsiteX3128" fmla="*/ 4414996 w 4493400"/>
              <a:gd name="connsiteY3128" fmla="*/ 2808100 h 4503132"/>
              <a:gd name="connsiteX3129" fmla="*/ 4418122 w 4493400"/>
              <a:gd name="connsiteY3129" fmla="*/ 2789526 h 4503132"/>
              <a:gd name="connsiteX3130" fmla="*/ 4427451 w 4493400"/>
              <a:gd name="connsiteY3130" fmla="*/ 2722495 h 4503132"/>
              <a:gd name="connsiteX3131" fmla="*/ 4433028 w 4493400"/>
              <a:gd name="connsiteY3131" fmla="*/ 2667012 h 4503132"/>
              <a:gd name="connsiteX3132" fmla="*/ 4435722 w 4493400"/>
              <a:gd name="connsiteY3132" fmla="*/ 2613021 h 4503132"/>
              <a:gd name="connsiteX3133" fmla="*/ 4435000 w 4493400"/>
              <a:gd name="connsiteY3133" fmla="*/ 2584967 h 4503132"/>
              <a:gd name="connsiteX3134" fmla="*/ 4433269 w 4493400"/>
              <a:gd name="connsiteY3134" fmla="*/ 2570675 h 4503132"/>
              <a:gd name="connsiteX3135" fmla="*/ 4428172 w 4493400"/>
              <a:gd name="connsiteY3135" fmla="*/ 2556143 h 4503132"/>
              <a:gd name="connsiteX3136" fmla="*/ 4424517 w 4493400"/>
              <a:gd name="connsiteY3136" fmla="*/ 2552871 h 4503132"/>
              <a:gd name="connsiteX3137" fmla="*/ 4419228 w 4493400"/>
              <a:gd name="connsiteY3137" fmla="*/ 2552245 h 4503132"/>
              <a:gd name="connsiteX3138" fmla="*/ 4411726 w 4493400"/>
              <a:gd name="connsiteY3138" fmla="*/ 2556287 h 4503132"/>
              <a:gd name="connsiteX3139" fmla="*/ 4401388 w 4493400"/>
              <a:gd name="connsiteY3139" fmla="*/ 2567355 h 4503132"/>
              <a:gd name="connsiteX3140" fmla="*/ 4384173 w 4493400"/>
              <a:gd name="connsiteY3140" fmla="*/ 2591608 h 4503132"/>
              <a:gd name="connsiteX3141" fmla="*/ 4350321 w 4493400"/>
              <a:gd name="connsiteY3141" fmla="*/ 2642374 h 4503132"/>
              <a:gd name="connsiteX3142" fmla="*/ 4342964 w 4493400"/>
              <a:gd name="connsiteY3142" fmla="*/ 2656185 h 4503132"/>
              <a:gd name="connsiteX3143" fmla="*/ 4335799 w 4493400"/>
              <a:gd name="connsiteY3143" fmla="*/ 2670284 h 4503132"/>
              <a:gd name="connsiteX3144" fmla="*/ 4323056 w 4493400"/>
              <a:gd name="connsiteY3144" fmla="*/ 2699589 h 4503132"/>
              <a:gd name="connsiteX3145" fmla="*/ 4300697 w 4493400"/>
              <a:gd name="connsiteY3145" fmla="*/ 2761087 h 4503132"/>
              <a:gd name="connsiteX3146" fmla="*/ 4260016 w 4493400"/>
              <a:gd name="connsiteY3146" fmla="*/ 2891877 h 4503132"/>
              <a:gd name="connsiteX3147" fmla="*/ 4223278 w 4493400"/>
              <a:gd name="connsiteY3147" fmla="*/ 3004719 h 4503132"/>
              <a:gd name="connsiteX3148" fmla="*/ 4316180 w 4493400"/>
              <a:gd name="connsiteY3148" fmla="*/ 2702284 h 4503132"/>
              <a:gd name="connsiteX3149" fmla="*/ 4341665 w 4493400"/>
              <a:gd name="connsiteY3149" fmla="*/ 2639006 h 4503132"/>
              <a:gd name="connsiteX3150" fmla="*/ 4372056 w 4493400"/>
              <a:gd name="connsiteY3150" fmla="*/ 2583956 h 4503132"/>
              <a:gd name="connsiteX3151" fmla="*/ 4388309 w 4493400"/>
              <a:gd name="connsiteY3151" fmla="*/ 2559223 h 4503132"/>
              <a:gd name="connsiteX3152" fmla="*/ 4402157 w 4493400"/>
              <a:gd name="connsiteY3152" fmla="*/ 2534537 h 4503132"/>
              <a:gd name="connsiteX3153" fmla="*/ 4415141 w 4493400"/>
              <a:gd name="connsiteY3153" fmla="*/ 2511151 h 4503132"/>
              <a:gd name="connsiteX3154" fmla="*/ 4422065 w 4493400"/>
              <a:gd name="connsiteY3154" fmla="*/ 2500516 h 4503132"/>
              <a:gd name="connsiteX3155" fmla="*/ 4425912 w 4493400"/>
              <a:gd name="connsiteY3155" fmla="*/ 2495800 h 4503132"/>
              <a:gd name="connsiteX3156" fmla="*/ 4429999 w 4493400"/>
              <a:gd name="connsiteY3156" fmla="*/ 2492576 h 4503132"/>
              <a:gd name="connsiteX3157" fmla="*/ 4432067 w 4493400"/>
              <a:gd name="connsiteY3157" fmla="*/ 2492239 h 4503132"/>
              <a:gd name="connsiteX3158" fmla="*/ 4433606 w 4493400"/>
              <a:gd name="connsiteY3158" fmla="*/ 2493635 h 4503132"/>
              <a:gd name="connsiteX3159" fmla="*/ 4435385 w 4493400"/>
              <a:gd name="connsiteY3159" fmla="*/ 2498495 h 4503132"/>
              <a:gd name="connsiteX3160" fmla="*/ 4437453 w 4493400"/>
              <a:gd name="connsiteY3160" fmla="*/ 2509900 h 4503132"/>
              <a:gd name="connsiteX3161" fmla="*/ 4439376 w 4493400"/>
              <a:gd name="connsiteY3161" fmla="*/ 2532227 h 4503132"/>
              <a:gd name="connsiteX3162" fmla="*/ 4440482 w 4493400"/>
              <a:gd name="connsiteY3162" fmla="*/ 2572889 h 4503132"/>
              <a:gd name="connsiteX3163" fmla="*/ 4439568 w 4493400"/>
              <a:gd name="connsiteY3163" fmla="*/ 2636407 h 4503132"/>
              <a:gd name="connsiteX3164" fmla="*/ 4437789 w 4493400"/>
              <a:gd name="connsiteY3164" fmla="*/ 2675192 h 4503132"/>
              <a:gd name="connsiteX3165" fmla="*/ 4437164 w 4493400"/>
              <a:gd name="connsiteY3165" fmla="*/ 2685009 h 4503132"/>
              <a:gd name="connsiteX3166" fmla="*/ 4437068 w 4493400"/>
              <a:gd name="connsiteY3166" fmla="*/ 2688329 h 4503132"/>
              <a:gd name="connsiteX3167" fmla="*/ 4437597 w 4493400"/>
              <a:gd name="connsiteY3167" fmla="*/ 2685057 h 4503132"/>
              <a:gd name="connsiteX3168" fmla="*/ 4438655 w 4493400"/>
              <a:gd name="connsiteY3168" fmla="*/ 2675240 h 4503132"/>
              <a:gd name="connsiteX3169" fmla="*/ 4441251 w 4493400"/>
              <a:gd name="connsiteY3169" fmla="*/ 2636456 h 4503132"/>
              <a:gd name="connsiteX3170" fmla="*/ 4442982 w 4493400"/>
              <a:gd name="connsiteY3170" fmla="*/ 2572889 h 4503132"/>
              <a:gd name="connsiteX3171" fmla="*/ 4442261 w 4493400"/>
              <a:gd name="connsiteY3171" fmla="*/ 2532083 h 4503132"/>
              <a:gd name="connsiteX3172" fmla="*/ 4440482 w 4493400"/>
              <a:gd name="connsiteY3172" fmla="*/ 2509515 h 4503132"/>
              <a:gd name="connsiteX3173" fmla="*/ 4438414 w 4493400"/>
              <a:gd name="connsiteY3173" fmla="*/ 2497677 h 4503132"/>
              <a:gd name="connsiteX3174" fmla="*/ 4435962 w 4493400"/>
              <a:gd name="connsiteY3174" fmla="*/ 2491277 h 4503132"/>
              <a:gd name="connsiteX3175" fmla="*/ 4433077 w 4493400"/>
              <a:gd name="connsiteY3175" fmla="*/ 2488871 h 4503132"/>
              <a:gd name="connsiteX3176" fmla="*/ 4429278 w 4493400"/>
              <a:gd name="connsiteY3176" fmla="*/ 2489256 h 4503132"/>
              <a:gd name="connsiteX3177" fmla="*/ 4423508 w 4493400"/>
              <a:gd name="connsiteY3177" fmla="*/ 2493442 h 4503132"/>
              <a:gd name="connsiteX3178" fmla="*/ 4419324 w 4493400"/>
              <a:gd name="connsiteY3178" fmla="*/ 2498447 h 4503132"/>
              <a:gd name="connsiteX3179" fmla="*/ 4412111 w 4493400"/>
              <a:gd name="connsiteY3179" fmla="*/ 2509322 h 4503132"/>
              <a:gd name="connsiteX3180" fmla="*/ 4398888 w 4493400"/>
              <a:gd name="connsiteY3180" fmla="*/ 2532709 h 4503132"/>
              <a:gd name="connsiteX3181" fmla="*/ 4384943 w 4493400"/>
              <a:gd name="connsiteY3181" fmla="*/ 2557106 h 4503132"/>
              <a:gd name="connsiteX3182" fmla="*/ 4368594 w 4493400"/>
              <a:gd name="connsiteY3182" fmla="*/ 2581695 h 4503132"/>
              <a:gd name="connsiteX3183" fmla="*/ 4337626 w 4493400"/>
              <a:gd name="connsiteY3183" fmla="*/ 2637033 h 4503132"/>
              <a:gd name="connsiteX3184" fmla="*/ 4311612 w 4493400"/>
              <a:gd name="connsiteY3184" fmla="*/ 2700648 h 4503132"/>
              <a:gd name="connsiteX3185" fmla="*/ 4214767 w 4493400"/>
              <a:gd name="connsiteY3185" fmla="*/ 3010542 h 4503132"/>
              <a:gd name="connsiteX3186" fmla="*/ 4182357 w 4493400"/>
              <a:gd name="connsiteY3186" fmla="*/ 3097735 h 4503132"/>
              <a:gd name="connsiteX3187" fmla="*/ 4143408 w 4493400"/>
              <a:gd name="connsiteY3187" fmla="*/ 3187239 h 4503132"/>
              <a:gd name="connsiteX3188" fmla="*/ 4105035 w 4493400"/>
              <a:gd name="connsiteY3188" fmla="*/ 3264616 h 4503132"/>
              <a:gd name="connsiteX3189" fmla="*/ 4137012 w 4493400"/>
              <a:gd name="connsiteY3189" fmla="*/ 3200472 h 4503132"/>
              <a:gd name="connsiteX3190" fmla="*/ 4212700 w 4493400"/>
              <a:gd name="connsiteY3190" fmla="*/ 3011841 h 4503132"/>
              <a:gd name="connsiteX3191" fmla="*/ 4241263 w 4493400"/>
              <a:gd name="connsiteY3191" fmla="*/ 2920172 h 4503132"/>
              <a:gd name="connsiteX3192" fmla="*/ 4264728 w 4493400"/>
              <a:gd name="connsiteY3192" fmla="*/ 2830957 h 4503132"/>
              <a:gd name="connsiteX3193" fmla="*/ 4285742 w 4493400"/>
              <a:gd name="connsiteY3193" fmla="*/ 2745111 h 4503132"/>
              <a:gd name="connsiteX3194" fmla="*/ 4308727 w 4493400"/>
              <a:gd name="connsiteY3194" fmla="*/ 2663884 h 4503132"/>
              <a:gd name="connsiteX3195" fmla="*/ 4324211 w 4493400"/>
              <a:gd name="connsiteY3195" fmla="*/ 2626302 h 4503132"/>
              <a:gd name="connsiteX3196" fmla="*/ 4343445 w 4493400"/>
              <a:gd name="connsiteY3196" fmla="*/ 2591559 h 4503132"/>
              <a:gd name="connsiteX3197" fmla="*/ 4387058 w 4493400"/>
              <a:gd name="connsiteY3197" fmla="*/ 2528474 h 4503132"/>
              <a:gd name="connsiteX3198" fmla="*/ 4406629 w 4493400"/>
              <a:gd name="connsiteY3198" fmla="*/ 2497051 h 4503132"/>
              <a:gd name="connsiteX3199" fmla="*/ 4421873 w 4493400"/>
              <a:gd name="connsiteY3199" fmla="*/ 2464378 h 4503132"/>
              <a:gd name="connsiteX3200" fmla="*/ 4432644 w 4493400"/>
              <a:gd name="connsiteY3200" fmla="*/ 2431031 h 4503132"/>
              <a:gd name="connsiteX3201" fmla="*/ 4437501 w 4493400"/>
              <a:gd name="connsiteY3201" fmla="*/ 2414622 h 4503132"/>
              <a:gd name="connsiteX3202" fmla="*/ 4438799 w 4493400"/>
              <a:gd name="connsiteY3202" fmla="*/ 2410580 h 4503132"/>
              <a:gd name="connsiteX3203" fmla="*/ 4439953 w 4493400"/>
              <a:gd name="connsiteY3203" fmla="*/ 2407211 h 4503132"/>
              <a:gd name="connsiteX3204" fmla="*/ 4442453 w 4493400"/>
              <a:gd name="connsiteY3204" fmla="*/ 2400859 h 4503132"/>
              <a:gd name="connsiteX3205" fmla="*/ 4444184 w 4493400"/>
              <a:gd name="connsiteY3205" fmla="*/ 2397924 h 4503132"/>
              <a:gd name="connsiteX3206" fmla="*/ 4445579 w 4493400"/>
              <a:gd name="connsiteY3206" fmla="*/ 2397731 h 4503132"/>
              <a:gd name="connsiteX3207" fmla="*/ 4446204 w 4493400"/>
              <a:gd name="connsiteY3207" fmla="*/ 2399271 h 4503132"/>
              <a:gd name="connsiteX3208" fmla="*/ 4447166 w 4493400"/>
              <a:gd name="connsiteY3208" fmla="*/ 2405960 h 4503132"/>
              <a:gd name="connsiteX3209" fmla="*/ 4447406 w 4493400"/>
              <a:gd name="connsiteY3209" fmla="*/ 2409328 h 4503132"/>
              <a:gd name="connsiteX3210" fmla="*/ 4447647 w 4493400"/>
              <a:gd name="connsiteY3210" fmla="*/ 2413034 h 4503132"/>
              <a:gd name="connsiteX3211" fmla="*/ 4447983 w 4493400"/>
              <a:gd name="connsiteY3211" fmla="*/ 2421166 h 4503132"/>
              <a:gd name="connsiteX3212" fmla="*/ 4448512 w 4493400"/>
              <a:gd name="connsiteY3212" fmla="*/ 2453118 h 4503132"/>
              <a:gd name="connsiteX3213" fmla="*/ 4448127 w 4493400"/>
              <a:gd name="connsiteY3213" fmla="*/ 2514134 h 4503132"/>
              <a:gd name="connsiteX3214" fmla="*/ 4445771 w 4493400"/>
              <a:gd name="connsiteY3214" fmla="*/ 2624041 h 4503132"/>
              <a:gd name="connsiteX3215" fmla="*/ 4441732 w 4493400"/>
              <a:gd name="connsiteY3215" fmla="*/ 2672738 h 4503132"/>
              <a:gd name="connsiteX3216" fmla="*/ 4435144 w 4493400"/>
              <a:gd name="connsiteY3216" fmla="*/ 2717057 h 4503132"/>
              <a:gd name="connsiteX3217" fmla="*/ 4428268 w 4493400"/>
              <a:gd name="connsiteY3217" fmla="*/ 2757237 h 4503132"/>
              <a:gd name="connsiteX3218" fmla="*/ 4425094 w 4493400"/>
              <a:gd name="connsiteY3218" fmla="*/ 2775811 h 4503132"/>
              <a:gd name="connsiteX3219" fmla="*/ 4423604 w 4493400"/>
              <a:gd name="connsiteY3219" fmla="*/ 2784714 h 4503132"/>
              <a:gd name="connsiteX3220" fmla="*/ 4422931 w 4493400"/>
              <a:gd name="connsiteY3220" fmla="*/ 2789093 h 4503132"/>
              <a:gd name="connsiteX3221" fmla="*/ 4422642 w 4493400"/>
              <a:gd name="connsiteY3221" fmla="*/ 2791306 h 4503132"/>
              <a:gd name="connsiteX3222" fmla="*/ 4422642 w 4493400"/>
              <a:gd name="connsiteY3222" fmla="*/ 2791884 h 4503132"/>
              <a:gd name="connsiteX3223" fmla="*/ 4423556 w 4493400"/>
              <a:gd name="connsiteY3223" fmla="*/ 2792413 h 4503132"/>
              <a:gd name="connsiteX3224" fmla="*/ 4423796 w 4493400"/>
              <a:gd name="connsiteY3224" fmla="*/ 2791980 h 4503132"/>
              <a:gd name="connsiteX3225" fmla="*/ 4424133 w 4493400"/>
              <a:gd name="connsiteY3225" fmla="*/ 2790921 h 4503132"/>
              <a:gd name="connsiteX3226" fmla="*/ 4424133 w 4493400"/>
              <a:gd name="connsiteY3226" fmla="*/ 2790921 h 4503132"/>
              <a:gd name="connsiteX3227" fmla="*/ 4442453 w 4493400"/>
              <a:gd name="connsiteY3227" fmla="*/ 2706759 h 4503132"/>
              <a:gd name="connsiteX3228" fmla="*/ 4443656 w 4493400"/>
              <a:gd name="connsiteY3228" fmla="*/ 2701273 h 4503132"/>
              <a:gd name="connsiteX3229" fmla="*/ 4448127 w 4493400"/>
              <a:gd name="connsiteY3229" fmla="*/ 2680245 h 4503132"/>
              <a:gd name="connsiteX3230" fmla="*/ 4448127 w 4493400"/>
              <a:gd name="connsiteY3230" fmla="*/ 2680245 h 4503132"/>
              <a:gd name="connsiteX3231" fmla="*/ 4448127 w 4493400"/>
              <a:gd name="connsiteY3231" fmla="*/ 2680245 h 4503132"/>
              <a:gd name="connsiteX3232" fmla="*/ 4447695 w 4493400"/>
              <a:gd name="connsiteY3232" fmla="*/ 2680149 h 4503132"/>
              <a:gd name="connsiteX3233" fmla="*/ 4447695 w 4493400"/>
              <a:gd name="connsiteY3233" fmla="*/ 2680149 h 4503132"/>
              <a:gd name="connsiteX3234" fmla="*/ 4440963 w 4493400"/>
              <a:gd name="connsiteY3234" fmla="*/ 2710657 h 4503132"/>
              <a:gd name="connsiteX3235" fmla="*/ 4440963 w 4493400"/>
              <a:gd name="connsiteY3235" fmla="*/ 2710079 h 4503132"/>
              <a:gd name="connsiteX3236" fmla="*/ 4442357 w 4493400"/>
              <a:gd name="connsiteY3236" fmla="*/ 2695018 h 4503132"/>
              <a:gd name="connsiteX3237" fmla="*/ 4446156 w 4493400"/>
              <a:gd name="connsiteY3237" fmla="*/ 2661767 h 4503132"/>
              <a:gd name="connsiteX3238" fmla="*/ 4446156 w 4493400"/>
              <a:gd name="connsiteY3238" fmla="*/ 2661863 h 4503132"/>
              <a:gd name="connsiteX3239" fmla="*/ 4446252 w 4493400"/>
              <a:gd name="connsiteY3239" fmla="*/ 2662344 h 4503132"/>
              <a:gd name="connsiteX3240" fmla="*/ 4446637 w 4493400"/>
              <a:gd name="connsiteY3240" fmla="*/ 2663355 h 4503132"/>
              <a:gd name="connsiteX3241" fmla="*/ 4450195 w 4493400"/>
              <a:gd name="connsiteY3241" fmla="*/ 2665568 h 4503132"/>
              <a:gd name="connsiteX3242" fmla="*/ 4453513 w 4493400"/>
              <a:gd name="connsiteY3242" fmla="*/ 2663836 h 4503132"/>
              <a:gd name="connsiteX3243" fmla="*/ 4454186 w 4493400"/>
              <a:gd name="connsiteY3243" fmla="*/ 2662633 h 4503132"/>
              <a:gd name="connsiteX3244" fmla="*/ 4454427 w 4493400"/>
              <a:gd name="connsiteY3244" fmla="*/ 2661959 h 4503132"/>
              <a:gd name="connsiteX3245" fmla="*/ 4454763 w 4493400"/>
              <a:gd name="connsiteY3245" fmla="*/ 2660804 h 4503132"/>
              <a:gd name="connsiteX3246" fmla="*/ 4455244 w 4493400"/>
              <a:gd name="connsiteY3246" fmla="*/ 2658831 h 4503132"/>
              <a:gd name="connsiteX3247" fmla="*/ 4456062 w 4493400"/>
              <a:gd name="connsiteY3247" fmla="*/ 2655030 h 4503132"/>
              <a:gd name="connsiteX3248" fmla="*/ 4457552 w 4493400"/>
              <a:gd name="connsiteY3248" fmla="*/ 2647523 h 4503132"/>
              <a:gd name="connsiteX3249" fmla="*/ 4460245 w 4493400"/>
              <a:gd name="connsiteY3249" fmla="*/ 2632750 h 4503132"/>
              <a:gd name="connsiteX3250" fmla="*/ 4470776 w 4493400"/>
              <a:gd name="connsiteY3250" fmla="*/ 2562687 h 4503132"/>
              <a:gd name="connsiteX3251" fmla="*/ 4473036 w 4493400"/>
              <a:gd name="connsiteY3251" fmla="*/ 2548973 h 4503132"/>
              <a:gd name="connsiteX3252" fmla="*/ 4476690 w 4493400"/>
              <a:gd name="connsiteY3252" fmla="*/ 2518946 h 4503132"/>
              <a:gd name="connsiteX3253" fmla="*/ 4482653 w 4493400"/>
              <a:gd name="connsiteY3253" fmla="*/ 2458267 h 4503132"/>
              <a:gd name="connsiteX3254" fmla="*/ 4482846 w 4493400"/>
              <a:gd name="connsiteY3254" fmla="*/ 2457256 h 4503132"/>
              <a:gd name="connsiteX3255" fmla="*/ 4483374 w 4493400"/>
              <a:gd name="connsiteY3255" fmla="*/ 2454128 h 4503132"/>
              <a:gd name="connsiteX3256" fmla="*/ 4486981 w 4493400"/>
              <a:gd name="connsiteY3256" fmla="*/ 2410580 h 4503132"/>
              <a:gd name="connsiteX3257" fmla="*/ 4489577 w 4493400"/>
              <a:gd name="connsiteY3257" fmla="*/ 2366694 h 4503132"/>
              <a:gd name="connsiteX3258" fmla="*/ 4492992 w 4493400"/>
              <a:gd name="connsiteY3258" fmla="*/ 2290712 h 4503132"/>
              <a:gd name="connsiteX3259" fmla="*/ 4493088 w 4493400"/>
              <a:gd name="connsiteY3259" fmla="*/ 2216415 h 4503132"/>
              <a:gd name="connsiteX3260" fmla="*/ 174837 w 4493400"/>
              <a:gd name="connsiteY3260" fmla="*/ 1403473 h 4503132"/>
              <a:gd name="connsiteX3261" fmla="*/ 177097 w 4493400"/>
              <a:gd name="connsiteY3261" fmla="*/ 1401259 h 4503132"/>
              <a:gd name="connsiteX3262" fmla="*/ 179069 w 4493400"/>
              <a:gd name="connsiteY3262" fmla="*/ 1400201 h 4503132"/>
              <a:gd name="connsiteX3263" fmla="*/ 180944 w 4493400"/>
              <a:gd name="connsiteY3263" fmla="*/ 1401018 h 4503132"/>
              <a:gd name="connsiteX3264" fmla="*/ 182098 w 4493400"/>
              <a:gd name="connsiteY3264" fmla="*/ 1403713 h 4503132"/>
              <a:gd name="connsiteX3265" fmla="*/ 183925 w 4493400"/>
              <a:gd name="connsiteY3265" fmla="*/ 1424309 h 4503132"/>
              <a:gd name="connsiteX3266" fmla="*/ 177290 w 4493400"/>
              <a:gd name="connsiteY3266" fmla="*/ 1479743 h 4503132"/>
              <a:gd name="connsiteX3267" fmla="*/ 168971 w 4493400"/>
              <a:gd name="connsiteY3267" fmla="*/ 1511599 h 4503132"/>
              <a:gd name="connsiteX3268" fmla="*/ 155843 w 4493400"/>
              <a:gd name="connsiteY3268" fmla="*/ 1544272 h 4503132"/>
              <a:gd name="connsiteX3269" fmla="*/ 151756 w 4493400"/>
              <a:gd name="connsiteY3269" fmla="*/ 1552020 h 4503132"/>
              <a:gd name="connsiteX3270" fmla="*/ 149544 w 4493400"/>
              <a:gd name="connsiteY3270" fmla="*/ 1555484 h 4503132"/>
              <a:gd name="connsiteX3271" fmla="*/ 148390 w 4493400"/>
              <a:gd name="connsiteY3271" fmla="*/ 1557024 h 4503132"/>
              <a:gd name="connsiteX3272" fmla="*/ 147717 w 4493400"/>
              <a:gd name="connsiteY3272" fmla="*/ 1557842 h 4503132"/>
              <a:gd name="connsiteX3273" fmla="*/ 147669 w 4493400"/>
              <a:gd name="connsiteY3273" fmla="*/ 1557842 h 4503132"/>
              <a:gd name="connsiteX3274" fmla="*/ 146611 w 4493400"/>
              <a:gd name="connsiteY3274" fmla="*/ 1552982 h 4503132"/>
              <a:gd name="connsiteX3275" fmla="*/ 146515 w 4493400"/>
              <a:gd name="connsiteY3275" fmla="*/ 1520645 h 4503132"/>
              <a:gd name="connsiteX3276" fmla="*/ 154016 w 4493400"/>
              <a:gd name="connsiteY3276" fmla="*/ 1464970 h 4503132"/>
              <a:gd name="connsiteX3277" fmla="*/ 165941 w 4493400"/>
              <a:gd name="connsiteY3277" fmla="*/ 1416898 h 4503132"/>
              <a:gd name="connsiteX3278" fmla="*/ 167336 w 4493400"/>
              <a:gd name="connsiteY3278" fmla="*/ 1413482 h 4503132"/>
              <a:gd name="connsiteX3279" fmla="*/ 174837 w 4493400"/>
              <a:gd name="connsiteY3279" fmla="*/ 1403473 h 4503132"/>
              <a:gd name="connsiteX3280" fmla="*/ 3955200 w 4493400"/>
              <a:gd name="connsiteY3280" fmla="*/ 3710594 h 4503132"/>
              <a:gd name="connsiteX3281" fmla="*/ 3955200 w 4493400"/>
              <a:gd name="connsiteY3281" fmla="*/ 3710594 h 4503132"/>
              <a:gd name="connsiteX3282" fmla="*/ 3955200 w 4493400"/>
              <a:gd name="connsiteY3282" fmla="*/ 3710594 h 4503132"/>
              <a:gd name="connsiteX3283" fmla="*/ 4406870 w 4493400"/>
              <a:gd name="connsiteY3283" fmla="*/ 1793727 h 4503132"/>
              <a:gd name="connsiteX3284" fmla="*/ 4416151 w 4493400"/>
              <a:gd name="connsiteY3284" fmla="*/ 1844831 h 4503132"/>
              <a:gd name="connsiteX3285" fmla="*/ 4427018 w 4493400"/>
              <a:gd name="connsiteY3285" fmla="*/ 1896079 h 4503132"/>
              <a:gd name="connsiteX3286" fmla="*/ 4444233 w 4493400"/>
              <a:gd name="connsiteY3286" fmla="*/ 1998238 h 4503132"/>
              <a:gd name="connsiteX3287" fmla="*/ 4447647 w 4493400"/>
              <a:gd name="connsiteY3287" fmla="*/ 2033125 h 4503132"/>
              <a:gd name="connsiteX3288" fmla="*/ 4446877 w 4493400"/>
              <a:gd name="connsiteY3288" fmla="*/ 2027062 h 4503132"/>
              <a:gd name="connsiteX3289" fmla="*/ 4418459 w 4493400"/>
              <a:gd name="connsiteY3289" fmla="*/ 1877119 h 4503132"/>
              <a:gd name="connsiteX3290" fmla="*/ 4403841 w 4493400"/>
              <a:gd name="connsiteY3290" fmla="*/ 1807826 h 4503132"/>
              <a:gd name="connsiteX3291" fmla="*/ 4398166 w 4493400"/>
              <a:gd name="connsiteY3291" fmla="*/ 1774672 h 4503132"/>
              <a:gd name="connsiteX3292" fmla="*/ 4395810 w 4493400"/>
              <a:gd name="connsiteY3292" fmla="*/ 1742287 h 4503132"/>
              <a:gd name="connsiteX3293" fmla="*/ 4395089 w 4493400"/>
              <a:gd name="connsiteY3293" fmla="*/ 1721451 h 4503132"/>
              <a:gd name="connsiteX3294" fmla="*/ 4406822 w 4493400"/>
              <a:gd name="connsiteY3294" fmla="*/ 1793775 h 4503132"/>
              <a:gd name="connsiteX3295" fmla="*/ 4457120 w 4493400"/>
              <a:gd name="connsiteY3295" fmla="*/ 1991790 h 4503132"/>
              <a:gd name="connsiteX3296" fmla="*/ 4450243 w 4493400"/>
              <a:gd name="connsiteY3296" fmla="*/ 1947904 h 4503132"/>
              <a:gd name="connsiteX3297" fmla="*/ 4434808 w 4493400"/>
              <a:gd name="connsiteY3297" fmla="*/ 1861047 h 4503132"/>
              <a:gd name="connsiteX3298" fmla="*/ 4419805 w 4493400"/>
              <a:gd name="connsiteY3298" fmla="*/ 1781312 h 4503132"/>
              <a:gd name="connsiteX3299" fmla="*/ 4450628 w 4493400"/>
              <a:gd name="connsiteY3299" fmla="*/ 1941264 h 4503132"/>
              <a:gd name="connsiteX3300" fmla="*/ 4458274 w 4493400"/>
              <a:gd name="connsiteY3300" fmla="*/ 2001125 h 4503132"/>
              <a:gd name="connsiteX3301" fmla="*/ 4457120 w 4493400"/>
              <a:gd name="connsiteY3301" fmla="*/ 1991790 h 4503132"/>
              <a:gd name="connsiteX3302" fmla="*/ 4459620 w 4493400"/>
              <a:gd name="connsiteY3302" fmla="*/ 2585833 h 4503132"/>
              <a:gd name="connsiteX3303" fmla="*/ 4460774 w 4493400"/>
              <a:gd name="connsiteY3303" fmla="*/ 2567596 h 4503132"/>
              <a:gd name="connsiteX3304" fmla="*/ 4462217 w 4493400"/>
              <a:gd name="connsiteY3304" fmla="*/ 2568799 h 4503132"/>
              <a:gd name="connsiteX3305" fmla="*/ 4459572 w 4493400"/>
              <a:gd name="connsiteY3305" fmla="*/ 2586266 h 4503132"/>
              <a:gd name="connsiteX3306" fmla="*/ 4459572 w 4493400"/>
              <a:gd name="connsiteY3306" fmla="*/ 2585833 h 4503132"/>
              <a:gd name="connsiteX3307" fmla="*/ 4375037 w 4493400"/>
              <a:gd name="connsiteY3307" fmla="*/ 1540471 h 4503132"/>
              <a:gd name="connsiteX3308" fmla="*/ 4375181 w 4493400"/>
              <a:gd name="connsiteY3308" fmla="*/ 1540471 h 4503132"/>
              <a:gd name="connsiteX3309" fmla="*/ 4375903 w 4493400"/>
              <a:gd name="connsiteY3309" fmla="*/ 1540952 h 4503132"/>
              <a:gd name="connsiteX3310" fmla="*/ 4376672 w 4493400"/>
              <a:gd name="connsiteY3310" fmla="*/ 1541577 h 4503132"/>
              <a:gd name="connsiteX3311" fmla="*/ 4374027 w 4493400"/>
              <a:gd name="connsiteY3311" fmla="*/ 1541962 h 4503132"/>
              <a:gd name="connsiteX3312" fmla="*/ 4373306 w 4493400"/>
              <a:gd name="connsiteY3312" fmla="*/ 1542059 h 4503132"/>
              <a:gd name="connsiteX3313" fmla="*/ 4373114 w 4493400"/>
              <a:gd name="connsiteY3313" fmla="*/ 1542059 h 4503132"/>
              <a:gd name="connsiteX3314" fmla="*/ 4374989 w 4493400"/>
              <a:gd name="connsiteY3314" fmla="*/ 1540423 h 4503132"/>
              <a:gd name="connsiteX3315" fmla="*/ 4359361 w 4493400"/>
              <a:gd name="connsiteY3315" fmla="*/ 1510203 h 4503132"/>
              <a:gd name="connsiteX3316" fmla="*/ 4359361 w 4493400"/>
              <a:gd name="connsiteY3316" fmla="*/ 1510203 h 4503132"/>
              <a:gd name="connsiteX3317" fmla="*/ 4359361 w 4493400"/>
              <a:gd name="connsiteY3317" fmla="*/ 1510203 h 4503132"/>
              <a:gd name="connsiteX3318" fmla="*/ 4247273 w 4493400"/>
              <a:gd name="connsiteY3318" fmla="*/ 1271960 h 4503132"/>
              <a:gd name="connsiteX3319" fmla="*/ 4249197 w 4493400"/>
              <a:gd name="connsiteY3319" fmla="*/ 1273211 h 4503132"/>
              <a:gd name="connsiteX3320" fmla="*/ 4250928 w 4493400"/>
              <a:gd name="connsiteY3320" fmla="*/ 1274077 h 4503132"/>
              <a:gd name="connsiteX3321" fmla="*/ 4253572 w 4493400"/>
              <a:gd name="connsiteY3321" fmla="*/ 1274077 h 4503132"/>
              <a:gd name="connsiteX3322" fmla="*/ 4254053 w 4493400"/>
              <a:gd name="connsiteY3322" fmla="*/ 1273933 h 4503132"/>
              <a:gd name="connsiteX3323" fmla="*/ 4257131 w 4493400"/>
              <a:gd name="connsiteY3323" fmla="*/ 1282114 h 4503132"/>
              <a:gd name="connsiteX3324" fmla="*/ 4260689 w 4493400"/>
              <a:gd name="connsiteY3324" fmla="*/ 1292026 h 4503132"/>
              <a:gd name="connsiteX3325" fmla="*/ 4262276 w 4493400"/>
              <a:gd name="connsiteY3325" fmla="*/ 1296694 h 4503132"/>
              <a:gd name="connsiteX3326" fmla="*/ 4262276 w 4493400"/>
              <a:gd name="connsiteY3326" fmla="*/ 1296694 h 4503132"/>
              <a:gd name="connsiteX3327" fmla="*/ 4252563 w 4493400"/>
              <a:gd name="connsiteY3327" fmla="*/ 1285771 h 4503132"/>
              <a:gd name="connsiteX3328" fmla="*/ 4237464 w 4493400"/>
              <a:gd name="connsiteY3328" fmla="*/ 1268255 h 4503132"/>
              <a:gd name="connsiteX3329" fmla="*/ 4208083 w 4493400"/>
              <a:gd name="connsiteY3329" fmla="*/ 1232839 h 4503132"/>
              <a:gd name="connsiteX3330" fmla="*/ 4152881 w 4493400"/>
              <a:gd name="connsiteY3330" fmla="*/ 1160995 h 4503132"/>
              <a:gd name="connsiteX3331" fmla="*/ 4119990 w 4493400"/>
              <a:gd name="connsiteY3331" fmla="*/ 1110180 h 4503132"/>
              <a:gd name="connsiteX3332" fmla="*/ 4141773 w 4493400"/>
              <a:gd name="connsiteY3332" fmla="*/ 1142950 h 4503132"/>
              <a:gd name="connsiteX3333" fmla="*/ 4173942 w 4493400"/>
              <a:gd name="connsiteY3333" fmla="*/ 1185729 h 4503132"/>
              <a:gd name="connsiteX3334" fmla="*/ 4208131 w 4493400"/>
              <a:gd name="connsiteY3334" fmla="*/ 1228075 h 4503132"/>
              <a:gd name="connsiteX3335" fmla="*/ 4225875 w 4493400"/>
              <a:gd name="connsiteY3335" fmla="*/ 1249151 h 4503132"/>
              <a:gd name="connsiteX3336" fmla="*/ 4235252 w 4493400"/>
              <a:gd name="connsiteY3336" fmla="*/ 1259882 h 4503132"/>
              <a:gd name="connsiteX3337" fmla="*/ 4243042 w 4493400"/>
              <a:gd name="connsiteY3337" fmla="*/ 1268303 h 4503132"/>
              <a:gd name="connsiteX3338" fmla="*/ 4245350 w 4493400"/>
              <a:gd name="connsiteY3338" fmla="*/ 1270709 h 4503132"/>
              <a:gd name="connsiteX3339" fmla="*/ 4247273 w 4493400"/>
              <a:gd name="connsiteY3339" fmla="*/ 1271960 h 4503132"/>
              <a:gd name="connsiteX3340" fmla="*/ 3973905 w 4493400"/>
              <a:gd name="connsiteY3340" fmla="*/ 869964 h 4503132"/>
              <a:gd name="connsiteX3341" fmla="*/ 4012951 w 4493400"/>
              <a:gd name="connsiteY3341" fmla="*/ 941760 h 4503132"/>
              <a:gd name="connsiteX3342" fmla="*/ 4053776 w 4493400"/>
              <a:gd name="connsiteY3342" fmla="*/ 1015768 h 4503132"/>
              <a:gd name="connsiteX3343" fmla="*/ 4096668 w 4493400"/>
              <a:gd name="connsiteY3343" fmla="*/ 1091413 h 4503132"/>
              <a:gd name="connsiteX3344" fmla="*/ 4144321 w 4493400"/>
              <a:gd name="connsiteY3344" fmla="*/ 1167058 h 4503132"/>
              <a:gd name="connsiteX3345" fmla="*/ 4199860 w 4493400"/>
              <a:gd name="connsiteY3345" fmla="*/ 1239479 h 4503132"/>
              <a:gd name="connsiteX3346" fmla="*/ 4208708 w 4493400"/>
              <a:gd name="connsiteY3346" fmla="*/ 1250258 h 4503132"/>
              <a:gd name="connsiteX3347" fmla="*/ 4180578 w 4493400"/>
              <a:gd name="connsiteY3347" fmla="*/ 1220905 h 4503132"/>
              <a:gd name="connsiteX3348" fmla="*/ 4146918 w 4493400"/>
              <a:gd name="connsiteY3348" fmla="*/ 1177164 h 4503132"/>
              <a:gd name="connsiteX3349" fmla="*/ 4090658 w 4493400"/>
              <a:gd name="connsiteY3349" fmla="*/ 1085206 h 4503132"/>
              <a:gd name="connsiteX3350" fmla="*/ 4040793 w 4493400"/>
              <a:gd name="connsiteY3350" fmla="*/ 995029 h 4503132"/>
              <a:gd name="connsiteX3351" fmla="*/ 3993957 w 4493400"/>
              <a:gd name="connsiteY3351" fmla="*/ 909375 h 4503132"/>
              <a:gd name="connsiteX3352" fmla="*/ 3950295 w 4493400"/>
              <a:gd name="connsiteY3352" fmla="*/ 832383 h 4503132"/>
              <a:gd name="connsiteX3353" fmla="*/ 3973905 w 4493400"/>
              <a:gd name="connsiteY3353" fmla="*/ 869916 h 4503132"/>
              <a:gd name="connsiteX3354" fmla="*/ 4266027 w 4493400"/>
              <a:gd name="connsiteY3354" fmla="*/ 1315798 h 4503132"/>
              <a:gd name="connsiteX3355" fmla="*/ 4268719 w 4493400"/>
              <a:gd name="connsiteY3355" fmla="*/ 1317097 h 4503132"/>
              <a:gd name="connsiteX3356" fmla="*/ 4269970 w 4493400"/>
              <a:gd name="connsiteY3356" fmla="*/ 1317626 h 4503132"/>
              <a:gd name="connsiteX3357" fmla="*/ 4270835 w 4493400"/>
              <a:gd name="connsiteY3357" fmla="*/ 1317626 h 4503132"/>
              <a:gd name="connsiteX3358" fmla="*/ 4272518 w 4493400"/>
              <a:gd name="connsiteY3358" fmla="*/ 1317289 h 4503132"/>
              <a:gd name="connsiteX3359" fmla="*/ 4272951 w 4493400"/>
              <a:gd name="connsiteY3359" fmla="*/ 1317097 h 4503132"/>
              <a:gd name="connsiteX3360" fmla="*/ 4281799 w 4493400"/>
              <a:gd name="connsiteY3360" fmla="*/ 1340580 h 4503132"/>
              <a:gd name="connsiteX3361" fmla="*/ 4283193 w 4493400"/>
              <a:gd name="connsiteY3361" fmla="*/ 1344622 h 4503132"/>
              <a:gd name="connsiteX3362" fmla="*/ 4283097 w 4493400"/>
              <a:gd name="connsiteY3362" fmla="*/ 1344622 h 4503132"/>
              <a:gd name="connsiteX3363" fmla="*/ 4283001 w 4493400"/>
              <a:gd name="connsiteY3363" fmla="*/ 1344622 h 4503132"/>
              <a:gd name="connsiteX3364" fmla="*/ 4282183 w 4493400"/>
              <a:gd name="connsiteY3364" fmla="*/ 1343419 h 4503132"/>
              <a:gd name="connsiteX3365" fmla="*/ 4274009 w 4493400"/>
              <a:gd name="connsiteY3365" fmla="*/ 1331196 h 4503132"/>
              <a:gd name="connsiteX3366" fmla="*/ 4258621 w 4493400"/>
              <a:gd name="connsiteY3366" fmla="*/ 1308387 h 4503132"/>
              <a:gd name="connsiteX3367" fmla="*/ 4265978 w 4493400"/>
              <a:gd name="connsiteY3367" fmla="*/ 1315846 h 4503132"/>
              <a:gd name="connsiteX3368" fmla="*/ 4219287 w 4493400"/>
              <a:gd name="connsiteY3368" fmla="*/ 1214745 h 4503132"/>
              <a:gd name="connsiteX3369" fmla="*/ 4220874 w 4493400"/>
              <a:gd name="connsiteY3369" fmla="*/ 1216430 h 4503132"/>
              <a:gd name="connsiteX3370" fmla="*/ 4222413 w 4493400"/>
              <a:gd name="connsiteY3370" fmla="*/ 1217729 h 4503132"/>
              <a:gd name="connsiteX3371" fmla="*/ 4225490 w 4493400"/>
              <a:gd name="connsiteY3371" fmla="*/ 1220231 h 4503132"/>
              <a:gd name="connsiteX3372" fmla="*/ 4229000 w 4493400"/>
              <a:gd name="connsiteY3372" fmla="*/ 1221386 h 4503132"/>
              <a:gd name="connsiteX3373" fmla="*/ 4229962 w 4493400"/>
              <a:gd name="connsiteY3373" fmla="*/ 1221242 h 4503132"/>
              <a:gd name="connsiteX3374" fmla="*/ 4231212 w 4493400"/>
              <a:gd name="connsiteY3374" fmla="*/ 1223744 h 4503132"/>
              <a:gd name="connsiteX3375" fmla="*/ 4242417 w 4493400"/>
              <a:gd name="connsiteY3375" fmla="*/ 1249151 h 4503132"/>
              <a:gd name="connsiteX3376" fmla="*/ 4244244 w 4493400"/>
              <a:gd name="connsiteY3376" fmla="*/ 1253867 h 4503132"/>
              <a:gd name="connsiteX3377" fmla="*/ 4244244 w 4493400"/>
              <a:gd name="connsiteY3377" fmla="*/ 1253867 h 4503132"/>
              <a:gd name="connsiteX3378" fmla="*/ 4244244 w 4493400"/>
              <a:gd name="connsiteY3378" fmla="*/ 1253867 h 4503132"/>
              <a:gd name="connsiteX3379" fmla="*/ 4242801 w 4493400"/>
              <a:gd name="connsiteY3379" fmla="*/ 1252279 h 4503132"/>
              <a:gd name="connsiteX3380" fmla="*/ 4234002 w 4493400"/>
              <a:gd name="connsiteY3380" fmla="*/ 1242174 h 4503132"/>
              <a:gd name="connsiteX3381" fmla="*/ 4216306 w 4493400"/>
              <a:gd name="connsiteY3381" fmla="*/ 1221242 h 4503132"/>
              <a:gd name="connsiteX3382" fmla="*/ 4182213 w 4493400"/>
              <a:gd name="connsiteY3382" fmla="*/ 1179185 h 4503132"/>
              <a:gd name="connsiteX3383" fmla="*/ 4072481 w 4493400"/>
              <a:gd name="connsiteY3383" fmla="*/ 1010764 h 4503132"/>
              <a:gd name="connsiteX3384" fmla="*/ 4122298 w 4493400"/>
              <a:gd name="connsiteY3384" fmla="*/ 1087660 h 4503132"/>
              <a:gd name="connsiteX3385" fmla="*/ 4167595 w 4493400"/>
              <a:gd name="connsiteY3385" fmla="*/ 1151227 h 4503132"/>
              <a:gd name="connsiteX3386" fmla="*/ 4191734 w 4493400"/>
              <a:gd name="connsiteY3386" fmla="*/ 1182697 h 4503132"/>
              <a:gd name="connsiteX3387" fmla="*/ 4204429 w 4493400"/>
              <a:gd name="connsiteY3387" fmla="*/ 1198192 h 4503132"/>
              <a:gd name="connsiteX3388" fmla="*/ 4207698 w 4493400"/>
              <a:gd name="connsiteY3388" fmla="*/ 1202042 h 4503132"/>
              <a:gd name="connsiteX3389" fmla="*/ 4208516 w 4493400"/>
              <a:gd name="connsiteY3389" fmla="*/ 1203004 h 4503132"/>
              <a:gd name="connsiteX3390" fmla="*/ 4210007 w 4493400"/>
              <a:gd name="connsiteY3390" fmla="*/ 1204592 h 4503132"/>
              <a:gd name="connsiteX3391" fmla="*/ 4213132 w 4493400"/>
              <a:gd name="connsiteY3391" fmla="*/ 1207912 h 4503132"/>
              <a:gd name="connsiteX3392" fmla="*/ 4219383 w 4493400"/>
              <a:gd name="connsiteY3392" fmla="*/ 1214601 h 4503132"/>
              <a:gd name="connsiteX3393" fmla="*/ 4025165 w 4493400"/>
              <a:gd name="connsiteY3393" fmla="*/ 903023 h 4503132"/>
              <a:gd name="connsiteX3394" fmla="*/ 4025165 w 4493400"/>
              <a:gd name="connsiteY3394" fmla="*/ 903023 h 4503132"/>
              <a:gd name="connsiteX3395" fmla="*/ 4025117 w 4493400"/>
              <a:gd name="connsiteY3395" fmla="*/ 902975 h 4503132"/>
              <a:gd name="connsiteX3396" fmla="*/ 4025165 w 4493400"/>
              <a:gd name="connsiteY3396" fmla="*/ 902975 h 4503132"/>
              <a:gd name="connsiteX3397" fmla="*/ 4009104 w 4493400"/>
              <a:gd name="connsiteY3397" fmla="*/ 876028 h 4503132"/>
              <a:gd name="connsiteX3398" fmla="*/ 4024972 w 4493400"/>
              <a:gd name="connsiteY3398" fmla="*/ 896623 h 4503132"/>
              <a:gd name="connsiteX3399" fmla="*/ 4024107 w 4493400"/>
              <a:gd name="connsiteY3399" fmla="*/ 896912 h 4503132"/>
              <a:gd name="connsiteX3400" fmla="*/ 4022424 w 4493400"/>
              <a:gd name="connsiteY3400" fmla="*/ 899366 h 4503132"/>
              <a:gd name="connsiteX3401" fmla="*/ 4022328 w 4493400"/>
              <a:gd name="connsiteY3401" fmla="*/ 900473 h 4503132"/>
              <a:gd name="connsiteX3402" fmla="*/ 4022328 w 4493400"/>
              <a:gd name="connsiteY3402" fmla="*/ 901387 h 4503132"/>
              <a:gd name="connsiteX3403" fmla="*/ 4022472 w 4493400"/>
              <a:gd name="connsiteY3403" fmla="*/ 901868 h 4503132"/>
              <a:gd name="connsiteX3404" fmla="*/ 4023482 w 4493400"/>
              <a:gd name="connsiteY3404" fmla="*/ 904996 h 4503132"/>
              <a:gd name="connsiteX3405" fmla="*/ 4025068 w 4493400"/>
              <a:gd name="connsiteY3405" fmla="*/ 908557 h 4503132"/>
              <a:gd name="connsiteX3406" fmla="*/ 4015692 w 4493400"/>
              <a:gd name="connsiteY3406" fmla="*/ 891907 h 4503132"/>
              <a:gd name="connsiteX3407" fmla="*/ 3996121 w 4493400"/>
              <a:gd name="connsiteY3407" fmla="*/ 859522 h 4503132"/>
              <a:gd name="connsiteX3408" fmla="*/ 4009056 w 4493400"/>
              <a:gd name="connsiteY3408" fmla="*/ 876028 h 4503132"/>
              <a:gd name="connsiteX3409" fmla="*/ 3941688 w 4493400"/>
              <a:gd name="connsiteY3409" fmla="*/ 833874 h 4503132"/>
              <a:gd name="connsiteX3410" fmla="*/ 3986311 w 4493400"/>
              <a:gd name="connsiteY3410" fmla="*/ 913513 h 4503132"/>
              <a:gd name="connsiteX3411" fmla="*/ 4032714 w 4493400"/>
              <a:gd name="connsiteY3411" fmla="*/ 999408 h 4503132"/>
              <a:gd name="connsiteX3412" fmla="*/ 4082291 w 4493400"/>
              <a:gd name="connsiteY3412" fmla="*/ 1089970 h 4503132"/>
              <a:gd name="connsiteX3413" fmla="*/ 4138647 w 4493400"/>
              <a:gd name="connsiteY3413" fmla="*/ 1182794 h 4503132"/>
              <a:gd name="connsiteX3414" fmla="*/ 4172932 w 4493400"/>
              <a:gd name="connsiteY3414" fmla="*/ 1227642 h 4503132"/>
              <a:gd name="connsiteX3415" fmla="*/ 4212651 w 4493400"/>
              <a:gd name="connsiteY3415" fmla="*/ 1268784 h 4503132"/>
              <a:gd name="connsiteX3416" fmla="*/ 4231838 w 4493400"/>
              <a:gd name="connsiteY3416" fmla="*/ 1289765 h 4503132"/>
              <a:gd name="connsiteX3417" fmla="*/ 4249004 w 4493400"/>
              <a:gd name="connsiteY3417" fmla="*/ 1312670 h 4503132"/>
              <a:gd name="connsiteX3418" fmla="*/ 4265305 w 4493400"/>
              <a:gd name="connsiteY3418" fmla="*/ 1336922 h 4503132"/>
              <a:gd name="connsiteX3419" fmla="*/ 4273528 w 4493400"/>
              <a:gd name="connsiteY3419" fmla="*/ 1349241 h 4503132"/>
              <a:gd name="connsiteX3420" fmla="*/ 4276942 w 4493400"/>
              <a:gd name="connsiteY3420" fmla="*/ 1354198 h 4503132"/>
              <a:gd name="connsiteX3421" fmla="*/ 4281126 w 4493400"/>
              <a:gd name="connsiteY3421" fmla="*/ 1359924 h 4503132"/>
              <a:gd name="connsiteX3422" fmla="*/ 4283193 w 4493400"/>
              <a:gd name="connsiteY3422" fmla="*/ 1362763 h 4503132"/>
              <a:gd name="connsiteX3423" fmla="*/ 4285165 w 4493400"/>
              <a:gd name="connsiteY3423" fmla="*/ 1364977 h 4503132"/>
              <a:gd name="connsiteX3424" fmla="*/ 4289012 w 4493400"/>
              <a:gd name="connsiteY3424" fmla="*/ 1369067 h 4503132"/>
              <a:gd name="connsiteX3425" fmla="*/ 4295118 w 4493400"/>
              <a:gd name="connsiteY3425" fmla="*/ 1370366 h 4503132"/>
              <a:gd name="connsiteX3426" fmla="*/ 4297859 w 4493400"/>
              <a:gd name="connsiteY3426" fmla="*/ 1368345 h 4503132"/>
              <a:gd name="connsiteX3427" fmla="*/ 4298581 w 4493400"/>
              <a:gd name="connsiteY3427" fmla="*/ 1366998 h 4503132"/>
              <a:gd name="connsiteX3428" fmla="*/ 4309785 w 4493400"/>
              <a:gd name="connsiteY3428" fmla="*/ 1398661 h 4503132"/>
              <a:gd name="connsiteX3429" fmla="*/ 4312910 w 4493400"/>
              <a:gd name="connsiteY3429" fmla="*/ 1408670 h 4503132"/>
              <a:gd name="connsiteX3430" fmla="*/ 4313776 w 4493400"/>
              <a:gd name="connsiteY3430" fmla="*/ 1412086 h 4503132"/>
              <a:gd name="connsiteX3431" fmla="*/ 4302812 w 4493400"/>
              <a:gd name="connsiteY3431" fmla="*/ 1396399 h 4503132"/>
              <a:gd name="connsiteX3432" fmla="*/ 4280164 w 4493400"/>
              <a:gd name="connsiteY3432" fmla="*/ 1359924 h 4503132"/>
              <a:gd name="connsiteX3433" fmla="*/ 4256025 w 4493400"/>
              <a:gd name="connsiteY3433" fmla="*/ 1323689 h 4503132"/>
              <a:gd name="connsiteX3434" fmla="*/ 4227414 w 4493400"/>
              <a:gd name="connsiteY3434" fmla="*/ 1290053 h 4503132"/>
              <a:gd name="connsiteX3435" fmla="*/ 4195100 w 4493400"/>
              <a:gd name="connsiteY3435" fmla="*/ 1259497 h 4503132"/>
              <a:gd name="connsiteX3436" fmla="*/ 4164950 w 4493400"/>
              <a:gd name="connsiteY3436" fmla="*/ 1226679 h 4503132"/>
              <a:gd name="connsiteX3437" fmla="*/ 4114556 w 4493400"/>
              <a:gd name="connsiteY3437" fmla="*/ 1150938 h 4503132"/>
              <a:gd name="connsiteX3438" fmla="*/ 4023722 w 4493400"/>
              <a:gd name="connsiteY3438" fmla="*/ 986078 h 4503132"/>
              <a:gd name="connsiteX3439" fmla="*/ 3977656 w 4493400"/>
              <a:gd name="connsiteY3439" fmla="*/ 900665 h 4503132"/>
              <a:gd name="connsiteX3440" fmla="*/ 3928079 w 4493400"/>
              <a:gd name="connsiteY3440" fmla="*/ 814867 h 4503132"/>
              <a:gd name="connsiteX3441" fmla="*/ 3899324 w 4493400"/>
              <a:gd name="connsiteY3441" fmla="*/ 774109 h 4503132"/>
              <a:gd name="connsiteX3442" fmla="*/ 3941736 w 4493400"/>
              <a:gd name="connsiteY3442" fmla="*/ 833874 h 4503132"/>
              <a:gd name="connsiteX3443" fmla="*/ 4339357 w 4493400"/>
              <a:gd name="connsiteY3443" fmla="*/ 1462083 h 4503132"/>
              <a:gd name="connsiteX3444" fmla="*/ 4339357 w 4493400"/>
              <a:gd name="connsiteY3444" fmla="*/ 1462083 h 4503132"/>
              <a:gd name="connsiteX3445" fmla="*/ 4339357 w 4493400"/>
              <a:gd name="connsiteY3445" fmla="*/ 1462083 h 4503132"/>
              <a:gd name="connsiteX3446" fmla="*/ 4339886 w 4493400"/>
              <a:gd name="connsiteY3446" fmla="*/ 1463382 h 4503132"/>
              <a:gd name="connsiteX3447" fmla="*/ 4339886 w 4493400"/>
              <a:gd name="connsiteY3447" fmla="*/ 1463382 h 4503132"/>
              <a:gd name="connsiteX3448" fmla="*/ 4339646 w 4493400"/>
              <a:gd name="connsiteY3448" fmla="*/ 1463479 h 4503132"/>
              <a:gd name="connsiteX3449" fmla="*/ 4339886 w 4493400"/>
              <a:gd name="connsiteY3449" fmla="*/ 1463382 h 4503132"/>
              <a:gd name="connsiteX3450" fmla="*/ 4204862 w 4493400"/>
              <a:gd name="connsiteY3450" fmla="*/ 1173699 h 4503132"/>
              <a:gd name="connsiteX3451" fmla="*/ 4213613 w 4493400"/>
              <a:gd name="connsiteY3451" fmla="*/ 1189771 h 4503132"/>
              <a:gd name="connsiteX3452" fmla="*/ 4214623 w 4493400"/>
              <a:gd name="connsiteY3452" fmla="*/ 1191744 h 4503132"/>
              <a:gd name="connsiteX3453" fmla="*/ 4217123 w 4493400"/>
              <a:gd name="connsiteY3453" fmla="*/ 1196893 h 4503132"/>
              <a:gd name="connsiteX3454" fmla="*/ 4217123 w 4493400"/>
              <a:gd name="connsiteY3454" fmla="*/ 1196893 h 4503132"/>
              <a:gd name="connsiteX3455" fmla="*/ 4217123 w 4493400"/>
              <a:gd name="connsiteY3455" fmla="*/ 1196893 h 4503132"/>
              <a:gd name="connsiteX3456" fmla="*/ 4216690 w 4493400"/>
              <a:gd name="connsiteY3456" fmla="*/ 1196460 h 4503132"/>
              <a:gd name="connsiteX3457" fmla="*/ 4212411 w 4493400"/>
              <a:gd name="connsiteY3457" fmla="*/ 1191407 h 4503132"/>
              <a:gd name="connsiteX3458" fmla="*/ 4199909 w 4493400"/>
              <a:gd name="connsiteY3458" fmla="*/ 1176153 h 4503132"/>
              <a:gd name="connsiteX3459" fmla="*/ 4175962 w 4493400"/>
              <a:gd name="connsiteY3459" fmla="*/ 1144923 h 4503132"/>
              <a:gd name="connsiteX3460" fmla="*/ 4130857 w 4493400"/>
              <a:gd name="connsiteY3460" fmla="*/ 1081789 h 4503132"/>
              <a:gd name="connsiteX3461" fmla="*/ 4057478 w 4493400"/>
              <a:gd name="connsiteY3461" fmla="*/ 965868 h 4503132"/>
              <a:gd name="connsiteX3462" fmla="*/ 4088253 w 4493400"/>
              <a:gd name="connsiteY3462" fmla="*/ 1014854 h 4503132"/>
              <a:gd name="connsiteX3463" fmla="*/ 4166729 w 4493400"/>
              <a:gd name="connsiteY3463" fmla="*/ 1124520 h 4503132"/>
              <a:gd name="connsiteX3464" fmla="*/ 4187791 w 4493400"/>
              <a:gd name="connsiteY3464" fmla="*/ 1152334 h 4503132"/>
              <a:gd name="connsiteX3465" fmla="*/ 4198129 w 4493400"/>
              <a:gd name="connsiteY3465" fmla="*/ 1165903 h 4503132"/>
              <a:gd name="connsiteX3466" fmla="*/ 4200822 w 4493400"/>
              <a:gd name="connsiteY3466" fmla="*/ 1169416 h 4503132"/>
              <a:gd name="connsiteX3467" fmla="*/ 4201784 w 4493400"/>
              <a:gd name="connsiteY3467" fmla="*/ 1170523 h 4503132"/>
              <a:gd name="connsiteX3468" fmla="*/ 4202553 w 4493400"/>
              <a:gd name="connsiteY3468" fmla="*/ 1171245 h 4503132"/>
              <a:gd name="connsiteX3469" fmla="*/ 4203371 w 4493400"/>
              <a:gd name="connsiteY3469" fmla="*/ 1171822 h 4503132"/>
              <a:gd name="connsiteX3470" fmla="*/ 4204285 w 4493400"/>
              <a:gd name="connsiteY3470" fmla="*/ 1172303 h 4503132"/>
              <a:gd name="connsiteX3471" fmla="*/ 4206593 w 4493400"/>
              <a:gd name="connsiteY3471" fmla="*/ 1172737 h 4503132"/>
              <a:gd name="connsiteX3472" fmla="*/ 4204813 w 4493400"/>
              <a:gd name="connsiteY3472" fmla="*/ 1173747 h 4503132"/>
              <a:gd name="connsiteX3473" fmla="*/ 4072337 w 4493400"/>
              <a:gd name="connsiteY3473" fmla="*/ 956292 h 4503132"/>
              <a:gd name="connsiteX3474" fmla="*/ 4110421 w 4493400"/>
              <a:gd name="connsiteY3474" fmla="*/ 1014229 h 4503132"/>
              <a:gd name="connsiteX3475" fmla="*/ 4136916 w 4493400"/>
              <a:gd name="connsiteY3475" fmla="*/ 1056382 h 4503132"/>
              <a:gd name="connsiteX3476" fmla="*/ 4151246 w 4493400"/>
              <a:gd name="connsiteY3476" fmla="*/ 1079961 h 4503132"/>
              <a:gd name="connsiteX3477" fmla="*/ 4165864 w 4493400"/>
              <a:gd name="connsiteY3477" fmla="*/ 1104695 h 4503132"/>
              <a:gd name="connsiteX3478" fmla="*/ 4166056 w 4493400"/>
              <a:gd name="connsiteY3478" fmla="*/ 1105031 h 4503132"/>
              <a:gd name="connsiteX3479" fmla="*/ 4167739 w 4493400"/>
              <a:gd name="connsiteY3479" fmla="*/ 1107919 h 4503132"/>
              <a:gd name="connsiteX3480" fmla="*/ 4096476 w 4493400"/>
              <a:gd name="connsiteY3480" fmla="*/ 1009320 h 4503132"/>
              <a:gd name="connsiteX3481" fmla="*/ 4064547 w 4493400"/>
              <a:gd name="connsiteY3481" fmla="*/ 960238 h 4503132"/>
              <a:gd name="connsiteX3482" fmla="*/ 4037859 w 4493400"/>
              <a:gd name="connsiteY3482" fmla="*/ 916785 h 4503132"/>
              <a:gd name="connsiteX3483" fmla="*/ 4036898 w 4493400"/>
              <a:gd name="connsiteY3483" fmla="*/ 915101 h 4503132"/>
              <a:gd name="connsiteX3484" fmla="*/ 4038340 w 4493400"/>
              <a:gd name="connsiteY3484" fmla="*/ 916737 h 4503132"/>
              <a:gd name="connsiteX3485" fmla="*/ 4059017 w 4493400"/>
              <a:gd name="connsiteY3485" fmla="*/ 940894 h 4503132"/>
              <a:gd name="connsiteX3486" fmla="*/ 4072337 w 4493400"/>
              <a:gd name="connsiteY3486" fmla="*/ 956244 h 4503132"/>
              <a:gd name="connsiteX3487" fmla="*/ 3760116 w 4493400"/>
              <a:gd name="connsiteY3487" fmla="*/ 591108 h 4503132"/>
              <a:gd name="connsiteX3488" fmla="*/ 3760116 w 4493400"/>
              <a:gd name="connsiteY3488" fmla="*/ 591108 h 4503132"/>
              <a:gd name="connsiteX3489" fmla="*/ 3760116 w 4493400"/>
              <a:gd name="connsiteY3489" fmla="*/ 591108 h 4503132"/>
              <a:gd name="connsiteX3490" fmla="*/ 3592537 w 4493400"/>
              <a:gd name="connsiteY3490" fmla="*/ 459692 h 4503132"/>
              <a:gd name="connsiteX3491" fmla="*/ 3592344 w 4493400"/>
              <a:gd name="connsiteY3491" fmla="*/ 459548 h 4503132"/>
              <a:gd name="connsiteX3492" fmla="*/ 3593114 w 4493400"/>
              <a:gd name="connsiteY3492" fmla="*/ 458585 h 4503132"/>
              <a:gd name="connsiteX3493" fmla="*/ 3592537 w 4493400"/>
              <a:gd name="connsiteY3493" fmla="*/ 459740 h 4503132"/>
              <a:gd name="connsiteX3494" fmla="*/ 3571090 w 4493400"/>
              <a:gd name="connsiteY3494" fmla="*/ 445160 h 4503132"/>
              <a:gd name="connsiteX3495" fmla="*/ 3568927 w 4493400"/>
              <a:gd name="connsiteY3495" fmla="*/ 443139 h 4503132"/>
              <a:gd name="connsiteX3496" fmla="*/ 3579890 w 4493400"/>
              <a:gd name="connsiteY3496" fmla="*/ 452859 h 4503132"/>
              <a:gd name="connsiteX3497" fmla="*/ 3594412 w 4493400"/>
              <a:gd name="connsiteY3497" fmla="*/ 466188 h 4503132"/>
              <a:gd name="connsiteX3498" fmla="*/ 3617253 w 4493400"/>
              <a:gd name="connsiteY3498" fmla="*/ 487072 h 4503132"/>
              <a:gd name="connsiteX3499" fmla="*/ 3631486 w 4493400"/>
              <a:gd name="connsiteY3499" fmla="*/ 499776 h 4503132"/>
              <a:gd name="connsiteX3500" fmla="*/ 3636583 w 4493400"/>
              <a:gd name="connsiteY3500" fmla="*/ 503818 h 4503132"/>
              <a:gd name="connsiteX3501" fmla="*/ 3632255 w 4493400"/>
              <a:gd name="connsiteY3501" fmla="*/ 498910 h 4503132"/>
              <a:gd name="connsiteX3502" fmla="*/ 3619849 w 4493400"/>
              <a:gd name="connsiteY3502" fmla="*/ 486447 h 4503132"/>
              <a:gd name="connsiteX3503" fmla="*/ 3649422 w 4493400"/>
              <a:gd name="connsiteY3503" fmla="*/ 514260 h 4503132"/>
              <a:gd name="connsiteX3504" fmla="*/ 3656779 w 4493400"/>
              <a:gd name="connsiteY3504" fmla="*/ 521141 h 4503132"/>
              <a:gd name="connsiteX3505" fmla="*/ 3653461 w 4493400"/>
              <a:gd name="connsiteY3505" fmla="*/ 518158 h 4503132"/>
              <a:gd name="connsiteX3506" fmla="*/ 3641055 w 4493400"/>
              <a:gd name="connsiteY3506" fmla="*/ 507235 h 4503132"/>
              <a:gd name="connsiteX3507" fmla="*/ 3636583 w 4493400"/>
              <a:gd name="connsiteY3507" fmla="*/ 503770 h 4503132"/>
              <a:gd name="connsiteX3508" fmla="*/ 3640334 w 4493400"/>
              <a:gd name="connsiteY3508" fmla="*/ 508005 h 4503132"/>
              <a:gd name="connsiteX3509" fmla="*/ 3641536 w 4493400"/>
              <a:gd name="connsiteY3509" fmla="*/ 509159 h 4503132"/>
              <a:gd name="connsiteX3510" fmla="*/ 3607780 w 4493400"/>
              <a:gd name="connsiteY3510" fmla="*/ 478844 h 4503132"/>
              <a:gd name="connsiteX3511" fmla="*/ 3571138 w 4493400"/>
              <a:gd name="connsiteY3511" fmla="*/ 445160 h 4503132"/>
              <a:gd name="connsiteX3512" fmla="*/ 3507232 w 4493400"/>
              <a:gd name="connsiteY3512" fmla="*/ 419223 h 4503132"/>
              <a:gd name="connsiteX3513" fmla="*/ 3456598 w 4493400"/>
              <a:gd name="connsiteY3513" fmla="*/ 368408 h 4503132"/>
              <a:gd name="connsiteX3514" fmla="*/ 3449241 w 4493400"/>
              <a:gd name="connsiteY3514" fmla="*/ 360901 h 4503132"/>
              <a:gd name="connsiteX3515" fmla="*/ 3473236 w 4493400"/>
              <a:gd name="connsiteY3515" fmla="*/ 376444 h 4503132"/>
              <a:gd name="connsiteX3516" fmla="*/ 3473476 w 4493400"/>
              <a:gd name="connsiteY3516" fmla="*/ 376829 h 4503132"/>
              <a:gd name="connsiteX3517" fmla="*/ 3473861 w 4493400"/>
              <a:gd name="connsiteY3517" fmla="*/ 377358 h 4503132"/>
              <a:gd name="connsiteX3518" fmla="*/ 3475159 w 4493400"/>
              <a:gd name="connsiteY3518" fmla="*/ 378850 h 4503132"/>
              <a:gd name="connsiteX3519" fmla="*/ 3477708 w 4493400"/>
              <a:gd name="connsiteY3519" fmla="*/ 381400 h 4503132"/>
              <a:gd name="connsiteX3520" fmla="*/ 3482661 w 4493400"/>
              <a:gd name="connsiteY3520" fmla="*/ 386212 h 4503132"/>
              <a:gd name="connsiteX3521" fmla="*/ 3492422 w 4493400"/>
              <a:gd name="connsiteY3521" fmla="*/ 396029 h 4503132"/>
              <a:gd name="connsiteX3522" fmla="*/ 3512041 w 4493400"/>
              <a:gd name="connsiteY3522" fmla="*/ 415518 h 4503132"/>
              <a:gd name="connsiteX3523" fmla="*/ 3551808 w 4493400"/>
              <a:gd name="connsiteY3523" fmla="*/ 453436 h 4503132"/>
              <a:gd name="connsiteX3524" fmla="*/ 3632688 w 4493400"/>
              <a:gd name="connsiteY3524" fmla="*/ 525665 h 4503132"/>
              <a:gd name="connsiteX3525" fmla="*/ 3792141 w 4493400"/>
              <a:gd name="connsiteY3525" fmla="*/ 663866 h 4503132"/>
              <a:gd name="connsiteX3526" fmla="*/ 3924713 w 4493400"/>
              <a:gd name="connsiteY3526" fmla="*/ 817080 h 4503132"/>
              <a:gd name="connsiteX3527" fmla="*/ 3974194 w 4493400"/>
              <a:gd name="connsiteY3527" fmla="*/ 902542 h 4503132"/>
              <a:gd name="connsiteX3528" fmla="*/ 4020308 w 4493400"/>
              <a:gd name="connsiteY3528" fmla="*/ 987955 h 4503132"/>
              <a:gd name="connsiteX3529" fmla="*/ 4111383 w 4493400"/>
              <a:gd name="connsiteY3529" fmla="*/ 1152911 h 4503132"/>
              <a:gd name="connsiteX3530" fmla="*/ 4162113 w 4493400"/>
              <a:gd name="connsiteY3530" fmla="*/ 1228989 h 4503132"/>
              <a:gd name="connsiteX3531" fmla="*/ 4192696 w 4493400"/>
              <a:gd name="connsiteY3531" fmla="*/ 1262192 h 4503132"/>
              <a:gd name="connsiteX3532" fmla="*/ 4224961 w 4493400"/>
              <a:gd name="connsiteY3532" fmla="*/ 1292604 h 4503132"/>
              <a:gd name="connsiteX3533" fmla="*/ 4253284 w 4493400"/>
              <a:gd name="connsiteY3533" fmla="*/ 1325807 h 4503132"/>
              <a:gd name="connsiteX3534" fmla="*/ 4277327 w 4493400"/>
              <a:gd name="connsiteY3534" fmla="*/ 1361849 h 4503132"/>
              <a:gd name="connsiteX3535" fmla="*/ 4300023 w 4493400"/>
              <a:gd name="connsiteY3535" fmla="*/ 1398324 h 4503132"/>
              <a:gd name="connsiteX3536" fmla="*/ 4312622 w 4493400"/>
              <a:gd name="connsiteY3536" fmla="*/ 1415984 h 4503132"/>
              <a:gd name="connsiteX3537" fmla="*/ 4313872 w 4493400"/>
              <a:gd name="connsiteY3537" fmla="*/ 1417043 h 4503132"/>
              <a:gd name="connsiteX3538" fmla="*/ 4316757 w 4493400"/>
              <a:gd name="connsiteY3538" fmla="*/ 1417572 h 4503132"/>
              <a:gd name="connsiteX3539" fmla="*/ 4317911 w 4493400"/>
              <a:gd name="connsiteY3539" fmla="*/ 1416176 h 4503132"/>
              <a:gd name="connsiteX3540" fmla="*/ 4318007 w 4493400"/>
              <a:gd name="connsiteY3540" fmla="*/ 1415503 h 4503132"/>
              <a:gd name="connsiteX3541" fmla="*/ 4318007 w 4493400"/>
              <a:gd name="connsiteY3541" fmla="*/ 1414588 h 4503132"/>
              <a:gd name="connsiteX3542" fmla="*/ 4317767 w 4493400"/>
              <a:gd name="connsiteY3542" fmla="*/ 1413097 h 4503132"/>
              <a:gd name="connsiteX3543" fmla="*/ 4316469 w 4493400"/>
              <a:gd name="connsiteY3543" fmla="*/ 1407803 h 4503132"/>
              <a:gd name="connsiteX3544" fmla="*/ 4315796 w 4493400"/>
              <a:gd name="connsiteY3544" fmla="*/ 1405638 h 4503132"/>
              <a:gd name="connsiteX3545" fmla="*/ 4317815 w 4493400"/>
              <a:gd name="connsiteY3545" fmla="*/ 1410450 h 4503132"/>
              <a:gd name="connsiteX3546" fmla="*/ 4329933 w 4493400"/>
              <a:gd name="connsiteY3546" fmla="*/ 1439515 h 4503132"/>
              <a:gd name="connsiteX3547" fmla="*/ 4335511 w 4493400"/>
              <a:gd name="connsiteY3547" fmla="*/ 1452988 h 4503132"/>
              <a:gd name="connsiteX3548" fmla="*/ 4338155 w 4493400"/>
              <a:gd name="connsiteY3548" fmla="*/ 1459436 h 4503132"/>
              <a:gd name="connsiteX3549" fmla="*/ 4339406 w 4493400"/>
              <a:gd name="connsiteY3549" fmla="*/ 1462564 h 4503132"/>
              <a:gd name="connsiteX3550" fmla="*/ 4339694 w 4493400"/>
              <a:gd name="connsiteY3550" fmla="*/ 1463286 h 4503132"/>
              <a:gd name="connsiteX3551" fmla="*/ 4339790 w 4493400"/>
              <a:gd name="connsiteY3551" fmla="*/ 1463575 h 4503132"/>
              <a:gd name="connsiteX3552" fmla="*/ 4339790 w 4493400"/>
              <a:gd name="connsiteY3552" fmla="*/ 1463575 h 4503132"/>
              <a:gd name="connsiteX3553" fmla="*/ 4340031 w 4493400"/>
              <a:gd name="connsiteY3553" fmla="*/ 1463479 h 4503132"/>
              <a:gd name="connsiteX3554" fmla="*/ 4339646 w 4493400"/>
              <a:gd name="connsiteY3554" fmla="*/ 1463671 h 4503132"/>
              <a:gd name="connsiteX3555" fmla="*/ 4346138 w 4493400"/>
              <a:gd name="connsiteY3555" fmla="*/ 1480080 h 4503132"/>
              <a:gd name="connsiteX3556" fmla="*/ 4349023 w 4493400"/>
              <a:gd name="connsiteY3556" fmla="*/ 1487346 h 4503132"/>
              <a:gd name="connsiteX3557" fmla="*/ 4349936 w 4493400"/>
              <a:gd name="connsiteY3557" fmla="*/ 1489319 h 4503132"/>
              <a:gd name="connsiteX3558" fmla="*/ 4350369 w 4493400"/>
              <a:gd name="connsiteY3558" fmla="*/ 1490233 h 4503132"/>
              <a:gd name="connsiteX3559" fmla="*/ 4350513 w 4493400"/>
              <a:gd name="connsiteY3559" fmla="*/ 1490522 h 4503132"/>
              <a:gd name="connsiteX3560" fmla="*/ 4350513 w 4493400"/>
              <a:gd name="connsiteY3560" fmla="*/ 1490618 h 4503132"/>
              <a:gd name="connsiteX3561" fmla="*/ 4351235 w 4493400"/>
              <a:gd name="connsiteY3561" fmla="*/ 1490474 h 4503132"/>
              <a:gd name="connsiteX3562" fmla="*/ 4353783 w 4493400"/>
              <a:gd name="connsiteY3562" fmla="*/ 1496489 h 4503132"/>
              <a:gd name="connsiteX3563" fmla="*/ 4357149 w 4493400"/>
              <a:gd name="connsiteY3563" fmla="*/ 1504381 h 4503132"/>
              <a:gd name="connsiteX3564" fmla="*/ 4358784 w 4493400"/>
              <a:gd name="connsiteY3564" fmla="*/ 1508327 h 4503132"/>
              <a:gd name="connsiteX3565" fmla="*/ 4359409 w 4493400"/>
              <a:gd name="connsiteY3565" fmla="*/ 1509866 h 4503132"/>
              <a:gd name="connsiteX3566" fmla="*/ 4359265 w 4493400"/>
              <a:gd name="connsiteY3566" fmla="*/ 1510011 h 4503132"/>
              <a:gd name="connsiteX3567" fmla="*/ 4359554 w 4493400"/>
              <a:gd name="connsiteY3567" fmla="*/ 1510781 h 4503132"/>
              <a:gd name="connsiteX3568" fmla="*/ 4359457 w 4493400"/>
              <a:gd name="connsiteY3568" fmla="*/ 1510636 h 4503132"/>
              <a:gd name="connsiteX3569" fmla="*/ 4357101 w 4493400"/>
              <a:gd name="connsiteY3569" fmla="*/ 1507942 h 4503132"/>
              <a:gd name="connsiteX3570" fmla="*/ 4356284 w 4493400"/>
              <a:gd name="connsiteY3570" fmla="*/ 1508471 h 4503132"/>
              <a:gd name="connsiteX3571" fmla="*/ 4356091 w 4493400"/>
              <a:gd name="connsiteY3571" fmla="*/ 1509433 h 4503132"/>
              <a:gd name="connsiteX3572" fmla="*/ 4355995 w 4493400"/>
              <a:gd name="connsiteY3572" fmla="*/ 1511358 h 4503132"/>
              <a:gd name="connsiteX3573" fmla="*/ 4357005 w 4493400"/>
              <a:gd name="connsiteY3573" fmla="*/ 1520597 h 4503132"/>
              <a:gd name="connsiteX3574" fmla="*/ 4359457 w 4493400"/>
              <a:gd name="connsiteY3574" fmla="*/ 1531376 h 4503132"/>
              <a:gd name="connsiteX3575" fmla="*/ 4361766 w 4493400"/>
              <a:gd name="connsiteY3575" fmla="*/ 1540567 h 4503132"/>
              <a:gd name="connsiteX3576" fmla="*/ 4356187 w 4493400"/>
              <a:gd name="connsiteY3576" fmla="*/ 1524110 h 4503132"/>
              <a:gd name="connsiteX3577" fmla="*/ 4280981 w 4493400"/>
              <a:gd name="connsiteY3577" fmla="*/ 1372724 h 4503132"/>
              <a:gd name="connsiteX3578" fmla="*/ 4255400 w 4493400"/>
              <a:gd name="connsiteY3578" fmla="*/ 1339328 h 4503132"/>
              <a:gd name="connsiteX3579" fmla="*/ 4240156 w 4493400"/>
              <a:gd name="connsiteY3579" fmla="*/ 1324459 h 4503132"/>
              <a:gd name="connsiteX3580" fmla="*/ 4221740 w 4493400"/>
              <a:gd name="connsiteY3580" fmla="*/ 1313873 h 4503132"/>
              <a:gd name="connsiteX3581" fmla="*/ 4186493 w 4493400"/>
              <a:gd name="connsiteY3581" fmla="*/ 1293470 h 4503132"/>
              <a:gd name="connsiteX3582" fmla="*/ 4158795 w 4493400"/>
              <a:gd name="connsiteY3582" fmla="*/ 1264213 h 4503132"/>
              <a:gd name="connsiteX3583" fmla="*/ 4147543 w 4493400"/>
              <a:gd name="connsiteY3583" fmla="*/ 1247227 h 4503132"/>
              <a:gd name="connsiteX3584" fmla="*/ 4137060 w 4493400"/>
              <a:gd name="connsiteY3584" fmla="*/ 1229711 h 4503132"/>
              <a:gd name="connsiteX3585" fmla="*/ 4117153 w 4493400"/>
              <a:gd name="connsiteY3585" fmla="*/ 1194102 h 4503132"/>
              <a:gd name="connsiteX3586" fmla="*/ 4079261 w 4493400"/>
              <a:gd name="connsiteY3586" fmla="*/ 1122355 h 4503132"/>
              <a:gd name="connsiteX3587" fmla="*/ 4006363 w 4493400"/>
              <a:gd name="connsiteY3587" fmla="*/ 979582 h 4503132"/>
              <a:gd name="connsiteX3588" fmla="*/ 3987898 w 4493400"/>
              <a:gd name="connsiteY3588" fmla="*/ 944454 h 4503132"/>
              <a:gd name="connsiteX3589" fmla="*/ 3968856 w 4493400"/>
              <a:gd name="connsiteY3589" fmla="*/ 909904 h 4503132"/>
              <a:gd name="connsiteX3590" fmla="*/ 3930868 w 4493400"/>
              <a:gd name="connsiteY3590" fmla="*/ 841333 h 4503132"/>
              <a:gd name="connsiteX3591" fmla="*/ 3889082 w 4493400"/>
              <a:gd name="connsiteY3591" fmla="*/ 775649 h 4503132"/>
              <a:gd name="connsiteX3592" fmla="*/ 3865472 w 4493400"/>
              <a:gd name="connsiteY3592" fmla="*/ 744996 h 4503132"/>
              <a:gd name="connsiteX3593" fmla="*/ 3840467 w 4493400"/>
              <a:gd name="connsiteY3593" fmla="*/ 715739 h 4503132"/>
              <a:gd name="connsiteX3594" fmla="*/ 3786803 w 4493400"/>
              <a:gd name="connsiteY3594" fmla="*/ 661364 h 4503132"/>
              <a:gd name="connsiteX3595" fmla="*/ 3730158 w 4493400"/>
              <a:gd name="connsiteY3595" fmla="*/ 611319 h 4503132"/>
              <a:gd name="connsiteX3596" fmla="*/ 3614993 w 4493400"/>
              <a:gd name="connsiteY3596" fmla="*/ 517196 h 4503132"/>
              <a:gd name="connsiteX3597" fmla="*/ 3507232 w 4493400"/>
              <a:gd name="connsiteY3597" fmla="*/ 419319 h 4503132"/>
              <a:gd name="connsiteX3598" fmla="*/ 4020452 w 4493400"/>
              <a:gd name="connsiteY3598" fmla="*/ 1018752 h 4503132"/>
              <a:gd name="connsiteX3599" fmla="*/ 3971934 w 4493400"/>
              <a:gd name="connsiteY3599" fmla="*/ 933339 h 4503132"/>
              <a:gd name="connsiteX3600" fmla="*/ 3901680 w 4493400"/>
              <a:gd name="connsiteY3600" fmla="*/ 810344 h 4503132"/>
              <a:gd name="connsiteX3601" fmla="*/ 3861961 w 4493400"/>
              <a:gd name="connsiteY3601" fmla="*/ 750049 h 4503132"/>
              <a:gd name="connsiteX3602" fmla="*/ 3850901 w 4493400"/>
              <a:gd name="connsiteY3602" fmla="*/ 735324 h 4503132"/>
              <a:gd name="connsiteX3603" fmla="*/ 3861529 w 4493400"/>
              <a:gd name="connsiteY3603" fmla="*/ 748076 h 4503132"/>
              <a:gd name="connsiteX3604" fmla="*/ 3884946 w 4493400"/>
              <a:gd name="connsiteY3604" fmla="*/ 778488 h 4503132"/>
              <a:gd name="connsiteX3605" fmla="*/ 3926396 w 4493400"/>
              <a:gd name="connsiteY3605" fmla="*/ 843787 h 4503132"/>
              <a:gd name="connsiteX3606" fmla="*/ 3964288 w 4493400"/>
              <a:gd name="connsiteY3606" fmla="*/ 912310 h 4503132"/>
              <a:gd name="connsiteX3607" fmla="*/ 3983282 w 4493400"/>
              <a:gd name="connsiteY3607" fmla="*/ 946860 h 4503132"/>
              <a:gd name="connsiteX3608" fmla="*/ 4001651 w 4493400"/>
              <a:gd name="connsiteY3608" fmla="*/ 981892 h 4503132"/>
              <a:gd name="connsiteX3609" fmla="*/ 4020404 w 4493400"/>
              <a:gd name="connsiteY3609" fmla="*/ 1018704 h 4503132"/>
              <a:gd name="connsiteX3610" fmla="*/ 3019354 w 4493400"/>
              <a:gd name="connsiteY3610" fmla="*/ 157930 h 4503132"/>
              <a:gd name="connsiteX3611" fmla="*/ 3064987 w 4493400"/>
              <a:gd name="connsiteY3611" fmla="*/ 178574 h 4503132"/>
              <a:gd name="connsiteX3612" fmla="*/ 3094896 w 4493400"/>
              <a:gd name="connsiteY3612" fmla="*/ 190267 h 4503132"/>
              <a:gd name="connsiteX3613" fmla="*/ 3105860 w 4493400"/>
              <a:gd name="connsiteY3613" fmla="*/ 193347 h 4503132"/>
              <a:gd name="connsiteX3614" fmla="*/ 3067103 w 4493400"/>
              <a:gd name="connsiteY3614" fmla="*/ 173906 h 4503132"/>
              <a:gd name="connsiteX3615" fmla="*/ 3053302 w 4493400"/>
              <a:gd name="connsiteY3615" fmla="*/ 167073 h 4503132"/>
              <a:gd name="connsiteX3616" fmla="*/ 3070709 w 4493400"/>
              <a:gd name="connsiteY3616" fmla="*/ 174821 h 4503132"/>
              <a:gd name="connsiteX3617" fmla="*/ 3145675 w 4493400"/>
              <a:gd name="connsiteY3617" fmla="*/ 206532 h 4503132"/>
              <a:gd name="connsiteX3618" fmla="*/ 3146541 w 4493400"/>
              <a:gd name="connsiteY3618" fmla="*/ 206917 h 4503132"/>
              <a:gd name="connsiteX3619" fmla="*/ 3119901 w 4493400"/>
              <a:gd name="connsiteY3619" fmla="*/ 197389 h 4503132"/>
              <a:gd name="connsiteX3620" fmla="*/ 3105860 w 4493400"/>
              <a:gd name="connsiteY3620" fmla="*/ 193347 h 4503132"/>
              <a:gd name="connsiteX3621" fmla="*/ 3118795 w 4493400"/>
              <a:gd name="connsiteY3621" fmla="*/ 200180 h 4503132"/>
              <a:gd name="connsiteX3622" fmla="*/ 3156254 w 4493400"/>
              <a:gd name="connsiteY3622" fmla="*/ 216493 h 4503132"/>
              <a:gd name="connsiteX3623" fmla="*/ 3166160 w 4493400"/>
              <a:gd name="connsiteY3623" fmla="*/ 220679 h 4503132"/>
              <a:gd name="connsiteX3624" fmla="*/ 3126441 w 4493400"/>
              <a:gd name="connsiteY3624" fmla="*/ 207735 h 4503132"/>
              <a:gd name="connsiteX3625" fmla="*/ 3017815 w 4493400"/>
              <a:gd name="connsiteY3625" fmla="*/ 157160 h 4503132"/>
              <a:gd name="connsiteX3626" fmla="*/ 3019354 w 4493400"/>
              <a:gd name="connsiteY3626" fmla="*/ 157930 h 4503132"/>
              <a:gd name="connsiteX3627" fmla="*/ 3218669 w 4493400"/>
              <a:gd name="connsiteY3627" fmla="*/ 248108 h 4503132"/>
              <a:gd name="connsiteX3628" fmla="*/ 3150772 w 4493400"/>
              <a:gd name="connsiteY3628" fmla="*/ 231458 h 4503132"/>
              <a:gd name="connsiteX3629" fmla="*/ 3084462 w 4493400"/>
              <a:gd name="connsiteY3629" fmla="*/ 207205 h 4503132"/>
              <a:gd name="connsiteX3630" fmla="*/ 3020796 w 4493400"/>
              <a:gd name="connsiteY3630" fmla="*/ 175061 h 4503132"/>
              <a:gd name="connsiteX3631" fmla="*/ 2959343 w 4493400"/>
              <a:gd name="connsiteY3631" fmla="*/ 137142 h 4503132"/>
              <a:gd name="connsiteX3632" fmla="*/ 2933761 w 4493400"/>
              <a:gd name="connsiteY3632" fmla="*/ 120060 h 4503132"/>
              <a:gd name="connsiteX3633" fmla="*/ 2934626 w 4493400"/>
              <a:gd name="connsiteY3633" fmla="*/ 120349 h 4503132"/>
              <a:gd name="connsiteX3634" fmla="*/ 2935396 w 4493400"/>
              <a:gd name="connsiteY3634" fmla="*/ 120589 h 4503132"/>
              <a:gd name="connsiteX3635" fmla="*/ 2935492 w 4493400"/>
              <a:gd name="connsiteY3635" fmla="*/ 120589 h 4503132"/>
              <a:gd name="connsiteX3636" fmla="*/ 2937031 w 4493400"/>
              <a:gd name="connsiteY3636" fmla="*/ 121552 h 4503132"/>
              <a:gd name="connsiteX3637" fmla="*/ 2950495 w 4493400"/>
              <a:gd name="connsiteY3637" fmla="*/ 129924 h 4503132"/>
              <a:gd name="connsiteX3638" fmla="*/ 3005601 w 4493400"/>
              <a:gd name="connsiteY3638" fmla="*/ 162502 h 4503132"/>
              <a:gd name="connsiteX3639" fmla="*/ 3122786 w 4493400"/>
              <a:gd name="connsiteY3639" fmla="*/ 217744 h 4503132"/>
              <a:gd name="connsiteX3640" fmla="*/ 3185683 w 4493400"/>
              <a:gd name="connsiteY3640" fmla="*/ 236703 h 4503132"/>
              <a:gd name="connsiteX3641" fmla="*/ 3217323 w 4493400"/>
              <a:gd name="connsiteY3641" fmla="*/ 243873 h 4503132"/>
              <a:gd name="connsiteX3642" fmla="*/ 3232470 w 4493400"/>
              <a:gd name="connsiteY3642" fmla="*/ 248733 h 4503132"/>
              <a:gd name="connsiteX3643" fmla="*/ 3239827 w 4493400"/>
              <a:gd name="connsiteY3643" fmla="*/ 251620 h 4503132"/>
              <a:gd name="connsiteX3644" fmla="*/ 3241222 w 4493400"/>
              <a:gd name="connsiteY3644" fmla="*/ 252246 h 4503132"/>
              <a:gd name="connsiteX3645" fmla="*/ 3235788 w 4493400"/>
              <a:gd name="connsiteY3645" fmla="*/ 251380 h 4503132"/>
              <a:gd name="connsiteX3646" fmla="*/ 3218717 w 4493400"/>
              <a:gd name="connsiteY3646" fmla="*/ 248156 h 4503132"/>
              <a:gd name="connsiteX3647" fmla="*/ 2823019 w 4493400"/>
              <a:gd name="connsiteY3647" fmla="*/ 134351 h 4503132"/>
              <a:gd name="connsiteX3648" fmla="*/ 2849082 w 4493400"/>
              <a:gd name="connsiteY3648" fmla="*/ 174484 h 4503132"/>
              <a:gd name="connsiteX3649" fmla="*/ 2891830 w 4493400"/>
              <a:gd name="connsiteY3649" fmla="*/ 265816 h 4503132"/>
              <a:gd name="connsiteX3650" fmla="*/ 2916594 w 4493400"/>
              <a:gd name="connsiteY3650" fmla="*/ 312252 h 4503132"/>
              <a:gd name="connsiteX3651" fmla="*/ 2946744 w 4493400"/>
              <a:gd name="connsiteY3651" fmla="*/ 356955 h 4503132"/>
              <a:gd name="connsiteX3652" fmla="*/ 3023778 w 4493400"/>
              <a:gd name="connsiteY3652" fmla="*/ 436931 h 4503132"/>
              <a:gd name="connsiteX3653" fmla="*/ 3118411 w 4493400"/>
              <a:gd name="connsiteY3653" fmla="*/ 502759 h 4503132"/>
              <a:gd name="connsiteX3654" fmla="*/ 3144088 w 4493400"/>
              <a:gd name="connsiteY3654" fmla="*/ 517292 h 4503132"/>
              <a:gd name="connsiteX3655" fmla="*/ 3170391 w 4493400"/>
              <a:gd name="connsiteY3655" fmla="*/ 531150 h 4503132"/>
              <a:gd name="connsiteX3656" fmla="*/ 3197367 w 4493400"/>
              <a:gd name="connsiteY3656" fmla="*/ 544239 h 4503132"/>
              <a:gd name="connsiteX3657" fmla="*/ 3224920 w 4493400"/>
              <a:gd name="connsiteY3657" fmla="*/ 556750 h 4503132"/>
              <a:gd name="connsiteX3658" fmla="*/ 3282335 w 4493400"/>
              <a:gd name="connsiteY3658" fmla="*/ 578549 h 4503132"/>
              <a:gd name="connsiteX3659" fmla="*/ 3343789 w 4493400"/>
              <a:gd name="connsiteY3659" fmla="*/ 591734 h 4503132"/>
              <a:gd name="connsiteX3660" fmla="*/ 3376247 w 4493400"/>
              <a:gd name="connsiteY3660" fmla="*/ 590338 h 4503132"/>
              <a:gd name="connsiteX3661" fmla="*/ 3406925 w 4493400"/>
              <a:gd name="connsiteY3661" fmla="*/ 577153 h 4503132"/>
              <a:gd name="connsiteX3662" fmla="*/ 3428708 w 4493400"/>
              <a:gd name="connsiteY3662" fmla="*/ 551794 h 4503132"/>
              <a:gd name="connsiteX3663" fmla="*/ 3443470 w 4493400"/>
              <a:gd name="connsiteY3663" fmla="*/ 523066 h 4503132"/>
              <a:gd name="connsiteX3664" fmla="*/ 3451501 w 4493400"/>
              <a:gd name="connsiteY3664" fmla="*/ 510074 h 4503132"/>
              <a:gd name="connsiteX3665" fmla="*/ 3456309 w 4493400"/>
              <a:gd name="connsiteY3665" fmla="*/ 504829 h 4503132"/>
              <a:gd name="connsiteX3666" fmla="*/ 3462080 w 4493400"/>
              <a:gd name="connsiteY3666" fmla="*/ 501075 h 4503132"/>
              <a:gd name="connsiteX3667" fmla="*/ 3492181 w 4493400"/>
              <a:gd name="connsiteY3667" fmla="*/ 493761 h 4503132"/>
              <a:gd name="connsiteX3668" fmla="*/ 3509492 w 4493400"/>
              <a:gd name="connsiteY3668" fmla="*/ 488516 h 4503132"/>
              <a:gd name="connsiteX3669" fmla="*/ 3516272 w 4493400"/>
              <a:gd name="connsiteY3669" fmla="*/ 478699 h 4503132"/>
              <a:gd name="connsiteX3670" fmla="*/ 3514686 w 4493400"/>
              <a:gd name="connsiteY3670" fmla="*/ 468209 h 4503132"/>
              <a:gd name="connsiteX3671" fmla="*/ 3494826 w 4493400"/>
              <a:gd name="connsiteY3671" fmla="*/ 440107 h 4503132"/>
              <a:gd name="connsiteX3672" fmla="*/ 3400915 w 4493400"/>
              <a:gd name="connsiteY3672" fmla="*/ 343915 h 4503132"/>
              <a:gd name="connsiteX3673" fmla="*/ 3367110 w 4493400"/>
              <a:gd name="connsiteY3673" fmla="*/ 314417 h 4503132"/>
              <a:gd name="connsiteX3674" fmla="*/ 3370669 w 4493400"/>
              <a:gd name="connsiteY3674" fmla="*/ 316486 h 4503132"/>
              <a:gd name="connsiteX3675" fmla="*/ 3371342 w 4493400"/>
              <a:gd name="connsiteY3675" fmla="*/ 316871 h 4503132"/>
              <a:gd name="connsiteX3676" fmla="*/ 3371534 w 4493400"/>
              <a:gd name="connsiteY3676" fmla="*/ 317401 h 4503132"/>
              <a:gd name="connsiteX3677" fmla="*/ 3372784 w 4493400"/>
              <a:gd name="connsiteY3677" fmla="*/ 318363 h 4503132"/>
              <a:gd name="connsiteX3678" fmla="*/ 3372784 w 4493400"/>
              <a:gd name="connsiteY3678" fmla="*/ 318363 h 4503132"/>
              <a:gd name="connsiteX3679" fmla="*/ 3372929 w 4493400"/>
              <a:gd name="connsiteY3679" fmla="*/ 318459 h 4503132"/>
              <a:gd name="connsiteX3680" fmla="*/ 3388653 w 4493400"/>
              <a:gd name="connsiteY3680" fmla="*/ 329479 h 4503132"/>
              <a:gd name="connsiteX3681" fmla="*/ 3418466 w 4493400"/>
              <a:gd name="connsiteY3681" fmla="*/ 352576 h 4503132"/>
              <a:gd name="connsiteX3682" fmla="*/ 3471408 w 4493400"/>
              <a:gd name="connsiteY3682" fmla="*/ 407289 h 4503132"/>
              <a:gd name="connsiteX3683" fmla="*/ 3579601 w 4493400"/>
              <a:gd name="connsiteY3683" fmla="*/ 514068 h 4503132"/>
              <a:gd name="connsiteX3684" fmla="*/ 3699143 w 4493400"/>
              <a:gd name="connsiteY3684" fmla="*/ 603860 h 4503132"/>
              <a:gd name="connsiteX3685" fmla="*/ 3807913 w 4493400"/>
              <a:gd name="connsiteY3685" fmla="*/ 700822 h 4503132"/>
              <a:gd name="connsiteX3686" fmla="*/ 3853546 w 4493400"/>
              <a:gd name="connsiteY3686" fmla="*/ 756256 h 4503132"/>
              <a:gd name="connsiteX3687" fmla="*/ 3892832 w 4493400"/>
              <a:gd name="connsiteY3687" fmla="*/ 815829 h 4503132"/>
              <a:gd name="connsiteX3688" fmla="*/ 3963086 w 4493400"/>
              <a:gd name="connsiteY3688" fmla="*/ 938488 h 4503132"/>
              <a:gd name="connsiteX3689" fmla="*/ 4090658 w 4493400"/>
              <a:gd name="connsiteY3689" fmla="*/ 1180099 h 4503132"/>
              <a:gd name="connsiteX3690" fmla="*/ 4113210 w 4493400"/>
              <a:gd name="connsiteY3690" fmla="*/ 1241933 h 4503132"/>
              <a:gd name="connsiteX3691" fmla="*/ 4117297 w 4493400"/>
              <a:gd name="connsiteY3691" fmla="*/ 1257620 h 4503132"/>
              <a:gd name="connsiteX3692" fmla="*/ 4119846 w 4493400"/>
              <a:gd name="connsiteY3692" fmla="*/ 1273211 h 4503132"/>
              <a:gd name="connsiteX3693" fmla="*/ 4118403 w 4493400"/>
              <a:gd name="connsiteY3693" fmla="*/ 1304297 h 4503132"/>
              <a:gd name="connsiteX3694" fmla="*/ 4105324 w 4493400"/>
              <a:gd name="connsiteY3694" fmla="*/ 1330138 h 4503132"/>
              <a:gd name="connsiteX3695" fmla="*/ 4079165 w 4493400"/>
              <a:gd name="connsiteY3695" fmla="*/ 1336441 h 4503132"/>
              <a:gd name="connsiteX3696" fmla="*/ 4051323 w 4493400"/>
              <a:gd name="connsiteY3696" fmla="*/ 1324989 h 4503132"/>
              <a:gd name="connsiteX3697" fmla="*/ 4044832 w 4493400"/>
              <a:gd name="connsiteY3697" fmla="*/ 1320802 h 4503132"/>
              <a:gd name="connsiteX3698" fmla="*/ 4038532 w 4493400"/>
              <a:gd name="connsiteY3698" fmla="*/ 1316279 h 4503132"/>
              <a:gd name="connsiteX3699" fmla="*/ 4026319 w 4493400"/>
              <a:gd name="connsiteY3699" fmla="*/ 1306703 h 4503132"/>
              <a:gd name="connsiteX3700" fmla="*/ 3953517 w 4493400"/>
              <a:gd name="connsiteY3700" fmla="*/ 1208682 h 4503132"/>
              <a:gd name="connsiteX3701" fmla="*/ 3908893 w 4493400"/>
              <a:gd name="connsiteY3701" fmla="*/ 1097092 h 4503132"/>
              <a:gd name="connsiteX3702" fmla="*/ 3832052 w 4493400"/>
              <a:gd name="connsiteY3702" fmla="*/ 880599 h 4503132"/>
              <a:gd name="connsiteX3703" fmla="*/ 3806663 w 4493400"/>
              <a:gd name="connsiteY3703" fmla="*/ 831757 h 4503132"/>
              <a:gd name="connsiteX3704" fmla="*/ 3775359 w 4493400"/>
              <a:gd name="connsiteY3704" fmla="*/ 787775 h 4503132"/>
              <a:gd name="connsiteX3705" fmla="*/ 3709433 w 4493400"/>
              <a:gd name="connsiteY3705" fmla="*/ 707799 h 4503132"/>
              <a:gd name="connsiteX3706" fmla="*/ 3643604 w 4493400"/>
              <a:gd name="connsiteY3706" fmla="*/ 634127 h 4503132"/>
              <a:gd name="connsiteX3707" fmla="*/ 3576620 w 4493400"/>
              <a:gd name="connsiteY3707" fmla="*/ 568203 h 4503132"/>
              <a:gd name="connsiteX3708" fmla="*/ 3567676 w 4493400"/>
              <a:gd name="connsiteY3708" fmla="*/ 560937 h 4503132"/>
              <a:gd name="connsiteX3709" fmla="*/ 3557963 w 4493400"/>
              <a:gd name="connsiteY3709" fmla="*/ 554441 h 4503132"/>
              <a:gd name="connsiteX3710" fmla="*/ 3537238 w 4493400"/>
              <a:gd name="connsiteY3710" fmla="*/ 544865 h 4503132"/>
              <a:gd name="connsiteX3711" fmla="*/ 3514686 w 4493400"/>
              <a:gd name="connsiteY3711" fmla="*/ 540678 h 4503132"/>
              <a:gd name="connsiteX3712" fmla="*/ 3492662 w 4493400"/>
              <a:gd name="connsiteY3712" fmla="*/ 547800 h 4503132"/>
              <a:gd name="connsiteX3713" fmla="*/ 3478044 w 4493400"/>
              <a:gd name="connsiteY3713" fmla="*/ 564786 h 4503132"/>
              <a:gd name="connsiteX3714" fmla="*/ 3468427 w 4493400"/>
              <a:gd name="connsiteY3714" fmla="*/ 583698 h 4503132"/>
              <a:gd name="connsiteX3715" fmla="*/ 3443326 w 4493400"/>
              <a:gd name="connsiteY3715" fmla="*/ 609586 h 4503132"/>
              <a:gd name="connsiteX3716" fmla="*/ 3404810 w 4493400"/>
              <a:gd name="connsiteY3716" fmla="*/ 613628 h 4503132"/>
              <a:gd name="connsiteX3717" fmla="*/ 3385864 w 4493400"/>
              <a:gd name="connsiteY3717" fmla="*/ 613099 h 4503132"/>
              <a:gd name="connsiteX3718" fmla="*/ 3367303 w 4493400"/>
              <a:gd name="connsiteY3718" fmla="*/ 611126 h 4503132"/>
              <a:gd name="connsiteX3719" fmla="*/ 3298011 w 4493400"/>
              <a:gd name="connsiteY3719" fmla="*/ 595198 h 4503132"/>
              <a:gd name="connsiteX3720" fmla="*/ 3183326 w 4493400"/>
              <a:gd name="connsiteY3720" fmla="*/ 546019 h 4503132"/>
              <a:gd name="connsiteX3721" fmla="*/ 3038732 w 4493400"/>
              <a:gd name="connsiteY3721" fmla="*/ 451223 h 4503132"/>
              <a:gd name="connsiteX3722" fmla="*/ 3004062 w 4493400"/>
              <a:gd name="connsiteY3722" fmla="*/ 422447 h 4503132"/>
              <a:gd name="connsiteX3723" fmla="*/ 2995407 w 4493400"/>
              <a:gd name="connsiteY3723" fmla="*/ 414892 h 4503132"/>
              <a:gd name="connsiteX3724" fmla="*/ 2992377 w 4493400"/>
              <a:gd name="connsiteY3724" fmla="*/ 412486 h 4503132"/>
              <a:gd name="connsiteX3725" fmla="*/ 2995022 w 4493400"/>
              <a:gd name="connsiteY3725" fmla="*/ 415325 h 4503132"/>
              <a:gd name="connsiteX3726" fmla="*/ 3003293 w 4493400"/>
              <a:gd name="connsiteY3726" fmla="*/ 423313 h 4503132"/>
              <a:gd name="connsiteX3727" fmla="*/ 3037338 w 4493400"/>
              <a:gd name="connsiteY3727" fmla="*/ 452955 h 4503132"/>
              <a:gd name="connsiteX3728" fmla="*/ 3181307 w 4493400"/>
              <a:gd name="connsiteY3728" fmla="*/ 549773 h 4503132"/>
              <a:gd name="connsiteX3729" fmla="*/ 3296376 w 4493400"/>
              <a:gd name="connsiteY3729" fmla="*/ 600107 h 4503132"/>
              <a:gd name="connsiteX3730" fmla="*/ 3366485 w 4493400"/>
              <a:gd name="connsiteY3730" fmla="*/ 616708 h 4503132"/>
              <a:gd name="connsiteX3731" fmla="*/ 3385383 w 4493400"/>
              <a:gd name="connsiteY3731" fmla="*/ 618825 h 4503132"/>
              <a:gd name="connsiteX3732" fmla="*/ 3404761 w 4493400"/>
              <a:gd name="connsiteY3732" fmla="*/ 619451 h 4503132"/>
              <a:gd name="connsiteX3733" fmla="*/ 3444529 w 4493400"/>
              <a:gd name="connsiteY3733" fmla="*/ 615457 h 4503132"/>
              <a:gd name="connsiteX3734" fmla="*/ 3449529 w 4493400"/>
              <a:gd name="connsiteY3734" fmla="*/ 614398 h 4503132"/>
              <a:gd name="connsiteX3735" fmla="*/ 3454915 w 4493400"/>
              <a:gd name="connsiteY3735" fmla="*/ 612281 h 4503132"/>
              <a:gd name="connsiteX3736" fmla="*/ 3463330 w 4493400"/>
              <a:gd name="connsiteY3736" fmla="*/ 604822 h 4503132"/>
              <a:gd name="connsiteX3737" fmla="*/ 3473909 w 4493400"/>
              <a:gd name="connsiteY3737" fmla="*/ 586440 h 4503132"/>
              <a:gd name="connsiteX3738" fmla="*/ 3483334 w 4493400"/>
              <a:gd name="connsiteY3738" fmla="*/ 568107 h 4503132"/>
              <a:gd name="connsiteX3739" fmla="*/ 3496269 w 4493400"/>
              <a:gd name="connsiteY3739" fmla="*/ 553093 h 4503132"/>
              <a:gd name="connsiteX3740" fmla="*/ 3514686 w 4493400"/>
              <a:gd name="connsiteY3740" fmla="*/ 547271 h 4503132"/>
              <a:gd name="connsiteX3741" fmla="*/ 3534978 w 4493400"/>
              <a:gd name="connsiteY3741" fmla="*/ 551168 h 4503132"/>
              <a:gd name="connsiteX3742" fmla="*/ 3554549 w 4493400"/>
              <a:gd name="connsiteY3742" fmla="*/ 560311 h 4503132"/>
              <a:gd name="connsiteX3743" fmla="*/ 3563493 w 4493400"/>
              <a:gd name="connsiteY3743" fmla="*/ 566374 h 4503132"/>
              <a:gd name="connsiteX3744" fmla="*/ 3572100 w 4493400"/>
              <a:gd name="connsiteY3744" fmla="*/ 573448 h 4503132"/>
              <a:gd name="connsiteX3745" fmla="*/ 3638218 w 4493400"/>
              <a:gd name="connsiteY3745" fmla="*/ 639084 h 4503132"/>
              <a:gd name="connsiteX3746" fmla="*/ 3703567 w 4493400"/>
              <a:gd name="connsiteY3746" fmla="*/ 712756 h 4503132"/>
              <a:gd name="connsiteX3747" fmla="*/ 3768963 w 4493400"/>
              <a:gd name="connsiteY3747" fmla="*/ 792683 h 4503132"/>
              <a:gd name="connsiteX3748" fmla="*/ 3799546 w 4493400"/>
              <a:gd name="connsiteY3748" fmla="*/ 835895 h 4503132"/>
              <a:gd name="connsiteX3749" fmla="*/ 3824406 w 4493400"/>
              <a:gd name="connsiteY3749" fmla="*/ 884064 h 4503132"/>
              <a:gd name="connsiteX3750" fmla="*/ 3900382 w 4493400"/>
              <a:gd name="connsiteY3750" fmla="*/ 1099979 h 4503132"/>
              <a:gd name="connsiteX3751" fmla="*/ 3945246 w 4493400"/>
              <a:gd name="connsiteY3751" fmla="*/ 1212869 h 4503132"/>
              <a:gd name="connsiteX3752" fmla="*/ 4020115 w 4493400"/>
              <a:gd name="connsiteY3752" fmla="*/ 1313969 h 4503132"/>
              <a:gd name="connsiteX3753" fmla="*/ 4032810 w 4493400"/>
              <a:gd name="connsiteY3753" fmla="*/ 1324026 h 4503132"/>
              <a:gd name="connsiteX3754" fmla="*/ 4039398 w 4493400"/>
              <a:gd name="connsiteY3754" fmla="*/ 1328790 h 4503132"/>
              <a:gd name="connsiteX3755" fmla="*/ 4046322 w 4493400"/>
              <a:gd name="connsiteY3755" fmla="*/ 1333217 h 4503132"/>
              <a:gd name="connsiteX3756" fmla="*/ 4077386 w 4493400"/>
              <a:gd name="connsiteY3756" fmla="*/ 1345921 h 4503132"/>
              <a:gd name="connsiteX3757" fmla="*/ 4095226 w 4493400"/>
              <a:gd name="connsiteY3757" fmla="*/ 1345728 h 4503132"/>
              <a:gd name="connsiteX3758" fmla="*/ 4111575 w 4493400"/>
              <a:gd name="connsiteY3758" fmla="*/ 1337356 h 4503132"/>
              <a:gd name="connsiteX3759" fmla="*/ 4127683 w 4493400"/>
              <a:gd name="connsiteY3759" fmla="*/ 1306366 h 4503132"/>
              <a:gd name="connsiteX3760" fmla="*/ 4129318 w 4493400"/>
              <a:gd name="connsiteY3760" fmla="*/ 1272393 h 4503132"/>
              <a:gd name="connsiteX3761" fmla="*/ 4126626 w 4493400"/>
              <a:gd name="connsiteY3761" fmla="*/ 1255551 h 4503132"/>
              <a:gd name="connsiteX3762" fmla="*/ 4122394 w 4493400"/>
              <a:gd name="connsiteY3762" fmla="*/ 1239335 h 4503132"/>
              <a:gd name="connsiteX3763" fmla="*/ 4099553 w 4493400"/>
              <a:gd name="connsiteY3763" fmla="*/ 1176346 h 4503132"/>
              <a:gd name="connsiteX3764" fmla="*/ 4090273 w 4493400"/>
              <a:gd name="connsiteY3764" fmla="*/ 1155606 h 4503132"/>
              <a:gd name="connsiteX3765" fmla="*/ 4112200 w 4493400"/>
              <a:gd name="connsiteY3765" fmla="*/ 1196845 h 4503132"/>
              <a:gd name="connsiteX3766" fmla="*/ 4132156 w 4493400"/>
              <a:gd name="connsiteY3766" fmla="*/ 1232598 h 4503132"/>
              <a:gd name="connsiteX3767" fmla="*/ 4142686 w 4493400"/>
              <a:gd name="connsiteY3767" fmla="*/ 1250258 h 4503132"/>
              <a:gd name="connsiteX3768" fmla="*/ 4154131 w 4493400"/>
              <a:gd name="connsiteY3768" fmla="*/ 1267533 h 4503132"/>
              <a:gd name="connsiteX3769" fmla="*/ 4182886 w 4493400"/>
              <a:gd name="connsiteY3769" fmla="*/ 1297945 h 4503132"/>
              <a:gd name="connsiteX3770" fmla="*/ 4219095 w 4493400"/>
              <a:gd name="connsiteY3770" fmla="*/ 1318974 h 4503132"/>
              <a:gd name="connsiteX3771" fmla="*/ 4236646 w 4493400"/>
              <a:gd name="connsiteY3771" fmla="*/ 1329031 h 4503132"/>
              <a:gd name="connsiteX3772" fmla="*/ 4251072 w 4493400"/>
              <a:gd name="connsiteY3772" fmla="*/ 1343178 h 4503132"/>
              <a:gd name="connsiteX3773" fmla="*/ 4276221 w 4493400"/>
              <a:gd name="connsiteY3773" fmla="*/ 1376044 h 4503132"/>
              <a:gd name="connsiteX3774" fmla="*/ 4294157 w 4493400"/>
              <a:gd name="connsiteY3774" fmla="*/ 1404724 h 4503132"/>
              <a:gd name="connsiteX3775" fmla="*/ 4290791 w 4493400"/>
              <a:gd name="connsiteY3775" fmla="*/ 1399960 h 4503132"/>
              <a:gd name="connsiteX3776" fmla="*/ 4284347 w 4493400"/>
              <a:gd name="connsiteY3776" fmla="*/ 1391394 h 4503132"/>
              <a:gd name="connsiteX3777" fmla="*/ 4254053 w 4493400"/>
              <a:gd name="connsiteY3777" fmla="*/ 1361656 h 4503132"/>
              <a:gd name="connsiteX3778" fmla="*/ 4245205 w 4493400"/>
              <a:gd name="connsiteY3778" fmla="*/ 1356026 h 4503132"/>
              <a:gd name="connsiteX3779" fmla="*/ 4235636 w 4493400"/>
              <a:gd name="connsiteY3779" fmla="*/ 1351407 h 4503132"/>
              <a:gd name="connsiteX3780" fmla="*/ 4224048 w 4493400"/>
              <a:gd name="connsiteY3780" fmla="*/ 1349145 h 4503132"/>
              <a:gd name="connsiteX3781" fmla="*/ 4217027 w 4493400"/>
              <a:gd name="connsiteY3781" fmla="*/ 1352080 h 4503132"/>
              <a:gd name="connsiteX3782" fmla="*/ 4213469 w 4493400"/>
              <a:gd name="connsiteY3782" fmla="*/ 1358384 h 4503132"/>
              <a:gd name="connsiteX3783" fmla="*/ 4213084 w 4493400"/>
              <a:gd name="connsiteY3783" fmla="*/ 1369644 h 4503132"/>
              <a:gd name="connsiteX3784" fmla="*/ 4214911 w 4493400"/>
              <a:gd name="connsiteY3784" fmla="*/ 1379605 h 4503132"/>
              <a:gd name="connsiteX3785" fmla="*/ 4220345 w 4493400"/>
              <a:gd name="connsiteY3785" fmla="*/ 1398228 h 4503132"/>
              <a:gd name="connsiteX3786" fmla="*/ 4246263 w 4493400"/>
              <a:gd name="connsiteY3786" fmla="*/ 1465981 h 4503132"/>
              <a:gd name="connsiteX3787" fmla="*/ 4287233 w 4493400"/>
              <a:gd name="connsiteY3787" fmla="*/ 1582865 h 4503132"/>
              <a:gd name="connsiteX3788" fmla="*/ 4295792 w 4493400"/>
              <a:gd name="connsiteY3788" fmla="*/ 1632428 h 4503132"/>
              <a:gd name="connsiteX3789" fmla="*/ 4287713 w 4493400"/>
              <a:gd name="connsiteY3789" fmla="*/ 1672753 h 4503132"/>
              <a:gd name="connsiteX3790" fmla="*/ 4265882 w 4493400"/>
              <a:gd name="connsiteY3790" fmla="*/ 1698016 h 4503132"/>
              <a:gd name="connsiteX3791" fmla="*/ 4247562 w 4493400"/>
              <a:gd name="connsiteY3791" fmla="*/ 1715339 h 4503132"/>
              <a:gd name="connsiteX3792" fmla="*/ 4244388 w 4493400"/>
              <a:gd name="connsiteY3792" fmla="*/ 1718948 h 4503132"/>
              <a:gd name="connsiteX3793" fmla="*/ 4241887 w 4493400"/>
              <a:gd name="connsiteY3793" fmla="*/ 1722365 h 4503132"/>
              <a:gd name="connsiteX3794" fmla="*/ 4239820 w 4493400"/>
              <a:gd name="connsiteY3794" fmla="*/ 1725300 h 4503132"/>
              <a:gd name="connsiteX3795" fmla="*/ 4238377 w 4493400"/>
              <a:gd name="connsiteY3795" fmla="*/ 1727899 h 4503132"/>
              <a:gd name="connsiteX3796" fmla="*/ 4236117 w 4493400"/>
              <a:gd name="connsiteY3796" fmla="*/ 1732663 h 4503132"/>
              <a:gd name="connsiteX3797" fmla="*/ 4249148 w 4493400"/>
              <a:gd name="connsiteY3797" fmla="*/ 1716831 h 4503132"/>
              <a:gd name="connsiteX3798" fmla="*/ 4267950 w 4493400"/>
              <a:gd name="connsiteY3798" fmla="*/ 1700422 h 4503132"/>
              <a:gd name="connsiteX3799" fmla="*/ 4291320 w 4493400"/>
              <a:gd name="connsiteY3799" fmla="*/ 1674774 h 4503132"/>
              <a:gd name="connsiteX3800" fmla="*/ 4300889 w 4493400"/>
              <a:gd name="connsiteY3800" fmla="*/ 1632284 h 4503132"/>
              <a:gd name="connsiteX3801" fmla="*/ 4293003 w 4493400"/>
              <a:gd name="connsiteY3801" fmla="*/ 1581373 h 4503132"/>
              <a:gd name="connsiteX3802" fmla="*/ 4253284 w 4493400"/>
              <a:gd name="connsiteY3802" fmla="*/ 1463190 h 4503132"/>
              <a:gd name="connsiteX3803" fmla="*/ 4228183 w 4493400"/>
              <a:gd name="connsiteY3803" fmla="*/ 1395629 h 4503132"/>
              <a:gd name="connsiteX3804" fmla="*/ 4223086 w 4493400"/>
              <a:gd name="connsiteY3804" fmla="*/ 1377680 h 4503132"/>
              <a:gd name="connsiteX3805" fmla="*/ 4221740 w 4493400"/>
              <a:gd name="connsiteY3805" fmla="*/ 1360501 h 4503132"/>
              <a:gd name="connsiteX3806" fmla="*/ 4222846 w 4493400"/>
              <a:gd name="connsiteY3806" fmla="*/ 1358336 h 4503132"/>
              <a:gd name="connsiteX3807" fmla="*/ 4224769 w 4493400"/>
              <a:gd name="connsiteY3807" fmla="*/ 1357662 h 4503132"/>
              <a:gd name="connsiteX3808" fmla="*/ 4232463 w 4493400"/>
              <a:gd name="connsiteY3808" fmla="*/ 1359395 h 4503132"/>
              <a:gd name="connsiteX3809" fmla="*/ 4249052 w 4493400"/>
              <a:gd name="connsiteY3809" fmla="*/ 1368826 h 4503132"/>
              <a:gd name="connsiteX3810" fmla="*/ 4277231 w 4493400"/>
              <a:gd name="connsiteY3810" fmla="*/ 1396928 h 4503132"/>
              <a:gd name="connsiteX3811" fmla="*/ 4283385 w 4493400"/>
              <a:gd name="connsiteY3811" fmla="*/ 1405205 h 4503132"/>
              <a:gd name="connsiteX3812" fmla="*/ 4289348 w 4493400"/>
              <a:gd name="connsiteY3812" fmla="*/ 1413770 h 4503132"/>
              <a:gd name="connsiteX3813" fmla="*/ 4300456 w 4493400"/>
              <a:gd name="connsiteY3813" fmla="*/ 1431864 h 4503132"/>
              <a:gd name="connsiteX3814" fmla="*/ 4329596 w 4493400"/>
              <a:gd name="connsiteY3814" fmla="*/ 1490618 h 4503132"/>
              <a:gd name="connsiteX3815" fmla="*/ 4313920 w 4493400"/>
              <a:gd name="connsiteY3815" fmla="*/ 1461217 h 4503132"/>
              <a:gd name="connsiteX3816" fmla="*/ 4285982 w 4493400"/>
              <a:gd name="connsiteY3816" fmla="*/ 1422769 h 4503132"/>
              <a:gd name="connsiteX3817" fmla="*/ 4276173 w 4493400"/>
              <a:gd name="connsiteY3817" fmla="*/ 1415118 h 4503132"/>
              <a:gd name="connsiteX3818" fmla="*/ 4272182 w 4493400"/>
              <a:gd name="connsiteY3818" fmla="*/ 1413674 h 4503132"/>
              <a:gd name="connsiteX3819" fmla="*/ 4284443 w 4493400"/>
              <a:gd name="connsiteY3819" fmla="*/ 1424261 h 4503132"/>
              <a:gd name="connsiteX3820" fmla="*/ 4310314 w 4493400"/>
              <a:gd name="connsiteY3820" fmla="*/ 1463286 h 4503132"/>
              <a:gd name="connsiteX3821" fmla="*/ 4371142 w 4493400"/>
              <a:gd name="connsiteY3821" fmla="*/ 1624922 h 4503132"/>
              <a:gd name="connsiteX3822" fmla="*/ 4383019 w 4493400"/>
              <a:gd name="connsiteY3822" fmla="*/ 1680885 h 4503132"/>
              <a:gd name="connsiteX3823" fmla="*/ 4387058 w 4493400"/>
              <a:gd name="connsiteY3823" fmla="*/ 1742624 h 4503132"/>
              <a:gd name="connsiteX3824" fmla="*/ 4389174 w 4493400"/>
              <a:gd name="connsiteY3824" fmla="*/ 1775875 h 4503132"/>
              <a:gd name="connsiteX3825" fmla="*/ 4394656 w 4493400"/>
              <a:gd name="connsiteY3825" fmla="*/ 1809703 h 4503132"/>
              <a:gd name="connsiteX3826" fmla="*/ 4408890 w 4493400"/>
              <a:gd name="connsiteY3826" fmla="*/ 1879285 h 4503132"/>
              <a:gd name="connsiteX3827" fmla="*/ 4436587 w 4493400"/>
              <a:gd name="connsiteY3827" fmla="*/ 2028602 h 4503132"/>
              <a:gd name="connsiteX3828" fmla="*/ 4440626 w 4493400"/>
              <a:gd name="connsiteY3828" fmla="*/ 2067964 h 4503132"/>
              <a:gd name="connsiteX3829" fmla="*/ 4439184 w 4493400"/>
              <a:gd name="connsiteY3829" fmla="*/ 2106941 h 4503132"/>
              <a:gd name="connsiteX3830" fmla="*/ 4437981 w 4493400"/>
              <a:gd name="connsiteY3830" fmla="*/ 2111320 h 4503132"/>
              <a:gd name="connsiteX3831" fmla="*/ 4437356 w 4493400"/>
              <a:gd name="connsiteY3831" fmla="*/ 2113101 h 4503132"/>
              <a:gd name="connsiteX3832" fmla="*/ 4437356 w 4493400"/>
              <a:gd name="connsiteY3832" fmla="*/ 2113197 h 4503132"/>
              <a:gd name="connsiteX3833" fmla="*/ 4437308 w 4493400"/>
              <a:gd name="connsiteY3833" fmla="*/ 2113197 h 4503132"/>
              <a:gd name="connsiteX3834" fmla="*/ 4437212 w 4493400"/>
              <a:gd name="connsiteY3834" fmla="*/ 2113197 h 4503132"/>
              <a:gd name="connsiteX3835" fmla="*/ 4436010 w 4493400"/>
              <a:gd name="connsiteY3835" fmla="*/ 2111946 h 4503132"/>
              <a:gd name="connsiteX3836" fmla="*/ 4425431 w 4493400"/>
              <a:gd name="connsiteY3836" fmla="*/ 2095826 h 4503132"/>
              <a:gd name="connsiteX3837" fmla="*/ 4406533 w 4493400"/>
              <a:gd name="connsiteY3837" fmla="*/ 2058821 h 4503132"/>
              <a:gd name="connsiteX3838" fmla="*/ 4384318 w 4493400"/>
              <a:gd name="connsiteY3838" fmla="*/ 2018785 h 4503132"/>
              <a:gd name="connsiteX3839" fmla="*/ 4368930 w 4493400"/>
              <a:gd name="connsiteY3839" fmla="*/ 2000500 h 4503132"/>
              <a:gd name="connsiteX3840" fmla="*/ 4357149 w 4493400"/>
              <a:gd name="connsiteY3840" fmla="*/ 1994629 h 4503132"/>
              <a:gd name="connsiteX3841" fmla="*/ 4345128 w 4493400"/>
              <a:gd name="connsiteY3841" fmla="*/ 1992800 h 4503132"/>
              <a:gd name="connsiteX3842" fmla="*/ 4301081 w 4493400"/>
              <a:gd name="connsiteY3842" fmla="*/ 1994485 h 4503132"/>
              <a:gd name="connsiteX3843" fmla="*/ 4263911 w 4493400"/>
              <a:gd name="connsiteY3843" fmla="*/ 1984572 h 4503132"/>
              <a:gd name="connsiteX3844" fmla="*/ 4252947 w 4493400"/>
              <a:gd name="connsiteY3844" fmla="*/ 1969510 h 4503132"/>
              <a:gd name="connsiteX3845" fmla="*/ 4247850 w 4493400"/>
              <a:gd name="connsiteY3845" fmla="*/ 1950599 h 4503132"/>
              <a:gd name="connsiteX3846" fmla="*/ 4245686 w 4493400"/>
              <a:gd name="connsiteY3846" fmla="*/ 1910274 h 4503132"/>
              <a:gd name="connsiteX3847" fmla="*/ 4247658 w 4493400"/>
              <a:gd name="connsiteY3847" fmla="*/ 1870334 h 4503132"/>
              <a:gd name="connsiteX3848" fmla="*/ 4249485 w 4493400"/>
              <a:gd name="connsiteY3848" fmla="*/ 1850749 h 4503132"/>
              <a:gd name="connsiteX3849" fmla="*/ 4250543 w 4493400"/>
              <a:gd name="connsiteY3849" fmla="*/ 1841077 h 4503132"/>
              <a:gd name="connsiteX3850" fmla="*/ 4251120 w 4493400"/>
              <a:gd name="connsiteY3850" fmla="*/ 1836265 h 4503132"/>
              <a:gd name="connsiteX3851" fmla="*/ 4251409 w 4493400"/>
              <a:gd name="connsiteY3851" fmla="*/ 1833859 h 4503132"/>
              <a:gd name="connsiteX3852" fmla="*/ 4251553 w 4493400"/>
              <a:gd name="connsiteY3852" fmla="*/ 1832656 h 4503132"/>
              <a:gd name="connsiteX3853" fmla="*/ 4251553 w 4493400"/>
              <a:gd name="connsiteY3853" fmla="*/ 1832271 h 4503132"/>
              <a:gd name="connsiteX3854" fmla="*/ 4251841 w 4493400"/>
              <a:gd name="connsiteY3854" fmla="*/ 1830828 h 4503132"/>
              <a:gd name="connsiteX3855" fmla="*/ 4271028 w 4493400"/>
              <a:gd name="connsiteY3855" fmla="*/ 1786509 h 4503132"/>
              <a:gd name="connsiteX3856" fmla="*/ 4299543 w 4493400"/>
              <a:gd name="connsiteY3856" fmla="*/ 1748013 h 4503132"/>
              <a:gd name="connsiteX3857" fmla="*/ 4317094 w 4493400"/>
              <a:gd name="connsiteY3857" fmla="*/ 1733048 h 4503132"/>
              <a:gd name="connsiteX3858" fmla="*/ 4333780 w 4493400"/>
              <a:gd name="connsiteY3858" fmla="*/ 1715388 h 4503132"/>
              <a:gd name="connsiteX3859" fmla="*/ 4341906 w 4493400"/>
              <a:gd name="connsiteY3859" fmla="*/ 1692627 h 4503132"/>
              <a:gd name="connsiteX3860" fmla="*/ 4340608 w 4493400"/>
              <a:gd name="connsiteY3860" fmla="*/ 1669818 h 4503132"/>
              <a:gd name="connsiteX3861" fmla="*/ 4318248 w 4493400"/>
              <a:gd name="connsiteY3861" fmla="*/ 1591959 h 4503132"/>
              <a:gd name="connsiteX3862" fmla="*/ 4293916 w 4493400"/>
              <a:gd name="connsiteY3862" fmla="*/ 1527671 h 4503132"/>
              <a:gd name="connsiteX3863" fmla="*/ 4261987 w 4493400"/>
              <a:gd name="connsiteY3863" fmla="*/ 1436676 h 4503132"/>
              <a:gd name="connsiteX3864" fmla="*/ 4260208 w 4493400"/>
              <a:gd name="connsiteY3864" fmla="*/ 1422288 h 4503132"/>
              <a:gd name="connsiteX3865" fmla="*/ 4264007 w 4493400"/>
              <a:gd name="connsiteY3865" fmla="*/ 1413818 h 4503132"/>
              <a:gd name="connsiteX3866" fmla="*/ 4270114 w 4493400"/>
              <a:gd name="connsiteY3866" fmla="*/ 1413385 h 4503132"/>
              <a:gd name="connsiteX3867" fmla="*/ 4272374 w 4493400"/>
              <a:gd name="connsiteY3867" fmla="*/ 1413626 h 4503132"/>
              <a:gd name="connsiteX3868" fmla="*/ 4270354 w 4493400"/>
              <a:gd name="connsiteY3868" fmla="*/ 1412567 h 4503132"/>
              <a:gd name="connsiteX3869" fmla="*/ 4263478 w 4493400"/>
              <a:gd name="connsiteY3869" fmla="*/ 1412279 h 4503132"/>
              <a:gd name="connsiteX3870" fmla="*/ 4259535 w 4493400"/>
              <a:gd name="connsiteY3870" fmla="*/ 1415936 h 4503132"/>
              <a:gd name="connsiteX3871" fmla="*/ 4257948 w 4493400"/>
              <a:gd name="connsiteY3871" fmla="*/ 1422047 h 4503132"/>
              <a:gd name="connsiteX3872" fmla="*/ 4259006 w 4493400"/>
              <a:gd name="connsiteY3872" fmla="*/ 1437205 h 4503132"/>
              <a:gd name="connsiteX3873" fmla="*/ 4288531 w 4493400"/>
              <a:gd name="connsiteY3873" fmla="*/ 1529692 h 4503132"/>
              <a:gd name="connsiteX3874" fmla="*/ 4311708 w 4493400"/>
              <a:gd name="connsiteY3874" fmla="*/ 1594221 h 4503132"/>
              <a:gd name="connsiteX3875" fmla="*/ 4332722 w 4493400"/>
              <a:gd name="connsiteY3875" fmla="*/ 1671069 h 4503132"/>
              <a:gd name="connsiteX3876" fmla="*/ 4333731 w 4493400"/>
              <a:gd name="connsiteY3876" fmla="*/ 1691616 h 4503132"/>
              <a:gd name="connsiteX3877" fmla="*/ 4326759 w 4493400"/>
              <a:gd name="connsiteY3877" fmla="*/ 1710624 h 4503132"/>
              <a:gd name="connsiteX3878" fmla="*/ 4311708 w 4493400"/>
              <a:gd name="connsiteY3878" fmla="*/ 1726166 h 4503132"/>
              <a:gd name="connsiteX3879" fmla="*/ 4302476 w 4493400"/>
              <a:gd name="connsiteY3879" fmla="*/ 1733336 h 4503132"/>
              <a:gd name="connsiteX3880" fmla="*/ 4293195 w 4493400"/>
              <a:gd name="connsiteY3880" fmla="*/ 1741709 h 4503132"/>
              <a:gd name="connsiteX3881" fmla="*/ 4263142 w 4493400"/>
              <a:gd name="connsiteY3881" fmla="*/ 1781601 h 4503132"/>
              <a:gd name="connsiteX3882" fmla="*/ 4250976 w 4493400"/>
              <a:gd name="connsiteY3882" fmla="*/ 1804410 h 4503132"/>
              <a:gd name="connsiteX3883" fmla="*/ 4242224 w 4493400"/>
              <a:gd name="connsiteY3883" fmla="*/ 1829865 h 4503132"/>
              <a:gd name="connsiteX3884" fmla="*/ 4247033 w 4493400"/>
              <a:gd name="connsiteY3884" fmla="*/ 1830780 h 4503132"/>
              <a:gd name="connsiteX3885" fmla="*/ 4243715 w 4493400"/>
              <a:gd name="connsiteY3885" fmla="*/ 1830635 h 4503132"/>
              <a:gd name="connsiteX3886" fmla="*/ 4242128 w 4493400"/>
              <a:gd name="connsiteY3886" fmla="*/ 1830539 h 4503132"/>
              <a:gd name="connsiteX3887" fmla="*/ 4242128 w 4493400"/>
              <a:gd name="connsiteY3887" fmla="*/ 1830539 h 4503132"/>
              <a:gd name="connsiteX3888" fmla="*/ 4242128 w 4493400"/>
              <a:gd name="connsiteY3888" fmla="*/ 1830828 h 4503132"/>
              <a:gd name="connsiteX3889" fmla="*/ 4242128 w 4493400"/>
              <a:gd name="connsiteY3889" fmla="*/ 1831405 h 4503132"/>
              <a:gd name="connsiteX3890" fmla="*/ 4241887 w 4493400"/>
              <a:gd name="connsiteY3890" fmla="*/ 1832608 h 4503132"/>
              <a:gd name="connsiteX3891" fmla="*/ 4241599 w 4493400"/>
              <a:gd name="connsiteY3891" fmla="*/ 1835014 h 4503132"/>
              <a:gd name="connsiteX3892" fmla="*/ 4240974 w 4493400"/>
              <a:gd name="connsiteY3892" fmla="*/ 1839874 h 4503132"/>
              <a:gd name="connsiteX3893" fmla="*/ 4239820 w 4493400"/>
              <a:gd name="connsiteY3893" fmla="*/ 1849643 h 4503132"/>
              <a:gd name="connsiteX3894" fmla="*/ 4237896 w 4493400"/>
              <a:gd name="connsiteY3894" fmla="*/ 1869420 h 4503132"/>
              <a:gd name="connsiteX3895" fmla="*/ 4235684 w 4493400"/>
              <a:gd name="connsiteY3895" fmla="*/ 1910034 h 4503132"/>
              <a:gd name="connsiteX3896" fmla="*/ 4237800 w 4493400"/>
              <a:gd name="connsiteY3896" fmla="*/ 1952091 h 4503132"/>
              <a:gd name="connsiteX3897" fmla="*/ 4243571 w 4493400"/>
              <a:gd name="connsiteY3897" fmla="*/ 1973600 h 4503132"/>
              <a:gd name="connsiteX3898" fmla="*/ 4257323 w 4493400"/>
              <a:gd name="connsiteY3898" fmla="*/ 1992512 h 4503132"/>
              <a:gd name="connsiteX3899" fmla="*/ 4278577 w 4493400"/>
              <a:gd name="connsiteY3899" fmla="*/ 2002809 h 4503132"/>
              <a:gd name="connsiteX3900" fmla="*/ 4301274 w 4493400"/>
              <a:gd name="connsiteY3900" fmla="*/ 2004975 h 4503132"/>
              <a:gd name="connsiteX3901" fmla="*/ 4344695 w 4493400"/>
              <a:gd name="connsiteY3901" fmla="*/ 2003339 h 4503132"/>
              <a:gd name="connsiteX3902" fmla="*/ 4362439 w 4493400"/>
              <a:gd name="connsiteY3902" fmla="*/ 2008728 h 4503132"/>
              <a:gd name="connsiteX3903" fmla="*/ 4375614 w 4493400"/>
              <a:gd name="connsiteY3903" fmla="*/ 2024608 h 4503132"/>
              <a:gd name="connsiteX3904" fmla="*/ 4397157 w 4493400"/>
              <a:gd name="connsiteY3904" fmla="*/ 2063585 h 4503132"/>
              <a:gd name="connsiteX3905" fmla="*/ 4416247 w 4493400"/>
              <a:gd name="connsiteY3905" fmla="*/ 2100926 h 4503132"/>
              <a:gd name="connsiteX3906" fmla="*/ 4428461 w 4493400"/>
              <a:gd name="connsiteY3906" fmla="*/ 2119212 h 4503132"/>
              <a:gd name="connsiteX3907" fmla="*/ 4431009 w 4493400"/>
              <a:gd name="connsiteY3907" fmla="*/ 2121570 h 4503132"/>
              <a:gd name="connsiteX3908" fmla="*/ 4435337 w 4493400"/>
              <a:gd name="connsiteY3908" fmla="*/ 2123928 h 4503132"/>
              <a:gd name="connsiteX3909" fmla="*/ 4444281 w 4493400"/>
              <a:gd name="connsiteY3909" fmla="*/ 2121762 h 4503132"/>
              <a:gd name="connsiteX3910" fmla="*/ 4447118 w 4493400"/>
              <a:gd name="connsiteY3910" fmla="*/ 2117720 h 4503132"/>
              <a:gd name="connsiteX3911" fmla="*/ 4448272 w 4493400"/>
              <a:gd name="connsiteY3911" fmla="*/ 2114689 h 4503132"/>
              <a:gd name="connsiteX3912" fmla="*/ 4449811 w 4493400"/>
              <a:gd name="connsiteY3912" fmla="*/ 2109203 h 4503132"/>
              <a:gd name="connsiteX3913" fmla="*/ 4451638 w 4493400"/>
              <a:gd name="connsiteY3913" fmla="*/ 2095152 h 4503132"/>
              <a:gd name="connsiteX3914" fmla="*/ 4451782 w 4493400"/>
              <a:gd name="connsiteY3914" fmla="*/ 2098713 h 4503132"/>
              <a:gd name="connsiteX3915" fmla="*/ 4452119 w 4493400"/>
              <a:gd name="connsiteY3915" fmla="*/ 2147699 h 4503132"/>
              <a:gd name="connsiteX3916" fmla="*/ 4448464 w 4493400"/>
              <a:gd name="connsiteY3916" fmla="*/ 2194953 h 4503132"/>
              <a:gd name="connsiteX3917" fmla="*/ 4447887 w 4493400"/>
              <a:gd name="connsiteY3917" fmla="*/ 2197648 h 4503132"/>
              <a:gd name="connsiteX3918" fmla="*/ 4447310 w 4493400"/>
              <a:gd name="connsiteY3918" fmla="*/ 2199958 h 4503132"/>
              <a:gd name="connsiteX3919" fmla="*/ 4447214 w 4493400"/>
              <a:gd name="connsiteY3919" fmla="*/ 2200246 h 4503132"/>
              <a:gd name="connsiteX3920" fmla="*/ 4446973 w 4493400"/>
              <a:gd name="connsiteY3920" fmla="*/ 2200246 h 4503132"/>
              <a:gd name="connsiteX3921" fmla="*/ 4446877 w 4493400"/>
              <a:gd name="connsiteY3921" fmla="*/ 2200102 h 4503132"/>
              <a:gd name="connsiteX3922" fmla="*/ 4446300 w 4493400"/>
              <a:gd name="connsiteY3922" fmla="*/ 2198947 h 4503132"/>
              <a:gd name="connsiteX3923" fmla="*/ 4438847 w 4493400"/>
              <a:gd name="connsiteY3923" fmla="*/ 2177534 h 4503132"/>
              <a:gd name="connsiteX3924" fmla="*/ 4432884 w 4493400"/>
              <a:gd name="connsiteY3924" fmla="*/ 2155206 h 4503132"/>
              <a:gd name="connsiteX3925" fmla="*/ 4429951 w 4493400"/>
              <a:gd name="connsiteY3925" fmla="*/ 2143946 h 4503132"/>
              <a:gd name="connsiteX3926" fmla="*/ 4428124 w 4493400"/>
              <a:gd name="connsiteY3926" fmla="*/ 2138075 h 4503132"/>
              <a:gd name="connsiteX3927" fmla="*/ 4426152 w 4493400"/>
              <a:gd name="connsiteY3927" fmla="*/ 2132638 h 4503132"/>
              <a:gd name="connsiteX3928" fmla="*/ 4407783 w 4493400"/>
              <a:gd name="connsiteY3928" fmla="*/ 2090821 h 4503132"/>
              <a:gd name="connsiteX3929" fmla="*/ 4382923 w 4493400"/>
              <a:gd name="connsiteY3929" fmla="*/ 2053384 h 4503132"/>
              <a:gd name="connsiteX3930" fmla="*/ 4345320 w 4493400"/>
              <a:gd name="connsiteY3930" fmla="*/ 2028987 h 4503132"/>
              <a:gd name="connsiteX3931" fmla="*/ 4322624 w 4493400"/>
              <a:gd name="connsiteY3931" fmla="*/ 2029660 h 4503132"/>
              <a:gd name="connsiteX3932" fmla="*/ 4317286 w 4493400"/>
              <a:gd name="connsiteY3932" fmla="*/ 2031296 h 4503132"/>
              <a:gd name="connsiteX3933" fmla="*/ 4312045 w 4493400"/>
              <a:gd name="connsiteY3933" fmla="*/ 2033702 h 4503132"/>
              <a:gd name="connsiteX3934" fmla="*/ 4303005 w 4493400"/>
              <a:gd name="connsiteY3934" fmla="*/ 2039621 h 4503132"/>
              <a:gd name="connsiteX3935" fmla="*/ 4271797 w 4493400"/>
              <a:gd name="connsiteY3935" fmla="*/ 2064451 h 4503132"/>
              <a:gd name="connsiteX3936" fmla="*/ 4255929 w 4493400"/>
              <a:gd name="connsiteY3936" fmla="*/ 2073979 h 4503132"/>
              <a:gd name="connsiteX3937" fmla="*/ 4239627 w 4493400"/>
              <a:gd name="connsiteY3937" fmla="*/ 2077299 h 4503132"/>
              <a:gd name="connsiteX3938" fmla="*/ 4225635 w 4493400"/>
              <a:gd name="connsiteY3938" fmla="*/ 2070322 h 4503132"/>
              <a:gd name="connsiteX3939" fmla="*/ 4215873 w 4493400"/>
              <a:gd name="connsiteY3939" fmla="*/ 2056511 h 4503132"/>
              <a:gd name="connsiteX3940" fmla="*/ 4204477 w 4493400"/>
              <a:gd name="connsiteY3940" fmla="*/ 2024127 h 4503132"/>
              <a:gd name="connsiteX3941" fmla="*/ 4199620 w 4493400"/>
              <a:gd name="connsiteY3941" fmla="*/ 1901564 h 4503132"/>
              <a:gd name="connsiteX3942" fmla="*/ 4214575 w 4493400"/>
              <a:gd name="connsiteY3942" fmla="*/ 1809270 h 4503132"/>
              <a:gd name="connsiteX3943" fmla="*/ 4229770 w 4493400"/>
              <a:gd name="connsiteY3943" fmla="*/ 1752055 h 4503132"/>
              <a:gd name="connsiteX3944" fmla="*/ 4236502 w 4493400"/>
              <a:gd name="connsiteY3944" fmla="*/ 1732518 h 4503132"/>
              <a:gd name="connsiteX3945" fmla="*/ 4233809 w 4493400"/>
              <a:gd name="connsiteY3945" fmla="*/ 1737090 h 4503132"/>
              <a:gd name="connsiteX3946" fmla="*/ 4227750 w 4493400"/>
              <a:gd name="connsiteY3946" fmla="*/ 1751333 h 4503132"/>
              <a:gd name="connsiteX3947" fmla="*/ 4210584 w 4493400"/>
              <a:gd name="connsiteY3947" fmla="*/ 1808259 h 4503132"/>
              <a:gd name="connsiteX3948" fmla="*/ 4193705 w 4493400"/>
              <a:gd name="connsiteY3948" fmla="*/ 1900891 h 4503132"/>
              <a:gd name="connsiteX3949" fmla="*/ 4197168 w 4493400"/>
              <a:gd name="connsiteY3949" fmla="*/ 2025811 h 4503132"/>
              <a:gd name="connsiteX3950" fmla="*/ 4208901 w 4493400"/>
              <a:gd name="connsiteY3950" fmla="*/ 2060072 h 4503132"/>
              <a:gd name="connsiteX3951" fmla="*/ 4220008 w 4493400"/>
              <a:gd name="connsiteY3951" fmla="*/ 2076048 h 4503132"/>
              <a:gd name="connsiteX3952" fmla="*/ 4238762 w 4493400"/>
              <a:gd name="connsiteY3952" fmla="*/ 2085480 h 4503132"/>
              <a:gd name="connsiteX3953" fmla="*/ 4259343 w 4493400"/>
              <a:gd name="connsiteY3953" fmla="*/ 2081678 h 4503132"/>
              <a:gd name="connsiteX3954" fmla="*/ 4276798 w 4493400"/>
              <a:gd name="connsiteY3954" fmla="*/ 2071429 h 4503132"/>
              <a:gd name="connsiteX3955" fmla="*/ 4308246 w 4493400"/>
              <a:gd name="connsiteY3955" fmla="*/ 2046791 h 4503132"/>
              <a:gd name="connsiteX3956" fmla="*/ 4316276 w 4493400"/>
              <a:gd name="connsiteY3956" fmla="*/ 2041594 h 4503132"/>
              <a:gd name="connsiteX3957" fmla="*/ 4320363 w 4493400"/>
              <a:gd name="connsiteY3957" fmla="*/ 2039717 h 4503132"/>
              <a:gd name="connsiteX3958" fmla="*/ 4324884 w 4493400"/>
              <a:gd name="connsiteY3958" fmla="*/ 2038370 h 4503132"/>
              <a:gd name="connsiteX3959" fmla="*/ 4343445 w 4493400"/>
              <a:gd name="connsiteY3959" fmla="*/ 2037937 h 4503132"/>
              <a:gd name="connsiteX3960" fmla="*/ 4375903 w 4493400"/>
              <a:gd name="connsiteY3960" fmla="*/ 2059591 h 4503132"/>
              <a:gd name="connsiteX3961" fmla="*/ 4399272 w 4493400"/>
              <a:gd name="connsiteY3961" fmla="*/ 2095248 h 4503132"/>
              <a:gd name="connsiteX3962" fmla="*/ 4416968 w 4493400"/>
              <a:gd name="connsiteY3962" fmla="*/ 2136054 h 4503132"/>
              <a:gd name="connsiteX3963" fmla="*/ 4418892 w 4493400"/>
              <a:gd name="connsiteY3963" fmla="*/ 2141395 h 4503132"/>
              <a:gd name="connsiteX3964" fmla="*/ 4420430 w 4493400"/>
              <a:gd name="connsiteY3964" fmla="*/ 2146496 h 4503132"/>
              <a:gd name="connsiteX3965" fmla="*/ 4423267 w 4493400"/>
              <a:gd name="connsiteY3965" fmla="*/ 2157564 h 4503132"/>
              <a:gd name="connsiteX3966" fmla="*/ 4429230 w 4493400"/>
              <a:gd name="connsiteY3966" fmla="*/ 2180228 h 4503132"/>
              <a:gd name="connsiteX3967" fmla="*/ 4437212 w 4493400"/>
              <a:gd name="connsiteY3967" fmla="*/ 2203230 h 4503132"/>
              <a:gd name="connsiteX3968" fmla="*/ 4437981 w 4493400"/>
              <a:gd name="connsiteY3968" fmla="*/ 2204770 h 4503132"/>
              <a:gd name="connsiteX3969" fmla="*/ 4439424 w 4493400"/>
              <a:gd name="connsiteY3969" fmla="*/ 2207224 h 4503132"/>
              <a:gd name="connsiteX3970" fmla="*/ 4442838 w 4493400"/>
              <a:gd name="connsiteY3970" fmla="*/ 2211266 h 4503132"/>
              <a:gd name="connsiteX3971" fmla="*/ 4447022 w 4493400"/>
              <a:gd name="connsiteY3971" fmla="*/ 2213046 h 4503132"/>
              <a:gd name="connsiteX3972" fmla="*/ 4451445 w 4493400"/>
              <a:gd name="connsiteY3972" fmla="*/ 2212036 h 4503132"/>
              <a:gd name="connsiteX3973" fmla="*/ 4453225 w 4493400"/>
              <a:gd name="connsiteY3973" fmla="*/ 2210544 h 4503132"/>
              <a:gd name="connsiteX3974" fmla="*/ 4454715 w 4493400"/>
              <a:gd name="connsiteY3974" fmla="*/ 2208571 h 4503132"/>
              <a:gd name="connsiteX3975" fmla="*/ 4456927 w 4493400"/>
              <a:gd name="connsiteY3975" fmla="*/ 2203470 h 4503132"/>
              <a:gd name="connsiteX3976" fmla="*/ 4457889 w 4493400"/>
              <a:gd name="connsiteY3976" fmla="*/ 2200006 h 4503132"/>
              <a:gd name="connsiteX3977" fmla="*/ 4458562 w 4493400"/>
              <a:gd name="connsiteY3977" fmla="*/ 2196878 h 4503132"/>
              <a:gd name="connsiteX3978" fmla="*/ 4461063 w 4493400"/>
              <a:gd name="connsiteY3978" fmla="*/ 2176523 h 4503132"/>
              <a:gd name="connsiteX3979" fmla="*/ 4459476 w 4493400"/>
              <a:gd name="connsiteY3979" fmla="*/ 2215837 h 4503132"/>
              <a:gd name="connsiteX3980" fmla="*/ 4455869 w 4493400"/>
              <a:gd name="connsiteY3980" fmla="*/ 2260926 h 4503132"/>
              <a:gd name="connsiteX3981" fmla="*/ 4453225 w 4493400"/>
              <a:gd name="connsiteY3981" fmla="*/ 2283398 h 4503132"/>
              <a:gd name="connsiteX3982" fmla="*/ 4452407 w 4493400"/>
              <a:gd name="connsiteY3982" fmla="*/ 2288980 h 4503132"/>
              <a:gd name="connsiteX3983" fmla="*/ 4451734 w 4493400"/>
              <a:gd name="connsiteY3983" fmla="*/ 2292878 h 4503132"/>
              <a:gd name="connsiteX3984" fmla="*/ 4450436 w 4493400"/>
              <a:gd name="connsiteY3984" fmla="*/ 2297690 h 4503132"/>
              <a:gd name="connsiteX3985" fmla="*/ 4449763 w 4493400"/>
              <a:gd name="connsiteY3985" fmla="*/ 2298700 h 4503132"/>
              <a:gd name="connsiteX3986" fmla="*/ 4448897 w 4493400"/>
              <a:gd name="connsiteY3986" fmla="*/ 2298123 h 4503132"/>
              <a:gd name="connsiteX3987" fmla="*/ 4448224 w 4493400"/>
              <a:gd name="connsiteY3987" fmla="*/ 2295717 h 4503132"/>
              <a:gd name="connsiteX3988" fmla="*/ 4447695 w 4493400"/>
              <a:gd name="connsiteY3988" fmla="*/ 2293263 h 4503132"/>
              <a:gd name="connsiteX3989" fmla="*/ 4447070 w 4493400"/>
              <a:gd name="connsiteY3989" fmla="*/ 2289894 h 4503132"/>
              <a:gd name="connsiteX3990" fmla="*/ 4443319 w 4493400"/>
              <a:gd name="connsiteY3990" fmla="*/ 2267422 h 4503132"/>
              <a:gd name="connsiteX3991" fmla="*/ 4435914 w 4493400"/>
              <a:gd name="connsiteY3991" fmla="*/ 2222045 h 4503132"/>
              <a:gd name="connsiteX3992" fmla="*/ 4410284 w 4493400"/>
              <a:gd name="connsiteY3992" fmla="*/ 2132974 h 4503132"/>
              <a:gd name="connsiteX3993" fmla="*/ 4389222 w 4493400"/>
              <a:gd name="connsiteY3993" fmla="*/ 2091062 h 4503132"/>
              <a:gd name="connsiteX3994" fmla="*/ 4374316 w 4493400"/>
              <a:gd name="connsiteY3994" fmla="*/ 2072439 h 4503132"/>
              <a:gd name="connsiteX3995" fmla="*/ 4353831 w 4493400"/>
              <a:gd name="connsiteY3995" fmla="*/ 2059158 h 4503132"/>
              <a:gd name="connsiteX3996" fmla="*/ 4328971 w 4493400"/>
              <a:gd name="connsiteY3996" fmla="*/ 2059591 h 4503132"/>
              <a:gd name="connsiteX3997" fmla="*/ 4323104 w 4493400"/>
              <a:gd name="connsiteY3997" fmla="*/ 2062334 h 4503132"/>
              <a:gd name="connsiteX3998" fmla="*/ 4318152 w 4493400"/>
              <a:gd name="connsiteY3998" fmla="*/ 2066184 h 4503132"/>
              <a:gd name="connsiteX3999" fmla="*/ 4309544 w 4493400"/>
              <a:gd name="connsiteY3999" fmla="*/ 2074460 h 4503132"/>
              <a:gd name="connsiteX4000" fmla="*/ 4276702 w 4493400"/>
              <a:gd name="connsiteY4000" fmla="*/ 2107663 h 4503132"/>
              <a:gd name="connsiteX4001" fmla="*/ 4239579 w 4493400"/>
              <a:gd name="connsiteY4001" fmla="*/ 2134562 h 4503132"/>
              <a:gd name="connsiteX4002" fmla="*/ 4218229 w 4493400"/>
              <a:gd name="connsiteY4002" fmla="*/ 2139567 h 4503132"/>
              <a:gd name="connsiteX4003" fmla="*/ 4198466 w 4493400"/>
              <a:gd name="connsiteY4003" fmla="*/ 2131868 h 4503132"/>
              <a:gd name="connsiteX4004" fmla="*/ 4175048 w 4493400"/>
              <a:gd name="connsiteY4004" fmla="*/ 2093323 h 4503132"/>
              <a:gd name="connsiteX4005" fmla="*/ 4171490 w 4493400"/>
              <a:gd name="connsiteY4005" fmla="*/ 2082207 h 4503132"/>
              <a:gd name="connsiteX4006" fmla="*/ 4168749 w 4493400"/>
              <a:gd name="connsiteY4006" fmla="*/ 2070803 h 4503132"/>
              <a:gd name="connsiteX4007" fmla="*/ 4166152 w 4493400"/>
              <a:gd name="connsiteY4007" fmla="*/ 2059350 h 4503132"/>
              <a:gd name="connsiteX4008" fmla="*/ 4164854 w 4493400"/>
              <a:gd name="connsiteY4008" fmla="*/ 2053624 h 4503132"/>
              <a:gd name="connsiteX4009" fmla="*/ 4164037 w 4493400"/>
              <a:gd name="connsiteY4009" fmla="*/ 2047802 h 4503132"/>
              <a:gd name="connsiteX4010" fmla="*/ 4159324 w 4493400"/>
              <a:gd name="connsiteY4010" fmla="*/ 1953197 h 4503132"/>
              <a:gd name="connsiteX4011" fmla="*/ 4162930 w 4493400"/>
              <a:gd name="connsiteY4011" fmla="*/ 1905558 h 4503132"/>
              <a:gd name="connsiteX4012" fmla="*/ 4166056 w 4493400"/>
              <a:gd name="connsiteY4012" fmla="*/ 1881787 h 4503132"/>
              <a:gd name="connsiteX4013" fmla="*/ 4169855 w 4493400"/>
              <a:gd name="connsiteY4013" fmla="*/ 1858064 h 4503132"/>
              <a:gd name="connsiteX4014" fmla="*/ 4191397 w 4493400"/>
              <a:gd name="connsiteY4014" fmla="*/ 1764037 h 4503132"/>
              <a:gd name="connsiteX4015" fmla="*/ 4206304 w 4493400"/>
              <a:gd name="connsiteY4015" fmla="*/ 1717938 h 4503132"/>
              <a:gd name="connsiteX4016" fmla="*/ 4215200 w 4493400"/>
              <a:gd name="connsiteY4016" fmla="*/ 1695466 h 4503132"/>
              <a:gd name="connsiteX4017" fmla="*/ 4220393 w 4493400"/>
              <a:gd name="connsiteY4017" fmla="*/ 1684687 h 4503132"/>
              <a:gd name="connsiteX4018" fmla="*/ 4223423 w 4493400"/>
              <a:gd name="connsiteY4018" fmla="*/ 1679827 h 4503132"/>
              <a:gd name="connsiteX4019" fmla="*/ 4227029 w 4493400"/>
              <a:gd name="connsiteY4019" fmla="*/ 1675303 h 4503132"/>
              <a:gd name="connsiteX4020" fmla="*/ 4244676 w 4493400"/>
              <a:gd name="connsiteY4020" fmla="*/ 1659039 h 4503132"/>
              <a:gd name="connsiteX4021" fmla="*/ 4261506 w 4493400"/>
              <a:gd name="connsiteY4021" fmla="*/ 1640031 h 4503132"/>
              <a:gd name="connsiteX4022" fmla="*/ 4269921 w 4493400"/>
              <a:gd name="connsiteY4022" fmla="*/ 1615827 h 4503132"/>
              <a:gd name="connsiteX4023" fmla="*/ 4270691 w 4493400"/>
              <a:gd name="connsiteY4023" fmla="*/ 1609475 h 4503132"/>
              <a:gd name="connsiteX4024" fmla="*/ 4270883 w 4493400"/>
              <a:gd name="connsiteY4024" fmla="*/ 1603123 h 4503132"/>
              <a:gd name="connsiteX4025" fmla="*/ 4270883 w 4493400"/>
              <a:gd name="connsiteY4025" fmla="*/ 1596771 h 4503132"/>
              <a:gd name="connsiteX4026" fmla="*/ 4270450 w 4493400"/>
              <a:gd name="connsiteY4026" fmla="*/ 1590516 h 4503132"/>
              <a:gd name="connsiteX4027" fmla="*/ 4261122 w 4493400"/>
              <a:gd name="connsiteY4027" fmla="*/ 1541529 h 4503132"/>
              <a:gd name="connsiteX4028" fmla="*/ 4245734 w 4493400"/>
              <a:gd name="connsiteY4028" fmla="*/ 1494179 h 4503132"/>
              <a:gd name="connsiteX4029" fmla="*/ 4201640 w 4493400"/>
              <a:gd name="connsiteY4029" fmla="*/ 1404483 h 4503132"/>
              <a:gd name="connsiteX4030" fmla="*/ 4186877 w 4493400"/>
              <a:gd name="connsiteY4030" fmla="*/ 1383888 h 4503132"/>
              <a:gd name="connsiteX4031" fmla="*/ 4167547 w 4493400"/>
              <a:gd name="connsiteY4031" fmla="*/ 1366324 h 4503132"/>
              <a:gd name="connsiteX4032" fmla="*/ 4153890 w 4493400"/>
              <a:gd name="connsiteY4032" fmla="*/ 1362859 h 4503132"/>
              <a:gd name="connsiteX4033" fmla="*/ 4140619 w 4493400"/>
              <a:gd name="connsiteY4033" fmla="*/ 1367094 h 4503132"/>
              <a:gd name="connsiteX4034" fmla="*/ 4119701 w 4493400"/>
              <a:gd name="connsiteY4034" fmla="*/ 1381000 h 4503132"/>
              <a:gd name="connsiteX4035" fmla="*/ 4097534 w 4493400"/>
              <a:gd name="connsiteY4035" fmla="*/ 1387304 h 4503132"/>
              <a:gd name="connsiteX4036" fmla="*/ 4074693 w 4493400"/>
              <a:gd name="connsiteY4036" fmla="*/ 1381386 h 4503132"/>
              <a:gd name="connsiteX4037" fmla="*/ 4063970 w 4493400"/>
              <a:gd name="connsiteY4037" fmla="*/ 1375563 h 4503132"/>
              <a:gd name="connsiteX4038" fmla="*/ 4053680 w 4493400"/>
              <a:gd name="connsiteY4038" fmla="*/ 1368634 h 4503132"/>
              <a:gd name="connsiteX4039" fmla="*/ 4043774 w 4493400"/>
              <a:gd name="connsiteY4039" fmla="*/ 1361175 h 4503132"/>
              <a:gd name="connsiteX4040" fmla="*/ 4038869 w 4493400"/>
              <a:gd name="connsiteY4040" fmla="*/ 1357325 h 4503132"/>
              <a:gd name="connsiteX4041" fmla="*/ 4034205 w 4493400"/>
              <a:gd name="connsiteY4041" fmla="*/ 1353187 h 4503132"/>
              <a:gd name="connsiteX4042" fmla="*/ 4000064 w 4493400"/>
              <a:gd name="connsiteY4042" fmla="*/ 1316808 h 4503132"/>
              <a:gd name="connsiteX4043" fmla="*/ 3971837 w 4493400"/>
              <a:gd name="connsiteY4043" fmla="*/ 1275232 h 4503132"/>
              <a:gd name="connsiteX4044" fmla="*/ 3928127 w 4493400"/>
              <a:gd name="connsiteY4044" fmla="*/ 1183756 h 4503132"/>
              <a:gd name="connsiteX4045" fmla="*/ 3860375 w 4493400"/>
              <a:gd name="connsiteY4045" fmla="*/ 989495 h 4503132"/>
              <a:gd name="connsiteX4046" fmla="*/ 3822050 w 4493400"/>
              <a:gd name="connsiteY4046" fmla="*/ 892629 h 4503132"/>
              <a:gd name="connsiteX4047" fmla="*/ 3796997 w 4493400"/>
              <a:gd name="connsiteY4047" fmla="*/ 846386 h 4503132"/>
              <a:gd name="connsiteX4048" fmla="*/ 3766992 w 4493400"/>
              <a:gd name="connsiteY4048" fmla="*/ 803270 h 4503132"/>
              <a:gd name="connsiteX4049" fmla="*/ 3700922 w 4493400"/>
              <a:gd name="connsiteY4049" fmla="*/ 721177 h 4503132"/>
              <a:gd name="connsiteX4050" fmla="*/ 3627735 w 4493400"/>
              <a:gd name="connsiteY4050" fmla="*/ 644425 h 4503132"/>
              <a:gd name="connsiteX4051" fmla="*/ 3607636 w 4493400"/>
              <a:gd name="connsiteY4051" fmla="*/ 626813 h 4503132"/>
              <a:gd name="connsiteX4052" fmla="*/ 3586141 w 4493400"/>
              <a:gd name="connsiteY4052" fmla="*/ 610597 h 4503132"/>
              <a:gd name="connsiteX4053" fmla="*/ 3574168 w 4493400"/>
              <a:gd name="connsiteY4053" fmla="*/ 603812 h 4503132"/>
              <a:gd name="connsiteX4054" fmla="*/ 3567628 w 4493400"/>
              <a:gd name="connsiteY4054" fmla="*/ 601213 h 4503132"/>
              <a:gd name="connsiteX4055" fmla="*/ 3560752 w 4493400"/>
              <a:gd name="connsiteY4055" fmla="*/ 599385 h 4503132"/>
              <a:gd name="connsiteX4056" fmla="*/ 3532766 w 4493400"/>
              <a:gd name="connsiteY4056" fmla="*/ 603571 h 4503132"/>
              <a:gd name="connsiteX4057" fmla="*/ 3490691 w 4493400"/>
              <a:gd name="connsiteY4057" fmla="*/ 636389 h 4503132"/>
              <a:gd name="connsiteX4058" fmla="*/ 3485257 w 4493400"/>
              <a:gd name="connsiteY4058" fmla="*/ 638699 h 4503132"/>
              <a:gd name="connsiteX4059" fmla="*/ 3482468 w 4493400"/>
              <a:gd name="connsiteY4059" fmla="*/ 639469 h 4503132"/>
              <a:gd name="connsiteX4060" fmla="*/ 3479198 w 4493400"/>
              <a:gd name="connsiteY4060" fmla="*/ 639902 h 4503132"/>
              <a:gd name="connsiteX4061" fmla="*/ 3466119 w 4493400"/>
              <a:gd name="connsiteY4061" fmla="*/ 641586 h 4503132"/>
              <a:gd name="connsiteX4062" fmla="*/ 3452944 w 4493400"/>
              <a:gd name="connsiteY4062" fmla="*/ 642549 h 4503132"/>
              <a:gd name="connsiteX4063" fmla="*/ 3439720 w 4493400"/>
              <a:gd name="connsiteY4063" fmla="*/ 642837 h 4503132"/>
              <a:gd name="connsiteX4064" fmla="*/ 3386777 w 4493400"/>
              <a:gd name="connsiteY4064" fmla="*/ 638747 h 4503132"/>
              <a:gd name="connsiteX4065" fmla="*/ 3334604 w 4493400"/>
              <a:gd name="connsiteY4065" fmla="*/ 627343 h 4503132"/>
              <a:gd name="connsiteX4066" fmla="*/ 3283633 w 4493400"/>
              <a:gd name="connsiteY4066" fmla="*/ 610549 h 4503132"/>
              <a:gd name="connsiteX4067" fmla="*/ 3234057 w 4493400"/>
              <a:gd name="connsiteY4067" fmla="*/ 589472 h 4503132"/>
              <a:gd name="connsiteX4068" fmla="*/ 3049792 w 4493400"/>
              <a:gd name="connsiteY4068" fmla="*/ 475090 h 4503132"/>
              <a:gd name="connsiteX4069" fmla="*/ 2967325 w 4493400"/>
              <a:gd name="connsiteY4069" fmla="*/ 403006 h 4503132"/>
              <a:gd name="connsiteX4070" fmla="*/ 2895869 w 4493400"/>
              <a:gd name="connsiteY4070" fmla="*/ 319566 h 4503132"/>
              <a:gd name="connsiteX4071" fmla="*/ 2839224 w 4493400"/>
              <a:gd name="connsiteY4071" fmla="*/ 224625 h 4503132"/>
              <a:gd name="connsiteX4072" fmla="*/ 2784791 w 4493400"/>
              <a:gd name="connsiteY4072" fmla="*/ 126412 h 4503132"/>
              <a:gd name="connsiteX4073" fmla="*/ 2744687 w 4493400"/>
              <a:gd name="connsiteY4073" fmla="*/ 85894 h 4503132"/>
              <a:gd name="connsiteX4074" fmla="*/ 2739158 w 4493400"/>
              <a:gd name="connsiteY4074" fmla="*/ 82045 h 4503132"/>
              <a:gd name="connsiteX4075" fmla="*/ 2739975 w 4493400"/>
              <a:gd name="connsiteY4075" fmla="*/ 82430 h 4503132"/>
              <a:gd name="connsiteX4076" fmla="*/ 2763585 w 4493400"/>
              <a:gd name="connsiteY4076" fmla="*/ 97203 h 4503132"/>
              <a:gd name="connsiteX4077" fmla="*/ 2774068 w 4493400"/>
              <a:gd name="connsiteY4077" fmla="*/ 105816 h 4503132"/>
              <a:gd name="connsiteX4078" fmla="*/ 2783974 w 4493400"/>
              <a:gd name="connsiteY4078" fmla="*/ 114815 h 4503132"/>
              <a:gd name="connsiteX4079" fmla="*/ 2793110 w 4493400"/>
              <a:gd name="connsiteY4079" fmla="*/ 124342 h 4503132"/>
              <a:gd name="connsiteX4080" fmla="*/ 2801285 w 4493400"/>
              <a:gd name="connsiteY4080" fmla="*/ 134400 h 4503132"/>
              <a:gd name="connsiteX4081" fmla="*/ 2815951 w 4493400"/>
              <a:gd name="connsiteY4081" fmla="*/ 155043 h 4503132"/>
              <a:gd name="connsiteX4082" fmla="*/ 2859805 w 4493400"/>
              <a:gd name="connsiteY4082" fmla="*/ 236896 h 4503132"/>
              <a:gd name="connsiteX4083" fmla="*/ 2899091 w 4493400"/>
              <a:gd name="connsiteY4083" fmla="*/ 304119 h 4503132"/>
              <a:gd name="connsiteX4084" fmla="*/ 2966171 w 4493400"/>
              <a:gd name="connsiteY4084" fmla="*/ 386982 h 4503132"/>
              <a:gd name="connsiteX4085" fmla="*/ 2985982 w 4493400"/>
              <a:gd name="connsiteY4085" fmla="*/ 406038 h 4503132"/>
              <a:gd name="connsiteX4086" fmla="*/ 2991079 w 4493400"/>
              <a:gd name="connsiteY4086" fmla="*/ 410802 h 4503132"/>
              <a:gd name="connsiteX4087" fmla="*/ 2992906 w 4493400"/>
              <a:gd name="connsiteY4087" fmla="*/ 412294 h 4503132"/>
              <a:gd name="connsiteX4088" fmla="*/ 2991368 w 4493400"/>
              <a:gd name="connsiteY4088" fmla="*/ 410513 h 4503132"/>
              <a:gd name="connsiteX4089" fmla="*/ 2986559 w 4493400"/>
              <a:gd name="connsiteY4089" fmla="*/ 405460 h 4503132"/>
              <a:gd name="connsiteX4090" fmla="*/ 2967373 w 4493400"/>
              <a:gd name="connsiteY4090" fmla="*/ 385876 h 4503132"/>
              <a:gd name="connsiteX4091" fmla="*/ 2901784 w 4493400"/>
              <a:gd name="connsiteY4091" fmla="*/ 302387 h 4503132"/>
              <a:gd name="connsiteX4092" fmla="*/ 2863315 w 4493400"/>
              <a:gd name="connsiteY4092" fmla="*/ 235115 h 4503132"/>
              <a:gd name="connsiteX4093" fmla="*/ 2819942 w 4493400"/>
              <a:gd name="connsiteY4093" fmla="*/ 152589 h 4503132"/>
              <a:gd name="connsiteX4094" fmla="*/ 2805179 w 4493400"/>
              <a:gd name="connsiteY4094" fmla="*/ 131416 h 4503132"/>
              <a:gd name="connsiteX4095" fmla="*/ 2796861 w 4493400"/>
              <a:gd name="connsiteY4095" fmla="*/ 121070 h 4503132"/>
              <a:gd name="connsiteX4096" fmla="*/ 2787580 w 4493400"/>
              <a:gd name="connsiteY4096" fmla="*/ 111254 h 4503132"/>
              <a:gd name="connsiteX4097" fmla="*/ 2777482 w 4493400"/>
              <a:gd name="connsiteY4097" fmla="*/ 101919 h 4503132"/>
              <a:gd name="connsiteX4098" fmla="*/ 2766711 w 4493400"/>
              <a:gd name="connsiteY4098" fmla="*/ 92968 h 4503132"/>
              <a:gd name="connsiteX4099" fmla="*/ 2742523 w 4493400"/>
              <a:gd name="connsiteY4099" fmla="*/ 77666 h 4503132"/>
              <a:gd name="connsiteX4100" fmla="*/ 2741562 w 4493400"/>
              <a:gd name="connsiteY4100" fmla="*/ 77185 h 4503132"/>
              <a:gd name="connsiteX4101" fmla="*/ 2749689 w 4493400"/>
              <a:gd name="connsiteY4101" fmla="*/ 80794 h 4503132"/>
              <a:gd name="connsiteX4102" fmla="*/ 2789455 w 4493400"/>
              <a:gd name="connsiteY4102" fmla="*/ 102785 h 4503132"/>
              <a:gd name="connsiteX4103" fmla="*/ 2823356 w 4493400"/>
              <a:gd name="connsiteY4103" fmla="*/ 134255 h 4503132"/>
              <a:gd name="connsiteX4104" fmla="*/ 3181066 w 4493400"/>
              <a:gd name="connsiteY4104" fmla="*/ 1449091 h 4503132"/>
              <a:gd name="connsiteX4105" fmla="*/ 3176162 w 4493400"/>
              <a:gd name="connsiteY4105" fmla="*/ 1359779 h 4503132"/>
              <a:gd name="connsiteX4106" fmla="*/ 3167843 w 4493400"/>
              <a:gd name="connsiteY4106" fmla="*/ 1270468 h 4503132"/>
              <a:gd name="connsiteX4107" fmla="*/ 3130480 w 4493400"/>
              <a:gd name="connsiteY4107" fmla="*/ 1094204 h 4503132"/>
              <a:gd name="connsiteX4108" fmla="*/ 3089511 w 4493400"/>
              <a:gd name="connsiteY4108" fmla="*/ 1012929 h 4503132"/>
              <a:gd name="connsiteX4109" fmla="*/ 3025220 w 4493400"/>
              <a:gd name="connsiteY4109" fmla="*/ 948256 h 4503132"/>
              <a:gd name="connsiteX4110" fmla="*/ 2947850 w 4493400"/>
              <a:gd name="connsiteY4110" fmla="*/ 900328 h 4503132"/>
              <a:gd name="connsiteX4111" fmla="*/ 2865046 w 4493400"/>
              <a:gd name="connsiteY4111" fmla="*/ 862939 h 4503132"/>
              <a:gd name="connsiteX4112" fmla="*/ 2695448 w 4493400"/>
              <a:gd name="connsiteY4112" fmla="*/ 798458 h 4503132"/>
              <a:gd name="connsiteX4113" fmla="*/ 2612451 w 4493400"/>
              <a:gd name="connsiteY4113" fmla="*/ 761838 h 4503132"/>
              <a:gd name="connsiteX4114" fmla="*/ 2530369 w 4493400"/>
              <a:gd name="connsiteY4114" fmla="*/ 722620 h 4503132"/>
              <a:gd name="connsiteX4115" fmla="*/ 2451220 w 4493400"/>
              <a:gd name="connsiteY4115" fmla="*/ 678157 h 4503132"/>
              <a:gd name="connsiteX4116" fmla="*/ 2380822 w 4493400"/>
              <a:gd name="connsiteY4116" fmla="*/ 622049 h 4503132"/>
              <a:gd name="connsiteX4117" fmla="*/ 2355817 w 4493400"/>
              <a:gd name="connsiteY4117" fmla="*/ 585767 h 4503132"/>
              <a:gd name="connsiteX4118" fmla="*/ 2348412 w 4493400"/>
              <a:gd name="connsiteY4118" fmla="*/ 543229 h 4503132"/>
              <a:gd name="connsiteX4119" fmla="*/ 2370099 w 4493400"/>
              <a:gd name="connsiteY4119" fmla="*/ 455409 h 4503132"/>
              <a:gd name="connsiteX4120" fmla="*/ 2379812 w 4493400"/>
              <a:gd name="connsiteY4120" fmla="*/ 409647 h 4503132"/>
              <a:gd name="connsiteX4121" fmla="*/ 2380822 w 4493400"/>
              <a:gd name="connsiteY4121" fmla="*/ 362970 h 4503132"/>
              <a:gd name="connsiteX4122" fmla="*/ 2378995 w 4493400"/>
              <a:gd name="connsiteY4122" fmla="*/ 271638 h 4503132"/>
              <a:gd name="connsiteX4123" fmla="*/ 2385823 w 4493400"/>
              <a:gd name="connsiteY4123" fmla="*/ 226117 h 4503132"/>
              <a:gd name="connsiteX4124" fmla="*/ 2385775 w 4493400"/>
              <a:gd name="connsiteY4124" fmla="*/ 178478 h 4503132"/>
              <a:gd name="connsiteX4125" fmla="*/ 2376350 w 4493400"/>
              <a:gd name="connsiteY4125" fmla="*/ 155572 h 4503132"/>
              <a:gd name="connsiteX4126" fmla="*/ 2358847 w 4493400"/>
              <a:gd name="connsiteY4126" fmla="*/ 138057 h 4503132"/>
              <a:gd name="connsiteX4127" fmla="*/ 2314416 w 4493400"/>
              <a:gd name="connsiteY4127" fmla="*/ 120300 h 4503132"/>
              <a:gd name="connsiteX4128" fmla="*/ 2220793 w 4493400"/>
              <a:gd name="connsiteY4128" fmla="*/ 115729 h 4503132"/>
              <a:gd name="connsiteX4129" fmla="*/ 2209060 w 4493400"/>
              <a:gd name="connsiteY4129" fmla="*/ 116980 h 4503132"/>
              <a:gd name="connsiteX4130" fmla="*/ 2197423 w 4493400"/>
              <a:gd name="connsiteY4130" fmla="*/ 119146 h 4503132"/>
              <a:gd name="connsiteX4131" fmla="*/ 2191604 w 4493400"/>
              <a:gd name="connsiteY4131" fmla="*/ 120252 h 4503132"/>
              <a:gd name="connsiteX4132" fmla="*/ 2185882 w 4493400"/>
              <a:gd name="connsiteY4132" fmla="*/ 121840 h 4503132"/>
              <a:gd name="connsiteX4133" fmla="*/ 2174438 w 4493400"/>
              <a:gd name="connsiteY4133" fmla="*/ 125112 h 4503132"/>
              <a:gd name="connsiteX4134" fmla="*/ 2131449 w 4493400"/>
              <a:gd name="connsiteY4134" fmla="*/ 144938 h 4503132"/>
              <a:gd name="connsiteX4135" fmla="*/ 2092067 w 4493400"/>
              <a:gd name="connsiteY4135" fmla="*/ 169960 h 4503132"/>
              <a:gd name="connsiteX4136" fmla="*/ 2052492 w 4493400"/>
              <a:gd name="connsiteY4136" fmla="*/ 193491 h 4503132"/>
              <a:gd name="connsiteX4137" fmla="*/ 1966996 w 4493400"/>
              <a:gd name="connsiteY4137" fmla="*/ 226935 h 4503132"/>
              <a:gd name="connsiteX4138" fmla="*/ 1876546 w 4493400"/>
              <a:gd name="connsiteY4138" fmla="*/ 248108 h 4503132"/>
              <a:gd name="connsiteX4139" fmla="*/ 1784846 w 4493400"/>
              <a:gd name="connsiteY4139" fmla="*/ 263891 h 4503132"/>
              <a:gd name="connsiteX4140" fmla="*/ 1738684 w 4493400"/>
              <a:gd name="connsiteY4140" fmla="*/ 268607 h 4503132"/>
              <a:gd name="connsiteX4141" fmla="*/ 1693339 w 4493400"/>
              <a:gd name="connsiteY4141" fmla="*/ 267211 h 4503132"/>
              <a:gd name="connsiteX4142" fmla="*/ 1683962 w 4493400"/>
              <a:gd name="connsiteY4142" fmla="*/ 263891 h 4503132"/>
              <a:gd name="connsiteX4143" fmla="*/ 1682472 w 4493400"/>
              <a:gd name="connsiteY4143" fmla="*/ 262688 h 4503132"/>
              <a:gd name="connsiteX4144" fmla="*/ 1682087 w 4493400"/>
              <a:gd name="connsiteY4144" fmla="*/ 262303 h 4503132"/>
              <a:gd name="connsiteX4145" fmla="*/ 1682087 w 4493400"/>
              <a:gd name="connsiteY4145" fmla="*/ 262062 h 4503132"/>
              <a:gd name="connsiteX4146" fmla="*/ 1682664 w 4493400"/>
              <a:gd name="connsiteY4146" fmla="*/ 261052 h 4503132"/>
              <a:gd name="connsiteX4147" fmla="*/ 1689637 w 4493400"/>
              <a:gd name="connsiteY4147" fmla="*/ 253353 h 4503132"/>
              <a:gd name="connsiteX4148" fmla="*/ 1698292 w 4493400"/>
              <a:gd name="connsiteY4148" fmla="*/ 246038 h 4503132"/>
              <a:gd name="connsiteX4149" fmla="*/ 1736328 w 4493400"/>
              <a:gd name="connsiteY4149" fmla="*/ 219428 h 4503132"/>
              <a:gd name="connsiteX4150" fmla="*/ 1816439 w 4493400"/>
              <a:gd name="connsiteY4150" fmla="*/ 170971 h 4503132"/>
              <a:gd name="connsiteX4151" fmla="*/ 1857312 w 4493400"/>
              <a:gd name="connsiteY4151" fmla="*/ 147921 h 4503132"/>
              <a:gd name="connsiteX4152" fmla="*/ 1877844 w 4493400"/>
              <a:gd name="connsiteY4152" fmla="*/ 137046 h 4503132"/>
              <a:gd name="connsiteX4153" fmla="*/ 1899050 w 4493400"/>
              <a:gd name="connsiteY4153" fmla="*/ 127422 h 4503132"/>
              <a:gd name="connsiteX4154" fmla="*/ 1986230 w 4493400"/>
              <a:gd name="connsiteY4154" fmla="*/ 92294 h 4503132"/>
              <a:gd name="connsiteX4155" fmla="*/ 2030132 w 4493400"/>
              <a:gd name="connsiteY4155" fmla="*/ 74923 h 4503132"/>
              <a:gd name="connsiteX4156" fmla="*/ 2052011 w 4493400"/>
              <a:gd name="connsiteY4156" fmla="*/ 65732 h 4503132"/>
              <a:gd name="connsiteX4157" fmla="*/ 2073554 w 4493400"/>
              <a:gd name="connsiteY4157" fmla="*/ 54568 h 4503132"/>
              <a:gd name="connsiteX4158" fmla="*/ 2093077 w 4493400"/>
              <a:gd name="connsiteY4158" fmla="*/ 40180 h 4503132"/>
              <a:gd name="connsiteX4159" fmla="*/ 2111301 w 4493400"/>
              <a:gd name="connsiteY4159" fmla="*/ 26851 h 4503132"/>
              <a:gd name="connsiteX4160" fmla="*/ 2148423 w 4493400"/>
              <a:gd name="connsiteY4160" fmla="*/ 17179 h 4503132"/>
              <a:gd name="connsiteX4161" fmla="*/ 2144000 w 4493400"/>
              <a:gd name="connsiteY4161" fmla="*/ 19056 h 4503132"/>
              <a:gd name="connsiteX4162" fmla="*/ 2121447 w 4493400"/>
              <a:gd name="connsiteY4162" fmla="*/ 38400 h 4503132"/>
              <a:gd name="connsiteX4163" fmla="*/ 2105819 w 4493400"/>
              <a:gd name="connsiteY4163" fmla="*/ 52836 h 4503132"/>
              <a:gd name="connsiteX4164" fmla="*/ 2095096 w 4493400"/>
              <a:gd name="connsiteY4164" fmla="*/ 59958 h 4503132"/>
              <a:gd name="connsiteX4165" fmla="*/ 2092307 w 4493400"/>
              <a:gd name="connsiteY4165" fmla="*/ 61642 h 4503132"/>
              <a:gd name="connsiteX4166" fmla="*/ 2091394 w 4493400"/>
              <a:gd name="connsiteY4166" fmla="*/ 62267 h 4503132"/>
              <a:gd name="connsiteX4167" fmla="*/ 2092403 w 4493400"/>
              <a:gd name="connsiteY4167" fmla="*/ 61834 h 4503132"/>
              <a:gd name="connsiteX4168" fmla="*/ 2095288 w 4493400"/>
              <a:gd name="connsiteY4168" fmla="*/ 60295 h 4503132"/>
              <a:gd name="connsiteX4169" fmla="*/ 2106300 w 4493400"/>
              <a:gd name="connsiteY4169" fmla="*/ 53461 h 4503132"/>
              <a:gd name="connsiteX4170" fmla="*/ 2122313 w 4493400"/>
              <a:gd name="connsiteY4170" fmla="*/ 39218 h 4503132"/>
              <a:gd name="connsiteX4171" fmla="*/ 2144673 w 4493400"/>
              <a:gd name="connsiteY4171" fmla="*/ 20451 h 4503132"/>
              <a:gd name="connsiteX4172" fmla="*/ 2158329 w 4493400"/>
              <a:gd name="connsiteY4172" fmla="*/ 16024 h 4503132"/>
              <a:gd name="connsiteX4173" fmla="*/ 2200933 w 4493400"/>
              <a:gd name="connsiteY4173" fmla="*/ 12174 h 4503132"/>
              <a:gd name="connsiteX4174" fmla="*/ 2191124 w 4493400"/>
              <a:gd name="connsiteY4174" fmla="*/ 14244 h 4503132"/>
              <a:gd name="connsiteX4175" fmla="*/ 2165878 w 4493400"/>
              <a:gd name="connsiteY4175" fmla="*/ 28054 h 4503132"/>
              <a:gd name="connsiteX4176" fmla="*/ 2155396 w 4493400"/>
              <a:gd name="connsiteY4176" fmla="*/ 38544 h 4503132"/>
              <a:gd name="connsiteX4177" fmla="*/ 2148520 w 4493400"/>
              <a:gd name="connsiteY4177" fmla="*/ 52355 h 4503132"/>
              <a:gd name="connsiteX4178" fmla="*/ 2153040 w 4493400"/>
              <a:gd name="connsiteY4178" fmla="*/ 67753 h 4503132"/>
              <a:gd name="connsiteX4179" fmla="*/ 2166600 w 4493400"/>
              <a:gd name="connsiteY4179" fmla="*/ 75934 h 4503132"/>
              <a:gd name="connsiteX4180" fmla="*/ 2196846 w 4493400"/>
              <a:gd name="connsiteY4180" fmla="*/ 83007 h 4503132"/>
              <a:gd name="connsiteX4181" fmla="*/ 2260319 w 4493400"/>
              <a:gd name="connsiteY4181" fmla="*/ 91573 h 4503132"/>
              <a:gd name="connsiteX4182" fmla="*/ 2326629 w 4493400"/>
              <a:gd name="connsiteY4182" fmla="*/ 101437 h 4503132"/>
              <a:gd name="connsiteX4183" fmla="*/ 2393901 w 4493400"/>
              <a:gd name="connsiteY4183" fmla="*/ 120782 h 4503132"/>
              <a:gd name="connsiteX4184" fmla="*/ 2425590 w 4493400"/>
              <a:gd name="connsiteY4184" fmla="*/ 137527 h 4503132"/>
              <a:gd name="connsiteX4185" fmla="*/ 2450739 w 4493400"/>
              <a:gd name="connsiteY4185" fmla="*/ 163320 h 4503132"/>
              <a:gd name="connsiteX4186" fmla="*/ 2463674 w 4493400"/>
              <a:gd name="connsiteY4186" fmla="*/ 197918 h 4503132"/>
              <a:gd name="connsiteX4187" fmla="*/ 2467713 w 4493400"/>
              <a:gd name="connsiteY4187" fmla="*/ 236126 h 4503132"/>
              <a:gd name="connsiteX4188" fmla="*/ 2468867 w 4493400"/>
              <a:gd name="connsiteY4188" fmla="*/ 275680 h 4503132"/>
              <a:gd name="connsiteX4189" fmla="*/ 2469973 w 4493400"/>
              <a:gd name="connsiteY4189" fmla="*/ 295987 h 4503132"/>
              <a:gd name="connsiteX4190" fmla="*/ 2473387 w 4493400"/>
              <a:gd name="connsiteY4190" fmla="*/ 316246 h 4503132"/>
              <a:gd name="connsiteX4191" fmla="*/ 2496276 w 4493400"/>
              <a:gd name="connsiteY4191" fmla="*/ 396366 h 4503132"/>
              <a:gd name="connsiteX4192" fmla="*/ 2508057 w 4493400"/>
              <a:gd name="connsiteY4192" fmla="*/ 437268 h 4503132"/>
              <a:gd name="connsiteX4193" fmla="*/ 2513154 w 4493400"/>
              <a:gd name="connsiteY4193" fmla="*/ 458200 h 4503132"/>
              <a:gd name="connsiteX4194" fmla="*/ 2518300 w 4493400"/>
              <a:gd name="connsiteY4194" fmla="*/ 479469 h 4503132"/>
              <a:gd name="connsiteX4195" fmla="*/ 2530032 w 4493400"/>
              <a:gd name="connsiteY4195" fmla="*/ 522248 h 4503132"/>
              <a:gd name="connsiteX4196" fmla="*/ 2537245 w 4493400"/>
              <a:gd name="connsiteY4196" fmla="*/ 543565 h 4503132"/>
              <a:gd name="connsiteX4197" fmla="*/ 2541044 w 4493400"/>
              <a:gd name="connsiteY4197" fmla="*/ 554248 h 4503132"/>
              <a:gd name="connsiteX4198" fmla="*/ 2542967 w 4493400"/>
              <a:gd name="connsiteY4198" fmla="*/ 559589 h 4503132"/>
              <a:gd name="connsiteX4199" fmla="*/ 2545228 w 4493400"/>
              <a:gd name="connsiteY4199" fmla="*/ 564834 h 4503132"/>
              <a:gd name="connsiteX4200" fmla="*/ 2554412 w 4493400"/>
              <a:gd name="connsiteY4200" fmla="*/ 585815 h 4503132"/>
              <a:gd name="connsiteX4201" fmla="*/ 2565183 w 4493400"/>
              <a:gd name="connsiteY4201" fmla="*/ 606266 h 4503132"/>
              <a:gd name="connsiteX4202" fmla="*/ 2570857 w 4493400"/>
              <a:gd name="connsiteY4202" fmla="*/ 616419 h 4503132"/>
              <a:gd name="connsiteX4203" fmla="*/ 2577301 w 4493400"/>
              <a:gd name="connsiteY4203" fmla="*/ 626140 h 4503132"/>
              <a:gd name="connsiteX4204" fmla="*/ 2590909 w 4493400"/>
              <a:gd name="connsiteY4204" fmla="*/ 645291 h 4503132"/>
              <a:gd name="connsiteX4205" fmla="*/ 2659960 w 4493400"/>
              <a:gd name="connsiteY4205" fmla="*/ 711120 h 4503132"/>
              <a:gd name="connsiteX4206" fmla="*/ 2835714 w 4493400"/>
              <a:gd name="connsiteY4206" fmla="*/ 803270 h 4503132"/>
              <a:gd name="connsiteX4207" fmla="*/ 2931549 w 4493400"/>
              <a:gd name="connsiteY4207" fmla="*/ 841622 h 4503132"/>
              <a:gd name="connsiteX4208" fmla="*/ 3028827 w 4493400"/>
              <a:gd name="connsiteY4208" fmla="*/ 883246 h 4503132"/>
              <a:gd name="connsiteX4209" fmla="*/ 3129278 w 4493400"/>
              <a:gd name="connsiteY4209" fmla="*/ 924629 h 4503132"/>
              <a:gd name="connsiteX4210" fmla="*/ 3181836 w 4493400"/>
              <a:gd name="connsiteY4210" fmla="*/ 942578 h 4503132"/>
              <a:gd name="connsiteX4211" fmla="*/ 3209485 w 4493400"/>
              <a:gd name="connsiteY4211" fmla="*/ 948881 h 4503132"/>
              <a:gd name="connsiteX4212" fmla="*/ 3224343 w 4493400"/>
              <a:gd name="connsiteY4212" fmla="*/ 949459 h 4503132"/>
              <a:gd name="connsiteX4213" fmla="*/ 3232181 w 4493400"/>
              <a:gd name="connsiteY4213" fmla="*/ 947534 h 4503132"/>
              <a:gd name="connsiteX4214" fmla="*/ 3239010 w 4493400"/>
              <a:gd name="connsiteY4214" fmla="*/ 943203 h 4503132"/>
              <a:gd name="connsiteX4215" fmla="*/ 3244491 w 4493400"/>
              <a:gd name="connsiteY4215" fmla="*/ 937525 h 4503132"/>
              <a:gd name="connsiteX4216" fmla="*/ 3248531 w 4493400"/>
              <a:gd name="connsiteY4216" fmla="*/ 931077 h 4503132"/>
              <a:gd name="connsiteX4217" fmla="*/ 3251656 w 4493400"/>
              <a:gd name="connsiteY4217" fmla="*/ 924292 h 4503132"/>
              <a:gd name="connsiteX4218" fmla="*/ 3254109 w 4493400"/>
              <a:gd name="connsiteY4218" fmla="*/ 917363 h 4503132"/>
              <a:gd name="connsiteX4219" fmla="*/ 3259734 w 4493400"/>
              <a:gd name="connsiteY4219" fmla="*/ 888876 h 4503132"/>
              <a:gd name="connsiteX4220" fmla="*/ 3260744 w 4493400"/>
              <a:gd name="connsiteY4220" fmla="*/ 831131 h 4503132"/>
              <a:gd name="connsiteX4221" fmla="*/ 3254157 w 4493400"/>
              <a:gd name="connsiteY4221" fmla="*/ 773291 h 4503132"/>
              <a:gd name="connsiteX4222" fmla="*/ 3248002 w 4493400"/>
              <a:gd name="connsiteY4222" fmla="*/ 744515 h 4503132"/>
              <a:gd name="connsiteX4223" fmla="*/ 3243722 w 4493400"/>
              <a:gd name="connsiteY4223" fmla="*/ 730223 h 4503132"/>
              <a:gd name="connsiteX4224" fmla="*/ 3237567 w 4493400"/>
              <a:gd name="connsiteY4224" fmla="*/ 716365 h 4503132"/>
              <a:gd name="connsiteX4225" fmla="*/ 3203041 w 4493400"/>
              <a:gd name="connsiteY4225" fmla="*/ 667571 h 4503132"/>
              <a:gd name="connsiteX4226" fmla="*/ 3193136 w 4493400"/>
              <a:gd name="connsiteY4226" fmla="*/ 656311 h 4503132"/>
              <a:gd name="connsiteX4227" fmla="*/ 3182797 w 4493400"/>
              <a:gd name="connsiteY4227" fmla="*/ 645484 h 4503132"/>
              <a:gd name="connsiteX4228" fmla="*/ 3161543 w 4493400"/>
              <a:gd name="connsiteY4228" fmla="*/ 624263 h 4503132"/>
              <a:gd name="connsiteX4229" fmla="*/ 3070421 w 4493400"/>
              <a:gd name="connsiteY4229" fmla="*/ 544287 h 4503132"/>
              <a:gd name="connsiteX4230" fmla="*/ 2976509 w 4493400"/>
              <a:gd name="connsiteY4230" fmla="*/ 464648 h 4503132"/>
              <a:gd name="connsiteX4231" fmla="*/ 2885435 w 4493400"/>
              <a:gd name="connsiteY4231" fmla="*/ 378465 h 4503132"/>
              <a:gd name="connsiteX4232" fmla="*/ 2804747 w 4493400"/>
              <a:gd name="connsiteY4232" fmla="*/ 280541 h 4503132"/>
              <a:gd name="connsiteX4233" fmla="*/ 2746371 w 4493400"/>
              <a:gd name="connsiteY4233" fmla="*/ 165437 h 4503132"/>
              <a:gd name="connsiteX4234" fmla="*/ 2714442 w 4493400"/>
              <a:gd name="connsiteY4234" fmla="*/ 106827 h 4503132"/>
              <a:gd name="connsiteX4235" fmla="*/ 2703766 w 4493400"/>
              <a:gd name="connsiteY4235" fmla="*/ 93690 h 4503132"/>
              <a:gd name="connsiteX4236" fmla="*/ 2694822 w 4493400"/>
              <a:gd name="connsiteY4236" fmla="*/ 84355 h 4503132"/>
              <a:gd name="connsiteX4237" fmla="*/ 2701555 w 4493400"/>
              <a:gd name="connsiteY4237" fmla="*/ 88685 h 4503132"/>
              <a:gd name="connsiteX4238" fmla="*/ 2706219 w 4493400"/>
              <a:gd name="connsiteY4238" fmla="*/ 92246 h 4503132"/>
              <a:gd name="connsiteX4239" fmla="*/ 2710595 w 4493400"/>
              <a:gd name="connsiteY4239" fmla="*/ 95952 h 4503132"/>
              <a:gd name="connsiteX4240" fmla="*/ 2714634 w 4493400"/>
              <a:gd name="connsiteY4240" fmla="*/ 99946 h 4503132"/>
              <a:gd name="connsiteX4241" fmla="*/ 2718481 w 4493400"/>
              <a:gd name="connsiteY4241" fmla="*/ 104661 h 4503132"/>
              <a:gd name="connsiteX4242" fmla="*/ 2726126 w 4493400"/>
              <a:gd name="connsiteY4242" fmla="*/ 114045 h 4503132"/>
              <a:gd name="connsiteX4243" fmla="*/ 2733435 w 4493400"/>
              <a:gd name="connsiteY4243" fmla="*/ 123765 h 4503132"/>
              <a:gd name="connsiteX4244" fmla="*/ 2740504 w 4493400"/>
              <a:gd name="connsiteY4244" fmla="*/ 133678 h 4503132"/>
              <a:gd name="connsiteX4245" fmla="*/ 2753728 w 4493400"/>
              <a:gd name="connsiteY4245" fmla="*/ 154225 h 4503132"/>
              <a:gd name="connsiteX4246" fmla="*/ 2766038 w 4493400"/>
              <a:gd name="connsiteY4246" fmla="*/ 175494 h 4503132"/>
              <a:gd name="connsiteX4247" fmla="*/ 2814268 w 4493400"/>
              <a:gd name="connsiteY4247" fmla="*/ 262880 h 4503132"/>
              <a:gd name="connsiteX4248" fmla="*/ 2872307 w 4493400"/>
              <a:gd name="connsiteY4248" fmla="*/ 345791 h 4503132"/>
              <a:gd name="connsiteX4249" fmla="*/ 2888560 w 4493400"/>
              <a:gd name="connsiteY4249" fmla="*/ 365376 h 4503132"/>
              <a:gd name="connsiteX4250" fmla="*/ 2905631 w 4493400"/>
              <a:gd name="connsiteY4250" fmla="*/ 384336 h 4503132"/>
              <a:gd name="connsiteX4251" fmla="*/ 2941214 w 4493400"/>
              <a:gd name="connsiteY4251" fmla="*/ 421100 h 4503132"/>
              <a:gd name="connsiteX4252" fmla="*/ 3099224 w 4493400"/>
              <a:gd name="connsiteY4252" fmla="*/ 553863 h 4503132"/>
              <a:gd name="connsiteX4253" fmla="*/ 3182076 w 4493400"/>
              <a:gd name="connsiteY4253" fmla="*/ 617141 h 4503132"/>
              <a:gd name="connsiteX4254" fmla="*/ 3262716 w 4493400"/>
              <a:gd name="connsiteY4254" fmla="*/ 684076 h 4503132"/>
              <a:gd name="connsiteX4255" fmla="*/ 3281662 w 4493400"/>
              <a:gd name="connsiteY4255" fmla="*/ 702169 h 4503132"/>
              <a:gd name="connsiteX4256" fmla="*/ 3299021 w 4493400"/>
              <a:gd name="connsiteY4256" fmla="*/ 721466 h 4503132"/>
              <a:gd name="connsiteX4257" fmla="*/ 3306714 w 4493400"/>
              <a:gd name="connsiteY4257" fmla="*/ 731715 h 4503132"/>
              <a:gd name="connsiteX4258" fmla="*/ 3313206 w 4493400"/>
              <a:gd name="connsiteY4258" fmla="*/ 742638 h 4503132"/>
              <a:gd name="connsiteX4259" fmla="*/ 3322823 w 4493400"/>
              <a:gd name="connsiteY4259" fmla="*/ 766410 h 4503132"/>
              <a:gd name="connsiteX4260" fmla="*/ 3329411 w 4493400"/>
              <a:gd name="connsiteY4260" fmla="*/ 817706 h 4503132"/>
              <a:gd name="connsiteX4261" fmla="*/ 3329267 w 4493400"/>
              <a:gd name="connsiteY4261" fmla="*/ 871601 h 4503132"/>
              <a:gd name="connsiteX4262" fmla="*/ 3342923 w 4493400"/>
              <a:gd name="connsiteY4262" fmla="*/ 925303 h 4503132"/>
              <a:gd name="connsiteX4263" fmla="*/ 3376006 w 4493400"/>
              <a:gd name="connsiteY4263" fmla="*/ 969718 h 4503132"/>
              <a:gd name="connsiteX4264" fmla="*/ 3466600 w 4493400"/>
              <a:gd name="connsiteY4264" fmla="*/ 1031792 h 4503132"/>
              <a:gd name="connsiteX4265" fmla="*/ 3519158 w 4493400"/>
              <a:gd name="connsiteY4265" fmla="*/ 1049838 h 4503132"/>
              <a:gd name="connsiteX4266" fmla="*/ 3547143 w 4493400"/>
              <a:gd name="connsiteY4266" fmla="*/ 1053591 h 4503132"/>
              <a:gd name="connsiteX4267" fmla="*/ 3575851 w 4493400"/>
              <a:gd name="connsiteY4267" fmla="*/ 1050800 h 4503132"/>
              <a:gd name="connsiteX4268" fmla="*/ 3601769 w 4493400"/>
              <a:gd name="connsiteY4268" fmla="*/ 1035979 h 4503132"/>
              <a:gd name="connsiteX4269" fmla="*/ 3615137 w 4493400"/>
              <a:gd name="connsiteY4269" fmla="*/ 1009176 h 4503132"/>
              <a:gd name="connsiteX4270" fmla="*/ 3616051 w 4493400"/>
              <a:gd name="connsiteY4270" fmla="*/ 980160 h 4503132"/>
              <a:gd name="connsiteX4271" fmla="*/ 3610376 w 4493400"/>
              <a:gd name="connsiteY4271" fmla="*/ 952250 h 4503132"/>
              <a:gd name="connsiteX4272" fmla="*/ 3586959 w 4493400"/>
              <a:gd name="connsiteY4272" fmla="*/ 900761 h 4503132"/>
              <a:gd name="connsiteX4273" fmla="*/ 3554693 w 4493400"/>
              <a:gd name="connsiteY4273" fmla="*/ 854903 h 4503132"/>
              <a:gd name="connsiteX4274" fmla="*/ 3522331 w 4493400"/>
              <a:gd name="connsiteY4274" fmla="*/ 810151 h 4503132"/>
              <a:gd name="connsiteX4275" fmla="*/ 3518725 w 4493400"/>
              <a:gd name="connsiteY4275" fmla="*/ 804377 h 4503132"/>
              <a:gd name="connsiteX4276" fmla="*/ 3515503 w 4493400"/>
              <a:gd name="connsiteY4276" fmla="*/ 798410 h 4503132"/>
              <a:gd name="connsiteX4277" fmla="*/ 3509685 w 4493400"/>
              <a:gd name="connsiteY4277" fmla="*/ 786283 h 4503132"/>
              <a:gd name="connsiteX4278" fmla="*/ 3507329 w 4493400"/>
              <a:gd name="connsiteY4278" fmla="*/ 780028 h 4503132"/>
              <a:gd name="connsiteX4279" fmla="*/ 3505309 w 4493400"/>
              <a:gd name="connsiteY4279" fmla="*/ 773724 h 4503132"/>
              <a:gd name="connsiteX4280" fmla="*/ 3503963 w 4493400"/>
              <a:gd name="connsiteY4280" fmla="*/ 767420 h 4503132"/>
              <a:gd name="connsiteX4281" fmla="*/ 3503386 w 4493400"/>
              <a:gd name="connsiteY4281" fmla="*/ 761165 h 4503132"/>
              <a:gd name="connsiteX4282" fmla="*/ 3512041 w 4493400"/>
              <a:gd name="connsiteY4282" fmla="*/ 740088 h 4503132"/>
              <a:gd name="connsiteX4283" fmla="*/ 3534978 w 4493400"/>
              <a:gd name="connsiteY4283" fmla="*/ 730223 h 4503132"/>
              <a:gd name="connsiteX4284" fmla="*/ 3589122 w 4493400"/>
              <a:gd name="connsiteY4284" fmla="*/ 731571 h 4503132"/>
              <a:gd name="connsiteX4285" fmla="*/ 3641536 w 4493400"/>
              <a:gd name="connsiteY4285" fmla="*/ 747450 h 4503132"/>
              <a:gd name="connsiteX4286" fmla="*/ 3653125 w 4493400"/>
              <a:gd name="connsiteY4286" fmla="*/ 754524 h 4503132"/>
              <a:gd name="connsiteX4287" fmla="*/ 3664665 w 4493400"/>
              <a:gd name="connsiteY4287" fmla="*/ 762223 h 4503132"/>
              <a:gd name="connsiteX4288" fmla="*/ 3675629 w 4493400"/>
              <a:gd name="connsiteY4288" fmla="*/ 770741 h 4503132"/>
              <a:gd name="connsiteX4289" fmla="*/ 3686400 w 4493400"/>
              <a:gd name="connsiteY4289" fmla="*/ 779547 h 4503132"/>
              <a:gd name="connsiteX4290" fmla="*/ 3754345 w 4493400"/>
              <a:gd name="connsiteY4290" fmla="*/ 867992 h 4503132"/>
              <a:gd name="connsiteX4291" fmla="*/ 3800556 w 4493400"/>
              <a:gd name="connsiteY4291" fmla="*/ 971835 h 4503132"/>
              <a:gd name="connsiteX4292" fmla="*/ 3839890 w 4493400"/>
              <a:gd name="connsiteY4292" fmla="*/ 1080057 h 4503132"/>
              <a:gd name="connsiteX4293" fmla="*/ 3883408 w 4493400"/>
              <a:gd name="connsiteY4293" fmla="*/ 1187750 h 4503132"/>
              <a:gd name="connsiteX4294" fmla="*/ 3992274 w 4493400"/>
              <a:gd name="connsiteY4294" fmla="*/ 1394907 h 4503132"/>
              <a:gd name="connsiteX4295" fmla="*/ 4022712 w 4493400"/>
              <a:gd name="connsiteY4295" fmla="*/ 1445241 h 4503132"/>
              <a:gd name="connsiteX4296" fmla="*/ 4053776 w 4493400"/>
              <a:gd name="connsiteY4296" fmla="*/ 1495334 h 4503132"/>
              <a:gd name="connsiteX4297" fmla="*/ 4083397 w 4493400"/>
              <a:gd name="connsiteY4297" fmla="*/ 1545908 h 4503132"/>
              <a:gd name="connsiteX4298" fmla="*/ 4105420 w 4493400"/>
              <a:gd name="connsiteY4298" fmla="*/ 1599418 h 4503132"/>
              <a:gd name="connsiteX4299" fmla="*/ 4111238 w 4493400"/>
              <a:gd name="connsiteY4299" fmla="*/ 1656729 h 4503132"/>
              <a:gd name="connsiteX4300" fmla="*/ 4105131 w 4493400"/>
              <a:gd name="connsiteY4300" fmla="*/ 1715099 h 4503132"/>
              <a:gd name="connsiteX4301" fmla="*/ 4080656 w 4493400"/>
              <a:gd name="connsiteY4301" fmla="*/ 1831646 h 4503132"/>
              <a:gd name="connsiteX4302" fmla="*/ 4058440 w 4493400"/>
              <a:gd name="connsiteY4302" fmla="*/ 1949396 h 4503132"/>
              <a:gd name="connsiteX4303" fmla="*/ 4043293 w 4493400"/>
              <a:gd name="connsiteY4303" fmla="*/ 2006899 h 4503132"/>
              <a:gd name="connsiteX4304" fmla="*/ 4017615 w 4493400"/>
              <a:gd name="connsiteY4304" fmla="*/ 2059254 h 4503132"/>
              <a:gd name="connsiteX4305" fmla="*/ 4003718 w 4493400"/>
              <a:gd name="connsiteY4305" fmla="*/ 2074893 h 4503132"/>
              <a:gd name="connsiteX4306" fmla="*/ 3987032 w 4493400"/>
              <a:gd name="connsiteY4306" fmla="*/ 2087549 h 4503132"/>
              <a:gd name="connsiteX4307" fmla="*/ 3948131 w 4493400"/>
              <a:gd name="connsiteY4307" fmla="*/ 2103814 h 4503132"/>
              <a:gd name="connsiteX4308" fmla="*/ 3862634 w 4493400"/>
              <a:gd name="connsiteY4308" fmla="*/ 2112764 h 4503132"/>
              <a:gd name="connsiteX4309" fmla="*/ 3775455 w 4493400"/>
              <a:gd name="connsiteY4309" fmla="*/ 2111609 h 4503132"/>
              <a:gd name="connsiteX4310" fmla="*/ 3731697 w 4493400"/>
              <a:gd name="connsiteY4310" fmla="*/ 2111946 h 4503132"/>
              <a:gd name="connsiteX4311" fmla="*/ 3688083 w 4493400"/>
              <a:gd name="connsiteY4311" fmla="*/ 2114256 h 4503132"/>
              <a:gd name="connsiteX4312" fmla="*/ 3515791 w 4493400"/>
              <a:gd name="connsiteY4312" fmla="*/ 2136391 h 4503132"/>
              <a:gd name="connsiteX4313" fmla="*/ 3349751 w 4493400"/>
              <a:gd name="connsiteY4313" fmla="*/ 2184126 h 4503132"/>
              <a:gd name="connsiteX4314" fmla="*/ 3273679 w 4493400"/>
              <a:gd name="connsiteY4314" fmla="*/ 2225124 h 4503132"/>
              <a:gd name="connsiteX4315" fmla="*/ 3206888 w 4493400"/>
              <a:gd name="connsiteY4315" fmla="*/ 2279163 h 4503132"/>
              <a:gd name="connsiteX4316" fmla="*/ 3084462 w 4493400"/>
              <a:gd name="connsiteY4316" fmla="*/ 2395759 h 4503132"/>
              <a:gd name="connsiteX4317" fmla="*/ 3014930 w 4493400"/>
              <a:gd name="connsiteY4317" fmla="*/ 2440414 h 4503132"/>
              <a:gd name="connsiteX4318" fmla="*/ 2995840 w 4493400"/>
              <a:gd name="connsiteY4318" fmla="*/ 2448883 h 4503132"/>
              <a:gd name="connsiteX4319" fmla="*/ 2976653 w 4493400"/>
              <a:gd name="connsiteY4319" fmla="*/ 2457064 h 4503132"/>
              <a:gd name="connsiteX4320" fmla="*/ 2957275 w 4493400"/>
              <a:gd name="connsiteY4320" fmla="*/ 2464715 h 4503132"/>
              <a:gd name="connsiteX4321" fmla="*/ 2947610 w 4493400"/>
              <a:gd name="connsiteY4321" fmla="*/ 2468564 h 4503132"/>
              <a:gd name="connsiteX4322" fmla="*/ 2937800 w 4493400"/>
              <a:gd name="connsiteY4322" fmla="*/ 2472077 h 4503132"/>
              <a:gd name="connsiteX4323" fmla="*/ 2779165 w 4493400"/>
              <a:gd name="connsiteY4323" fmla="*/ 2521593 h 4503132"/>
              <a:gd name="connsiteX4324" fmla="*/ 2620674 w 4493400"/>
              <a:gd name="connsiteY4324" fmla="*/ 2568702 h 4503132"/>
              <a:gd name="connsiteX4325" fmla="*/ 2467665 w 4493400"/>
              <a:gd name="connsiteY4325" fmla="*/ 2628179 h 4503132"/>
              <a:gd name="connsiteX4326" fmla="*/ 2430976 w 4493400"/>
              <a:gd name="connsiteY4326" fmla="*/ 2646128 h 4503132"/>
              <a:gd name="connsiteX4327" fmla="*/ 2395104 w 4493400"/>
              <a:gd name="connsiteY4327" fmla="*/ 2665520 h 4503132"/>
              <a:gd name="connsiteX4328" fmla="*/ 2386160 w 4493400"/>
              <a:gd name="connsiteY4328" fmla="*/ 2670380 h 4503132"/>
              <a:gd name="connsiteX4329" fmla="*/ 2377360 w 4493400"/>
              <a:gd name="connsiteY4329" fmla="*/ 2675673 h 4503132"/>
              <a:gd name="connsiteX4330" fmla="*/ 2360241 w 4493400"/>
              <a:gd name="connsiteY4330" fmla="*/ 2686549 h 4503132"/>
              <a:gd name="connsiteX4331" fmla="*/ 2326149 w 4493400"/>
              <a:gd name="connsiteY4331" fmla="*/ 2707818 h 4503132"/>
              <a:gd name="connsiteX4332" fmla="*/ 2254645 w 4493400"/>
              <a:gd name="connsiteY4332" fmla="*/ 2741117 h 4503132"/>
              <a:gd name="connsiteX4333" fmla="*/ 2217234 w 4493400"/>
              <a:gd name="connsiteY4333" fmla="*/ 2745015 h 4503132"/>
              <a:gd name="connsiteX4334" fmla="*/ 2187709 w 4493400"/>
              <a:gd name="connsiteY4334" fmla="*/ 2726681 h 4503132"/>
              <a:gd name="connsiteX4335" fmla="*/ 2175303 w 4493400"/>
              <a:gd name="connsiteY4335" fmla="*/ 2691553 h 4503132"/>
              <a:gd name="connsiteX4336" fmla="*/ 2173140 w 4493400"/>
              <a:gd name="connsiteY4336" fmla="*/ 2652865 h 4503132"/>
              <a:gd name="connsiteX4337" fmla="*/ 2174197 w 4493400"/>
              <a:gd name="connsiteY4337" fmla="*/ 2633328 h 4503132"/>
              <a:gd name="connsiteX4338" fmla="*/ 2175977 w 4493400"/>
              <a:gd name="connsiteY4338" fmla="*/ 2613695 h 4503132"/>
              <a:gd name="connsiteX4339" fmla="*/ 2180497 w 4493400"/>
              <a:gd name="connsiteY4339" fmla="*/ 2574525 h 4503132"/>
              <a:gd name="connsiteX4340" fmla="*/ 2205165 w 4493400"/>
              <a:gd name="connsiteY4340" fmla="*/ 2419674 h 4503132"/>
              <a:gd name="connsiteX4341" fmla="*/ 2278255 w 4493400"/>
              <a:gd name="connsiteY4341" fmla="*/ 2120463 h 4503132"/>
              <a:gd name="connsiteX4342" fmla="*/ 2332544 w 4493400"/>
              <a:gd name="connsiteY4342" fmla="*/ 1979808 h 4503132"/>
              <a:gd name="connsiteX4343" fmla="*/ 2369618 w 4493400"/>
              <a:gd name="connsiteY4343" fmla="*/ 1915616 h 4503132"/>
              <a:gd name="connsiteX4344" fmla="*/ 2421551 w 4493400"/>
              <a:gd name="connsiteY4344" fmla="*/ 1866581 h 4503132"/>
              <a:gd name="connsiteX4345" fmla="*/ 2490458 w 4493400"/>
              <a:gd name="connsiteY4345" fmla="*/ 1843483 h 4503132"/>
              <a:gd name="connsiteX4346" fmla="*/ 2562442 w 4493400"/>
              <a:gd name="connsiteY4346" fmla="*/ 1836410 h 4503132"/>
              <a:gd name="connsiteX4347" fmla="*/ 2704968 w 4493400"/>
              <a:gd name="connsiteY4347" fmla="*/ 1857198 h 4503132"/>
              <a:gd name="connsiteX4348" fmla="*/ 2843792 w 4493400"/>
              <a:gd name="connsiteY4348" fmla="*/ 1893095 h 4503132"/>
              <a:gd name="connsiteX4349" fmla="*/ 2984828 w 4493400"/>
              <a:gd name="connsiteY4349" fmla="*/ 1909504 h 4503132"/>
              <a:gd name="connsiteX4350" fmla="*/ 3054601 w 4493400"/>
              <a:gd name="connsiteY4350" fmla="*/ 1897859 h 4503132"/>
              <a:gd name="connsiteX4351" fmla="*/ 3087395 w 4493400"/>
              <a:gd name="connsiteY4351" fmla="*/ 1884193 h 4503132"/>
              <a:gd name="connsiteX4352" fmla="*/ 3116583 w 4493400"/>
              <a:gd name="connsiteY4352" fmla="*/ 1864079 h 4503132"/>
              <a:gd name="connsiteX4353" fmla="*/ 3140818 w 4493400"/>
              <a:gd name="connsiteY4353" fmla="*/ 1838479 h 4503132"/>
              <a:gd name="connsiteX4354" fmla="*/ 3159812 w 4493400"/>
              <a:gd name="connsiteY4354" fmla="*/ 1809126 h 4503132"/>
              <a:gd name="connsiteX4355" fmla="*/ 3184961 w 4493400"/>
              <a:gd name="connsiteY4355" fmla="*/ 1744885 h 4503132"/>
              <a:gd name="connsiteX4356" fmla="*/ 3204244 w 4493400"/>
              <a:gd name="connsiteY4356" fmla="*/ 1611063 h 4503132"/>
              <a:gd name="connsiteX4357" fmla="*/ 3204147 w 4493400"/>
              <a:gd name="connsiteY4357" fmla="*/ 1478588 h 4503132"/>
              <a:gd name="connsiteX4358" fmla="*/ 3197848 w 4493400"/>
              <a:gd name="connsiteY4358" fmla="*/ 1221675 h 4503132"/>
              <a:gd name="connsiteX4359" fmla="*/ 3179143 w 4493400"/>
              <a:gd name="connsiteY4359" fmla="*/ 1097861 h 4503132"/>
              <a:gd name="connsiteX4360" fmla="*/ 3170247 w 4493400"/>
              <a:gd name="connsiteY4360" fmla="*/ 1068123 h 4503132"/>
              <a:gd name="connsiteX4361" fmla="*/ 3164813 w 4493400"/>
              <a:gd name="connsiteY4361" fmla="*/ 1053591 h 4503132"/>
              <a:gd name="connsiteX4362" fmla="*/ 3158947 w 4493400"/>
              <a:gd name="connsiteY4362" fmla="*/ 1039251 h 4503132"/>
              <a:gd name="connsiteX4363" fmla="*/ 3151974 w 4493400"/>
              <a:gd name="connsiteY4363" fmla="*/ 1025441 h 4503132"/>
              <a:gd name="connsiteX4364" fmla="*/ 3144665 w 4493400"/>
              <a:gd name="connsiteY4364" fmla="*/ 1011823 h 4503132"/>
              <a:gd name="connsiteX4365" fmla="*/ 3126393 w 4493400"/>
              <a:gd name="connsiteY4365" fmla="*/ 986896 h 4503132"/>
              <a:gd name="connsiteX4366" fmla="*/ 3031038 w 4493400"/>
              <a:gd name="connsiteY4366" fmla="*/ 913802 h 4503132"/>
              <a:gd name="connsiteX4367" fmla="*/ 2925298 w 4493400"/>
              <a:gd name="connsiteY4367" fmla="*/ 863613 h 4503132"/>
              <a:gd name="connsiteX4368" fmla="*/ 2819220 w 4493400"/>
              <a:gd name="connsiteY4368" fmla="*/ 821940 h 4503132"/>
              <a:gd name="connsiteX4369" fmla="*/ 2716557 w 4493400"/>
              <a:gd name="connsiteY4369" fmla="*/ 779787 h 4503132"/>
              <a:gd name="connsiteX4370" fmla="*/ 2618751 w 4493400"/>
              <a:gd name="connsiteY4370" fmla="*/ 734121 h 4503132"/>
              <a:gd name="connsiteX4371" fmla="*/ 2531138 w 4493400"/>
              <a:gd name="connsiteY4371" fmla="*/ 677291 h 4503132"/>
              <a:gd name="connsiteX4372" fmla="*/ 2468002 w 4493400"/>
              <a:gd name="connsiteY4372" fmla="*/ 599192 h 4503132"/>
              <a:gd name="connsiteX4373" fmla="*/ 2435159 w 4493400"/>
              <a:gd name="connsiteY4373" fmla="*/ 506561 h 4503132"/>
              <a:gd name="connsiteX4374" fmla="*/ 2421887 w 4493400"/>
              <a:gd name="connsiteY4374" fmla="*/ 318652 h 4503132"/>
              <a:gd name="connsiteX4375" fmla="*/ 2423859 w 4493400"/>
              <a:gd name="connsiteY4375" fmla="*/ 228523 h 4503132"/>
              <a:gd name="connsiteX4376" fmla="*/ 2418906 w 4493400"/>
              <a:gd name="connsiteY4376" fmla="*/ 184396 h 4503132"/>
              <a:gd name="connsiteX4377" fmla="*/ 2398806 w 4493400"/>
              <a:gd name="connsiteY4377" fmla="*/ 145419 h 4503132"/>
              <a:gd name="connsiteX4378" fmla="*/ 2363992 w 4493400"/>
              <a:gd name="connsiteY4378" fmla="*/ 120204 h 4503132"/>
              <a:gd name="connsiteX4379" fmla="*/ 2324129 w 4493400"/>
              <a:gd name="connsiteY4379" fmla="*/ 107452 h 4503132"/>
              <a:gd name="connsiteX4380" fmla="*/ 2243874 w 4493400"/>
              <a:gd name="connsiteY4380" fmla="*/ 100475 h 4503132"/>
              <a:gd name="connsiteX4381" fmla="*/ 2204972 w 4493400"/>
              <a:gd name="connsiteY4381" fmla="*/ 101678 h 4503132"/>
              <a:gd name="connsiteX4382" fmla="*/ 2185834 w 4493400"/>
              <a:gd name="connsiteY4382" fmla="*/ 103073 h 4503132"/>
              <a:gd name="connsiteX4383" fmla="*/ 2166985 w 4493400"/>
              <a:gd name="connsiteY4383" fmla="*/ 105576 h 4503132"/>
              <a:gd name="connsiteX4384" fmla="*/ 2097597 w 4493400"/>
              <a:gd name="connsiteY4384" fmla="*/ 130406 h 4503132"/>
              <a:gd name="connsiteX4385" fmla="*/ 2038018 w 4493400"/>
              <a:gd name="connsiteY4385" fmla="*/ 166736 h 4503132"/>
              <a:gd name="connsiteX4386" fmla="*/ 1978584 w 4493400"/>
              <a:gd name="connsiteY4386" fmla="*/ 195416 h 4503132"/>
              <a:gd name="connsiteX4387" fmla="*/ 1862938 w 4493400"/>
              <a:gd name="connsiteY4387" fmla="*/ 230399 h 4503132"/>
              <a:gd name="connsiteX4388" fmla="*/ 1808745 w 4493400"/>
              <a:gd name="connsiteY4388" fmla="*/ 228667 h 4503132"/>
              <a:gd name="connsiteX4389" fmla="*/ 1802590 w 4493400"/>
              <a:gd name="connsiteY4389" fmla="*/ 226646 h 4503132"/>
              <a:gd name="connsiteX4390" fmla="*/ 1798022 w 4493400"/>
              <a:gd name="connsiteY4390" fmla="*/ 223903 h 4503132"/>
              <a:gd name="connsiteX4391" fmla="*/ 1798262 w 4493400"/>
              <a:gd name="connsiteY4391" fmla="*/ 219091 h 4503132"/>
              <a:gd name="connsiteX4392" fmla="*/ 1801340 w 4493400"/>
              <a:gd name="connsiteY4392" fmla="*/ 213894 h 4503132"/>
              <a:gd name="connsiteX4393" fmla="*/ 1819084 w 4493400"/>
              <a:gd name="connsiteY4393" fmla="*/ 196427 h 4503132"/>
              <a:gd name="connsiteX4394" fmla="*/ 1857456 w 4493400"/>
              <a:gd name="connsiteY4394" fmla="*/ 168372 h 4503132"/>
              <a:gd name="connsiteX4395" fmla="*/ 1894482 w 4493400"/>
              <a:gd name="connsiteY4395" fmla="*/ 144986 h 4503132"/>
              <a:gd name="connsiteX4396" fmla="*/ 1929248 w 4493400"/>
              <a:gd name="connsiteY4396" fmla="*/ 125642 h 4503132"/>
              <a:gd name="connsiteX4397" fmla="*/ 1962427 w 4493400"/>
              <a:gd name="connsiteY4397" fmla="*/ 112120 h 4503132"/>
              <a:gd name="connsiteX4398" fmla="*/ 2059128 w 4493400"/>
              <a:gd name="connsiteY4398" fmla="*/ 76704 h 4503132"/>
              <a:gd name="connsiteX4399" fmla="*/ 2083267 w 4493400"/>
              <a:gd name="connsiteY4399" fmla="*/ 66358 h 4503132"/>
              <a:gd name="connsiteX4400" fmla="*/ 2089182 w 4493400"/>
              <a:gd name="connsiteY4400" fmla="*/ 63326 h 4503132"/>
              <a:gd name="connsiteX4401" fmla="*/ 2091105 w 4493400"/>
              <a:gd name="connsiteY4401" fmla="*/ 62219 h 4503132"/>
              <a:gd name="connsiteX4402" fmla="*/ 2089037 w 4493400"/>
              <a:gd name="connsiteY4402" fmla="*/ 63086 h 4503132"/>
              <a:gd name="connsiteX4403" fmla="*/ 2083027 w 4493400"/>
              <a:gd name="connsiteY4403" fmla="*/ 65877 h 4503132"/>
              <a:gd name="connsiteX4404" fmla="*/ 2058743 w 4493400"/>
              <a:gd name="connsiteY4404" fmla="*/ 75741 h 4503132"/>
              <a:gd name="connsiteX4405" fmla="*/ 1961706 w 4493400"/>
              <a:gd name="connsiteY4405" fmla="*/ 110195 h 4503132"/>
              <a:gd name="connsiteX4406" fmla="*/ 1928238 w 4493400"/>
              <a:gd name="connsiteY4406" fmla="*/ 123573 h 4503132"/>
              <a:gd name="connsiteX4407" fmla="*/ 1893136 w 4493400"/>
              <a:gd name="connsiteY4407" fmla="*/ 142821 h 4503132"/>
              <a:gd name="connsiteX4408" fmla="*/ 1855869 w 4493400"/>
              <a:gd name="connsiteY4408" fmla="*/ 166063 h 4503132"/>
              <a:gd name="connsiteX4409" fmla="*/ 1817064 w 4493400"/>
              <a:gd name="connsiteY4409" fmla="*/ 194117 h 4503132"/>
              <a:gd name="connsiteX4410" fmla="*/ 1798743 w 4493400"/>
              <a:gd name="connsiteY4410" fmla="*/ 212017 h 4503132"/>
              <a:gd name="connsiteX4411" fmla="*/ 1795233 w 4493400"/>
              <a:gd name="connsiteY4411" fmla="*/ 217936 h 4503132"/>
              <a:gd name="connsiteX4412" fmla="*/ 1795137 w 4493400"/>
              <a:gd name="connsiteY4412" fmla="*/ 225684 h 4503132"/>
              <a:gd name="connsiteX4413" fmla="*/ 1801388 w 4493400"/>
              <a:gd name="connsiteY4413" fmla="*/ 229918 h 4503132"/>
              <a:gd name="connsiteX4414" fmla="*/ 1807832 w 4493400"/>
              <a:gd name="connsiteY4414" fmla="*/ 232084 h 4503132"/>
              <a:gd name="connsiteX4415" fmla="*/ 1863419 w 4493400"/>
              <a:gd name="connsiteY4415" fmla="*/ 234201 h 4503132"/>
              <a:gd name="connsiteX4416" fmla="*/ 1980219 w 4493400"/>
              <a:gd name="connsiteY4416" fmla="*/ 199410 h 4503132"/>
              <a:gd name="connsiteX4417" fmla="*/ 2040182 w 4493400"/>
              <a:gd name="connsiteY4417" fmla="*/ 170730 h 4503132"/>
              <a:gd name="connsiteX4418" fmla="*/ 2099953 w 4493400"/>
              <a:gd name="connsiteY4418" fmla="*/ 134592 h 4503132"/>
              <a:gd name="connsiteX4419" fmla="*/ 2167850 w 4493400"/>
              <a:gd name="connsiteY4419" fmla="*/ 110532 h 4503132"/>
              <a:gd name="connsiteX4420" fmla="*/ 2186411 w 4493400"/>
              <a:gd name="connsiteY4420" fmla="*/ 108126 h 4503132"/>
              <a:gd name="connsiteX4421" fmla="*/ 2205357 w 4493400"/>
              <a:gd name="connsiteY4421" fmla="*/ 106779 h 4503132"/>
              <a:gd name="connsiteX4422" fmla="*/ 2244018 w 4493400"/>
              <a:gd name="connsiteY4422" fmla="*/ 105720 h 4503132"/>
              <a:gd name="connsiteX4423" fmla="*/ 2323167 w 4493400"/>
              <a:gd name="connsiteY4423" fmla="*/ 112842 h 4503132"/>
              <a:gd name="connsiteX4424" fmla="*/ 2361828 w 4493400"/>
              <a:gd name="connsiteY4424" fmla="*/ 125353 h 4503132"/>
              <a:gd name="connsiteX4425" fmla="*/ 2394767 w 4493400"/>
              <a:gd name="connsiteY4425" fmla="*/ 149317 h 4503132"/>
              <a:gd name="connsiteX4426" fmla="*/ 2413569 w 4493400"/>
              <a:gd name="connsiteY4426" fmla="*/ 186081 h 4503132"/>
              <a:gd name="connsiteX4427" fmla="*/ 2418233 w 4493400"/>
              <a:gd name="connsiteY4427" fmla="*/ 228859 h 4503132"/>
              <a:gd name="connsiteX4428" fmla="*/ 2416021 w 4493400"/>
              <a:gd name="connsiteY4428" fmla="*/ 318796 h 4503132"/>
              <a:gd name="connsiteX4429" fmla="*/ 2429004 w 4493400"/>
              <a:gd name="connsiteY4429" fmla="*/ 508245 h 4503132"/>
              <a:gd name="connsiteX4430" fmla="*/ 2462231 w 4493400"/>
              <a:gd name="connsiteY4430" fmla="*/ 602561 h 4503132"/>
              <a:gd name="connsiteX4431" fmla="*/ 2475022 w 4493400"/>
              <a:gd name="connsiteY4431" fmla="*/ 624744 h 4503132"/>
              <a:gd name="connsiteX4432" fmla="*/ 2482379 w 4493400"/>
              <a:gd name="connsiteY4432" fmla="*/ 635379 h 4503132"/>
              <a:gd name="connsiteX4433" fmla="*/ 2486082 w 4493400"/>
              <a:gd name="connsiteY4433" fmla="*/ 640672 h 4503132"/>
              <a:gd name="connsiteX4434" fmla="*/ 2490217 w 4493400"/>
              <a:gd name="connsiteY4434" fmla="*/ 645676 h 4503132"/>
              <a:gd name="connsiteX4435" fmla="*/ 2498536 w 4493400"/>
              <a:gd name="connsiteY4435" fmla="*/ 655685 h 4503132"/>
              <a:gd name="connsiteX4436" fmla="*/ 2507624 w 4493400"/>
              <a:gd name="connsiteY4436" fmla="*/ 665069 h 4503132"/>
              <a:gd name="connsiteX4437" fmla="*/ 2512193 w 4493400"/>
              <a:gd name="connsiteY4437" fmla="*/ 669736 h 4503132"/>
              <a:gd name="connsiteX4438" fmla="*/ 2517049 w 4493400"/>
              <a:gd name="connsiteY4438" fmla="*/ 674115 h 4503132"/>
              <a:gd name="connsiteX4439" fmla="*/ 2526811 w 4493400"/>
              <a:gd name="connsiteY4439" fmla="*/ 682873 h 4503132"/>
              <a:gd name="connsiteX4440" fmla="*/ 2615529 w 4493400"/>
              <a:gd name="connsiteY4440" fmla="*/ 740714 h 4503132"/>
              <a:gd name="connsiteX4441" fmla="*/ 2713768 w 4493400"/>
              <a:gd name="connsiteY4441" fmla="*/ 786813 h 4503132"/>
              <a:gd name="connsiteX4442" fmla="*/ 2816576 w 4493400"/>
              <a:gd name="connsiteY4442" fmla="*/ 829207 h 4503132"/>
              <a:gd name="connsiteX4443" fmla="*/ 2922461 w 4493400"/>
              <a:gd name="connsiteY4443" fmla="*/ 871023 h 4503132"/>
              <a:gd name="connsiteX4444" fmla="*/ 3027288 w 4493400"/>
              <a:gd name="connsiteY4444" fmla="*/ 920972 h 4503132"/>
              <a:gd name="connsiteX4445" fmla="*/ 3120478 w 4493400"/>
              <a:gd name="connsiteY4445" fmla="*/ 992526 h 4503132"/>
              <a:gd name="connsiteX4446" fmla="*/ 3137933 w 4493400"/>
              <a:gd name="connsiteY4446" fmla="*/ 1016394 h 4503132"/>
              <a:gd name="connsiteX4447" fmla="*/ 3145002 w 4493400"/>
              <a:gd name="connsiteY4447" fmla="*/ 1029579 h 4503132"/>
              <a:gd name="connsiteX4448" fmla="*/ 3151734 w 4493400"/>
              <a:gd name="connsiteY4448" fmla="*/ 1043005 h 4503132"/>
              <a:gd name="connsiteX4449" fmla="*/ 3157408 w 4493400"/>
              <a:gd name="connsiteY4449" fmla="*/ 1056959 h 4503132"/>
              <a:gd name="connsiteX4450" fmla="*/ 3162697 w 4493400"/>
              <a:gd name="connsiteY4450" fmla="*/ 1071155 h 4503132"/>
              <a:gd name="connsiteX4451" fmla="*/ 3171353 w 4493400"/>
              <a:gd name="connsiteY4451" fmla="*/ 1100316 h 4503132"/>
              <a:gd name="connsiteX4452" fmla="*/ 3189626 w 4493400"/>
              <a:gd name="connsiteY4452" fmla="*/ 1222685 h 4503132"/>
              <a:gd name="connsiteX4453" fmla="*/ 3195588 w 4493400"/>
              <a:gd name="connsiteY4453" fmla="*/ 1479310 h 4503132"/>
              <a:gd name="connsiteX4454" fmla="*/ 3195588 w 4493400"/>
              <a:gd name="connsiteY4454" fmla="*/ 1611015 h 4503132"/>
              <a:gd name="connsiteX4455" fmla="*/ 3176450 w 4493400"/>
              <a:gd name="connsiteY4455" fmla="*/ 1742912 h 4503132"/>
              <a:gd name="connsiteX4456" fmla="*/ 3151974 w 4493400"/>
              <a:gd name="connsiteY4456" fmla="*/ 1805228 h 4503132"/>
              <a:gd name="connsiteX4457" fmla="*/ 3133750 w 4493400"/>
              <a:gd name="connsiteY4457" fmla="*/ 1833330 h 4503132"/>
              <a:gd name="connsiteX4458" fmla="*/ 3110717 w 4493400"/>
              <a:gd name="connsiteY4458" fmla="*/ 1857631 h 4503132"/>
              <a:gd name="connsiteX4459" fmla="*/ 3083115 w 4493400"/>
              <a:gd name="connsiteY4459" fmla="*/ 1876638 h 4503132"/>
              <a:gd name="connsiteX4460" fmla="*/ 3051956 w 4493400"/>
              <a:gd name="connsiteY4460" fmla="*/ 1889582 h 4503132"/>
              <a:gd name="connsiteX4461" fmla="*/ 2984443 w 4493400"/>
              <a:gd name="connsiteY4461" fmla="*/ 1900746 h 4503132"/>
              <a:gd name="connsiteX4462" fmla="*/ 2845908 w 4493400"/>
              <a:gd name="connsiteY4462" fmla="*/ 1884434 h 4503132"/>
              <a:gd name="connsiteX4463" fmla="*/ 2707181 w 4493400"/>
              <a:gd name="connsiteY4463" fmla="*/ 1848440 h 4503132"/>
              <a:gd name="connsiteX4464" fmla="*/ 2562490 w 4493400"/>
              <a:gd name="connsiteY4464" fmla="*/ 1827267 h 4503132"/>
              <a:gd name="connsiteX4465" fmla="*/ 2488486 w 4493400"/>
              <a:gd name="connsiteY4465" fmla="*/ 1834485 h 4503132"/>
              <a:gd name="connsiteX4466" fmla="*/ 2417367 w 4493400"/>
              <a:gd name="connsiteY4466" fmla="*/ 1858304 h 4503132"/>
              <a:gd name="connsiteX4467" fmla="*/ 2386256 w 4493400"/>
              <a:gd name="connsiteY4467" fmla="*/ 1881161 h 4503132"/>
              <a:gd name="connsiteX4468" fmla="*/ 2361780 w 4493400"/>
              <a:gd name="connsiteY4468" fmla="*/ 1910370 h 4503132"/>
              <a:gd name="connsiteX4469" fmla="*/ 2323792 w 4493400"/>
              <a:gd name="connsiteY4469" fmla="*/ 1975958 h 4503132"/>
              <a:gd name="connsiteX4470" fmla="*/ 2268878 w 4493400"/>
              <a:gd name="connsiteY4470" fmla="*/ 2117865 h 4503132"/>
              <a:gd name="connsiteX4471" fmla="*/ 2195259 w 4493400"/>
              <a:gd name="connsiteY4471" fmla="*/ 2418183 h 4503132"/>
              <a:gd name="connsiteX4472" fmla="*/ 2170399 w 4493400"/>
              <a:gd name="connsiteY4472" fmla="*/ 2573611 h 4503132"/>
              <a:gd name="connsiteX4473" fmla="*/ 2165831 w 4493400"/>
              <a:gd name="connsiteY4473" fmla="*/ 2613021 h 4503132"/>
              <a:gd name="connsiteX4474" fmla="*/ 2164003 w 4493400"/>
              <a:gd name="connsiteY4474" fmla="*/ 2632847 h 4503132"/>
              <a:gd name="connsiteX4475" fmla="*/ 2162897 w 4493400"/>
              <a:gd name="connsiteY4475" fmla="*/ 2652913 h 4503132"/>
              <a:gd name="connsiteX4476" fmla="*/ 2165157 w 4493400"/>
              <a:gd name="connsiteY4476" fmla="*/ 2693478 h 4503132"/>
              <a:gd name="connsiteX4477" fmla="*/ 2179246 w 4493400"/>
              <a:gd name="connsiteY4477" fmla="*/ 2732792 h 4503132"/>
              <a:gd name="connsiteX4478" fmla="*/ 2182612 w 4493400"/>
              <a:gd name="connsiteY4478" fmla="*/ 2737123 h 4503132"/>
              <a:gd name="connsiteX4479" fmla="*/ 2184295 w 4493400"/>
              <a:gd name="connsiteY4479" fmla="*/ 2739288 h 4503132"/>
              <a:gd name="connsiteX4480" fmla="*/ 2186315 w 4493400"/>
              <a:gd name="connsiteY4480" fmla="*/ 2741165 h 4503132"/>
              <a:gd name="connsiteX4481" fmla="*/ 2190450 w 4493400"/>
              <a:gd name="connsiteY4481" fmla="*/ 2744870 h 4503132"/>
              <a:gd name="connsiteX4482" fmla="*/ 2195067 w 4493400"/>
              <a:gd name="connsiteY4482" fmla="*/ 2747950 h 4503132"/>
              <a:gd name="connsiteX4483" fmla="*/ 2215647 w 4493400"/>
              <a:gd name="connsiteY4483" fmla="*/ 2755457 h 4503132"/>
              <a:gd name="connsiteX4484" fmla="*/ 2257338 w 4493400"/>
              <a:gd name="connsiteY4484" fmla="*/ 2751318 h 4503132"/>
              <a:gd name="connsiteX4485" fmla="*/ 2331294 w 4493400"/>
              <a:gd name="connsiteY4485" fmla="*/ 2717009 h 4503132"/>
              <a:gd name="connsiteX4486" fmla="*/ 2365723 w 4493400"/>
              <a:gd name="connsiteY4486" fmla="*/ 2695595 h 4503132"/>
              <a:gd name="connsiteX4487" fmla="*/ 2400105 w 4493400"/>
              <a:gd name="connsiteY4487" fmla="*/ 2674807 h 4503132"/>
              <a:gd name="connsiteX4488" fmla="*/ 2435640 w 4493400"/>
              <a:gd name="connsiteY4488" fmla="*/ 2655607 h 4503132"/>
              <a:gd name="connsiteX4489" fmla="*/ 2471993 w 4493400"/>
              <a:gd name="connsiteY4489" fmla="*/ 2637851 h 4503132"/>
              <a:gd name="connsiteX4490" fmla="*/ 2623848 w 4493400"/>
              <a:gd name="connsiteY4490" fmla="*/ 2578856 h 4503132"/>
              <a:gd name="connsiteX4491" fmla="*/ 2781954 w 4493400"/>
              <a:gd name="connsiteY4491" fmla="*/ 2531939 h 4503132"/>
              <a:gd name="connsiteX4492" fmla="*/ 2941359 w 4493400"/>
              <a:gd name="connsiteY4492" fmla="*/ 2482231 h 4503132"/>
              <a:gd name="connsiteX4493" fmla="*/ 2951264 w 4493400"/>
              <a:gd name="connsiteY4493" fmla="*/ 2478669 h 4503132"/>
              <a:gd name="connsiteX4494" fmla="*/ 2961074 w 4493400"/>
              <a:gd name="connsiteY4494" fmla="*/ 2474820 h 4503132"/>
              <a:gd name="connsiteX4495" fmla="*/ 2980645 w 4493400"/>
              <a:gd name="connsiteY4495" fmla="*/ 2467073 h 4503132"/>
              <a:gd name="connsiteX4496" fmla="*/ 3000023 w 4493400"/>
              <a:gd name="connsiteY4496" fmla="*/ 2458796 h 4503132"/>
              <a:gd name="connsiteX4497" fmla="*/ 3019305 w 4493400"/>
              <a:gd name="connsiteY4497" fmla="*/ 2450231 h 4503132"/>
              <a:gd name="connsiteX4498" fmla="*/ 3091050 w 4493400"/>
              <a:gd name="connsiteY4498" fmla="*/ 2404180 h 4503132"/>
              <a:gd name="connsiteX4499" fmla="*/ 3213957 w 4493400"/>
              <a:gd name="connsiteY4499" fmla="*/ 2287199 h 4503132"/>
              <a:gd name="connsiteX4500" fmla="*/ 3279546 w 4493400"/>
              <a:gd name="connsiteY4500" fmla="*/ 2234171 h 4503132"/>
              <a:gd name="connsiteX4501" fmla="*/ 3353742 w 4493400"/>
              <a:gd name="connsiteY4501" fmla="*/ 2194183 h 4503132"/>
              <a:gd name="connsiteX4502" fmla="*/ 3517715 w 4493400"/>
              <a:gd name="connsiteY4502" fmla="*/ 2147074 h 4503132"/>
              <a:gd name="connsiteX4503" fmla="*/ 3688708 w 4493400"/>
              <a:gd name="connsiteY4503" fmla="*/ 2125083 h 4503132"/>
              <a:gd name="connsiteX4504" fmla="*/ 3731889 w 4493400"/>
              <a:gd name="connsiteY4504" fmla="*/ 2122773 h 4503132"/>
              <a:gd name="connsiteX4505" fmla="*/ 3775214 w 4493400"/>
              <a:gd name="connsiteY4505" fmla="*/ 2122436 h 4503132"/>
              <a:gd name="connsiteX4506" fmla="*/ 3862587 w 4493400"/>
              <a:gd name="connsiteY4506" fmla="*/ 2123591 h 4503132"/>
              <a:gd name="connsiteX4507" fmla="*/ 3950776 w 4493400"/>
              <a:gd name="connsiteY4507" fmla="*/ 2114256 h 4503132"/>
              <a:gd name="connsiteX4508" fmla="*/ 3992562 w 4493400"/>
              <a:gd name="connsiteY4508" fmla="*/ 2096740 h 4503132"/>
              <a:gd name="connsiteX4509" fmla="*/ 4010835 w 4493400"/>
              <a:gd name="connsiteY4509" fmla="*/ 2082881 h 4503132"/>
              <a:gd name="connsiteX4510" fmla="*/ 4026126 w 4493400"/>
              <a:gd name="connsiteY4510" fmla="*/ 2065702 h 4503132"/>
              <a:gd name="connsiteX4511" fmla="*/ 4053343 w 4493400"/>
              <a:gd name="connsiteY4511" fmla="*/ 2010412 h 4503132"/>
              <a:gd name="connsiteX4512" fmla="*/ 4068826 w 4493400"/>
              <a:gd name="connsiteY4512" fmla="*/ 1951706 h 4503132"/>
              <a:gd name="connsiteX4513" fmla="*/ 4091090 w 4493400"/>
              <a:gd name="connsiteY4513" fmla="*/ 1833907 h 4503132"/>
              <a:gd name="connsiteX4514" fmla="*/ 4115662 w 4493400"/>
              <a:gd name="connsiteY4514" fmla="*/ 1716927 h 4503132"/>
              <a:gd name="connsiteX4515" fmla="*/ 4121865 w 4493400"/>
              <a:gd name="connsiteY4515" fmla="*/ 1657114 h 4503132"/>
              <a:gd name="connsiteX4516" fmla="*/ 4115662 w 4493400"/>
              <a:gd name="connsiteY4516" fmla="*/ 1596819 h 4503132"/>
              <a:gd name="connsiteX4517" fmla="*/ 4092773 w 4493400"/>
              <a:gd name="connsiteY4517" fmla="*/ 1541096 h 4503132"/>
              <a:gd name="connsiteX4518" fmla="*/ 4062720 w 4493400"/>
              <a:gd name="connsiteY4518" fmla="*/ 1489800 h 4503132"/>
              <a:gd name="connsiteX4519" fmla="*/ 4031704 w 4493400"/>
              <a:gd name="connsiteY4519" fmla="*/ 1439803 h 4503132"/>
              <a:gd name="connsiteX4520" fmla="*/ 4001314 w 4493400"/>
              <a:gd name="connsiteY4520" fmla="*/ 1389566 h 4503132"/>
              <a:gd name="connsiteX4521" fmla="*/ 3893025 w 4493400"/>
              <a:gd name="connsiteY4521" fmla="*/ 1183612 h 4503132"/>
              <a:gd name="connsiteX4522" fmla="*/ 3849699 w 4493400"/>
              <a:gd name="connsiteY4522" fmla="*/ 1076544 h 4503132"/>
              <a:gd name="connsiteX4523" fmla="*/ 3810317 w 4493400"/>
              <a:gd name="connsiteY4523" fmla="*/ 968274 h 4503132"/>
              <a:gd name="connsiteX4524" fmla="*/ 3763433 w 4493400"/>
              <a:gd name="connsiteY4524" fmla="*/ 863083 h 4503132"/>
              <a:gd name="connsiteX4525" fmla="*/ 3693276 w 4493400"/>
              <a:gd name="connsiteY4525" fmla="*/ 771896 h 4503132"/>
              <a:gd name="connsiteX4526" fmla="*/ 3682072 w 4493400"/>
              <a:gd name="connsiteY4526" fmla="*/ 762753 h 4503132"/>
              <a:gd name="connsiteX4527" fmla="*/ 3670676 w 4493400"/>
              <a:gd name="connsiteY4527" fmla="*/ 753899 h 4503132"/>
              <a:gd name="connsiteX4528" fmla="*/ 3658655 w 4493400"/>
              <a:gd name="connsiteY4528" fmla="*/ 745911 h 4503132"/>
              <a:gd name="connsiteX4529" fmla="*/ 3646104 w 4493400"/>
              <a:gd name="connsiteY4529" fmla="*/ 738308 h 4503132"/>
              <a:gd name="connsiteX4530" fmla="*/ 3618840 w 4493400"/>
              <a:gd name="connsiteY4530" fmla="*/ 727962 h 4503132"/>
              <a:gd name="connsiteX4531" fmla="*/ 3590805 w 4493400"/>
              <a:gd name="connsiteY4531" fmla="*/ 721466 h 4503132"/>
              <a:gd name="connsiteX4532" fmla="*/ 3533006 w 4493400"/>
              <a:gd name="connsiteY4532" fmla="*/ 720166 h 4503132"/>
              <a:gd name="connsiteX4533" fmla="*/ 3518532 w 4493400"/>
              <a:gd name="connsiteY4533" fmla="*/ 724353 h 4503132"/>
              <a:gd name="connsiteX4534" fmla="*/ 3505117 w 4493400"/>
              <a:gd name="connsiteY4534" fmla="*/ 732485 h 4503132"/>
              <a:gd name="connsiteX4535" fmla="*/ 3495740 w 4493400"/>
              <a:gd name="connsiteY4535" fmla="*/ 745766 h 4503132"/>
              <a:gd name="connsiteX4536" fmla="*/ 3492999 w 4493400"/>
              <a:gd name="connsiteY4536" fmla="*/ 761502 h 4503132"/>
              <a:gd name="connsiteX4537" fmla="*/ 3493720 w 4493400"/>
              <a:gd name="connsiteY4537" fmla="*/ 769153 h 4503132"/>
              <a:gd name="connsiteX4538" fmla="*/ 3495307 w 4493400"/>
              <a:gd name="connsiteY4538" fmla="*/ 776515 h 4503132"/>
              <a:gd name="connsiteX4539" fmla="*/ 3497567 w 4493400"/>
              <a:gd name="connsiteY4539" fmla="*/ 783541 h 4503132"/>
              <a:gd name="connsiteX4540" fmla="*/ 3500116 w 4493400"/>
              <a:gd name="connsiteY4540" fmla="*/ 790374 h 4503132"/>
              <a:gd name="connsiteX4541" fmla="*/ 3506367 w 4493400"/>
              <a:gd name="connsiteY4541" fmla="*/ 803462 h 4503132"/>
              <a:gd name="connsiteX4542" fmla="*/ 3509781 w 4493400"/>
              <a:gd name="connsiteY4542" fmla="*/ 809766 h 4503132"/>
              <a:gd name="connsiteX4543" fmla="*/ 3513580 w 4493400"/>
              <a:gd name="connsiteY4543" fmla="*/ 815829 h 4503132"/>
              <a:gd name="connsiteX4544" fmla="*/ 3546518 w 4493400"/>
              <a:gd name="connsiteY4544" fmla="*/ 861351 h 4503132"/>
              <a:gd name="connsiteX4545" fmla="*/ 3578207 w 4493400"/>
              <a:gd name="connsiteY4545" fmla="*/ 906295 h 4503132"/>
              <a:gd name="connsiteX4546" fmla="*/ 3600567 w 4493400"/>
              <a:gd name="connsiteY4546" fmla="*/ 955281 h 4503132"/>
              <a:gd name="connsiteX4547" fmla="*/ 3605905 w 4493400"/>
              <a:gd name="connsiteY4547" fmla="*/ 981411 h 4503132"/>
              <a:gd name="connsiteX4548" fmla="*/ 3605135 w 4493400"/>
              <a:gd name="connsiteY4548" fmla="*/ 1007299 h 4503132"/>
              <a:gd name="connsiteX4549" fmla="*/ 3594364 w 4493400"/>
              <a:gd name="connsiteY4549" fmla="*/ 1029098 h 4503132"/>
              <a:gd name="connsiteX4550" fmla="*/ 3573206 w 4493400"/>
              <a:gd name="connsiteY4550" fmla="*/ 1041128 h 4503132"/>
              <a:gd name="connsiteX4551" fmla="*/ 3521370 w 4493400"/>
              <a:gd name="connsiteY4551" fmla="*/ 1040021 h 4503132"/>
              <a:gd name="connsiteX4552" fmla="*/ 3470879 w 4493400"/>
              <a:gd name="connsiteY4552" fmla="*/ 1022698 h 4503132"/>
              <a:gd name="connsiteX4553" fmla="*/ 3383219 w 4493400"/>
              <a:gd name="connsiteY4553" fmla="*/ 962740 h 4503132"/>
              <a:gd name="connsiteX4554" fmla="*/ 3352011 w 4493400"/>
              <a:gd name="connsiteY4554" fmla="*/ 920972 h 4503132"/>
              <a:gd name="connsiteX4555" fmla="*/ 3339365 w 4493400"/>
              <a:gd name="connsiteY4555" fmla="*/ 871167 h 4503132"/>
              <a:gd name="connsiteX4556" fmla="*/ 3339461 w 4493400"/>
              <a:gd name="connsiteY4556" fmla="*/ 817898 h 4503132"/>
              <a:gd name="connsiteX4557" fmla="*/ 3332392 w 4493400"/>
              <a:gd name="connsiteY4557" fmla="*/ 763763 h 4503132"/>
              <a:gd name="connsiteX4558" fmla="*/ 3322102 w 4493400"/>
              <a:gd name="connsiteY4558" fmla="*/ 738308 h 4503132"/>
              <a:gd name="connsiteX4559" fmla="*/ 3315033 w 4493400"/>
              <a:gd name="connsiteY4559" fmla="*/ 726422 h 4503132"/>
              <a:gd name="connsiteX4560" fmla="*/ 3306811 w 4493400"/>
              <a:gd name="connsiteY4560" fmla="*/ 715451 h 4503132"/>
              <a:gd name="connsiteX4561" fmla="*/ 3288779 w 4493400"/>
              <a:gd name="connsiteY4561" fmla="*/ 695384 h 4503132"/>
              <a:gd name="connsiteX4562" fmla="*/ 3269448 w 4493400"/>
              <a:gd name="connsiteY4562" fmla="*/ 676954 h 4503132"/>
              <a:gd name="connsiteX4563" fmla="*/ 3188183 w 4493400"/>
              <a:gd name="connsiteY4563" fmla="*/ 609538 h 4503132"/>
              <a:gd name="connsiteX4564" fmla="*/ 3162361 w 4493400"/>
              <a:gd name="connsiteY4564" fmla="*/ 589664 h 4503132"/>
              <a:gd name="connsiteX4565" fmla="*/ 3191934 w 4493400"/>
              <a:gd name="connsiteY4565" fmla="*/ 609201 h 4503132"/>
              <a:gd name="connsiteX4566" fmla="*/ 3323064 w 4493400"/>
              <a:gd name="connsiteY4566" fmla="*/ 675992 h 4503132"/>
              <a:gd name="connsiteX4567" fmla="*/ 3395096 w 4493400"/>
              <a:gd name="connsiteY4567" fmla="*/ 694085 h 4503132"/>
              <a:gd name="connsiteX4568" fmla="*/ 3432315 w 4493400"/>
              <a:gd name="connsiteY4568" fmla="*/ 696972 h 4503132"/>
              <a:gd name="connsiteX4569" fmla="*/ 3469581 w 4493400"/>
              <a:gd name="connsiteY4569" fmla="*/ 695481 h 4503132"/>
              <a:gd name="connsiteX4570" fmla="*/ 3488046 w 4493400"/>
              <a:gd name="connsiteY4570" fmla="*/ 693748 h 4503132"/>
              <a:gd name="connsiteX4571" fmla="*/ 3497230 w 4493400"/>
              <a:gd name="connsiteY4571" fmla="*/ 692882 h 4503132"/>
              <a:gd name="connsiteX4572" fmla="*/ 3506703 w 4493400"/>
              <a:gd name="connsiteY4572" fmla="*/ 691631 h 4503132"/>
              <a:gd name="connsiteX4573" fmla="*/ 3542864 w 4493400"/>
              <a:gd name="connsiteY4573" fmla="*/ 682007 h 4503132"/>
              <a:gd name="connsiteX4574" fmla="*/ 3578111 w 4493400"/>
              <a:gd name="connsiteY4574" fmla="*/ 677339 h 4503132"/>
              <a:gd name="connsiteX4575" fmla="*/ 3612156 w 4493400"/>
              <a:gd name="connsiteY4575" fmla="*/ 687156 h 4503132"/>
              <a:gd name="connsiteX4576" fmla="*/ 3643604 w 4493400"/>
              <a:gd name="connsiteY4576" fmla="*/ 705778 h 4503132"/>
              <a:gd name="connsiteX4577" fmla="*/ 3672023 w 4493400"/>
              <a:gd name="connsiteY4577" fmla="*/ 729020 h 4503132"/>
              <a:gd name="connsiteX4578" fmla="*/ 3720252 w 4493400"/>
              <a:gd name="connsiteY4578" fmla="*/ 784888 h 4503132"/>
              <a:gd name="connsiteX4579" fmla="*/ 3792189 w 4493400"/>
              <a:gd name="connsiteY4579" fmla="*/ 915486 h 4503132"/>
              <a:gd name="connsiteX4580" fmla="*/ 3848593 w 4493400"/>
              <a:gd name="connsiteY4580" fmla="*/ 1055275 h 4503132"/>
              <a:gd name="connsiteX4581" fmla="*/ 3905768 w 4493400"/>
              <a:gd name="connsiteY4581" fmla="*/ 1196123 h 4503132"/>
              <a:gd name="connsiteX4582" fmla="*/ 3973617 w 4493400"/>
              <a:gd name="connsiteY4582" fmla="*/ 1333265 h 4503132"/>
              <a:gd name="connsiteX4583" fmla="*/ 4065893 w 4493400"/>
              <a:gd name="connsiteY4583" fmla="*/ 1456790 h 4503132"/>
              <a:gd name="connsiteX4584" fmla="*/ 4081281 w 4493400"/>
              <a:gd name="connsiteY4584" fmla="*/ 1469060 h 4503132"/>
              <a:gd name="connsiteX4585" fmla="*/ 4090032 w 4493400"/>
              <a:gd name="connsiteY4585" fmla="*/ 1474257 h 4503132"/>
              <a:gd name="connsiteX4586" fmla="*/ 4099409 w 4493400"/>
              <a:gd name="connsiteY4586" fmla="*/ 1478203 h 4503132"/>
              <a:gd name="connsiteX4587" fmla="*/ 4138503 w 4493400"/>
              <a:gd name="connsiteY4587" fmla="*/ 1483881 h 4503132"/>
              <a:gd name="connsiteX4588" fmla="*/ 4173173 w 4493400"/>
              <a:gd name="connsiteY4588" fmla="*/ 1492784 h 4503132"/>
              <a:gd name="connsiteX4589" fmla="*/ 4192744 w 4493400"/>
              <a:gd name="connsiteY4589" fmla="*/ 1522185 h 4503132"/>
              <a:gd name="connsiteX4590" fmla="*/ 4194571 w 4493400"/>
              <a:gd name="connsiteY4590" fmla="*/ 1558708 h 4503132"/>
              <a:gd name="connsiteX4591" fmla="*/ 4184473 w 4493400"/>
              <a:gd name="connsiteY4591" fmla="*/ 1595183 h 4503132"/>
              <a:gd name="connsiteX4592" fmla="*/ 4169374 w 4493400"/>
              <a:gd name="connsiteY4592" fmla="*/ 1630792 h 4503132"/>
              <a:gd name="connsiteX4593" fmla="*/ 4165671 w 4493400"/>
              <a:gd name="connsiteY4593" fmla="*/ 1640031 h 4503132"/>
              <a:gd name="connsiteX4594" fmla="*/ 4162979 w 4493400"/>
              <a:gd name="connsiteY4594" fmla="*/ 1649896 h 4503132"/>
              <a:gd name="connsiteX4595" fmla="*/ 4158939 w 4493400"/>
              <a:gd name="connsiteY4595" fmla="*/ 1668903 h 4503132"/>
              <a:gd name="connsiteX4596" fmla="*/ 4126193 w 4493400"/>
              <a:gd name="connsiteY4596" fmla="*/ 1821492 h 4503132"/>
              <a:gd name="connsiteX4597" fmla="*/ 4110998 w 4493400"/>
              <a:gd name="connsiteY4597" fmla="*/ 1898485 h 4503132"/>
              <a:gd name="connsiteX4598" fmla="*/ 4098928 w 4493400"/>
              <a:gd name="connsiteY4598" fmla="*/ 1976199 h 4503132"/>
              <a:gd name="connsiteX4599" fmla="*/ 4083829 w 4493400"/>
              <a:gd name="connsiteY4599" fmla="*/ 2052950 h 4503132"/>
              <a:gd name="connsiteX4600" fmla="*/ 4078251 w 4493400"/>
              <a:gd name="connsiteY4600" fmla="*/ 2071621 h 4503132"/>
              <a:gd name="connsiteX4601" fmla="*/ 4074885 w 4493400"/>
              <a:gd name="connsiteY4601" fmla="*/ 2080716 h 4503132"/>
              <a:gd name="connsiteX4602" fmla="*/ 4071231 w 4493400"/>
              <a:gd name="connsiteY4602" fmla="*/ 2089666 h 4503132"/>
              <a:gd name="connsiteX4603" fmla="*/ 4067240 w 4493400"/>
              <a:gd name="connsiteY4603" fmla="*/ 2098472 h 4503132"/>
              <a:gd name="connsiteX4604" fmla="*/ 4062575 w 4493400"/>
              <a:gd name="connsiteY4604" fmla="*/ 2106845 h 4503132"/>
              <a:gd name="connsiteX4605" fmla="*/ 4060219 w 4493400"/>
              <a:gd name="connsiteY4605" fmla="*/ 2111032 h 4503132"/>
              <a:gd name="connsiteX4606" fmla="*/ 4057478 w 4493400"/>
              <a:gd name="connsiteY4606" fmla="*/ 2114929 h 4503132"/>
              <a:gd name="connsiteX4607" fmla="*/ 4051900 w 4493400"/>
              <a:gd name="connsiteY4607" fmla="*/ 2122677 h 4503132"/>
              <a:gd name="connsiteX4608" fmla="*/ 4045601 w 4493400"/>
              <a:gd name="connsiteY4608" fmla="*/ 2129750 h 4503132"/>
              <a:gd name="connsiteX4609" fmla="*/ 4038581 w 4493400"/>
              <a:gd name="connsiteY4609" fmla="*/ 2136150 h 4503132"/>
              <a:gd name="connsiteX4610" fmla="*/ 4023193 w 4493400"/>
              <a:gd name="connsiteY4610" fmla="*/ 2147410 h 4503132"/>
              <a:gd name="connsiteX4611" fmla="*/ 4014778 w 4493400"/>
              <a:gd name="connsiteY4611" fmla="*/ 2152030 h 4503132"/>
              <a:gd name="connsiteX4612" fmla="*/ 4006171 w 4493400"/>
              <a:gd name="connsiteY4612" fmla="*/ 2156313 h 4503132"/>
              <a:gd name="connsiteX4613" fmla="*/ 3988090 w 4493400"/>
              <a:gd name="connsiteY4613" fmla="*/ 2163194 h 4503132"/>
              <a:gd name="connsiteX4614" fmla="*/ 3911297 w 4493400"/>
              <a:gd name="connsiteY4614" fmla="*/ 2178159 h 4503132"/>
              <a:gd name="connsiteX4615" fmla="*/ 3752662 w 4493400"/>
              <a:gd name="connsiteY4615" fmla="*/ 2182490 h 4503132"/>
              <a:gd name="connsiteX4616" fmla="*/ 3592440 w 4493400"/>
              <a:gd name="connsiteY4616" fmla="*/ 2184319 h 4503132"/>
              <a:gd name="connsiteX4617" fmla="*/ 3432747 w 4493400"/>
              <a:gd name="connsiteY4617" fmla="*/ 2207946 h 4503132"/>
              <a:gd name="connsiteX4618" fmla="*/ 3357060 w 4493400"/>
              <a:gd name="connsiteY4618" fmla="*/ 2238117 h 4503132"/>
              <a:gd name="connsiteX4619" fmla="*/ 3290269 w 4493400"/>
              <a:gd name="connsiteY4619" fmla="*/ 2285082 h 4503132"/>
              <a:gd name="connsiteX4620" fmla="*/ 3230979 w 4493400"/>
              <a:gd name="connsiteY4620" fmla="*/ 2340998 h 4503132"/>
              <a:gd name="connsiteX4621" fmla="*/ 3174671 w 4493400"/>
              <a:gd name="connsiteY4621" fmla="*/ 2399753 h 4503132"/>
              <a:gd name="connsiteX4622" fmla="*/ 3115958 w 4493400"/>
              <a:gd name="connsiteY4622" fmla="*/ 2455524 h 4503132"/>
              <a:gd name="connsiteX4623" fmla="*/ 3099994 w 4493400"/>
              <a:gd name="connsiteY4623" fmla="*/ 2467698 h 4503132"/>
              <a:gd name="connsiteX4624" fmla="*/ 3083115 w 4493400"/>
              <a:gd name="connsiteY4624" fmla="*/ 2478333 h 4503132"/>
              <a:gd name="connsiteX4625" fmla="*/ 3074172 w 4493400"/>
              <a:gd name="connsiteY4625" fmla="*/ 2482904 h 4503132"/>
              <a:gd name="connsiteX4626" fmla="*/ 3065035 w 4493400"/>
              <a:gd name="connsiteY4626" fmla="*/ 2487187 h 4503132"/>
              <a:gd name="connsiteX4627" fmla="*/ 3055899 w 4493400"/>
              <a:gd name="connsiteY4627" fmla="*/ 2491470 h 4503132"/>
              <a:gd name="connsiteX4628" fmla="*/ 3046474 w 4493400"/>
              <a:gd name="connsiteY4628" fmla="*/ 2495175 h 4503132"/>
              <a:gd name="connsiteX4629" fmla="*/ 2889378 w 4493400"/>
              <a:gd name="connsiteY4629" fmla="*/ 2538820 h 4503132"/>
              <a:gd name="connsiteX4630" fmla="*/ 2728386 w 4493400"/>
              <a:gd name="connsiteY4630" fmla="*/ 2574525 h 4503132"/>
              <a:gd name="connsiteX4631" fmla="*/ 2571338 w 4493400"/>
              <a:gd name="connsiteY4631" fmla="*/ 2628660 h 4503132"/>
              <a:gd name="connsiteX4632" fmla="*/ 2552489 w 4493400"/>
              <a:gd name="connsiteY4632" fmla="*/ 2637707 h 4503132"/>
              <a:gd name="connsiteX4633" fmla="*/ 2534120 w 4493400"/>
              <a:gd name="connsiteY4633" fmla="*/ 2647620 h 4503132"/>
              <a:gd name="connsiteX4634" fmla="*/ 2497959 w 4493400"/>
              <a:gd name="connsiteY4634" fmla="*/ 2668552 h 4503132"/>
              <a:gd name="connsiteX4635" fmla="*/ 2489015 w 4493400"/>
              <a:gd name="connsiteY4635" fmla="*/ 2673989 h 4503132"/>
              <a:gd name="connsiteX4636" fmla="*/ 2480312 w 4493400"/>
              <a:gd name="connsiteY4636" fmla="*/ 2679812 h 4503132"/>
              <a:gd name="connsiteX4637" fmla="*/ 2462953 w 4493400"/>
              <a:gd name="connsiteY4637" fmla="*/ 2691505 h 4503132"/>
              <a:gd name="connsiteX4638" fmla="*/ 2429677 w 4493400"/>
              <a:gd name="connsiteY4638" fmla="*/ 2717057 h 4503132"/>
              <a:gd name="connsiteX4639" fmla="*/ 2308742 w 4493400"/>
              <a:gd name="connsiteY4639" fmla="*/ 2832690 h 4503132"/>
              <a:gd name="connsiteX4640" fmla="*/ 2243633 w 4493400"/>
              <a:gd name="connsiteY4640" fmla="*/ 2884274 h 4503132"/>
              <a:gd name="connsiteX4641" fmla="*/ 2226226 w 4493400"/>
              <a:gd name="connsiteY4641" fmla="*/ 2895679 h 4503132"/>
              <a:gd name="connsiteX4642" fmla="*/ 2208242 w 4493400"/>
              <a:gd name="connsiteY4642" fmla="*/ 2906217 h 4503132"/>
              <a:gd name="connsiteX4643" fmla="*/ 2171264 w 4493400"/>
              <a:gd name="connsiteY4643" fmla="*/ 2925080 h 4503132"/>
              <a:gd name="connsiteX4644" fmla="*/ 2132170 w 4493400"/>
              <a:gd name="connsiteY4644" fmla="*/ 2937447 h 4503132"/>
              <a:gd name="connsiteX4645" fmla="*/ 2092884 w 4493400"/>
              <a:gd name="connsiteY4645" fmla="*/ 2935667 h 4503132"/>
              <a:gd name="connsiteX4646" fmla="*/ 2064177 w 4493400"/>
              <a:gd name="connsiteY4646" fmla="*/ 2910548 h 4503132"/>
              <a:gd name="connsiteX4647" fmla="*/ 2051579 w 4493400"/>
              <a:gd name="connsiteY4647" fmla="*/ 2872100 h 4503132"/>
              <a:gd name="connsiteX4648" fmla="*/ 2050040 w 4493400"/>
              <a:gd name="connsiteY4648" fmla="*/ 2788804 h 4503132"/>
              <a:gd name="connsiteX4649" fmla="*/ 2061677 w 4493400"/>
              <a:gd name="connsiteY4649" fmla="*/ 2705267 h 4503132"/>
              <a:gd name="connsiteX4650" fmla="*/ 2100915 w 4493400"/>
              <a:gd name="connsiteY4650" fmla="*/ 2540119 h 4503132"/>
              <a:gd name="connsiteX4651" fmla="*/ 2148520 w 4493400"/>
              <a:gd name="connsiteY4651" fmla="*/ 2375933 h 4503132"/>
              <a:gd name="connsiteX4652" fmla="*/ 2153905 w 4493400"/>
              <a:gd name="connsiteY4652" fmla="*/ 2355001 h 4503132"/>
              <a:gd name="connsiteX4653" fmla="*/ 2158377 w 4493400"/>
              <a:gd name="connsiteY4653" fmla="*/ 2333972 h 4503132"/>
              <a:gd name="connsiteX4654" fmla="*/ 2166985 w 4493400"/>
              <a:gd name="connsiteY4654" fmla="*/ 2291915 h 4503132"/>
              <a:gd name="connsiteX4655" fmla="*/ 2183430 w 4493400"/>
              <a:gd name="connsiteY4655" fmla="*/ 2207512 h 4503132"/>
              <a:gd name="connsiteX4656" fmla="*/ 2219831 w 4493400"/>
              <a:gd name="connsiteY4656" fmla="*/ 2039332 h 4503132"/>
              <a:gd name="connsiteX4657" fmla="*/ 2246182 w 4493400"/>
              <a:gd name="connsiteY4657" fmla="*/ 1957576 h 4503132"/>
              <a:gd name="connsiteX4658" fmla="*/ 2285708 w 4493400"/>
              <a:gd name="connsiteY4658" fmla="*/ 1881883 h 4503132"/>
              <a:gd name="connsiteX4659" fmla="*/ 2312925 w 4493400"/>
              <a:gd name="connsiteY4659" fmla="*/ 1849210 h 4503132"/>
              <a:gd name="connsiteX4660" fmla="*/ 2345816 w 4493400"/>
              <a:gd name="connsiteY4660" fmla="*/ 1822407 h 4503132"/>
              <a:gd name="connsiteX4661" fmla="*/ 2383515 w 4493400"/>
              <a:gd name="connsiteY4661" fmla="*/ 1802822 h 4503132"/>
              <a:gd name="connsiteX4662" fmla="*/ 2393421 w 4493400"/>
              <a:gd name="connsiteY4662" fmla="*/ 1798780 h 4503132"/>
              <a:gd name="connsiteX4663" fmla="*/ 2403615 w 4493400"/>
              <a:gd name="connsiteY4663" fmla="*/ 1795459 h 4503132"/>
              <a:gd name="connsiteX4664" fmla="*/ 2413809 w 4493400"/>
              <a:gd name="connsiteY4664" fmla="*/ 1792139 h 4503132"/>
              <a:gd name="connsiteX4665" fmla="*/ 2424195 w 4493400"/>
              <a:gd name="connsiteY4665" fmla="*/ 1789541 h 4503132"/>
              <a:gd name="connsiteX4666" fmla="*/ 2595718 w 4493400"/>
              <a:gd name="connsiteY4666" fmla="*/ 1785739 h 4503132"/>
              <a:gd name="connsiteX4667" fmla="*/ 2766519 w 4493400"/>
              <a:gd name="connsiteY4667" fmla="*/ 1822262 h 4503132"/>
              <a:gd name="connsiteX4668" fmla="*/ 2852496 w 4493400"/>
              <a:gd name="connsiteY4668" fmla="*/ 1841462 h 4503132"/>
              <a:gd name="connsiteX4669" fmla="*/ 2940541 w 4493400"/>
              <a:gd name="connsiteY4669" fmla="*/ 1852097 h 4503132"/>
              <a:gd name="connsiteX4670" fmla="*/ 2962901 w 4493400"/>
              <a:gd name="connsiteY4670" fmla="*/ 1851904 h 4503132"/>
              <a:gd name="connsiteX4671" fmla="*/ 2974105 w 4493400"/>
              <a:gd name="connsiteY4671" fmla="*/ 1851279 h 4503132"/>
              <a:gd name="connsiteX4672" fmla="*/ 2985261 w 4493400"/>
              <a:gd name="connsiteY4672" fmla="*/ 1849980 h 4503132"/>
              <a:gd name="connsiteX4673" fmla="*/ 2990839 w 4493400"/>
              <a:gd name="connsiteY4673" fmla="*/ 1849306 h 4503132"/>
              <a:gd name="connsiteX4674" fmla="*/ 2996369 w 4493400"/>
              <a:gd name="connsiteY4674" fmla="*/ 1848247 h 4503132"/>
              <a:gd name="connsiteX4675" fmla="*/ 3007428 w 4493400"/>
              <a:gd name="connsiteY4675" fmla="*/ 1846082 h 4503132"/>
              <a:gd name="connsiteX4676" fmla="*/ 3018296 w 4493400"/>
              <a:gd name="connsiteY4676" fmla="*/ 1843002 h 4503132"/>
              <a:gd name="connsiteX4677" fmla="*/ 3023730 w 4493400"/>
              <a:gd name="connsiteY4677" fmla="*/ 1841462 h 4503132"/>
              <a:gd name="connsiteX4678" fmla="*/ 3029019 w 4493400"/>
              <a:gd name="connsiteY4678" fmla="*/ 1839489 h 4503132"/>
              <a:gd name="connsiteX4679" fmla="*/ 3104225 w 4493400"/>
              <a:gd name="connsiteY4679" fmla="*/ 1790551 h 4503132"/>
              <a:gd name="connsiteX4680" fmla="*/ 3151782 w 4493400"/>
              <a:gd name="connsiteY4680" fmla="*/ 1714377 h 4503132"/>
              <a:gd name="connsiteX4681" fmla="*/ 3174911 w 4493400"/>
              <a:gd name="connsiteY4681" fmla="*/ 1627761 h 4503132"/>
              <a:gd name="connsiteX4682" fmla="*/ 3180826 w 4493400"/>
              <a:gd name="connsiteY4682" fmla="*/ 1449139 h 4503132"/>
              <a:gd name="connsiteX4683" fmla="*/ 1552688 w 4493400"/>
              <a:gd name="connsiteY4683" fmla="*/ 306814 h 4503132"/>
              <a:gd name="connsiteX4684" fmla="*/ 1558603 w 4493400"/>
              <a:gd name="connsiteY4684" fmla="*/ 314754 h 4503132"/>
              <a:gd name="connsiteX4685" fmla="*/ 1573606 w 4493400"/>
              <a:gd name="connsiteY4685" fmla="*/ 321587 h 4503132"/>
              <a:gd name="connsiteX4686" fmla="*/ 1588608 w 4493400"/>
              <a:gd name="connsiteY4686" fmla="*/ 324378 h 4503132"/>
              <a:gd name="connsiteX4687" fmla="*/ 1647706 w 4493400"/>
              <a:gd name="connsiteY4687" fmla="*/ 325244 h 4503132"/>
              <a:gd name="connsiteX4688" fmla="*/ 1706130 w 4493400"/>
              <a:gd name="connsiteY4688" fmla="*/ 320240 h 4503132"/>
              <a:gd name="connsiteX4689" fmla="*/ 1937086 w 4493400"/>
              <a:gd name="connsiteY4689" fmla="*/ 280589 h 4503132"/>
              <a:gd name="connsiteX4690" fmla="*/ 1994308 w 4493400"/>
              <a:gd name="connsiteY4690" fmla="*/ 267211 h 4503132"/>
              <a:gd name="connsiteX4691" fmla="*/ 2022775 w 4493400"/>
              <a:gd name="connsiteY4691" fmla="*/ 259753 h 4503132"/>
              <a:gd name="connsiteX4692" fmla="*/ 2051146 w 4493400"/>
              <a:gd name="connsiteY4692" fmla="*/ 251043 h 4503132"/>
              <a:gd name="connsiteX4693" fmla="*/ 2104617 w 4493400"/>
              <a:gd name="connsiteY4693" fmla="*/ 224144 h 4503132"/>
              <a:gd name="connsiteX4694" fmla="*/ 2151453 w 4493400"/>
              <a:gd name="connsiteY4694" fmla="*/ 188198 h 4503132"/>
              <a:gd name="connsiteX4695" fmla="*/ 2201270 w 4493400"/>
              <a:gd name="connsiteY4695" fmla="*/ 161010 h 4503132"/>
              <a:gd name="connsiteX4696" fmla="*/ 2208050 w 4493400"/>
              <a:gd name="connsiteY4696" fmla="*/ 158941 h 4503132"/>
              <a:gd name="connsiteX4697" fmla="*/ 2215022 w 4493400"/>
              <a:gd name="connsiteY4697" fmla="*/ 157497 h 4503132"/>
              <a:gd name="connsiteX4698" fmla="*/ 2229063 w 4493400"/>
              <a:gd name="connsiteY4698" fmla="*/ 155332 h 4503132"/>
              <a:gd name="connsiteX4699" fmla="*/ 2243345 w 4493400"/>
              <a:gd name="connsiteY4699" fmla="*/ 154321 h 4503132"/>
              <a:gd name="connsiteX4700" fmla="*/ 2257722 w 4493400"/>
              <a:gd name="connsiteY4700" fmla="*/ 154562 h 4503132"/>
              <a:gd name="connsiteX4701" fmla="*/ 2285901 w 4493400"/>
              <a:gd name="connsiteY4701" fmla="*/ 158171 h 4503132"/>
              <a:gd name="connsiteX4702" fmla="*/ 2310088 w 4493400"/>
              <a:gd name="connsiteY4702" fmla="*/ 169624 h 4503132"/>
              <a:gd name="connsiteX4703" fmla="*/ 2320715 w 4493400"/>
              <a:gd name="connsiteY4703" fmla="*/ 192192 h 4503132"/>
              <a:gd name="connsiteX4704" fmla="*/ 2316964 w 4493400"/>
              <a:gd name="connsiteY4704" fmla="*/ 219572 h 4503132"/>
              <a:gd name="connsiteX4705" fmla="*/ 2270369 w 4493400"/>
              <a:gd name="connsiteY4705" fmla="*/ 326110 h 4503132"/>
              <a:gd name="connsiteX4706" fmla="*/ 2233439 w 4493400"/>
              <a:gd name="connsiteY4706" fmla="*/ 370621 h 4503132"/>
              <a:gd name="connsiteX4707" fmla="*/ 2222668 w 4493400"/>
              <a:gd name="connsiteY4707" fmla="*/ 380342 h 4503132"/>
              <a:gd name="connsiteX4708" fmla="*/ 2211272 w 4493400"/>
              <a:gd name="connsiteY4708" fmla="*/ 389292 h 4503132"/>
              <a:gd name="connsiteX4709" fmla="*/ 2187277 w 4493400"/>
              <a:gd name="connsiteY4709" fmla="*/ 405749 h 4503132"/>
              <a:gd name="connsiteX4710" fmla="*/ 2079949 w 4493400"/>
              <a:gd name="connsiteY4710" fmla="*/ 452233 h 4503132"/>
              <a:gd name="connsiteX4711" fmla="*/ 2051579 w 4493400"/>
              <a:gd name="connsiteY4711" fmla="*/ 460269 h 4503132"/>
              <a:gd name="connsiteX4712" fmla="*/ 2022919 w 4493400"/>
              <a:gd name="connsiteY4712" fmla="*/ 467343 h 4503132"/>
              <a:gd name="connsiteX4713" fmla="*/ 1965024 w 4493400"/>
              <a:gd name="connsiteY4713" fmla="*/ 478218 h 4503132"/>
              <a:gd name="connsiteX4714" fmla="*/ 1728298 w 4493400"/>
              <a:gd name="connsiteY4714" fmla="*/ 506128 h 4503132"/>
              <a:gd name="connsiteX4715" fmla="*/ 1698965 w 4493400"/>
              <a:gd name="connsiteY4715" fmla="*/ 512865 h 4503132"/>
              <a:gd name="connsiteX4716" fmla="*/ 1669969 w 4493400"/>
              <a:gd name="connsiteY4716" fmla="*/ 521719 h 4503132"/>
              <a:gd name="connsiteX4717" fmla="*/ 1614719 w 4493400"/>
              <a:gd name="connsiteY4717" fmla="*/ 545635 h 4503132"/>
              <a:gd name="connsiteX4718" fmla="*/ 1509074 w 4493400"/>
              <a:gd name="connsiteY4718" fmla="*/ 602368 h 4503132"/>
              <a:gd name="connsiteX4719" fmla="*/ 1404584 w 4493400"/>
              <a:gd name="connsiteY4719" fmla="*/ 660738 h 4503132"/>
              <a:gd name="connsiteX4720" fmla="*/ 1351353 w 4493400"/>
              <a:gd name="connsiteY4720" fmla="*/ 687733 h 4503132"/>
              <a:gd name="connsiteX4721" fmla="*/ 1296439 w 4493400"/>
              <a:gd name="connsiteY4721" fmla="*/ 710205 h 4503132"/>
              <a:gd name="connsiteX4722" fmla="*/ 1268116 w 4493400"/>
              <a:gd name="connsiteY4722" fmla="*/ 717472 h 4503132"/>
              <a:gd name="connsiteX4723" fmla="*/ 1239938 w 4493400"/>
              <a:gd name="connsiteY4723" fmla="*/ 718242 h 4503132"/>
              <a:gd name="connsiteX4724" fmla="*/ 1227724 w 4493400"/>
              <a:gd name="connsiteY4724" fmla="*/ 714055 h 4503132"/>
              <a:gd name="connsiteX4725" fmla="*/ 1222771 w 4493400"/>
              <a:gd name="connsiteY4725" fmla="*/ 705297 h 4503132"/>
              <a:gd name="connsiteX4726" fmla="*/ 1228542 w 4493400"/>
              <a:gd name="connsiteY4726" fmla="*/ 678591 h 4503132"/>
              <a:gd name="connsiteX4727" fmla="*/ 1255758 w 4493400"/>
              <a:gd name="connsiteY4727" fmla="*/ 625851 h 4503132"/>
              <a:gd name="connsiteX4728" fmla="*/ 1286581 w 4493400"/>
              <a:gd name="connsiteY4728" fmla="*/ 574025 h 4503132"/>
              <a:gd name="connsiteX4729" fmla="*/ 1301199 w 4493400"/>
              <a:gd name="connsiteY4729" fmla="*/ 547319 h 4503132"/>
              <a:gd name="connsiteX4730" fmla="*/ 1312596 w 4493400"/>
              <a:gd name="connsiteY4730" fmla="*/ 518158 h 4503132"/>
              <a:gd name="connsiteX4731" fmla="*/ 1313317 w 4493400"/>
              <a:gd name="connsiteY4731" fmla="*/ 485917 h 4503132"/>
              <a:gd name="connsiteX4732" fmla="*/ 1306489 w 4493400"/>
              <a:gd name="connsiteY4732" fmla="*/ 470567 h 4503132"/>
              <a:gd name="connsiteX4733" fmla="*/ 1295718 w 4493400"/>
              <a:gd name="connsiteY4733" fmla="*/ 458393 h 4503132"/>
              <a:gd name="connsiteX4734" fmla="*/ 1276195 w 4493400"/>
              <a:gd name="connsiteY4734" fmla="*/ 438086 h 4503132"/>
              <a:gd name="connsiteX4735" fmla="*/ 1276964 w 4493400"/>
              <a:gd name="connsiteY4735" fmla="*/ 412871 h 4503132"/>
              <a:gd name="connsiteX4736" fmla="*/ 1291294 w 4493400"/>
              <a:gd name="connsiteY4736" fmla="*/ 388426 h 4503132"/>
              <a:gd name="connsiteX4737" fmla="*/ 1311875 w 4493400"/>
              <a:gd name="connsiteY4737" fmla="*/ 367205 h 4503132"/>
              <a:gd name="connsiteX4738" fmla="*/ 1356498 w 4493400"/>
              <a:gd name="connsiteY4738" fmla="*/ 326255 h 4503132"/>
              <a:gd name="connsiteX4739" fmla="*/ 1377656 w 4493400"/>
              <a:gd name="connsiteY4739" fmla="*/ 303975 h 4503132"/>
              <a:gd name="connsiteX4740" fmla="*/ 1397563 w 4493400"/>
              <a:gd name="connsiteY4740" fmla="*/ 281407 h 4503132"/>
              <a:gd name="connsiteX4741" fmla="*/ 1437763 w 4493400"/>
              <a:gd name="connsiteY4741" fmla="*/ 238291 h 4503132"/>
              <a:gd name="connsiteX4742" fmla="*/ 1436609 w 4493400"/>
              <a:gd name="connsiteY4742" fmla="*/ 243488 h 4503132"/>
              <a:gd name="connsiteX4743" fmla="*/ 1430550 w 4493400"/>
              <a:gd name="connsiteY4743" fmla="*/ 287037 h 4503132"/>
              <a:gd name="connsiteX4744" fmla="*/ 1418336 w 4493400"/>
              <a:gd name="connsiteY4744" fmla="*/ 306670 h 4503132"/>
              <a:gd name="connsiteX4745" fmla="*/ 1400929 w 4493400"/>
              <a:gd name="connsiteY4745" fmla="*/ 324234 h 4503132"/>
              <a:gd name="connsiteX4746" fmla="*/ 1359095 w 4493400"/>
              <a:gd name="connsiteY4746" fmla="*/ 357629 h 4503132"/>
              <a:gd name="connsiteX4747" fmla="*/ 1339043 w 4493400"/>
              <a:gd name="connsiteY4747" fmla="*/ 378850 h 4503132"/>
              <a:gd name="connsiteX4748" fmla="*/ 1335581 w 4493400"/>
              <a:gd name="connsiteY4748" fmla="*/ 385779 h 4503132"/>
              <a:gd name="connsiteX4749" fmla="*/ 1333369 w 4493400"/>
              <a:gd name="connsiteY4749" fmla="*/ 393430 h 4503132"/>
              <a:gd name="connsiteX4750" fmla="*/ 1333128 w 4493400"/>
              <a:gd name="connsiteY4750" fmla="*/ 401515 h 4503132"/>
              <a:gd name="connsiteX4751" fmla="*/ 1334715 w 4493400"/>
              <a:gd name="connsiteY4751" fmla="*/ 409406 h 4503132"/>
              <a:gd name="connsiteX4752" fmla="*/ 1347794 w 4493400"/>
              <a:gd name="connsiteY4752" fmla="*/ 437460 h 4503132"/>
              <a:gd name="connsiteX4753" fmla="*/ 1355969 w 4493400"/>
              <a:gd name="connsiteY4753" fmla="*/ 466477 h 4503132"/>
              <a:gd name="connsiteX4754" fmla="*/ 1351834 w 4493400"/>
              <a:gd name="connsiteY4754" fmla="*/ 497370 h 4503132"/>
              <a:gd name="connsiteX4755" fmla="*/ 1338706 w 4493400"/>
              <a:gd name="connsiteY4755" fmla="*/ 527589 h 4503132"/>
              <a:gd name="connsiteX4756" fmla="*/ 1305816 w 4493400"/>
              <a:gd name="connsiteY4756" fmla="*/ 589328 h 4503132"/>
              <a:gd name="connsiteX4757" fmla="*/ 1290476 w 4493400"/>
              <a:gd name="connsiteY4757" fmla="*/ 622771 h 4503132"/>
              <a:gd name="connsiteX4758" fmla="*/ 1285091 w 4493400"/>
              <a:gd name="connsiteY4758" fmla="*/ 641201 h 4503132"/>
              <a:gd name="connsiteX4759" fmla="*/ 1286918 w 4493400"/>
              <a:gd name="connsiteY4759" fmla="*/ 662037 h 4503132"/>
              <a:gd name="connsiteX4760" fmla="*/ 1295669 w 4493400"/>
              <a:gd name="connsiteY4760" fmla="*/ 669785 h 4503132"/>
              <a:gd name="connsiteX4761" fmla="*/ 1306152 w 4493400"/>
              <a:gd name="connsiteY4761" fmla="*/ 672094 h 4503132"/>
              <a:gd name="connsiteX4762" fmla="*/ 1316298 w 4493400"/>
              <a:gd name="connsiteY4762" fmla="*/ 672142 h 4503132"/>
              <a:gd name="connsiteX4763" fmla="*/ 1326252 w 4493400"/>
              <a:gd name="connsiteY4763" fmla="*/ 670891 h 4503132"/>
              <a:gd name="connsiteX4764" fmla="*/ 1364384 w 4493400"/>
              <a:gd name="connsiteY4764" fmla="*/ 659583 h 4503132"/>
              <a:gd name="connsiteX4765" fmla="*/ 1437715 w 4493400"/>
              <a:gd name="connsiteY4765" fmla="*/ 624840 h 4503132"/>
              <a:gd name="connsiteX4766" fmla="*/ 1587791 w 4493400"/>
              <a:gd name="connsiteY4766" fmla="*/ 542410 h 4503132"/>
              <a:gd name="connsiteX4767" fmla="*/ 1669969 w 4493400"/>
              <a:gd name="connsiteY4767" fmla="*/ 507475 h 4503132"/>
              <a:gd name="connsiteX4768" fmla="*/ 1760082 w 4493400"/>
              <a:gd name="connsiteY4768" fmla="*/ 485629 h 4503132"/>
              <a:gd name="connsiteX4769" fmla="*/ 1854138 w 4493400"/>
              <a:gd name="connsiteY4769" fmla="*/ 467199 h 4503132"/>
              <a:gd name="connsiteX4770" fmla="*/ 1902224 w 4493400"/>
              <a:gd name="connsiteY4770" fmla="*/ 457286 h 4503132"/>
              <a:gd name="connsiteX4771" fmla="*/ 1950310 w 4493400"/>
              <a:gd name="connsiteY4771" fmla="*/ 442754 h 4503132"/>
              <a:gd name="connsiteX4772" fmla="*/ 2041336 w 4493400"/>
              <a:gd name="connsiteY4772" fmla="*/ 396991 h 4503132"/>
              <a:gd name="connsiteX4773" fmla="*/ 2082642 w 4493400"/>
              <a:gd name="connsiteY4773" fmla="*/ 364655 h 4503132"/>
              <a:gd name="connsiteX4774" fmla="*/ 2099039 w 4493400"/>
              <a:gd name="connsiteY4774" fmla="*/ 342616 h 4503132"/>
              <a:gd name="connsiteX4775" fmla="*/ 2103030 w 4493400"/>
              <a:gd name="connsiteY4775" fmla="*/ 328324 h 4503132"/>
              <a:gd name="connsiteX4776" fmla="*/ 2099809 w 4493400"/>
              <a:gd name="connsiteY4776" fmla="*/ 313022 h 4503132"/>
              <a:gd name="connsiteX4777" fmla="*/ 2089663 w 4493400"/>
              <a:gd name="connsiteY4777" fmla="*/ 301617 h 4503132"/>
              <a:gd name="connsiteX4778" fmla="*/ 2076872 w 4493400"/>
              <a:gd name="connsiteY4778" fmla="*/ 294977 h 4503132"/>
              <a:gd name="connsiteX4779" fmla="*/ 2050088 w 4493400"/>
              <a:gd name="connsiteY4779" fmla="*/ 288913 h 4503132"/>
              <a:gd name="connsiteX4780" fmla="*/ 1996280 w 4493400"/>
              <a:gd name="connsiteY4780" fmla="*/ 287566 h 4503132"/>
              <a:gd name="connsiteX4781" fmla="*/ 1888760 w 4493400"/>
              <a:gd name="connsiteY4781" fmla="*/ 298874 h 4503132"/>
              <a:gd name="connsiteX4782" fmla="*/ 1670883 w 4493400"/>
              <a:gd name="connsiteY4782" fmla="*/ 336167 h 4503132"/>
              <a:gd name="connsiteX4783" fmla="*/ 1559516 w 4493400"/>
              <a:gd name="connsiteY4783" fmla="*/ 351710 h 4503132"/>
              <a:gd name="connsiteX4784" fmla="*/ 1503304 w 4493400"/>
              <a:gd name="connsiteY4784" fmla="*/ 352384 h 4503132"/>
              <a:gd name="connsiteX4785" fmla="*/ 1475991 w 4493400"/>
              <a:gd name="connsiteY4785" fmla="*/ 348197 h 4503132"/>
              <a:gd name="connsiteX4786" fmla="*/ 1463681 w 4493400"/>
              <a:gd name="connsiteY4786" fmla="*/ 343578 h 4503132"/>
              <a:gd name="connsiteX4787" fmla="*/ 1454978 w 4493400"/>
              <a:gd name="connsiteY4787" fmla="*/ 336216 h 4503132"/>
              <a:gd name="connsiteX4788" fmla="*/ 1457671 w 4493400"/>
              <a:gd name="connsiteY4788" fmla="*/ 317016 h 4503132"/>
              <a:gd name="connsiteX4789" fmla="*/ 1464980 w 4493400"/>
              <a:gd name="connsiteY4789" fmla="*/ 308017 h 4503132"/>
              <a:gd name="connsiteX4790" fmla="*/ 1474597 w 4493400"/>
              <a:gd name="connsiteY4790" fmla="*/ 300174 h 4503132"/>
              <a:gd name="connsiteX4791" fmla="*/ 1518788 w 4493400"/>
              <a:gd name="connsiteY4791" fmla="*/ 274237 h 4503132"/>
              <a:gd name="connsiteX4792" fmla="*/ 1612555 w 4493400"/>
              <a:gd name="connsiteY4792" fmla="*/ 231795 h 4503132"/>
              <a:gd name="connsiteX4793" fmla="*/ 1659823 w 4493400"/>
              <a:gd name="connsiteY4793" fmla="*/ 212210 h 4503132"/>
              <a:gd name="connsiteX4794" fmla="*/ 1706755 w 4493400"/>
              <a:gd name="connsiteY4794" fmla="*/ 192048 h 4503132"/>
              <a:gd name="connsiteX4795" fmla="*/ 1778643 w 4493400"/>
              <a:gd name="connsiteY4795" fmla="*/ 157497 h 4503132"/>
              <a:gd name="connsiteX4796" fmla="*/ 1763545 w 4493400"/>
              <a:gd name="connsiteY4796" fmla="*/ 166063 h 4503132"/>
              <a:gd name="connsiteX4797" fmla="*/ 1712093 w 4493400"/>
              <a:gd name="connsiteY4797" fmla="*/ 192336 h 4503132"/>
              <a:gd name="connsiteX4798" fmla="*/ 1608997 w 4493400"/>
              <a:gd name="connsiteY4798" fmla="*/ 246856 h 4503132"/>
              <a:gd name="connsiteX4799" fmla="*/ 1584281 w 4493400"/>
              <a:gd name="connsiteY4799" fmla="*/ 262880 h 4503132"/>
              <a:gd name="connsiteX4800" fmla="*/ 1561296 w 4493400"/>
              <a:gd name="connsiteY4800" fmla="*/ 282417 h 4503132"/>
              <a:gd name="connsiteX4801" fmla="*/ 1552544 w 4493400"/>
              <a:gd name="connsiteY4801" fmla="*/ 296661 h 4503132"/>
              <a:gd name="connsiteX4802" fmla="*/ 1551823 w 4493400"/>
              <a:gd name="connsiteY4802" fmla="*/ 301617 h 4503132"/>
              <a:gd name="connsiteX4803" fmla="*/ 1552736 w 4493400"/>
              <a:gd name="connsiteY4803" fmla="*/ 306814 h 4503132"/>
              <a:gd name="connsiteX4804" fmla="*/ 2245028 w 4493400"/>
              <a:gd name="connsiteY4804" fmla="*/ 11020 h 4503132"/>
              <a:gd name="connsiteX4805" fmla="*/ 2261281 w 4493400"/>
              <a:gd name="connsiteY4805" fmla="*/ 10153 h 4503132"/>
              <a:gd name="connsiteX4806" fmla="*/ 2215743 w 4493400"/>
              <a:gd name="connsiteY4806" fmla="*/ 17949 h 4503132"/>
              <a:gd name="connsiteX4807" fmla="*/ 2196846 w 4493400"/>
              <a:gd name="connsiteY4807" fmla="*/ 24686 h 4503132"/>
              <a:gd name="connsiteX4808" fmla="*/ 2184680 w 4493400"/>
              <a:gd name="connsiteY4808" fmla="*/ 36427 h 4503132"/>
              <a:gd name="connsiteX4809" fmla="*/ 2185594 w 4493400"/>
              <a:gd name="connsiteY4809" fmla="*/ 43837 h 4503132"/>
              <a:gd name="connsiteX4810" fmla="*/ 2189248 w 4493400"/>
              <a:gd name="connsiteY4810" fmla="*/ 48890 h 4503132"/>
              <a:gd name="connsiteX4811" fmla="*/ 2196557 w 4493400"/>
              <a:gd name="connsiteY4811" fmla="*/ 54905 h 4503132"/>
              <a:gd name="connsiteX4812" fmla="*/ 2201462 w 4493400"/>
              <a:gd name="connsiteY4812" fmla="*/ 57840 h 4503132"/>
              <a:gd name="connsiteX4813" fmla="*/ 2203241 w 4493400"/>
              <a:gd name="connsiteY4813" fmla="*/ 58610 h 4503132"/>
              <a:gd name="connsiteX4814" fmla="*/ 2197231 w 4493400"/>
              <a:gd name="connsiteY4814" fmla="*/ 53991 h 4503132"/>
              <a:gd name="connsiteX4815" fmla="*/ 2190450 w 4493400"/>
              <a:gd name="connsiteY4815" fmla="*/ 47783 h 4503132"/>
              <a:gd name="connsiteX4816" fmla="*/ 2186700 w 4493400"/>
              <a:gd name="connsiteY4816" fmla="*/ 37004 h 4503132"/>
              <a:gd name="connsiteX4817" fmla="*/ 2197952 w 4493400"/>
              <a:gd name="connsiteY4817" fmla="*/ 27092 h 4503132"/>
              <a:gd name="connsiteX4818" fmla="*/ 2216465 w 4493400"/>
              <a:gd name="connsiteY4818" fmla="*/ 21029 h 4503132"/>
              <a:gd name="connsiteX4819" fmla="*/ 2265031 w 4493400"/>
              <a:gd name="connsiteY4819" fmla="*/ 13859 h 4503132"/>
              <a:gd name="connsiteX4820" fmla="*/ 2282775 w 4493400"/>
              <a:gd name="connsiteY4820" fmla="*/ 12607 h 4503132"/>
              <a:gd name="connsiteX4821" fmla="*/ 2266618 w 4493400"/>
              <a:gd name="connsiteY4821" fmla="*/ 14773 h 4503132"/>
              <a:gd name="connsiteX4822" fmla="*/ 2234497 w 4493400"/>
              <a:gd name="connsiteY4822" fmla="*/ 23386 h 4503132"/>
              <a:gd name="connsiteX4823" fmla="*/ 2226563 w 4493400"/>
              <a:gd name="connsiteY4823" fmla="*/ 28583 h 4503132"/>
              <a:gd name="connsiteX4824" fmla="*/ 2223437 w 4493400"/>
              <a:gd name="connsiteY4824" fmla="*/ 33155 h 4503132"/>
              <a:gd name="connsiteX4825" fmla="*/ 2223245 w 4493400"/>
              <a:gd name="connsiteY4825" fmla="*/ 39218 h 4503132"/>
              <a:gd name="connsiteX4826" fmla="*/ 2229352 w 4493400"/>
              <a:gd name="connsiteY4826" fmla="*/ 47687 h 4503132"/>
              <a:gd name="connsiteX4827" fmla="*/ 2237190 w 4493400"/>
              <a:gd name="connsiteY4827" fmla="*/ 53173 h 4503132"/>
              <a:gd name="connsiteX4828" fmla="*/ 2272821 w 4493400"/>
              <a:gd name="connsiteY4828" fmla="*/ 67705 h 4503132"/>
              <a:gd name="connsiteX4829" fmla="*/ 2312011 w 4493400"/>
              <a:gd name="connsiteY4829" fmla="*/ 77377 h 4503132"/>
              <a:gd name="connsiteX4830" fmla="*/ 2397075 w 4493400"/>
              <a:gd name="connsiteY4830" fmla="*/ 97155 h 4503132"/>
              <a:gd name="connsiteX4831" fmla="*/ 2442228 w 4493400"/>
              <a:gd name="connsiteY4831" fmla="*/ 109666 h 4503132"/>
              <a:gd name="connsiteX4832" fmla="*/ 2487669 w 4493400"/>
              <a:gd name="connsiteY4832" fmla="*/ 126749 h 4503132"/>
              <a:gd name="connsiteX4833" fmla="*/ 2529744 w 4493400"/>
              <a:gd name="connsiteY4833" fmla="*/ 153503 h 4503132"/>
              <a:gd name="connsiteX4834" fmla="*/ 2538640 w 4493400"/>
              <a:gd name="connsiteY4834" fmla="*/ 162357 h 4503132"/>
              <a:gd name="connsiteX4835" fmla="*/ 2546285 w 4493400"/>
              <a:gd name="connsiteY4835" fmla="*/ 172318 h 4503132"/>
              <a:gd name="connsiteX4836" fmla="*/ 2555710 w 4493400"/>
              <a:gd name="connsiteY4836" fmla="*/ 195657 h 4503132"/>
              <a:gd name="connsiteX4837" fmla="*/ 2557201 w 4493400"/>
              <a:gd name="connsiteY4837" fmla="*/ 249166 h 4503132"/>
              <a:gd name="connsiteX4838" fmla="*/ 2556479 w 4493400"/>
              <a:gd name="connsiteY4838" fmla="*/ 306429 h 4503132"/>
              <a:gd name="connsiteX4839" fmla="*/ 2562827 w 4493400"/>
              <a:gd name="connsiteY4839" fmla="*/ 364991 h 4503132"/>
              <a:gd name="connsiteX4840" fmla="*/ 2574319 w 4493400"/>
              <a:gd name="connsiteY4840" fmla="*/ 424324 h 4503132"/>
              <a:gd name="connsiteX4841" fmla="*/ 2613750 w 4493400"/>
              <a:gd name="connsiteY4841" fmla="*/ 543277 h 4503132"/>
              <a:gd name="connsiteX4842" fmla="*/ 2643996 w 4493400"/>
              <a:gd name="connsiteY4842" fmla="*/ 600780 h 4503132"/>
              <a:gd name="connsiteX4843" fmla="*/ 2662461 w 4493400"/>
              <a:gd name="connsiteY4843" fmla="*/ 628209 h 4503132"/>
              <a:gd name="connsiteX4844" fmla="*/ 2672799 w 4493400"/>
              <a:gd name="connsiteY4844" fmla="*/ 641297 h 4503132"/>
              <a:gd name="connsiteX4845" fmla="*/ 2683763 w 4493400"/>
              <a:gd name="connsiteY4845" fmla="*/ 654097 h 4503132"/>
              <a:gd name="connsiteX4846" fmla="*/ 2709248 w 4493400"/>
              <a:gd name="connsiteY4846" fmla="*/ 676570 h 4503132"/>
              <a:gd name="connsiteX4847" fmla="*/ 2736898 w 4493400"/>
              <a:gd name="connsiteY4847" fmla="*/ 696202 h 4503132"/>
              <a:gd name="connsiteX4848" fmla="*/ 2795899 w 4493400"/>
              <a:gd name="connsiteY4848" fmla="*/ 730608 h 4503132"/>
              <a:gd name="connsiteX4849" fmla="*/ 2923759 w 4493400"/>
              <a:gd name="connsiteY4849" fmla="*/ 785658 h 4503132"/>
              <a:gd name="connsiteX4850" fmla="*/ 2991320 w 4493400"/>
              <a:gd name="connsiteY4850" fmla="*/ 804906 h 4503132"/>
              <a:gd name="connsiteX4851" fmla="*/ 3060419 w 4493400"/>
              <a:gd name="connsiteY4851" fmla="*/ 814241 h 4503132"/>
              <a:gd name="connsiteX4852" fmla="*/ 3095329 w 4493400"/>
              <a:gd name="connsiteY4852" fmla="*/ 812124 h 4503132"/>
              <a:gd name="connsiteX4853" fmla="*/ 3103985 w 4493400"/>
              <a:gd name="connsiteY4853" fmla="*/ 810392 h 4503132"/>
              <a:gd name="connsiteX4854" fmla="*/ 3112544 w 4493400"/>
              <a:gd name="connsiteY4854" fmla="*/ 807889 h 4503132"/>
              <a:gd name="connsiteX4855" fmla="*/ 3129037 w 4493400"/>
              <a:gd name="connsiteY4855" fmla="*/ 800094 h 4503132"/>
              <a:gd name="connsiteX4856" fmla="*/ 3149666 w 4493400"/>
              <a:gd name="connsiteY4856" fmla="*/ 769971 h 4503132"/>
              <a:gd name="connsiteX4857" fmla="*/ 3149810 w 4493400"/>
              <a:gd name="connsiteY4857" fmla="*/ 734843 h 4503132"/>
              <a:gd name="connsiteX4858" fmla="*/ 3126921 w 4493400"/>
              <a:gd name="connsiteY4858" fmla="*/ 671998 h 4503132"/>
              <a:gd name="connsiteX4859" fmla="*/ 3110813 w 4493400"/>
              <a:gd name="connsiteY4859" fmla="*/ 643511 h 4503132"/>
              <a:gd name="connsiteX4860" fmla="*/ 3092300 w 4493400"/>
              <a:gd name="connsiteY4860" fmla="*/ 616756 h 4503132"/>
              <a:gd name="connsiteX4861" fmla="*/ 3008775 w 4493400"/>
              <a:gd name="connsiteY4861" fmla="*/ 523644 h 4503132"/>
              <a:gd name="connsiteX4862" fmla="*/ 2985645 w 4493400"/>
              <a:gd name="connsiteY4862" fmla="*/ 501460 h 4503132"/>
              <a:gd name="connsiteX4863" fmla="*/ 3064698 w 4493400"/>
              <a:gd name="connsiteY4863" fmla="*/ 568155 h 4503132"/>
              <a:gd name="connsiteX4864" fmla="*/ 3116968 w 4493400"/>
              <a:gd name="connsiteY4864" fmla="*/ 617430 h 4503132"/>
              <a:gd name="connsiteX4865" fmla="*/ 3141155 w 4493400"/>
              <a:gd name="connsiteY4865" fmla="*/ 644377 h 4503132"/>
              <a:gd name="connsiteX4866" fmla="*/ 3162457 w 4493400"/>
              <a:gd name="connsiteY4866" fmla="*/ 673730 h 4503132"/>
              <a:gd name="connsiteX4867" fmla="*/ 3180393 w 4493400"/>
              <a:gd name="connsiteY4867" fmla="*/ 705442 h 4503132"/>
              <a:gd name="connsiteX4868" fmla="*/ 3187317 w 4493400"/>
              <a:gd name="connsiteY4868" fmla="*/ 722332 h 4503132"/>
              <a:gd name="connsiteX4869" fmla="*/ 3189049 w 4493400"/>
              <a:gd name="connsiteY4869" fmla="*/ 726566 h 4503132"/>
              <a:gd name="connsiteX4870" fmla="*/ 3190347 w 4493400"/>
              <a:gd name="connsiteY4870" fmla="*/ 730945 h 4503132"/>
              <a:gd name="connsiteX4871" fmla="*/ 3192895 w 4493400"/>
              <a:gd name="connsiteY4871" fmla="*/ 739751 h 4503132"/>
              <a:gd name="connsiteX4872" fmla="*/ 3195492 w 4493400"/>
              <a:gd name="connsiteY4872" fmla="*/ 748557 h 4503132"/>
              <a:gd name="connsiteX4873" fmla="*/ 3196694 w 4493400"/>
              <a:gd name="connsiteY4873" fmla="*/ 756930 h 4503132"/>
              <a:gd name="connsiteX4874" fmla="*/ 3196165 w 4493400"/>
              <a:gd name="connsiteY4874" fmla="*/ 774927 h 4503132"/>
              <a:gd name="connsiteX4875" fmla="*/ 3188039 w 4493400"/>
              <a:gd name="connsiteY4875" fmla="*/ 810488 h 4503132"/>
              <a:gd name="connsiteX4876" fmla="*/ 3169958 w 4493400"/>
              <a:gd name="connsiteY4876" fmla="*/ 841044 h 4503132"/>
              <a:gd name="connsiteX4877" fmla="*/ 3140338 w 4493400"/>
              <a:gd name="connsiteY4877" fmla="*/ 856058 h 4503132"/>
              <a:gd name="connsiteX4878" fmla="*/ 3131394 w 4493400"/>
              <a:gd name="connsiteY4878" fmla="*/ 856443 h 4503132"/>
              <a:gd name="connsiteX4879" fmla="*/ 3122257 w 4493400"/>
              <a:gd name="connsiteY4879" fmla="*/ 856587 h 4503132"/>
              <a:gd name="connsiteX4880" fmla="*/ 3103937 w 4493400"/>
              <a:gd name="connsiteY4880" fmla="*/ 855721 h 4503132"/>
              <a:gd name="connsiteX4881" fmla="*/ 3085664 w 4493400"/>
              <a:gd name="connsiteY4881" fmla="*/ 853892 h 4503132"/>
              <a:gd name="connsiteX4882" fmla="*/ 3067536 w 4493400"/>
              <a:gd name="connsiteY4882" fmla="*/ 851246 h 4503132"/>
              <a:gd name="connsiteX4883" fmla="*/ 2928375 w 4493400"/>
              <a:gd name="connsiteY4883" fmla="*/ 811980 h 4503132"/>
              <a:gd name="connsiteX4884" fmla="*/ 2800419 w 4493400"/>
              <a:gd name="connsiteY4884" fmla="*/ 754909 h 4503132"/>
              <a:gd name="connsiteX4885" fmla="*/ 2685494 w 4493400"/>
              <a:gd name="connsiteY4885" fmla="*/ 685760 h 4503132"/>
              <a:gd name="connsiteX4886" fmla="*/ 2636735 w 4493400"/>
              <a:gd name="connsiteY4886" fmla="*/ 644329 h 4503132"/>
              <a:gd name="connsiteX4887" fmla="*/ 2631590 w 4493400"/>
              <a:gd name="connsiteY4887" fmla="*/ 638506 h 4503132"/>
              <a:gd name="connsiteX4888" fmla="*/ 2626829 w 4493400"/>
              <a:gd name="connsiteY4888" fmla="*/ 632251 h 4503132"/>
              <a:gd name="connsiteX4889" fmla="*/ 2617500 w 4493400"/>
              <a:gd name="connsiteY4889" fmla="*/ 619691 h 4503132"/>
              <a:gd name="connsiteX4890" fmla="*/ 2601103 w 4493400"/>
              <a:gd name="connsiteY4890" fmla="*/ 593370 h 4503132"/>
              <a:gd name="connsiteX4891" fmla="*/ 2554797 w 4493400"/>
              <a:gd name="connsiteY4891" fmla="*/ 482741 h 4503132"/>
              <a:gd name="connsiteX4892" fmla="*/ 2528494 w 4493400"/>
              <a:gd name="connsiteY4892" fmla="*/ 373268 h 4503132"/>
              <a:gd name="connsiteX4893" fmla="*/ 2520031 w 4493400"/>
              <a:gd name="connsiteY4893" fmla="*/ 320769 h 4503132"/>
              <a:gd name="connsiteX4894" fmla="*/ 2515847 w 4493400"/>
              <a:gd name="connsiteY4894" fmla="*/ 270435 h 4503132"/>
              <a:gd name="connsiteX4895" fmla="*/ 2516616 w 4493400"/>
              <a:gd name="connsiteY4895" fmla="*/ 221786 h 4503132"/>
              <a:gd name="connsiteX4896" fmla="*/ 2509452 w 4493400"/>
              <a:gd name="connsiteY4896" fmla="*/ 175109 h 4503132"/>
              <a:gd name="connsiteX4897" fmla="*/ 2482476 w 4493400"/>
              <a:gd name="connsiteY4897" fmla="*/ 139404 h 4503132"/>
              <a:gd name="connsiteX4898" fmla="*/ 2473964 w 4493400"/>
              <a:gd name="connsiteY4898" fmla="*/ 132812 h 4503132"/>
              <a:gd name="connsiteX4899" fmla="*/ 2465020 w 4493400"/>
              <a:gd name="connsiteY4899" fmla="*/ 127278 h 4503132"/>
              <a:gd name="connsiteX4900" fmla="*/ 2460596 w 4493400"/>
              <a:gd name="connsiteY4900" fmla="*/ 124535 h 4503132"/>
              <a:gd name="connsiteX4901" fmla="*/ 2456028 w 4493400"/>
              <a:gd name="connsiteY4901" fmla="*/ 122225 h 4503132"/>
              <a:gd name="connsiteX4902" fmla="*/ 2446940 w 4493400"/>
              <a:gd name="connsiteY4902" fmla="*/ 117750 h 4503132"/>
              <a:gd name="connsiteX4903" fmla="*/ 2442468 w 4493400"/>
              <a:gd name="connsiteY4903" fmla="*/ 115537 h 4503132"/>
              <a:gd name="connsiteX4904" fmla="*/ 2437852 w 4493400"/>
              <a:gd name="connsiteY4904" fmla="*/ 113708 h 4503132"/>
              <a:gd name="connsiteX4905" fmla="*/ 2428764 w 4493400"/>
              <a:gd name="connsiteY4905" fmla="*/ 110147 h 4503132"/>
              <a:gd name="connsiteX4906" fmla="*/ 2410780 w 4493400"/>
              <a:gd name="connsiteY4906" fmla="*/ 104325 h 4503132"/>
              <a:gd name="connsiteX4907" fmla="*/ 2376446 w 4493400"/>
              <a:gd name="connsiteY4907" fmla="*/ 95230 h 4503132"/>
              <a:gd name="connsiteX4908" fmla="*/ 2315810 w 4493400"/>
              <a:gd name="connsiteY4908" fmla="*/ 82526 h 4503132"/>
              <a:gd name="connsiteX4909" fmla="*/ 2231756 w 4493400"/>
              <a:gd name="connsiteY4909" fmla="*/ 66502 h 4503132"/>
              <a:gd name="connsiteX4910" fmla="*/ 2210262 w 4493400"/>
              <a:gd name="connsiteY4910" fmla="*/ 61064 h 4503132"/>
              <a:gd name="connsiteX4911" fmla="*/ 2203145 w 4493400"/>
              <a:gd name="connsiteY4911" fmla="*/ 58562 h 4503132"/>
              <a:gd name="connsiteX4912" fmla="*/ 2204780 w 4493400"/>
              <a:gd name="connsiteY4912" fmla="*/ 59621 h 4503132"/>
              <a:gd name="connsiteX4913" fmla="*/ 2209925 w 4493400"/>
              <a:gd name="connsiteY4913" fmla="*/ 62123 h 4503132"/>
              <a:gd name="connsiteX4914" fmla="*/ 2231275 w 4493400"/>
              <a:gd name="connsiteY4914" fmla="*/ 68619 h 4503132"/>
              <a:gd name="connsiteX4915" fmla="*/ 2314993 w 4493400"/>
              <a:gd name="connsiteY4915" fmla="*/ 86664 h 4503132"/>
              <a:gd name="connsiteX4916" fmla="*/ 2375244 w 4493400"/>
              <a:gd name="connsiteY4916" fmla="*/ 100234 h 4503132"/>
              <a:gd name="connsiteX4917" fmla="*/ 2409145 w 4493400"/>
              <a:gd name="connsiteY4917" fmla="*/ 109666 h 4503132"/>
              <a:gd name="connsiteX4918" fmla="*/ 2426792 w 4493400"/>
              <a:gd name="connsiteY4918" fmla="*/ 115633 h 4503132"/>
              <a:gd name="connsiteX4919" fmla="*/ 2435592 w 4493400"/>
              <a:gd name="connsiteY4919" fmla="*/ 119242 h 4503132"/>
              <a:gd name="connsiteX4920" fmla="*/ 2440064 w 4493400"/>
              <a:gd name="connsiteY4920" fmla="*/ 121070 h 4503132"/>
              <a:gd name="connsiteX4921" fmla="*/ 2444392 w 4493400"/>
              <a:gd name="connsiteY4921" fmla="*/ 123236 h 4503132"/>
              <a:gd name="connsiteX4922" fmla="*/ 2453191 w 4493400"/>
              <a:gd name="connsiteY4922" fmla="*/ 127711 h 4503132"/>
              <a:gd name="connsiteX4923" fmla="*/ 2457615 w 4493400"/>
              <a:gd name="connsiteY4923" fmla="*/ 129973 h 4503132"/>
              <a:gd name="connsiteX4924" fmla="*/ 2461847 w 4493400"/>
              <a:gd name="connsiteY4924" fmla="*/ 132667 h 4503132"/>
              <a:gd name="connsiteX4925" fmla="*/ 2470406 w 4493400"/>
              <a:gd name="connsiteY4925" fmla="*/ 138057 h 4503132"/>
              <a:gd name="connsiteX4926" fmla="*/ 2478436 w 4493400"/>
              <a:gd name="connsiteY4926" fmla="*/ 144360 h 4503132"/>
              <a:gd name="connsiteX4927" fmla="*/ 2503201 w 4493400"/>
              <a:gd name="connsiteY4927" fmla="*/ 177612 h 4503132"/>
              <a:gd name="connsiteX4928" fmla="*/ 2509500 w 4493400"/>
              <a:gd name="connsiteY4928" fmla="*/ 221834 h 4503132"/>
              <a:gd name="connsiteX4929" fmla="*/ 2508346 w 4493400"/>
              <a:gd name="connsiteY4929" fmla="*/ 270483 h 4503132"/>
              <a:gd name="connsiteX4930" fmla="*/ 2512241 w 4493400"/>
              <a:gd name="connsiteY4930" fmla="*/ 321828 h 4503132"/>
              <a:gd name="connsiteX4931" fmla="*/ 2520415 w 4493400"/>
              <a:gd name="connsiteY4931" fmla="*/ 374712 h 4503132"/>
              <a:gd name="connsiteX4932" fmla="*/ 2546382 w 4493400"/>
              <a:gd name="connsiteY4932" fmla="*/ 485292 h 4503132"/>
              <a:gd name="connsiteX4933" fmla="*/ 2592977 w 4493400"/>
              <a:gd name="connsiteY4933" fmla="*/ 597941 h 4503132"/>
              <a:gd name="connsiteX4934" fmla="*/ 2609710 w 4493400"/>
              <a:gd name="connsiteY4934" fmla="*/ 625033 h 4503132"/>
              <a:gd name="connsiteX4935" fmla="*/ 2619280 w 4493400"/>
              <a:gd name="connsiteY4935" fmla="*/ 638025 h 4503132"/>
              <a:gd name="connsiteX4936" fmla="*/ 2624184 w 4493400"/>
              <a:gd name="connsiteY4936" fmla="*/ 644521 h 4503132"/>
              <a:gd name="connsiteX4937" fmla="*/ 2629666 w 4493400"/>
              <a:gd name="connsiteY4937" fmla="*/ 650729 h 4503132"/>
              <a:gd name="connsiteX4938" fmla="*/ 2679772 w 4493400"/>
              <a:gd name="connsiteY4938" fmla="*/ 693604 h 4503132"/>
              <a:gd name="connsiteX4939" fmla="*/ 2795755 w 4493400"/>
              <a:gd name="connsiteY4939" fmla="*/ 763811 h 4503132"/>
              <a:gd name="connsiteX4940" fmla="*/ 2924721 w 4493400"/>
              <a:gd name="connsiteY4940" fmla="*/ 821604 h 4503132"/>
              <a:gd name="connsiteX4941" fmla="*/ 3065805 w 4493400"/>
              <a:gd name="connsiteY4941" fmla="*/ 861592 h 4503132"/>
              <a:gd name="connsiteX4942" fmla="*/ 3084366 w 4493400"/>
              <a:gd name="connsiteY4942" fmla="*/ 864334 h 4503132"/>
              <a:gd name="connsiteX4943" fmla="*/ 3103167 w 4493400"/>
              <a:gd name="connsiteY4943" fmla="*/ 866211 h 4503132"/>
              <a:gd name="connsiteX4944" fmla="*/ 3122161 w 4493400"/>
              <a:gd name="connsiteY4944" fmla="*/ 867125 h 4503132"/>
              <a:gd name="connsiteX4945" fmla="*/ 3131730 w 4493400"/>
              <a:gd name="connsiteY4945" fmla="*/ 866981 h 4503132"/>
              <a:gd name="connsiteX4946" fmla="*/ 3141540 w 4493400"/>
              <a:gd name="connsiteY4946" fmla="*/ 866548 h 4503132"/>
              <a:gd name="connsiteX4947" fmla="*/ 3177700 w 4493400"/>
              <a:gd name="connsiteY4947" fmla="*/ 848310 h 4503132"/>
              <a:gd name="connsiteX4948" fmla="*/ 3198089 w 4493400"/>
              <a:gd name="connsiteY4948" fmla="*/ 814097 h 4503132"/>
              <a:gd name="connsiteX4949" fmla="*/ 3206840 w 4493400"/>
              <a:gd name="connsiteY4949" fmla="*/ 775890 h 4503132"/>
              <a:gd name="connsiteX4950" fmla="*/ 3207417 w 4493400"/>
              <a:gd name="connsiteY4950" fmla="*/ 756160 h 4503132"/>
              <a:gd name="connsiteX4951" fmla="*/ 3205975 w 4493400"/>
              <a:gd name="connsiteY4951" fmla="*/ 745911 h 4503132"/>
              <a:gd name="connsiteX4952" fmla="*/ 3203282 w 4493400"/>
              <a:gd name="connsiteY4952" fmla="*/ 736672 h 4503132"/>
              <a:gd name="connsiteX4953" fmla="*/ 3200589 w 4493400"/>
              <a:gd name="connsiteY4953" fmla="*/ 727432 h 4503132"/>
              <a:gd name="connsiteX4954" fmla="*/ 3199243 w 4493400"/>
              <a:gd name="connsiteY4954" fmla="*/ 722813 h 4503132"/>
              <a:gd name="connsiteX4955" fmla="*/ 3197464 w 4493400"/>
              <a:gd name="connsiteY4955" fmla="*/ 718386 h 4503132"/>
              <a:gd name="connsiteX4956" fmla="*/ 3190203 w 4493400"/>
              <a:gd name="connsiteY4956" fmla="*/ 700726 h 4503132"/>
              <a:gd name="connsiteX4957" fmla="*/ 3171545 w 4493400"/>
              <a:gd name="connsiteY4957" fmla="*/ 667764 h 4503132"/>
              <a:gd name="connsiteX4958" fmla="*/ 3149522 w 4493400"/>
              <a:gd name="connsiteY4958" fmla="*/ 637448 h 4503132"/>
              <a:gd name="connsiteX4959" fmla="*/ 3124758 w 4493400"/>
              <a:gd name="connsiteY4959" fmla="*/ 609923 h 4503132"/>
              <a:gd name="connsiteX4960" fmla="*/ 3071719 w 4493400"/>
              <a:gd name="connsiteY4960" fmla="*/ 560071 h 4503132"/>
              <a:gd name="connsiteX4961" fmla="*/ 2964103 w 4493400"/>
              <a:gd name="connsiteY4961" fmla="*/ 469268 h 4503132"/>
              <a:gd name="connsiteX4962" fmla="*/ 2938473 w 4493400"/>
              <a:gd name="connsiteY4962" fmla="*/ 446603 h 4503132"/>
              <a:gd name="connsiteX4963" fmla="*/ 2913709 w 4493400"/>
              <a:gd name="connsiteY4963" fmla="*/ 423554 h 4503132"/>
              <a:gd name="connsiteX4964" fmla="*/ 2865575 w 4493400"/>
              <a:gd name="connsiteY4964" fmla="*/ 377406 h 4503132"/>
              <a:gd name="connsiteX4965" fmla="*/ 2777242 w 4493400"/>
              <a:gd name="connsiteY4965" fmla="*/ 284823 h 4503132"/>
              <a:gd name="connsiteX4966" fmla="*/ 2740071 w 4493400"/>
              <a:gd name="connsiteY4966" fmla="*/ 236511 h 4503132"/>
              <a:gd name="connsiteX4967" fmla="*/ 2712662 w 4493400"/>
              <a:gd name="connsiteY4967" fmla="*/ 184733 h 4503132"/>
              <a:gd name="connsiteX4968" fmla="*/ 2697035 w 4493400"/>
              <a:gd name="connsiteY4968" fmla="*/ 130021 h 4503132"/>
              <a:gd name="connsiteX4969" fmla="*/ 2689004 w 4493400"/>
              <a:gd name="connsiteY4969" fmla="*/ 102496 h 4503132"/>
              <a:gd name="connsiteX4970" fmla="*/ 2673424 w 4493400"/>
              <a:gd name="connsiteY4970" fmla="*/ 78243 h 4503132"/>
              <a:gd name="connsiteX4971" fmla="*/ 2673280 w 4493400"/>
              <a:gd name="connsiteY4971" fmla="*/ 78099 h 4503132"/>
              <a:gd name="connsiteX4972" fmla="*/ 2686215 w 4493400"/>
              <a:gd name="connsiteY4972" fmla="*/ 87771 h 4503132"/>
              <a:gd name="connsiteX4973" fmla="*/ 2697467 w 4493400"/>
              <a:gd name="connsiteY4973" fmla="*/ 99464 h 4503132"/>
              <a:gd name="connsiteX4974" fmla="*/ 2707661 w 4493400"/>
              <a:gd name="connsiteY4974" fmla="*/ 111976 h 4503132"/>
              <a:gd name="connsiteX4975" fmla="*/ 2738629 w 4493400"/>
              <a:gd name="connsiteY4975" fmla="*/ 168757 h 4503132"/>
              <a:gd name="connsiteX4976" fmla="*/ 2797870 w 4493400"/>
              <a:gd name="connsiteY4976" fmla="*/ 285208 h 4503132"/>
              <a:gd name="connsiteX4977" fmla="*/ 2879712 w 4493400"/>
              <a:gd name="connsiteY4977" fmla="*/ 384336 h 4503132"/>
              <a:gd name="connsiteX4978" fmla="*/ 2971220 w 4493400"/>
              <a:gd name="connsiteY4978" fmla="*/ 470711 h 4503132"/>
              <a:gd name="connsiteX4979" fmla="*/ 3065516 w 4493400"/>
              <a:gd name="connsiteY4979" fmla="*/ 550447 h 4503132"/>
              <a:gd name="connsiteX4980" fmla="*/ 3156302 w 4493400"/>
              <a:gd name="connsiteY4980" fmla="*/ 629941 h 4503132"/>
              <a:gd name="connsiteX4981" fmla="*/ 3177364 w 4493400"/>
              <a:gd name="connsiteY4981" fmla="*/ 650873 h 4503132"/>
              <a:gd name="connsiteX4982" fmla="*/ 3187606 w 4493400"/>
              <a:gd name="connsiteY4982" fmla="*/ 661556 h 4503132"/>
              <a:gd name="connsiteX4983" fmla="*/ 3197367 w 4493400"/>
              <a:gd name="connsiteY4983" fmla="*/ 672576 h 4503132"/>
              <a:gd name="connsiteX4984" fmla="*/ 3230931 w 4493400"/>
              <a:gd name="connsiteY4984" fmla="*/ 719781 h 4503132"/>
              <a:gd name="connsiteX4985" fmla="*/ 3240789 w 4493400"/>
              <a:gd name="connsiteY4985" fmla="*/ 746344 h 4503132"/>
              <a:gd name="connsiteX4986" fmla="*/ 3246848 w 4493400"/>
              <a:gd name="connsiteY4986" fmla="*/ 774494 h 4503132"/>
              <a:gd name="connsiteX4987" fmla="*/ 3253387 w 4493400"/>
              <a:gd name="connsiteY4987" fmla="*/ 831420 h 4503132"/>
              <a:gd name="connsiteX4988" fmla="*/ 3252474 w 4493400"/>
              <a:gd name="connsiteY4988" fmla="*/ 887865 h 4503132"/>
              <a:gd name="connsiteX4989" fmla="*/ 3247184 w 4493400"/>
              <a:gd name="connsiteY4989" fmla="*/ 914909 h 4503132"/>
              <a:gd name="connsiteX4990" fmla="*/ 3244924 w 4493400"/>
              <a:gd name="connsiteY4990" fmla="*/ 921260 h 4503132"/>
              <a:gd name="connsiteX4991" fmla="*/ 3242135 w 4493400"/>
              <a:gd name="connsiteY4991" fmla="*/ 927276 h 4503132"/>
              <a:gd name="connsiteX4992" fmla="*/ 3238721 w 4493400"/>
              <a:gd name="connsiteY4992" fmla="*/ 932761 h 4503132"/>
              <a:gd name="connsiteX4993" fmla="*/ 3234442 w 4493400"/>
              <a:gd name="connsiteY4993" fmla="*/ 937188 h 4503132"/>
              <a:gd name="connsiteX4994" fmla="*/ 3229489 w 4493400"/>
              <a:gd name="connsiteY4994" fmla="*/ 940364 h 4503132"/>
              <a:gd name="connsiteX4995" fmla="*/ 3223766 w 4493400"/>
              <a:gd name="connsiteY4995" fmla="*/ 941712 h 4503132"/>
              <a:gd name="connsiteX4996" fmla="*/ 3210783 w 4493400"/>
              <a:gd name="connsiteY4996" fmla="*/ 941182 h 4503132"/>
              <a:gd name="connsiteX4997" fmla="*/ 3184144 w 4493400"/>
              <a:gd name="connsiteY4997" fmla="*/ 935167 h 4503132"/>
              <a:gd name="connsiteX4998" fmla="*/ 3132163 w 4493400"/>
              <a:gd name="connsiteY4998" fmla="*/ 917507 h 4503132"/>
              <a:gd name="connsiteX4999" fmla="*/ 3031952 w 4493400"/>
              <a:gd name="connsiteY4999" fmla="*/ 876413 h 4503132"/>
              <a:gd name="connsiteX5000" fmla="*/ 2934482 w 4493400"/>
              <a:gd name="connsiteY5000" fmla="*/ 834885 h 4503132"/>
              <a:gd name="connsiteX5001" fmla="*/ 2838647 w 4493400"/>
              <a:gd name="connsiteY5001" fmla="*/ 796726 h 4503132"/>
              <a:gd name="connsiteX5002" fmla="*/ 2664048 w 4493400"/>
              <a:gd name="connsiteY5002" fmla="*/ 705634 h 4503132"/>
              <a:gd name="connsiteX5003" fmla="*/ 2596102 w 4493400"/>
              <a:gd name="connsiteY5003" fmla="*/ 641201 h 4503132"/>
              <a:gd name="connsiteX5004" fmla="*/ 2582734 w 4493400"/>
              <a:gd name="connsiteY5004" fmla="*/ 622482 h 4503132"/>
              <a:gd name="connsiteX5005" fmla="*/ 2576387 w 4493400"/>
              <a:gd name="connsiteY5005" fmla="*/ 612955 h 4503132"/>
              <a:gd name="connsiteX5006" fmla="*/ 2570761 w 4493400"/>
              <a:gd name="connsiteY5006" fmla="*/ 602994 h 4503132"/>
              <a:gd name="connsiteX5007" fmla="*/ 2560134 w 4493400"/>
              <a:gd name="connsiteY5007" fmla="*/ 582928 h 4503132"/>
              <a:gd name="connsiteX5008" fmla="*/ 2551046 w 4493400"/>
              <a:gd name="connsiteY5008" fmla="*/ 562284 h 4503132"/>
              <a:gd name="connsiteX5009" fmla="*/ 2548786 w 4493400"/>
              <a:gd name="connsiteY5009" fmla="*/ 557135 h 4503132"/>
              <a:gd name="connsiteX5010" fmla="*/ 2546862 w 4493400"/>
              <a:gd name="connsiteY5010" fmla="*/ 551842 h 4503132"/>
              <a:gd name="connsiteX5011" fmla="*/ 2543112 w 4493400"/>
              <a:gd name="connsiteY5011" fmla="*/ 541304 h 4503132"/>
              <a:gd name="connsiteX5012" fmla="*/ 2535947 w 4493400"/>
              <a:gd name="connsiteY5012" fmla="*/ 520227 h 4503132"/>
              <a:gd name="connsiteX5013" fmla="*/ 2524214 w 4493400"/>
              <a:gd name="connsiteY5013" fmla="*/ 477833 h 4503132"/>
              <a:gd name="connsiteX5014" fmla="*/ 2519069 w 4493400"/>
              <a:gd name="connsiteY5014" fmla="*/ 456708 h 4503132"/>
              <a:gd name="connsiteX5015" fmla="*/ 2513876 w 4493400"/>
              <a:gd name="connsiteY5015" fmla="*/ 435632 h 4503132"/>
              <a:gd name="connsiteX5016" fmla="*/ 2501902 w 4493400"/>
              <a:gd name="connsiteY5016" fmla="*/ 394537 h 4503132"/>
              <a:gd name="connsiteX5017" fmla="*/ 2478917 w 4493400"/>
              <a:gd name="connsiteY5017" fmla="*/ 314946 h 4503132"/>
              <a:gd name="connsiteX5018" fmla="*/ 2475551 w 4493400"/>
              <a:gd name="connsiteY5018" fmla="*/ 295217 h 4503132"/>
              <a:gd name="connsiteX5019" fmla="*/ 2474445 w 4493400"/>
              <a:gd name="connsiteY5019" fmla="*/ 275392 h 4503132"/>
              <a:gd name="connsiteX5020" fmla="*/ 2473195 w 4493400"/>
              <a:gd name="connsiteY5020" fmla="*/ 235693 h 4503132"/>
              <a:gd name="connsiteX5021" fmla="*/ 2468915 w 4493400"/>
              <a:gd name="connsiteY5021" fmla="*/ 196715 h 4503132"/>
              <a:gd name="connsiteX5022" fmla="*/ 2455211 w 4493400"/>
              <a:gd name="connsiteY5022" fmla="*/ 160433 h 4503132"/>
              <a:gd name="connsiteX5023" fmla="*/ 2428619 w 4493400"/>
              <a:gd name="connsiteY5023" fmla="*/ 133245 h 4503132"/>
              <a:gd name="connsiteX5024" fmla="*/ 2395921 w 4493400"/>
              <a:gd name="connsiteY5024" fmla="*/ 116114 h 4503132"/>
              <a:gd name="connsiteX5025" fmla="*/ 2327783 w 4493400"/>
              <a:gd name="connsiteY5025" fmla="*/ 96722 h 4503132"/>
              <a:gd name="connsiteX5026" fmla="*/ 2261040 w 4493400"/>
              <a:gd name="connsiteY5026" fmla="*/ 87049 h 4503132"/>
              <a:gd name="connsiteX5027" fmla="*/ 2197759 w 4493400"/>
              <a:gd name="connsiteY5027" fmla="*/ 78773 h 4503132"/>
              <a:gd name="connsiteX5028" fmla="*/ 2168187 w 4493400"/>
              <a:gd name="connsiteY5028" fmla="*/ 71988 h 4503132"/>
              <a:gd name="connsiteX5029" fmla="*/ 2156165 w 4493400"/>
              <a:gd name="connsiteY5029" fmla="*/ 64914 h 4503132"/>
              <a:gd name="connsiteX5030" fmla="*/ 2152607 w 4493400"/>
              <a:gd name="connsiteY5030" fmla="*/ 52980 h 4503132"/>
              <a:gd name="connsiteX5031" fmla="*/ 2158666 w 4493400"/>
              <a:gd name="connsiteY5031" fmla="*/ 40854 h 4503132"/>
              <a:gd name="connsiteX5032" fmla="*/ 2168523 w 4493400"/>
              <a:gd name="connsiteY5032" fmla="*/ 30941 h 4503132"/>
              <a:gd name="connsiteX5033" fmla="*/ 2192326 w 4493400"/>
              <a:gd name="connsiteY5033" fmla="*/ 17708 h 4503132"/>
              <a:gd name="connsiteX5034" fmla="*/ 2218965 w 4493400"/>
              <a:gd name="connsiteY5034" fmla="*/ 13233 h 4503132"/>
              <a:gd name="connsiteX5035" fmla="*/ 2245220 w 4493400"/>
              <a:gd name="connsiteY5035" fmla="*/ 10923 h 4503132"/>
              <a:gd name="connsiteX5036" fmla="*/ 2564414 w 4493400"/>
              <a:gd name="connsiteY5036" fmla="*/ 193636 h 4503132"/>
              <a:gd name="connsiteX5037" fmla="*/ 2553691 w 4493400"/>
              <a:gd name="connsiteY5037" fmla="*/ 167603 h 4503132"/>
              <a:gd name="connsiteX5038" fmla="*/ 2545179 w 4493400"/>
              <a:gd name="connsiteY5038" fmla="*/ 156631 h 4503132"/>
              <a:gd name="connsiteX5039" fmla="*/ 2535466 w 4493400"/>
              <a:gd name="connsiteY5039" fmla="*/ 147103 h 4503132"/>
              <a:gd name="connsiteX5040" fmla="*/ 2491275 w 4493400"/>
              <a:gd name="connsiteY5040" fmla="*/ 119338 h 4503132"/>
              <a:gd name="connsiteX5041" fmla="*/ 2444632 w 4493400"/>
              <a:gd name="connsiteY5041" fmla="*/ 102159 h 4503132"/>
              <a:gd name="connsiteX5042" fmla="*/ 2398999 w 4493400"/>
              <a:gd name="connsiteY5042" fmla="*/ 89840 h 4503132"/>
              <a:gd name="connsiteX5043" fmla="*/ 2313598 w 4493400"/>
              <a:gd name="connsiteY5043" fmla="*/ 70737 h 4503132"/>
              <a:gd name="connsiteX5044" fmla="*/ 2240315 w 4493400"/>
              <a:gd name="connsiteY5044" fmla="*/ 47976 h 4503132"/>
              <a:gd name="connsiteX5045" fmla="*/ 2233295 w 4493400"/>
              <a:gd name="connsiteY5045" fmla="*/ 43212 h 4503132"/>
              <a:gd name="connsiteX5046" fmla="*/ 2228919 w 4493400"/>
              <a:gd name="connsiteY5046" fmla="*/ 37630 h 4503132"/>
              <a:gd name="connsiteX5047" fmla="*/ 2236997 w 4493400"/>
              <a:gd name="connsiteY5047" fmla="*/ 28391 h 4503132"/>
              <a:gd name="connsiteX5048" fmla="*/ 2265464 w 4493400"/>
              <a:gd name="connsiteY5048" fmla="*/ 20210 h 4503132"/>
              <a:gd name="connsiteX5049" fmla="*/ 2260559 w 4493400"/>
              <a:gd name="connsiteY5049" fmla="*/ 23338 h 4503132"/>
              <a:gd name="connsiteX5050" fmla="*/ 2256616 w 4493400"/>
              <a:gd name="connsiteY5050" fmla="*/ 28054 h 4503132"/>
              <a:gd name="connsiteX5051" fmla="*/ 2255655 w 4493400"/>
              <a:gd name="connsiteY5051" fmla="*/ 35176 h 4503132"/>
              <a:gd name="connsiteX5052" fmla="*/ 2261906 w 4493400"/>
              <a:gd name="connsiteY5052" fmla="*/ 44415 h 4503132"/>
              <a:gd name="connsiteX5053" fmla="*/ 2277053 w 4493400"/>
              <a:gd name="connsiteY5053" fmla="*/ 53413 h 4503132"/>
              <a:gd name="connsiteX5054" fmla="*/ 2292152 w 4493400"/>
              <a:gd name="connsiteY5054" fmla="*/ 59428 h 4503132"/>
              <a:gd name="connsiteX5055" fmla="*/ 2321099 w 4493400"/>
              <a:gd name="connsiteY5055" fmla="*/ 68090 h 4503132"/>
              <a:gd name="connsiteX5056" fmla="*/ 2371830 w 4493400"/>
              <a:gd name="connsiteY5056" fmla="*/ 77377 h 4503132"/>
              <a:gd name="connsiteX5057" fmla="*/ 2409962 w 4493400"/>
              <a:gd name="connsiteY5057" fmla="*/ 83825 h 4503132"/>
              <a:gd name="connsiteX5058" fmla="*/ 2442516 w 4493400"/>
              <a:gd name="connsiteY5058" fmla="*/ 89455 h 4503132"/>
              <a:gd name="connsiteX5059" fmla="*/ 2434534 w 4493400"/>
              <a:gd name="connsiteY5059" fmla="*/ 86279 h 4503132"/>
              <a:gd name="connsiteX5060" fmla="*/ 2410876 w 4493400"/>
              <a:gd name="connsiteY5060" fmla="*/ 79735 h 4503132"/>
              <a:gd name="connsiteX5061" fmla="*/ 2372936 w 4493400"/>
              <a:gd name="connsiteY5061" fmla="*/ 71458 h 4503132"/>
              <a:gd name="connsiteX5062" fmla="*/ 2323023 w 4493400"/>
              <a:gd name="connsiteY5062" fmla="*/ 60728 h 4503132"/>
              <a:gd name="connsiteX5063" fmla="*/ 2295037 w 4493400"/>
              <a:gd name="connsiteY5063" fmla="*/ 51633 h 4503132"/>
              <a:gd name="connsiteX5064" fmla="*/ 2280756 w 4493400"/>
              <a:gd name="connsiteY5064" fmla="*/ 45618 h 4503132"/>
              <a:gd name="connsiteX5065" fmla="*/ 2267772 w 4493400"/>
              <a:gd name="connsiteY5065" fmla="*/ 37630 h 4503132"/>
              <a:gd name="connsiteX5066" fmla="*/ 2264503 w 4493400"/>
              <a:gd name="connsiteY5066" fmla="*/ 33251 h 4503132"/>
              <a:gd name="connsiteX5067" fmla="*/ 2264743 w 4493400"/>
              <a:gd name="connsiteY5067" fmla="*/ 32096 h 4503132"/>
              <a:gd name="connsiteX5068" fmla="*/ 2266378 w 4493400"/>
              <a:gd name="connsiteY5068" fmla="*/ 30316 h 4503132"/>
              <a:gd name="connsiteX5069" fmla="*/ 2280756 w 4493400"/>
              <a:gd name="connsiteY5069" fmla="*/ 24349 h 4503132"/>
              <a:gd name="connsiteX5070" fmla="*/ 2316195 w 4493400"/>
              <a:gd name="connsiteY5070" fmla="*/ 19152 h 4503132"/>
              <a:gd name="connsiteX5071" fmla="*/ 2333650 w 4493400"/>
              <a:gd name="connsiteY5071" fmla="*/ 18189 h 4503132"/>
              <a:gd name="connsiteX5072" fmla="*/ 2332784 w 4493400"/>
              <a:gd name="connsiteY5072" fmla="*/ 18334 h 4503132"/>
              <a:gd name="connsiteX5073" fmla="*/ 2314945 w 4493400"/>
              <a:gd name="connsiteY5073" fmla="*/ 23964 h 4503132"/>
              <a:gd name="connsiteX5074" fmla="*/ 2312492 w 4493400"/>
              <a:gd name="connsiteY5074" fmla="*/ 25600 h 4503132"/>
              <a:gd name="connsiteX5075" fmla="*/ 2311002 w 4493400"/>
              <a:gd name="connsiteY5075" fmla="*/ 27140 h 4503132"/>
              <a:gd name="connsiteX5076" fmla="*/ 2310473 w 4493400"/>
              <a:gd name="connsiteY5076" fmla="*/ 28872 h 4503132"/>
              <a:gd name="connsiteX5077" fmla="*/ 2311771 w 4493400"/>
              <a:gd name="connsiteY5077" fmla="*/ 27910 h 4503132"/>
              <a:gd name="connsiteX5078" fmla="*/ 2315810 w 4493400"/>
              <a:gd name="connsiteY5078" fmla="*/ 25937 h 4503132"/>
              <a:gd name="connsiteX5079" fmla="*/ 2333409 w 4493400"/>
              <a:gd name="connsiteY5079" fmla="*/ 22472 h 4503132"/>
              <a:gd name="connsiteX5080" fmla="*/ 2400297 w 4493400"/>
              <a:gd name="connsiteY5080" fmla="*/ 21798 h 4503132"/>
              <a:gd name="connsiteX5081" fmla="*/ 2404577 w 4493400"/>
              <a:gd name="connsiteY5081" fmla="*/ 22039 h 4503132"/>
              <a:gd name="connsiteX5082" fmla="*/ 2394382 w 4493400"/>
              <a:gd name="connsiteY5082" fmla="*/ 22761 h 4503132"/>
              <a:gd name="connsiteX5083" fmla="*/ 2384957 w 4493400"/>
              <a:gd name="connsiteY5083" fmla="*/ 24493 h 4503132"/>
              <a:gd name="connsiteX5084" fmla="*/ 2381640 w 4493400"/>
              <a:gd name="connsiteY5084" fmla="*/ 25744 h 4503132"/>
              <a:gd name="connsiteX5085" fmla="*/ 2379764 w 4493400"/>
              <a:gd name="connsiteY5085" fmla="*/ 26659 h 4503132"/>
              <a:gd name="connsiteX5086" fmla="*/ 2378177 w 4493400"/>
              <a:gd name="connsiteY5086" fmla="*/ 27813 h 4503132"/>
              <a:gd name="connsiteX5087" fmla="*/ 2375148 w 4493400"/>
              <a:gd name="connsiteY5087" fmla="*/ 34358 h 4503132"/>
              <a:gd name="connsiteX5088" fmla="*/ 2383226 w 4493400"/>
              <a:gd name="connsiteY5088" fmla="*/ 44944 h 4503132"/>
              <a:gd name="connsiteX5089" fmla="*/ 2391161 w 4493400"/>
              <a:gd name="connsiteY5089" fmla="*/ 49083 h 4503132"/>
              <a:gd name="connsiteX5090" fmla="*/ 2406596 w 4493400"/>
              <a:gd name="connsiteY5090" fmla="*/ 54905 h 4503132"/>
              <a:gd name="connsiteX5091" fmla="*/ 2461173 w 4493400"/>
              <a:gd name="connsiteY5091" fmla="*/ 67031 h 4503132"/>
              <a:gd name="connsiteX5092" fmla="*/ 2512385 w 4493400"/>
              <a:gd name="connsiteY5092" fmla="*/ 68860 h 4503132"/>
              <a:gd name="connsiteX5093" fmla="*/ 2462424 w 4493400"/>
              <a:gd name="connsiteY5093" fmla="*/ 59621 h 4503132"/>
              <a:gd name="connsiteX5094" fmla="*/ 2409722 w 4493400"/>
              <a:gd name="connsiteY5094" fmla="*/ 45618 h 4503132"/>
              <a:gd name="connsiteX5095" fmla="*/ 2395392 w 4493400"/>
              <a:gd name="connsiteY5095" fmla="*/ 39892 h 4503132"/>
              <a:gd name="connsiteX5096" fmla="*/ 2388756 w 4493400"/>
              <a:gd name="connsiteY5096" fmla="*/ 36283 h 4503132"/>
              <a:gd name="connsiteX5097" fmla="*/ 2387025 w 4493400"/>
              <a:gd name="connsiteY5097" fmla="*/ 34983 h 4503132"/>
              <a:gd name="connsiteX5098" fmla="*/ 2387073 w 4493400"/>
              <a:gd name="connsiteY5098" fmla="*/ 34983 h 4503132"/>
              <a:gd name="connsiteX5099" fmla="*/ 2387073 w 4493400"/>
              <a:gd name="connsiteY5099" fmla="*/ 34935 h 4503132"/>
              <a:gd name="connsiteX5100" fmla="*/ 2387795 w 4493400"/>
              <a:gd name="connsiteY5100" fmla="*/ 34743 h 4503132"/>
              <a:gd name="connsiteX5101" fmla="*/ 2395488 w 4493400"/>
              <a:gd name="connsiteY5101" fmla="*/ 33395 h 4503132"/>
              <a:gd name="connsiteX5102" fmla="*/ 2412655 w 4493400"/>
              <a:gd name="connsiteY5102" fmla="*/ 32625 h 4503132"/>
              <a:gd name="connsiteX5103" fmla="*/ 2479061 w 4493400"/>
              <a:gd name="connsiteY5103" fmla="*/ 38063 h 4503132"/>
              <a:gd name="connsiteX5104" fmla="*/ 2530610 w 4493400"/>
              <a:gd name="connsiteY5104" fmla="*/ 53028 h 4503132"/>
              <a:gd name="connsiteX5105" fmla="*/ 2538880 w 4493400"/>
              <a:gd name="connsiteY5105" fmla="*/ 58610 h 4503132"/>
              <a:gd name="connsiteX5106" fmla="*/ 2540323 w 4493400"/>
              <a:gd name="connsiteY5106" fmla="*/ 60824 h 4503132"/>
              <a:gd name="connsiteX5107" fmla="*/ 2539505 w 4493400"/>
              <a:gd name="connsiteY5107" fmla="*/ 62604 h 4503132"/>
              <a:gd name="connsiteX5108" fmla="*/ 2532725 w 4493400"/>
              <a:gd name="connsiteY5108" fmla="*/ 65395 h 4503132"/>
              <a:gd name="connsiteX5109" fmla="*/ 2525801 w 4493400"/>
              <a:gd name="connsiteY5109" fmla="*/ 66695 h 4503132"/>
              <a:gd name="connsiteX5110" fmla="*/ 2512289 w 4493400"/>
              <a:gd name="connsiteY5110" fmla="*/ 68908 h 4503132"/>
              <a:gd name="connsiteX5111" fmla="*/ 2526089 w 4493400"/>
              <a:gd name="connsiteY5111" fmla="*/ 70833 h 4503132"/>
              <a:gd name="connsiteX5112" fmla="*/ 2533687 w 4493400"/>
              <a:gd name="connsiteY5112" fmla="*/ 70400 h 4503132"/>
              <a:gd name="connsiteX5113" fmla="*/ 2543160 w 4493400"/>
              <a:gd name="connsiteY5113" fmla="*/ 67272 h 4503132"/>
              <a:gd name="connsiteX5114" fmla="*/ 2546862 w 4493400"/>
              <a:gd name="connsiteY5114" fmla="*/ 61064 h 4503132"/>
              <a:gd name="connsiteX5115" fmla="*/ 2546670 w 4493400"/>
              <a:gd name="connsiteY5115" fmla="*/ 59092 h 4503132"/>
              <a:gd name="connsiteX5116" fmla="*/ 2545901 w 4493400"/>
              <a:gd name="connsiteY5116" fmla="*/ 57215 h 4503132"/>
              <a:gd name="connsiteX5117" fmla="*/ 2544025 w 4493400"/>
              <a:gd name="connsiteY5117" fmla="*/ 54183 h 4503132"/>
              <a:gd name="connsiteX5118" fmla="*/ 2534360 w 4493400"/>
              <a:gd name="connsiteY5118" fmla="*/ 46484 h 4503132"/>
              <a:gd name="connsiteX5119" fmla="*/ 2528301 w 4493400"/>
              <a:gd name="connsiteY5119" fmla="*/ 43260 h 4503132"/>
              <a:gd name="connsiteX5120" fmla="*/ 2553739 w 4493400"/>
              <a:gd name="connsiteY5120" fmla="*/ 52788 h 4503132"/>
              <a:gd name="connsiteX5121" fmla="*/ 2581052 w 4493400"/>
              <a:gd name="connsiteY5121" fmla="*/ 66310 h 4503132"/>
              <a:gd name="connsiteX5122" fmla="*/ 2593457 w 4493400"/>
              <a:gd name="connsiteY5122" fmla="*/ 74923 h 4503132"/>
              <a:gd name="connsiteX5123" fmla="*/ 2598362 w 4493400"/>
              <a:gd name="connsiteY5123" fmla="*/ 79879 h 4503132"/>
              <a:gd name="connsiteX5124" fmla="*/ 2600430 w 4493400"/>
              <a:gd name="connsiteY5124" fmla="*/ 84018 h 4503132"/>
              <a:gd name="connsiteX5125" fmla="*/ 2600190 w 4493400"/>
              <a:gd name="connsiteY5125" fmla="*/ 84788 h 4503132"/>
              <a:gd name="connsiteX5126" fmla="*/ 2598747 w 4493400"/>
              <a:gd name="connsiteY5126" fmla="*/ 86087 h 4503132"/>
              <a:gd name="connsiteX5127" fmla="*/ 2592880 w 4493400"/>
              <a:gd name="connsiteY5127" fmla="*/ 88493 h 4503132"/>
              <a:gd name="connsiteX5128" fmla="*/ 2578166 w 4493400"/>
              <a:gd name="connsiteY5128" fmla="*/ 90658 h 4503132"/>
              <a:gd name="connsiteX5129" fmla="*/ 2547632 w 4493400"/>
              <a:gd name="connsiteY5129" fmla="*/ 90370 h 4503132"/>
              <a:gd name="connsiteX5130" fmla="*/ 2489400 w 4493400"/>
              <a:gd name="connsiteY5130" fmla="*/ 83777 h 4503132"/>
              <a:gd name="connsiteX5131" fmla="*/ 2391882 w 4493400"/>
              <a:gd name="connsiteY5131" fmla="*/ 63759 h 4503132"/>
              <a:gd name="connsiteX5132" fmla="*/ 2328216 w 4493400"/>
              <a:gd name="connsiteY5132" fmla="*/ 43212 h 4503132"/>
              <a:gd name="connsiteX5133" fmla="*/ 2313021 w 4493400"/>
              <a:gd name="connsiteY5133" fmla="*/ 34165 h 4503132"/>
              <a:gd name="connsiteX5134" fmla="*/ 2310521 w 4493400"/>
              <a:gd name="connsiteY5134" fmla="*/ 28968 h 4503132"/>
              <a:gd name="connsiteX5135" fmla="*/ 2309703 w 4493400"/>
              <a:gd name="connsiteY5135" fmla="*/ 30556 h 4503132"/>
              <a:gd name="connsiteX5136" fmla="*/ 2311338 w 4493400"/>
              <a:gd name="connsiteY5136" fmla="*/ 35513 h 4503132"/>
              <a:gd name="connsiteX5137" fmla="*/ 2326341 w 4493400"/>
              <a:gd name="connsiteY5137" fmla="*/ 46917 h 4503132"/>
              <a:gd name="connsiteX5138" fmla="*/ 2389814 w 4493400"/>
              <a:gd name="connsiteY5138" fmla="*/ 71025 h 4503132"/>
              <a:gd name="connsiteX5139" fmla="*/ 2487765 w 4493400"/>
              <a:gd name="connsiteY5139" fmla="*/ 93449 h 4503132"/>
              <a:gd name="connsiteX5140" fmla="*/ 2546862 w 4493400"/>
              <a:gd name="connsiteY5140" fmla="*/ 100764 h 4503132"/>
              <a:gd name="connsiteX5141" fmla="*/ 2578791 w 4493400"/>
              <a:gd name="connsiteY5141" fmla="*/ 101197 h 4503132"/>
              <a:gd name="connsiteX5142" fmla="*/ 2595621 w 4493400"/>
              <a:gd name="connsiteY5142" fmla="*/ 98743 h 4503132"/>
              <a:gd name="connsiteX5143" fmla="*/ 2604565 w 4493400"/>
              <a:gd name="connsiteY5143" fmla="*/ 94989 h 4503132"/>
              <a:gd name="connsiteX5144" fmla="*/ 2608989 w 4493400"/>
              <a:gd name="connsiteY5144" fmla="*/ 90755 h 4503132"/>
              <a:gd name="connsiteX5145" fmla="*/ 2611057 w 4493400"/>
              <a:gd name="connsiteY5145" fmla="*/ 83873 h 4503132"/>
              <a:gd name="connsiteX5146" fmla="*/ 2606729 w 4493400"/>
              <a:gd name="connsiteY5146" fmla="*/ 73335 h 4503132"/>
              <a:gd name="connsiteX5147" fmla="*/ 2600286 w 4493400"/>
              <a:gd name="connsiteY5147" fmla="*/ 66791 h 4503132"/>
              <a:gd name="connsiteX5148" fmla="*/ 2586437 w 4493400"/>
              <a:gd name="connsiteY5148" fmla="*/ 57167 h 4503132"/>
              <a:gd name="connsiteX5149" fmla="*/ 2557730 w 4493400"/>
              <a:gd name="connsiteY5149" fmla="*/ 43116 h 4503132"/>
              <a:gd name="connsiteX5150" fmla="*/ 2553739 w 4493400"/>
              <a:gd name="connsiteY5150" fmla="*/ 41576 h 4503132"/>
              <a:gd name="connsiteX5151" fmla="*/ 2560134 w 4493400"/>
              <a:gd name="connsiteY5151" fmla="*/ 43308 h 4503132"/>
              <a:gd name="connsiteX5152" fmla="*/ 2597160 w 4493400"/>
              <a:gd name="connsiteY5152" fmla="*/ 56926 h 4503132"/>
              <a:gd name="connsiteX5153" fmla="*/ 2626060 w 4493400"/>
              <a:gd name="connsiteY5153" fmla="*/ 77570 h 4503132"/>
              <a:gd name="connsiteX5154" fmla="*/ 2632792 w 4493400"/>
              <a:gd name="connsiteY5154" fmla="*/ 93016 h 4503132"/>
              <a:gd name="connsiteX5155" fmla="*/ 2634090 w 4493400"/>
              <a:gd name="connsiteY5155" fmla="*/ 109377 h 4503132"/>
              <a:gd name="connsiteX5156" fmla="*/ 2629137 w 4493400"/>
              <a:gd name="connsiteY5156" fmla="*/ 123717 h 4503132"/>
              <a:gd name="connsiteX5157" fmla="*/ 2617981 w 4493400"/>
              <a:gd name="connsiteY5157" fmla="*/ 132427 h 4503132"/>
              <a:gd name="connsiteX5158" fmla="*/ 2588313 w 4493400"/>
              <a:gd name="connsiteY5158" fmla="*/ 133197 h 4503132"/>
              <a:gd name="connsiteX5159" fmla="*/ 2559750 w 4493400"/>
              <a:gd name="connsiteY5159" fmla="*/ 126412 h 4503132"/>
              <a:gd name="connsiteX5160" fmla="*/ 2511231 w 4493400"/>
              <a:gd name="connsiteY5160" fmla="*/ 110340 h 4503132"/>
              <a:gd name="connsiteX5161" fmla="*/ 2474541 w 4493400"/>
              <a:gd name="connsiteY5161" fmla="*/ 97780 h 4503132"/>
              <a:gd name="connsiteX5162" fmla="*/ 2442420 w 4493400"/>
              <a:gd name="connsiteY5162" fmla="*/ 89600 h 4503132"/>
              <a:gd name="connsiteX5163" fmla="*/ 2473147 w 4493400"/>
              <a:gd name="connsiteY5163" fmla="*/ 101678 h 4503132"/>
              <a:gd name="connsiteX5164" fmla="*/ 2509163 w 4493400"/>
              <a:gd name="connsiteY5164" fmla="*/ 115921 h 4503132"/>
              <a:gd name="connsiteX5165" fmla="*/ 2557538 w 4493400"/>
              <a:gd name="connsiteY5165" fmla="*/ 133630 h 4503132"/>
              <a:gd name="connsiteX5166" fmla="*/ 2586870 w 4493400"/>
              <a:gd name="connsiteY5166" fmla="*/ 141329 h 4503132"/>
              <a:gd name="connsiteX5167" fmla="*/ 2594900 w 4493400"/>
              <a:gd name="connsiteY5167" fmla="*/ 142580 h 4503132"/>
              <a:gd name="connsiteX5168" fmla="*/ 2603267 w 4493400"/>
              <a:gd name="connsiteY5168" fmla="*/ 143254 h 4503132"/>
              <a:gd name="connsiteX5169" fmla="*/ 2612115 w 4493400"/>
              <a:gd name="connsiteY5169" fmla="*/ 142869 h 4503132"/>
              <a:gd name="connsiteX5170" fmla="*/ 2621155 w 4493400"/>
              <a:gd name="connsiteY5170" fmla="*/ 140703 h 4503132"/>
              <a:gd name="connsiteX5171" fmla="*/ 2636639 w 4493400"/>
              <a:gd name="connsiteY5171" fmla="*/ 128914 h 4503132"/>
              <a:gd name="connsiteX5172" fmla="*/ 2643419 w 4493400"/>
              <a:gd name="connsiteY5172" fmla="*/ 110388 h 4503132"/>
              <a:gd name="connsiteX5173" fmla="*/ 2642168 w 4493400"/>
              <a:gd name="connsiteY5173" fmla="*/ 90755 h 4503132"/>
              <a:gd name="connsiteX5174" fmla="*/ 2634283 w 4493400"/>
              <a:gd name="connsiteY5174" fmla="*/ 72132 h 4503132"/>
              <a:gd name="connsiteX5175" fmla="*/ 2628368 w 4493400"/>
              <a:gd name="connsiteY5175" fmla="*/ 65107 h 4503132"/>
              <a:gd name="connsiteX5176" fmla="*/ 2647843 w 4493400"/>
              <a:gd name="connsiteY5176" fmla="*/ 78965 h 4503132"/>
              <a:gd name="connsiteX5177" fmla="*/ 2650920 w 4493400"/>
              <a:gd name="connsiteY5177" fmla="*/ 81997 h 4503132"/>
              <a:gd name="connsiteX5178" fmla="*/ 2653469 w 4493400"/>
              <a:gd name="connsiteY5178" fmla="*/ 85510 h 4503132"/>
              <a:gd name="connsiteX5179" fmla="*/ 2657844 w 4493400"/>
              <a:gd name="connsiteY5179" fmla="*/ 93064 h 4503132"/>
              <a:gd name="connsiteX5180" fmla="*/ 2661595 w 4493400"/>
              <a:gd name="connsiteY5180" fmla="*/ 110676 h 4503132"/>
              <a:gd name="connsiteX5181" fmla="*/ 2660682 w 4493400"/>
              <a:gd name="connsiteY5181" fmla="*/ 150809 h 4503132"/>
              <a:gd name="connsiteX5182" fmla="*/ 2668664 w 4493400"/>
              <a:gd name="connsiteY5182" fmla="*/ 193636 h 4503132"/>
              <a:gd name="connsiteX5183" fmla="*/ 2672943 w 4493400"/>
              <a:gd name="connsiteY5183" fmla="*/ 204078 h 4503132"/>
              <a:gd name="connsiteX5184" fmla="*/ 2678137 w 4493400"/>
              <a:gd name="connsiteY5184" fmla="*/ 214231 h 4503132"/>
              <a:gd name="connsiteX5185" fmla="*/ 2690206 w 4493400"/>
              <a:gd name="connsiteY5185" fmla="*/ 233816 h 4503132"/>
              <a:gd name="connsiteX5186" fmla="*/ 2752285 w 4493400"/>
              <a:gd name="connsiteY5186" fmla="*/ 308162 h 4503132"/>
              <a:gd name="connsiteX5187" fmla="*/ 2829751 w 4493400"/>
              <a:gd name="connsiteY5187" fmla="*/ 378513 h 4503132"/>
              <a:gd name="connsiteX5188" fmla="*/ 2915008 w 4493400"/>
              <a:gd name="connsiteY5188" fmla="*/ 450693 h 4503132"/>
              <a:gd name="connsiteX5189" fmla="*/ 3002043 w 4493400"/>
              <a:gd name="connsiteY5189" fmla="*/ 530525 h 4503132"/>
              <a:gd name="connsiteX5190" fmla="*/ 3084462 w 4493400"/>
              <a:gd name="connsiteY5190" fmla="*/ 622867 h 4503132"/>
              <a:gd name="connsiteX5191" fmla="*/ 3102302 w 4493400"/>
              <a:gd name="connsiteY5191" fmla="*/ 648756 h 4503132"/>
              <a:gd name="connsiteX5192" fmla="*/ 3117929 w 4493400"/>
              <a:gd name="connsiteY5192" fmla="*/ 676570 h 4503132"/>
              <a:gd name="connsiteX5193" fmla="*/ 3139761 w 4493400"/>
              <a:gd name="connsiteY5193" fmla="*/ 736527 h 4503132"/>
              <a:gd name="connsiteX5194" fmla="*/ 3139712 w 4493400"/>
              <a:gd name="connsiteY5194" fmla="*/ 767372 h 4503132"/>
              <a:gd name="connsiteX5195" fmla="*/ 3123411 w 4493400"/>
              <a:gd name="connsiteY5195" fmla="*/ 791240 h 4503132"/>
              <a:gd name="connsiteX5196" fmla="*/ 3109514 w 4493400"/>
              <a:gd name="connsiteY5196" fmla="*/ 797736 h 4503132"/>
              <a:gd name="connsiteX5197" fmla="*/ 3101821 w 4493400"/>
              <a:gd name="connsiteY5197" fmla="*/ 799998 h 4503132"/>
              <a:gd name="connsiteX5198" fmla="*/ 3093887 w 4493400"/>
              <a:gd name="connsiteY5198" fmla="*/ 801586 h 4503132"/>
              <a:gd name="connsiteX5199" fmla="*/ 3060996 w 4493400"/>
              <a:gd name="connsiteY5199" fmla="*/ 803559 h 4503132"/>
              <a:gd name="connsiteX5200" fmla="*/ 2993964 w 4493400"/>
              <a:gd name="connsiteY5200" fmla="*/ 794464 h 4503132"/>
              <a:gd name="connsiteX5201" fmla="*/ 2927510 w 4493400"/>
              <a:gd name="connsiteY5201" fmla="*/ 775505 h 4503132"/>
              <a:gd name="connsiteX5202" fmla="*/ 2801140 w 4493400"/>
              <a:gd name="connsiteY5202" fmla="*/ 721129 h 4503132"/>
              <a:gd name="connsiteX5203" fmla="*/ 2742956 w 4493400"/>
              <a:gd name="connsiteY5203" fmla="*/ 687300 h 4503132"/>
              <a:gd name="connsiteX5204" fmla="*/ 2715932 w 4493400"/>
              <a:gd name="connsiteY5204" fmla="*/ 668197 h 4503132"/>
              <a:gd name="connsiteX5205" fmla="*/ 2691601 w 4493400"/>
              <a:gd name="connsiteY5205" fmla="*/ 646831 h 4503132"/>
              <a:gd name="connsiteX5206" fmla="*/ 2681070 w 4493400"/>
              <a:gd name="connsiteY5206" fmla="*/ 634609 h 4503132"/>
              <a:gd name="connsiteX5207" fmla="*/ 2671020 w 4493400"/>
              <a:gd name="connsiteY5207" fmla="*/ 621953 h 4503132"/>
              <a:gd name="connsiteX5208" fmla="*/ 2653036 w 4493400"/>
              <a:gd name="connsiteY5208" fmla="*/ 595295 h 4503132"/>
              <a:gd name="connsiteX5209" fmla="*/ 2623319 w 4493400"/>
              <a:gd name="connsiteY5209" fmla="*/ 539090 h 4503132"/>
              <a:gd name="connsiteX5210" fmla="*/ 2584177 w 4493400"/>
              <a:gd name="connsiteY5210" fmla="*/ 422014 h 4503132"/>
              <a:gd name="connsiteX5211" fmla="*/ 2572637 w 4493400"/>
              <a:gd name="connsiteY5211" fmla="*/ 363500 h 4503132"/>
              <a:gd name="connsiteX5212" fmla="*/ 2566145 w 4493400"/>
              <a:gd name="connsiteY5212" fmla="*/ 305900 h 4503132"/>
              <a:gd name="connsiteX5213" fmla="*/ 2566578 w 4493400"/>
              <a:gd name="connsiteY5213" fmla="*/ 249696 h 4503132"/>
              <a:gd name="connsiteX5214" fmla="*/ 2564606 w 4493400"/>
              <a:gd name="connsiteY5214" fmla="*/ 193684 h 4503132"/>
              <a:gd name="connsiteX5215" fmla="*/ 2835377 w 4493400"/>
              <a:gd name="connsiteY5215" fmla="*/ 371776 h 4503132"/>
              <a:gd name="connsiteX5216" fmla="*/ 2758007 w 4493400"/>
              <a:gd name="connsiteY5216" fmla="*/ 302339 h 4503132"/>
              <a:gd name="connsiteX5217" fmla="*/ 2696409 w 4493400"/>
              <a:gd name="connsiteY5217" fmla="*/ 229678 h 4503132"/>
              <a:gd name="connsiteX5218" fmla="*/ 2684484 w 4493400"/>
              <a:gd name="connsiteY5218" fmla="*/ 210718 h 4503132"/>
              <a:gd name="connsiteX5219" fmla="*/ 2679435 w 4493400"/>
              <a:gd name="connsiteY5219" fmla="*/ 201046 h 4503132"/>
              <a:gd name="connsiteX5220" fmla="*/ 2675300 w 4493400"/>
              <a:gd name="connsiteY5220" fmla="*/ 191133 h 4503132"/>
              <a:gd name="connsiteX5221" fmla="*/ 2667413 w 4493400"/>
              <a:gd name="connsiteY5221" fmla="*/ 150616 h 4503132"/>
              <a:gd name="connsiteX5222" fmla="*/ 2667895 w 4493400"/>
              <a:gd name="connsiteY5222" fmla="*/ 110291 h 4503132"/>
              <a:gd name="connsiteX5223" fmla="*/ 2663423 w 4493400"/>
              <a:gd name="connsiteY5223" fmla="*/ 90610 h 4503132"/>
              <a:gd name="connsiteX5224" fmla="*/ 2658373 w 4493400"/>
              <a:gd name="connsiteY5224" fmla="*/ 81997 h 4503132"/>
              <a:gd name="connsiteX5225" fmla="*/ 2655440 w 4493400"/>
              <a:gd name="connsiteY5225" fmla="*/ 78051 h 4503132"/>
              <a:gd name="connsiteX5226" fmla="*/ 2651978 w 4493400"/>
              <a:gd name="connsiteY5226" fmla="*/ 74682 h 4503132"/>
              <a:gd name="connsiteX5227" fmla="*/ 2634619 w 4493400"/>
              <a:gd name="connsiteY5227" fmla="*/ 62075 h 4503132"/>
              <a:gd name="connsiteX5228" fmla="*/ 2647314 w 4493400"/>
              <a:gd name="connsiteY5228" fmla="*/ 68331 h 4503132"/>
              <a:gd name="connsiteX5229" fmla="*/ 2657893 w 4493400"/>
              <a:gd name="connsiteY5229" fmla="*/ 75356 h 4503132"/>
              <a:gd name="connsiteX5230" fmla="*/ 2662942 w 4493400"/>
              <a:gd name="connsiteY5230" fmla="*/ 79446 h 4503132"/>
              <a:gd name="connsiteX5231" fmla="*/ 2667462 w 4493400"/>
              <a:gd name="connsiteY5231" fmla="*/ 84018 h 4503132"/>
              <a:gd name="connsiteX5232" fmla="*/ 2681310 w 4493400"/>
              <a:gd name="connsiteY5232" fmla="*/ 105816 h 4503132"/>
              <a:gd name="connsiteX5233" fmla="*/ 2688812 w 4493400"/>
              <a:gd name="connsiteY5233" fmla="*/ 132090 h 4503132"/>
              <a:gd name="connsiteX5234" fmla="*/ 2704536 w 4493400"/>
              <a:gd name="connsiteY5234" fmla="*/ 188150 h 4503132"/>
              <a:gd name="connsiteX5235" fmla="*/ 2732570 w 4493400"/>
              <a:gd name="connsiteY5235" fmla="*/ 241756 h 4503132"/>
              <a:gd name="connsiteX5236" fmla="*/ 2770221 w 4493400"/>
              <a:gd name="connsiteY5236" fmla="*/ 291079 h 4503132"/>
              <a:gd name="connsiteX5237" fmla="*/ 2858843 w 4493400"/>
              <a:gd name="connsiteY5237" fmla="*/ 384576 h 4503132"/>
              <a:gd name="connsiteX5238" fmla="*/ 2906929 w 4493400"/>
              <a:gd name="connsiteY5238" fmla="*/ 430964 h 4503132"/>
              <a:gd name="connsiteX5239" fmla="*/ 2913373 w 4493400"/>
              <a:gd name="connsiteY5239" fmla="*/ 436979 h 4503132"/>
              <a:gd name="connsiteX5240" fmla="*/ 2835570 w 4493400"/>
              <a:gd name="connsiteY5240" fmla="*/ 371824 h 4503132"/>
              <a:gd name="connsiteX5241" fmla="*/ 2058070 w 4493400"/>
              <a:gd name="connsiteY5241" fmla="*/ 22135 h 4503132"/>
              <a:gd name="connsiteX5242" fmla="*/ 2063696 w 4493400"/>
              <a:gd name="connsiteY5242" fmla="*/ 21269 h 4503132"/>
              <a:gd name="connsiteX5243" fmla="*/ 2049511 w 4493400"/>
              <a:gd name="connsiteY5243" fmla="*/ 30364 h 4503132"/>
              <a:gd name="connsiteX5244" fmla="*/ 2025660 w 4493400"/>
              <a:gd name="connsiteY5244" fmla="*/ 45522 h 4503132"/>
              <a:gd name="connsiteX5245" fmla="*/ 1972862 w 4493400"/>
              <a:gd name="connsiteY5245" fmla="*/ 66743 h 4503132"/>
              <a:gd name="connsiteX5246" fmla="*/ 1952329 w 4493400"/>
              <a:gd name="connsiteY5246" fmla="*/ 73961 h 4503132"/>
              <a:gd name="connsiteX5247" fmla="*/ 1974353 w 4493400"/>
              <a:gd name="connsiteY5247" fmla="*/ 63374 h 4503132"/>
              <a:gd name="connsiteX5248" fmla="*/ 1996087 w 4493400"/>
              <a:gd name="connsiteY5248" fmla="*/ 52740 h 4503132"/>
              <a:gd name="connsiteX5249" fmla="*/ 2016668 w 4493400"/>
              <a:gd name="connsiteY5249" fmla="*/ 39362 h 4503132"/>
              <a:gd name="connsiteX5250" fmla="*/ 2036239 w 4493400"/>
              <a:gd name="connsiteY5250" fmla="*/ 28150 h 4503132"/>
              <a:gd name="connsiteX5251" fmla="*/ 2058118 w 4493400"/>
              <a:gd name="connsiteY5251" fmla="*/ 22135 h 4503132"/>
              <a:gd name="connsiteX5252" fmla="*/ 2912892 w 4493400"/>
              <a:gd name="connsiteY5252" fmla="*/ 377888 h 4503132"/>
              <a:gd name="connsiteX5253" fmla="*/ 2896014 w 4493400"/>
              <a:gd name="connsiteY5253" fmla="*/ 359169 h 4503132"/>
              <a:gd name="connsiteX5254" fmla="*/ 2879953 w 4493400"/>
              <a:gd name="connsiteY5254" fmla="*/ 339825 h 4503132"/>
              <a:gd name="connsiteX5255" fmla="*/ 2822586 w 4493400"/>
              <a:gd name="connsiteY5255" fmla="*/ 258020 h 4503132"/>
              <a:gd name="connsiteX5256" fmla="*/ 2774404 w 4493400"/>
              <a:gd name="connsiteY5256" fmla="*/ 170923 h 4503132"/>
              <a:gd name="connsiteX5257" fmla="*/ 2761902 w 4493400"/>
              <a:gd name="connsiteY5257" fmla="*/ 149365 h 4503132"/>
              <a:gd name="connsiteX5258" fmla="*/ 2748390 w 4493400"/>
              <a:gd name="connsiteY5258" fmla="*/ 128385 h 4503132"/>
              <a:gd name="connsiteX5259" fmla="*/ 2741177 w 4493400"/>
              <a:gd name="connsiteY5259" fmla="*/ 118231 h 4503132"/>
              <a:gd name="connsiteX5260" fmla="*/ 2733676 w 4493400"/>
              <a:gd name="connsiteY5260" fmla="*/ 108270 h 4503132"/>
              <a:gd name="connsiteX5261" fmla="*/ 2725790 w 4493400"/>
              <a:gd name="connsiteY5261" fmla="*/ 98598 h 4503132"/>
              <a:gd name="connsiteX5262" fmla="*/ 2721847 w 4493400"/>
              <a:gd name="connsiteY5262" fmla="*/ 93786 h 4503132"/>
              <a:gd name="connsiteX5263" fmla="*/ 2717182 w 4493400"/>
              <a:gd name="connsiteY5263" fmla="*/ 89119 h 4503132"/>
              <a:gd name="connsiteX5264" fmla="*/ 2712229 w 4493400"/>
              <a:gd name="connsiteY5264" fmla="*/ 84932 h 4503132"/>
              <a:gd name="connsiteX5265" fmla="*/ 2712037 w 4493400"/>
              <a:gd name="connsiteY5265" fmla="*/ 84788 h 4503132"/>
              <a:gd name="connsiteX5266" fmla="*/ 2713191 w 4493400"/>
              <a:gd name="connsiteY5266" fmla="*/ 85510 h 4503132"/>
              <a:gd name="connsiteX5267" fmla="*/ 2761325 w 4493400"/>
              <a:gd name="connsiteY5267" fmla="*/ 135266 h 4503132"/>
              <a:gd name="connsiteX5268" fmla="*/ 2796572 w 4493400"/>
              <a:gd name="connsiteY5268" fmla="*/ 196475 h 4503132"/>
              <a:gd name="connsiteX5269" fmla="*/ 2829896 w 4493400"/>
              <a:gd name="connsiteY5269" fmla="*/ 259801 h 4503132"/>
              <a:gd name="connsiteX5270" fmla="*/ 2838840 w 4493400"/>
              <a:gd name="connsiteY5270" fmla="*/ 275392 h 4503132"/>
              <a:gd name="connsiteX5271" fmla="*/ 2848312 w 4493400"/>
              <a:gd name="connsiteY5271" fmla="*/ 290694 h 4503132"/>
              <a:gd name="connsiteX5272" fmla="*/ 2868268 w 4493400"/>
              <a:gd name="connsiteY5272" fmla="*/ 320721 h 4503132"/>
              <a:gd name="connsiteX5273" fmla="*/ 2924240 w 4493400"/>
              <a:gd name="connsiteY5273" fmla="*/ 390110 h 4503132"/>
              <a:gd name="connsiteX5274" fmla="*/ 2912892 w 4493400"/>
              <a:gd name="connsiteY5274" fmla="*/ 377839 h 4503132"/>
              <a:gd name="connsiteX5275" fmla="*/ 1955359 w 4493400"/>
              <a:gd name="connsiteY5275" fmla="*/ 56156 h 4503132"/>
              <a:gd name="connsiteX5276" fmla="*/ 1976757 w 4493400"/>
              <a:gd name="connsiteY5276" fmla="*/ 40806 h 4503132"/>
              <a:gd name="connsiteX5277" fmla="*/ 1985941 w 4493400"/>
              <a:gd name="connsiteY5277" fmla="*/ 32914 h 4503132"/>
              <a:gd name="connsiteX5278" fmla="*/ 1996136 w 4493400"/>
              <a:gd name="connsiteY5278" fmla="*/ 27862 h 4503132"/>
              <a:gd name="connsiteX5279" fmla="*/ 2020419 w 4493400"/>
              <a:gd name="connsiteY5279" fmla="*/ 22665 h 4503132"/>
              <a:gd name="connsiteX5280" fmla="*/ 2025372 w 4493400"/>
              <a:gd name="connsiteY5280" fmla="*/ 21943 h 4503132"/>
              <a:gd name="connsiteX5281" fmla="*/ 2010754 w 4493400"/>
              <a:gd name="connsiteY5281" fmla="*/ 31038 h 4503132"/>
              <a:gd name="connsiteX5282" fmla="*/ 1991231 w 4493400"/>
              <a:gd name="connsiteY5282" fmla="*/ 43741 h 4503132"/>
              <a:gd name="connsiteX5283" fmla="*/ 1969737 w 4493400"/>
              <a:gd name="connsiteY5283" fmla="*/ 54231 h 4503132"/>
              <a:gd name="connsiteX5284" fmla="*/ 1860486 w 4493400"/>
              <a:gd name="connsiteY5284" fmla="*/ 106634 h 4503132"/>
              <a:gd name="connsiteX5285" fmla="*/ 1955407 w 4493400"/>
              <a:gd name="connsiteY5285" fmla="*/ 56204 h 4503132"/>
              <a:gd name="connsiteX5286" fmla="*/ 1534896 w 4493400"/>
              <a:gd name="connsiteY5286" fmla="*/ 125112 h 4503132"/>
              <a:gd name="connsiteX5287" fmla="*/ 1563267 w 4493400"/>
              <a:gd name="connsiteY5287" fmla="*/ 115585 h 4503132"/>
              <a:gd name="connsiteX5288" fmla="*/ 1592936 w 4493400"/>
              <a:gd name="connsiteY5288" fmla="*/ 106297 h 4503132"/>
              <a:gd name="connsiteX5289" fmla="*/ 1623807 w 4493400"/>
              <a:gd name="connsiteY5289" fmla="*/ 97058 h 4503132"/>
              <a:gd name="connsiteX5290" fmla="*/ 1637656 w 4493400"/>
              <a:gd name="connsiteY5290" fmla="*/ 93113 h 4503132"/>
              <a:gd name="connsiteX5291" fmla="*/ 1628952 w 4493400"/>
              <a:gd name="connsiteY5291" fmla="*/ 97203 h 4503132"/>
              <a:gd name="connsiteX5292" fmla="*/ 1596591 w 4493400"/>
              <a:gd name="connsiteY5292" fmla="*/ 111927 h 4503132"/>
              <a:gd name="connsiteX5293" fmla="*/ 1580049 w 4493400"/>
              <a:gd name="connsiteY5293" fmla="*/ 119675 h 4503132"/>
              <a:gd name="connsiteX5294" fmla="*/ 1571682 w 4493400"/>
              <a:gd name="connsiteY5294" fmla="*/ 124054 h 4503132"/>
              <a:gd name="connsiteX5295" fmla="*/ 1563652 w 4493400"/>
              <a:gd name="connsiteY5295" fmla="*/ 128962 h 4503132"/>
              <a:gd name="connsiteX5296" fmla="*/ 1532636 w 4493400"/>
              <a:gd name="connsiteY5296" fmla="*/ 150857 h 4503132"/>
              <a:gd name="connsiteX5297" fmla="*/ 1502775 w 4493400"/>
              <a:gd name="connsiteY5297" fmla="*/ 175975 h 4503132"/>
              <a:gd name="connsiteX5298" fmla="*/ 1475703 w 4493400"/>
              <a:gd name="connsiteY5298" fmla="*/ 206099 h 4503132"/>
              <a:gd name="connsiteX5299" fmla="*/ 1470413 w 4493400"/>
              <a:gd name="connsiteY5299" fmla="*/ 215482 h 4503132"/>
              <a:gd name="connsiteX5300" fmla="*/ 1467913 w 4493400"/>
              <a:gd name="connsiteY5300" fmla="*/ 227079 h 4503132"/>
              <a:gd name="connsiteX5301" fmla="*/ 1474693 w 4493400"/>
              <a:gd name="connsiteY5301" fmla="*/ 238484 h 4503132"/>
              <a:gd name="connsiteX5302" fmla="*/ 1485849 w 4493400"/>
              <a:gd name="connsiteY5302" fmla="*/ 242381 h 4503132"/>
              <a:gd name="connsiteX5303" fmla="*/ 1507488 w 4493400"/>
              <a:gd name="connsiteY5303" fmla="*/ 242574 h 4503132"/>
              <a:gd name="connsiteX5304" fmla="*/ 1528549 w 4493400"/>
              <a:gd name="connsiteY5304" fmla="*/ 239494 h 4503132"/>
              <a:gd name="connsiteX5305" fmla="*/ 1549418 w 4493400"/>
              <a:gd name="connsiteY5305" fmla="*/ 234971 h 4503132"/>
              <a:gd name="connsiteX5306" fmla="*/ 1570239 w 4493400"/>
              <a:gd name="connsiteY5306" fmla="*/ 229389 h 4503132"/>
              <a:gd name="connsiteX5307" fmla="*/ 1611978 w 4493400"/>
              <a:gd name="connsiteY5307" fmla="*/ 216348 h 4503132"/>
              <a:gd name="connsiteX5308" fmla="*/ 1735030 w 4493400"/>
              <a:gd name="connsiteY5308" fmla="*/ 166784 h 4503132"/>
              <a:gd name="connsiteX5309" fmla="*/ 1702283 w 4493400"/>
              <a:gd name="connsiteY5309" fmla="*/ 182520 h 4503132"/>
              <a:gd name="connsiteX5310" fmla="*/ 1655832 w 4493400"/>
              <a:gd name="connsiteY5310" fmla="*/ 202393 h 4503132"/>
              <a:gd name="connsiteX5311" fmla="*/ 1608516 w 4493400"/>
              <a:gd name="connsiteY5311" fmla="*/ 221978 h 4503132"/>
              <a:gd name="connsiteX5312" fmla="*/ 1514027 w 4493400"/>
              <a:gd name="connsiteY5312" fmla="*/ 264709 h 4503132"/>
              <a:gd name="connsiteX5313" fmla="*/ 1468394 w 4493400"/>
              <a:gd name="connsiteY5313" fmla="*/ 291512 h 4503132"/>
              <a:gd name="connsiteX5314" fmla="*/ 1457767 w 4493400"/>
              <a:gd name="connsiteY5314" fmla="*/ 300222 h 4503132"/>
              <a:gd name="connsiteX5315" fmla="*/ 1452862 w 4493400"/>
              <a:gd name="connsiteY5315" fmla="*/ 305515 h 4503132"/>
              <a:gd name="connsiteX5316" fmla="*/ 1450554 w 4493400"/>
              <a:gd name="connsiteY5316" fmla="*/ 308498 h 4503132"/>
              <a:gd name="connsiteX5317" fmla="*/ 1448630 w 4493400"/>
              <a:gd name="connsiteY5317" fmla="*/ 311530 h 4503132"/>
              <a:gd name="connsiteX5318" fmla="*/ 1443053 w 4493400"/>
              <a:gd name="connsiteY5318" fmla="*/ 325485 h 4503132"/>
              <a:gd name="connsiteX5319" fmla="*/ 1445986 w 4493400"/>
              <a:gd name="connsiteY5319" fmla="*/ 341846 h 4503132"/>
              <a:gd name="connsiteX5320" fmla="*/ 1458825 w 4493400"/>
              <a:gd name="connsiteY5320" fmla="*/ 353058 h 4503132"/>
              <a:gd name="connsiteX5321" fmla="*/ 1473347 w 4493400"/>
              <a:gd name="connsiteY5321" fmla="*/ 358495 h 4503132"/>
              <a:gd name="connsiteX5322" fmla="*/ 1502631 w 4493400"/>
              <a:gd name="connsiteY5322" fmla="*/ 363019 h 4503132"/>
              <a:gd name="connsiteX5323" fmla="*/ 1560430 w 4493400"/>
              <a:gd name="connsiteY5323" fmla="*/ 362297 h 4503132"/>
              <a:gd name="connsiteX5324" fmla="*/ 1672758 w 4493400"/>
              <a:gd name="connsiteY5324" fmla="*/ 346561 h 4503132"/>
              <a:gd name="connsiteX5325" fmla="*/ 1890347 w 4493400"/>
              <a:gd name="connsiteY5325" fmla="*/ 309172 h 4503132"/>
              <a:gd name="connsiteX5326" fmla="*/ 1996809 w 4493400"/>
              <a:gd name="connsiteY5326" fmla="*/ 297864 h 4503132"/>
              <a:gd name="connsiteX5327" fmla="*/ 2048934 w 4493400"/>
              <a:gd name="connsiteY5327" fmla="*/ 299067 h 4503132"/>
              <a:gd name="connsiteX5328" fmla="*/ 2073410 w 4493400"/>
              <a:gd name="connsiteY5328" fmla="*/ 304504 h 4503132"/>
              <a:gd name="connsiteX5329" fmla="*/ 2090961 w 4493400"/>
              <a:gd name="connsiteY5329" fmla="*/ 317786 h 4503132"/>
              <a:gd name="connsiteX5330" fmla="*/ 2090047 w 4493400"/>
              <a:gd name="connsiteY5330" fmla="*/ 338237 h 4503132"/>
              <a:gd name="connsiteX5331" fmla="*/ 2075621 w 4493400"/>
              <a:gd name="connsiteY5331" fmla="*/ 357581 h 4503132"/>
              <a:gd name="connsiteX5332" fmla="*/ 2036143 w 4493400"/>
              <a:gd name="connsiteY5332" fmla="*/ 388570 h 4503132"/>
              <a:gd name="connsiteX5333" fmla="*/ 1946992 w 4493400"/>
              <a:gd name="connsiteY5333" fmla="*/ 433563 h 4503132"/>
              <a:gd name="connsiteX5334" fmla="*/ 1900252 w 4493400"/>
              <a:gd name="connsiteY5334" fmla="*/ 447758 h 4503132"/>
              <a:gd name="connsiteX5335" fmla="*/ 1852503 w 4493400"/>
              <a:gd name="connsiteY5335" fmla="*/ 457719 h 4503132"/>
              <a:gd name="connsiteX5336" fmla="*/ 1758351 w 4493400"/>
              <a:gd name="connsiteY5336" fmla="*/ 476390 h 4503132"/>
              <a:gd name="connsiteX5337" fmla="*/ 1667517 w 4493400"/>
              <a:gd name="connsiteY5337" fmla="*/ 498717 h 4503132"/>
              <a:gd name="connsiteX5338" fmla="*/ 1583896 w 4493400"/>
              <a:gd name="connsiteY5338" fmla="*/ 534519 h 4503132"/>
              <a:gd name="connsiteX5339" fmla="*/ 1434012 w 4493400"/>
              <a:gd name="connsiteY5339" fmla="*/ 617526 h 4503132"/>
              <a:gd name="connsiteX5340" fmla="*/ 1361691 w 4493400"/>
              <a:gd name="connsiteY5340" fmla="*/ 652173 h 4503132"/>
              <a:gd name="connsiteX5341" fmla="*/ 1325098 w 4493400"/>
              <a:gd name="connsiteY5341" fmla="*/ 663240 h 4503132"/>
              <a:gd name="connsiteX5342" fmla="*/ 1315962 w 4493400"/>
              <a:gd name="connsiteY5342" fmla="*/ 664443 h 4503132"/>
              <a:gd name="connsiteX5343" fmla="*/ 1307018 w 4493400"/>
              <a:gd name="connsiteY5343" fmla="*/ 664443 h 4503132"/>
              <a:gd name="connsiteX5344" fmla="*/ 1293746 w 4493400"/>
              <a:gd name="connsiteY5344" fmla="*/ 658332 h 4503132"/>
              <a:gd name="connsiteX5345" fmla="*/ 1292688 w 4493400"/>
              <a:gd name="connsiteY5345" fmla="*/ 642452 h 4503132"/>
              <a:gd name="connsiteX5346" fmla="*/ 1297593 w 4493400"/>
              <a:gd name="connsiteY5346" fmla="*/ 625321 h 4503132"/>
              <a:gd name="connsiteX5347" fmla="*/ 1312452 w 4493400"/>
              <a:gd name="connsiteY5347" fmla="*/ 592552 h 4503132"/>
              <a:gd name="connsiteX5348" fmla="*/ 1345006 w 4493400"/>
              <a:gd name="connsiteY5348" fmla="*/ 530621 h 4503132"/>
              <a:gd name="connsiteX5349" fmla="*/ 1358373 w 4493400"/>
              <a:gd name="connsiteY5349" fmla="*/ 499295 h 4503132"/>
              <a:gd name="connsiteX5350" fmla="*/ 1362557 w 4493400"/>
              <a:gd name="connsiteY5350" fmla="*/ 465996 h 4503132"/>
              <a:gd name="connsiteX5351" fmla="*/ 1353565 w 4493400"/>
              <a:gd name="connsiteY5351" fmla="*/ 434766 h 4503132"/>
              <a:gd name="connsiteX5352" fmla="*/ 1340630 w 4493400"/>
              <a:gd name="connsiteY5352" fmla="*/ 407722 h 4503132"/>
              <a:gd name="connsiteX5353" fmla="*/ 1339235 w 4493400"/>
              <a:gd name="connsiteY5353" fmla="*/ 401033 h 4503132"/>
              <a:gd name="connsiteX5354" fmla="*/ 1339379 w 4493400"/>
              <a:gd name="connsiteY5354" fmla="*/ 394393 h 4503132"/>
              <a:gd name="connsiteX5355" fmla="*/ 1341207 w 4493400"/>
              <a:gd name="connsiteY5355" fmla="*/ 387945 h 4503132"/>
              <a:gd name="connsiteX5356" fmla="*/ 1344188 w 4493400"/>
              <a:gd name="connsiteY5356" fmla="*/ 381882 h 4503132"/>
              <a:gd name="connsiteX5357" fmla="*/ 1362893 w 4493400"/>
              <a:gd name="connsiteY5357" fmla="*/ 361864 h 4503132"/>
              <a:gd name="connsiteX5358" fmla="*/ 1404536 w 4493400"/>
              <a:gd name="connsiteY5358" fmla="*/ 328083 h 4503132"/>
              <a:gd name="connsiteX5359" fmla="*/ 1422327 w 4493400"/>
              <a:gd name="connsiteY5359" fmla="*/ 309846 h 4503132"/>
              <a:gd name="connsiteX5360" fmla="*/ 1435118 w 4493400"/>
              <a:gd name="connsiteY5360" fmla="*/ 288769 h 4503132"/>
              <a:gd name="connsiteX5361" fmla="*/ 1439398 w 4493400"/>
              <a:gd name="connsiteY5361" fmla="*/ 265720 h 4503132"/>
              <a:gd name="connsiteX5362" fmla="*/ 1440937 w 4493400"/>
              <a:gd name="connsiteY5362" fmla="*/ 244354 h 4503132"/>
              <a:gd name="connsiteX5363" fmla="*/ 1444928 w 4493400"/>
              <a:gd name="connsiteY5363" fmla="*/ 231025 h 4503132"/>
              <a:gd name="connsiteX5364" fmla="*/ 1480367 w 4493400"/>
              <a:gd name="connsiteY5364" fmla="*/ 192769 h 4503132"/>
              <a:gd name="connsiteX5365" fmla="*/ 1491908 w 4493400"/>
              <a:gd name="connsiteY5365" fmla="*/ 179729 h 4503132"/>
              <a:gd name="connsiteX5366" fmla="*/ 1526097 w 4493400"/>
              <a:gd name="connsiteY5366" fmla="*/ 151675 h 4503132"/>
              <a:gd name="connsiteX5367" fmla="*/ 1551630 w 4493400"/>
              <a:gd name="connsiteY5367" fmla="*/ 129539 h 4503132"/>
              <a:gd name="connsiteX5368" fmla="*/ 1554852 w 4493400"/>
              <a:gd name="connsiteY5368" fmla="*/ 125594 h 4503132"/>
              <a:gd name="connsiteX5369" fmla="*/ 1555669 w 4493400"/>
              <a:gd name="connsiteY5369" fmla="*/ 123621 h 4503132"/>
              <a:gd name="connsiteX5370" fmla="*/ 1554708 w 4493400"/>
              <a:gd name="connsiteY5370" fmla="*/ 122033 h 4503132"/>
              <a:gd name="connsiteX5371" fmla="*/ 1551726 w 4493400"/>
              <a:gd name="connsiteY5371" fmla="*/ 122129 h 4503132"/>
              <a:gd name="connsiteX5372" fmla="*/ 1554467 w 4493400"/>
              <a:gd name="connsiteY5372" fmla="*/ 122562 h 4503132"/>
              <a:gd name="connsiteX5373" fmla="*/ 1554131 w 4493400"/>
              <a:gd name="connsiteY5373" fmla="*/ 125161 h 4503132"/>
              <a:gd name="connsiteX5374" fmla="*/ 1550813 w 4493400"/>
              <a:gd name="connsiteY5374" fmla="*/ 128770 h 4503132"/>
              <a:gd name="connsiteX5375" fmla="*/ 1524702 w 4493400"/>
              <a:gd name="connsiteY5375" fmla="*/ 149991 h 4503132"/>
              <a:gd name="connsiteX5376" fmla="*/ 1502006 w 4493400"/>
              <a:gd name="connsiteY5376" fmla="*/ 167651 h 4503132"/>
              <a:gd name="connsiteX5377" fmla="*/ 1509892 w 4493400"/>
              <a:gd name="connsiteY5377" fmla="*/ 157449 h 4503132"/>
              <a:gd name="connsiteX5378" fmla="*/ 1514364 w 4493400"/>
              <a:gd name="connsiteY5378" fmla="*/ 150760 h 4503132"/>
              <a:gd name="connsiteX5379" fmla="*/ 1515614 w 4493400"/>
              <a:gd name="connsiteY5379" fmla="*/ 148499 h 4503132"/>
              <a:gd name="connsiteX5380" fmla="*/ 1517105 w 4493400"/>
              <a:gd name="connsiteY5380" fmla="*/ 145179 h 4503132"/>
              <a:gd name="connsiteX5381" fmla="*/ 1517778 w 4493400"/>
              <a:gd name="connsiteY5381" fmla="*/ 138923 h 4503132"/>
              <a:gd name="connsiteX5382" fmla="*/ 1514364 w 4493400"/>
              <a:gd name="connsiteY5382" fmla="*/ 134303 h 4503132"/>
              <a:gd name="connsiteX5383" fmla="*/ 1513066 w 4493400"/>
              <a:gd name="connsiteY5383" fmla="*/ 133726 h 4503132"/>
              <a:gd name="connsiteX5384" fmla="*/ 1513066 w 4493400"/>
              <a:gd name="connsiteY5384" fmla="*/ 133726 h 4503132"/>
              <a:gd name="connsiteX5385" fmla="*/ 1540907 w 4493400"/>
              <a:gd name="connsiteY5385" fmla="*/ 125064 h 4503132"/>
              <a:gd name="connsiteX5386" fmla="*/ 1548986 w 4493400"/>
              <a:gd name="connsiteY5386" fmla="*/ 122851 h 4503132"/>
              <a:gd name="connsiteX5387" fmla="*/ 1551726 w 4493400"/>
              <a:gd name="connsiteY5387" fmla="*/ 122081 h 4503132"/>
              <a:gd name="connsiteX5388" fmla="*/ 1548889 w 4493400"/>
              <a:gd name="connsiteY5388" fmla="*/ 122321 h 4503132"/>
              <a:gd name="connsiteX5389" fmla="*/ 1540667 w 4493400"/>
              <a:gd name="connsiteY5389" fmla="*/ 124054 h 4503132"/>
              <a:gd name="connsiteX5390" fmla="*/ 1532684 w 4493400"/>
              <a:gd name="connsiteY5390" fmla="*/ 126075 h 4503132"/>
              <a:gd name="connsiteX5391" fmla="*/ 1535137 w 4493400"/>
              <a:gd name="connsiteY5391" fmla="*/ 125257 h 4503132"/>
              <a:gd name="connsiteX5392" fmla="*/ 1346015 w 4493400"/>
              <a:gd name="connsiteY5392" fmla="*/ 222267 h 4503132"/>
              <a:gd name="connsiteX5393" fmla="*/ 1342986 w 4493400"/>
              <a:gd name="connsiteY5393" fmla="*/ 217214 h 4503132"/>
              <a:gd name="connsiteX5394" fmla="*/ 1340774 w 4493400"/>
              <a:gd name="connsiteY5394" fmla="*/ 215626 h 4503132"/>
              <a:gd name="connsiteX5395" fmla="*/ 1338562 w 4493400"/>
              <a:gd name="connsiteY5395" fmla="*/ 214616 h 4503132"/>
              <a:gd name="connsiteX5396" fmla="*/ 1335917 w 4493400"/>
              <a:gd name="connsiteY5396" fmla="*/ 213894 h 4503132"/>
              <a:gd name="connsiteX5397" fmla="*/ 1345871 w 4493400"/>
              <a:gd name="connsiteY5397" fmla="*/ 211103 h 4503132"/>
              <a:gd name="connsiteX5398" fmla="*/ 1357748 w 4493400"/>
              <a:gd name="connsiteY5398" fmla="*/ 208793 h 4503132"/>
              <a:gd name="connsiteX5399" fmla="*/ 1363230 w 4493400"/>
              <a:gd name="connsiteY5399" fmla="*/ 208986 h 4503132"/>
              <a:gd name="connsiteX5400" fmla="*/ 1366644 w 4493400"/>
              <a:gd name="connsiteY5400" fmla="*/ 210093 h 4503132"/>
              <a:gd name="connsiteX5401" fmla="*/ 1366837 w 4493400"/>
              <a:gd name="connsiteY5401" fmla="*/ 211440 h 4503132"/>
              <a:gd name="connsiteX5402" fmla="*/ 1365057 w 4493400"/>
              <a:gd name="connsiteY5402" fmla="*/ 215963 h 4503132"/>
              <a:gd name="connsiteX5403" fmla="*/ 1358181 w 4493400"/>
              <a:gd name="connsiteY5403" fmla="*/ 225828 h 4503132"/>
              <a:gd name="connsiteX5404" fmla="*/ 1340822 w 4493400"/>
              <a:gd name="connsiteY5404" fmla="*/ 244402 h 4503132"/>
              <a:gd name="connsiteX5405" fmla="*/ 1320386 w 4493400"/>
              <a:gd name="connsiteY5405" fmla="*/ 263554 h 4503132"/>
              <a:gd name="connsiteX5406" fmla="*/ 1322165 w 4493400"/>
              <a:gd name="connsiteY5406" fmla="*/ 261774 h 4503132"/>
              <a:gd name="connsiteX5407" fmla="*/ 1338370 w 4493400"/>
              <a:gd name="connsiteY5407" fmla="*/ 243055 h 4503132"/>
              <a:gd name="connsiteX5408" fmla="*/ 1345150 w 4493400"/>
              <a:gd name="connsiteY5408" fmla="*/ 231314 h 4503132"/>
              <a:gd name="connsiteX5409" fmla="*/ 1346015 w 4493400"/>
              <a:gd name="connsiteY5409" fmla="*/ 222219 h 4503132"/>
              <a:gd name="connsiteX5410" fmla="*/ 1376502 w 4493400"/>
              <a:gd name="connsiteY5410" fmla="*/ 207735 h 4503132"/>
              <a:gd name="connsiteX5411" fmla="*/ 1373280 w 4493400"/>
              <a:gd name="connsiteY5411" fmla="*/ 202634 h 4503132"/>
              <a:gd name="connsiteX5412" fmla="*/ 1367750 w 4493400"/>
              <a:gd name="connsiteY5412" fmla="*/ 199747 h 4503132"/>
              <a:gd name="connsiteX5413" fmla="*/ 1377752 w 4493400"/>
              <a:gd name="connsiteY5413" fmla="*/ 197341 h 4503132"/>
              <a:gd name="connsiteX5414" fmla="*/ 1385542 w 4493400"/>
              <a:gd name="connsiteY5414" fmla="*/ 195993 h 4503132"/>
              <a:gd name="connsiteX5415" fmla="*/ 1387129 w 4493400"/>
              <a:gd name="connsiteY5415" fmla="*/ 195849 h 4503132"/>
              <a:gd name="connsiteX5416" fmla="*/ 1387994 w 4493400"/>
              <a:gd name="connsiteY5416" fmla="*/ 195849 h 4503132"/>
              <a:gd name="connsiteX5417" fmla="*/ 1388090 w 4493400"/>
              <a:gd name="connsiteY5417" fmla="*/ 195849 h 4503132"/>
              <a:gd name="connsiteX5418" fmla="*/ 1387177 w 4493400"/>
              <a:gd name="connsiteY5418" fmla="*/ 197966 h 4503132"/>
              <a:gd name="connsiteX5419" fmla="*/ 1382945 w 4493400"/>
              <a:gd name="connsiteY5419" fmla="*/ 204318 h 4503132"/>
              <a:gd name="connsiteX5420" fmla="*/ 1376886 w 4493400"/>
              <a:gd name="connsiteY5420" fmla="*/ 211681 h 4503132"/>
              <a:gd name="connsiteX5421" fmla="*/ 1376502 w 4493400"/>
              <a:gd name="connsiteY5421" fmla="*/ 207639 h 4503132"/>
              <a:gd name="connsiteX5422" fmla="*/ 1368135 w 4493400"/>
              <a:gd name="connsiteY5422" fmla="*/ 236414 h 4503132"/>
              <a:gd name="connsiteX5423" fmla="*/ 1391216 w 4493400"/>
              <a:gd name="connsiteY5423" fmla="*/ 210670 h 4503132"/>
              <a:gd name="connsiteX5424" fmla="*/ 1396313 w 4493400"/>
              <a:gd name="connsiteY5424" fmla="*/ 202923 h 4503132"/>
              <a:gd name="connsiteX5425" fmla="*/ 1398525 w 4493400"/>
              <a:gd name="connsiteY5425" fmla="*/ 197100 h 4503132"/>
              <a:gd name="connsiteX5426" fmla="*/ 1397179 w 4493400"/>
              <a:gd name="connsiteY5426" fmla="*/ 189545 h 4503132"/>
              <a:gd name="connsiteX5427" fmla="*/ 1395640 w 4493400"/>
              <a:gd name="connsiteY5427" fmla="*/ 188005 h 4503132"/>
              <a:gd name="connsiteX5428" fmla="*/ 1408286 w 4493400"/>
              <a:gd name="connsiteY5428" fmla="*/ 185407 h 4503132"/>
              <a:gd name="connsiteX5429" fmla="*/ 1413768 w 4493400"/>
              <a:gd name="connsiteY5429" fmla="*/ 184878 h 4503132"/>
              <a:gd name="connsiteX5430" fmla="*/ 1413768 w 4493400"/>
              <a:gd name="connsiteY5430" fmla="*/ 184878 h 4503132"/>
              <a:gd name="connsiteX5431" fmla="*/ 1412951 w 4493400"/>
              <a:gd name="connsiteY5431" fmla="*/ 186947 h 4503132"/>
              <a:gd name="connsiteX5432" fmla="*/ 1409873 w 4493400"/>
              <a:gd name="connsiteY5432" fmla="*/ 191999 h 4503132"/>
              <a:gd name="connsiteX5433" fmla="*/ 1401939 w 4493400"/>
              <a:gd name="connsiteY5433" fmla="*/ 202057 h 4503132"/>
              <a:gd name="connsiteX5434" fmla="*/ 1364673 w 4493400"/>
              <a:gd name="connsiteY5434" fmla="*/ 239831 h 4503132"/>
              <a:gd name="connsiteX5435" fmla="*/ 1363951 w 4493400"/>
              <a:gd name="connsiteY5435" fmla="*/ 240505 h 4503132"/>
              <a:gd name="connsiteX5436" fmla="*/ 1368135 w 4493400"/>
              <a:gd name="connsiteY5436" fmla="*/ 236270 h 4503132"/>
              <a:gd name="connsiteX5437" fmla="*/ 1453439 w 4493400"/>
              <a:gd name="connsiteY5437" fmla="*/ 165870 h 4503132"/>
              <a:gd name="connsiteX5438" fmla="*/ 1451900 w 4493400"/>
              <a:gd name="connsiteY5438" fmla="*/ 164090 h 4503132"/>
              <a:gd name="connsiteX5439" fmla="*/ 1454834 w 4493400"/>
              <a:gd name="connsiteY5439" fmla="*/ 163320 h 4503132"/>
              <a:gd name="connsiteX5440" fmla="*/ 1461710 w 4493400"/>
              <a:gd name="connsiteY5440" fmla="*/ 161780 h 4503132"/>
              <a:gd name="connsiteX5441" fmla="*/ 1464210 w 4493400"/>
              <a:gd name="connsiteY5441" fmla="*/ 161299 h 4503132"/>
              <a:gd name="connsiteX5442" fmla="*/ 1464306 w 4493400"/>
              <a:gd name="connsiteY5442" fmla="*/ 161299 h 4503132"/>
              <a:gd name="connsiteX5443" fmla="*/ 1464355 w 4493400"/>
              <a:gd name="connsiteY5443" fmla="*/ 161491 h 4503132"/>
              <a:gd name="connsiteX5444" fmla="*/ 1461950 w 4493400"/>
              <a:gd name="connsiteY5444" fmla="*/ 165726 h 4503132"/>
              <a:gd name="connsiteX5445" fmla="*/ 1453054 w 4493400"/>
              <a:gd name="connsiteY5445" fmla="*/ 177804 h 4503132"/>
              <a:gd name="connsiteX5446" fmla="*/ 1454401 w 4493400"/>
              <a:gd name="connsiteY5446" fmla="*/ 173810 h 4503132"/>
              <a:gd name="connsiteX5447" fmla="*/ 1453391 w 4493400"/>
              <a:gd name="connsiteY5447" fmla="*/ 165918 h 4503132"/>
              <a:gd name="connsiteX5448" fmla="*/ 701137 w 4493400"/>
              <a:gd name="connsiteY5448" fmla="*/ 624696 h 4503132"/>
              <a:gd name="connsiteX5449" fmla="*/ 721140 w 4493400"/>
              <a:gd name="connsiteY5449" fmla="*/ 606507 h 4503132"/>
              <a:gd name="connsiteX5450" fmla="*/ 719169 w 4493400"/>
              <a:gd name="connsiteY5450" fmla="*/ 612281 h 4503132"/>
              <a:gd name="connsiteX5451" fmla="*/ 720034 w 4493400"/>
              <a:gd name="connsiteY5451" fmla="*/ 615938 h 4503132"/>
              <a:gd name="connsiteX5452" fmla="*/ 723641 w 4493400"/>
              <a:gd name="connsiteY5452" fmla="*/ 616900 h 4503132"/>
              <a:gd name="connsiteX5453" fmla="*/ 742442 w 4493400"/>
              <a:gd name="connsiteY5453" fmla="*/ 607228 h 4503132"/>
              <a:gd name="connsiteX5454" fmla="*/ 800578 w 4493400"/>
              <a:gd name="connsiteY5454" fmla="*/ 563006 h 4503132"/>
              <a:gd name="connsiteX5455" fmla="*/ 861647 w 4493400"/>
              <a:gd name="connsiteY5455" fmla="*/ 509159 h 4503132"/>
              <a:gd name="connsiteX5456" fmla="*/ 892903 w 4493400"/>
              <a:gd name="connsiteY5456" fmla="*/ 478651 h 4503132"/>
              <a:gd name="connsiteX5457" fmla="*/ 908386 w 4493400"/>
              <a:gd name="connsiteY5457" fmla="*/ 462098 h 4503132"/>
              <a:gd name="connsiteX5458" fmla="*/ 915840 w 4493400"/>
              <a:gd name="connsiteY5458" fmla="*/ 453099 h 4503132"/>
              <a:gd name="connsiteX5459" fmla="*/ 919398 w 4493400"/>
              <a:gd name="connsiteY5459" fmla="*/ 448047 h 4503132"/>
              <a:gd name="connsiteX5460" fmla="*/ 921081 w 4493400"/>
              <a:gd name="connsiteY5460" fmla="*/ 444919 h 4503132"/>
              <a:gd name="connsiteX5461" fmla="*/ 921802 w 4493400"/>
              <a:gd name="connsiteY5461" fmla="*/ 442657 h 4503132"/>
              <a:gd name="connsiteX5462" fmla="*/ 963589 w 4493400"/>
              <a:gd name="connsiteY5462" fmla="*/ 413112 h 4503132"/>
              <a:gd name="connsiteX5463" fmla="*/ 974793 w 4493400"/>
              <a:gd name="connsiteY5463" fmla="*/ 405172 h 4503132"/>
              <a:gd name="connsiteX5464" fmla="*/ 977630 w 4493400"/>
              <a:gd name="connsiteY5464" fmla="*/ 403199 h 4503132"/>
              <a:gd name="connsiteX5465" fmla="*/ 978928 w 4493400"/>
              <a:gd name="connsiteY5465" fmla="*/ 402766 h 4503132"/>
              <a:gd name="connsiteX5466" fmla="*/ 986045 w 4493400"/>
              <a:gd name="connsiteY5466" fmla="*/ 401322 h 4503132"/>
              <a:gd name="connsiteX5467" fmla="*/ 1012877 w 4493400"/>
              <a:gd name="connsiteY5467" fmla="*/ 389581 h 4503132"/>
              <a:gd name="connsiteX5468" fmla="*/ 1062309 w 4493400"/>
              <a:gd name="connsiteY5468" fmla="*/ 359073 h 4503132"/>
              <a:gd name="connsiteX5469" fmla="*/ 1110683 w 4493400"/>
              <a:gd name="connsiteY5469" fmla="*/ 324426 h 4503132"/>
              <a:gd name="connsiteX5470" fmla="*/ 1162039 w 4493400"/>
              <a:gd name="connsiteY5470" fmla="*/ 292426 h 4503132"/>
              <a:gd name="connsiteX5471" fmla="*/ 1217386 w 4493400"/>
              <a:gd name="connsiteY5471" fmla="*/ 264180 h 4503132"/>
              <a:gd name="connsiteX5472" fmla="*/ 1223300 w 4493400"/>
              <a:gd name="connsiteY5472" fmla="*/ 261581 h 4503132"/>
              <a:gd name="connsiteX5473" fmla="*/ 1196565 w 4493400"/>
              <a:gd name="connsiteY5473" fmla="*/ 275392 h 4503132"/>
              <a:gd name="connsiteX5474" fmla="*/ 1133091 w 4493400"/>
              <a:gd name="connsiteY5474" fmla="*/ 315957 h 4503132"/>
              <a:gd name="connsiteX5475" fmla="*/ 1079716 w 4493400"/>
              <a:gd name="connsiteY5475" fmla="*/ 353828 h 4503132"/>
              <a:gd name="connsiteX5476" fmla="*/ 1005327 w 4493400"/>
              <a:gd name="connsiteY5476" fmla="*/ 412582 h 4503132"/>
              <a:gd name="connsiteX5477" fmla="*/ 986526 w 4493400"/>
              <a:gd name="connsiteY5477" fmla="*/ 430290 h 4503132"/>
              <a:gd name="connsiteX5478" fmla="*/ 980852 w 4493400"/>
              <a:gd name="connsiteY5478" fmla="*/ 437316 h 4503132"/>
              <a:gd name="connsiteX5479" fmla="*/ 1007972 w 4493400"/>
              <a:gd name="connsiteY5479" fmla="*/ 415758 h 4503132"/>
              <a:gd name="connsiteX5480" fmla="*/ 1084092 w 4493400"/>
              <a:gd name="connsiteY5480" fmla="*/ 359939 h 4503132"/>
              <a:gd name="connsiteX5481" fmla="*/ 1137996 w 4493400"/>
              <a:gd name="connsiteY5481" fmla="*/ 323271 h 4503132"/>
              <a:gd name="connsiteX5482" fmla="*/ 1201373 w 4493400"/>
              <a:gd name="connsiteY5482" fmla="*/ 283909 h 4503132"/>
              <a:gd name="connsiteX5483" fmla="*/ 1237341 w 4493400"/>
              <a:gd name="connsiteY5483" fmla="*/ 266201 h 4503132"/>
              <a:gd name="connsiteX5484" fmla="*/ 1256383 w 4493400"/>
              <a:gd name="connsiteY5484" fmla="*/ 258213 h 4503132"/>
              <a:gd name="connsiteX5485" fmla="*/ 1275858 w 4493400"/>
              <a:gd name="connsiteY5485" fmla="*/ 252198 h 4503132"/>
              <a:gd name="connsiteX5486" fmla="*/ 1281965 w 4493400"/>
              <a:gd name="connsiteY5486" fmla="*/ 251717 h 4503132"/>
              <a:gd name="connsiteX5487" fmla="*/ 1281965 w 4493400"/>
              <a:gd name="connsiteY5487" fmla="*/ 251813 h 4503132"/>
              <a:gd name="connsiteX5488" fmla="*/ 1281580 w 4493400"/>
              <a:gd name="connsiteY5488" fmla="*/ 253016 h 4503132"/>
              <a:gd name="connsiteX5489" fmla="*/ 1280667 w 4493400"/>
              <a:gd name="connsiteY5489" fmla="*/ 254989 h 4503132"/>
              <a:gd name="connsiteX5490" fmla="*/ 1268357 w 4493400"/>
              <a:gd name="connsiteY5490" fmla="*/ 271686 h 4503132"/>
              <a:gd name="connsiteX5491" fmla="*/ 1237101 w 4493400"/>
              <a:gd name="connsiteY5491" fmla="*/ 303494 h 4503132"/>
              <a:gd name="connsiteX5492" fmla="*/ 1108904 w 4493400"/>
              <a:gd name="connsiteY5492" fmla="*/ 417394 h 4503132"/>
              <a:gd name="connsiteX5493" fmla="*/ 1050720 w 4493400"/>
              <a:gd name="connsiteY5493" fmla="*/ 464263 h 4503132"/>
              <a:gd name="connsiteX5494" fmla="*/ 1023311 w 4493400"/>
              <a:gd name="connsiteY5494" fmla="*/ 483848 h 4503132"/>
              <a:gd name="connsiteX5495" fmla="*/ 1009944 w 4493400"/>
              <a:gd name="connsiteY5495" fmla="*/ 491981 h 4503132"/>
              <a:gd name="connsiteX5496" fmla="*/ 996431 w 4493400"/>
              <a:gd name="connsiteY5496" fmla="*/ 498621 h 4503132"/>
              <a:gd name="connsiteX5497" fmla="*/ 970321 w 4493400"/>
              <a:gd name="connsiteY5497" fmla="*/ 506994 h 4503132"/>
              <a:gd name="connsiteX5498" fmla="*/ 951375 w 4493400"/>
              <a:gd name="connsiteY5498" fmla="*/ 501075 h 4503132"/>
              <a:gd name="connsiteX5499" fmla="*/ 950413 w 4493400"/>
              <a:gd name="connsiteY5499" fmla="*/ 491355 h 4503132"/>
              <a:gd name="connsiteX5500" fmla="*/ 952914 w 4493400"/>
              <a:gd name="connsiteY5500" fmla="*/ 481635 h 4503132"/>
              <a:gd name="connsiteX5501" fmla="*/ 960896 w 4493400"/>
              <a:gd name="connsiteY5501" fmla="*/ 465370 h 4503132"/>
              <a:gd name="connsiteX5502" fmla="*/ 975562 w 4493400"/>
              <a:gd name="connsiteY5502" fmla="*/ 444534 h 4503132"/>
              <a:gd name="connsiteX5503" fmla="*/ 980804 w 4493400"/>
              <a:gd name="connsiteY5503" fmla="*/ 437220 h 4503132"/>
              <a:gd name="connsiteX5504" fmla="*/ 973927 w 4493400"/>
              <a:gd name="connsiteY5504" fmla="*/ 443139 h 4503132"/>
              <a:gd name="connsiteX5505" fmla="*/ 957386 w 4493400"/>
              <a:gd name="connsiteY5505" fmla="*/ 463157 h 4503132"/>
              <a:gd name="connsiteX5506" fmla="*/ 948153 w 4493400"/>
              <a:gd name="connsiteY5506" fmla="*/ 479806 h 4503132"/>
              <a:gd name="connsiteX5507" fmla="*/ 944932 w 4493400"/>
              <a:gd name="connsiteY5507" fmla="*/ 490537 h 4503132"/>
              <a:gd name="connsiteX5508" fmla="*/ 945893 w 4493400"/>
              <a:gd name="connsiteY5508" fmla="*/ 503385 h 4503132"/>
              <a:gd name="connsiteX5509" fmla="*/ 950221 w 4493400"/>
              <a:gd name="connsiteY5509" fmla="*/ 509448 h 4503132"/>
              <a:gd name="connsiteX5510" fmla="*/ 956857 w 4493400"/>
              <a:gd name="connsiteY5510" fmla="*/ 512865 h 4503132"/>
              <a:gd name="connsiteX5511" fmla="*/ 971186 w 4493400"/>
              <a:gd name="connsiteY5511" fmla="*/ 513683 h 4503132"/>
              <a:gd name="connsiteX5512" fmla="*/ 999413 w 4493400"/>
              <a:gd name="connsiteY5512" fmla="*/ 505502 h 4503132"/>
              <a:gd name="connsiteX5513" fmla="*/ 1013550 w 4493400"/>
              <a:gd name="connsiteY5513" fmla="*/ 498958 h 4503132"/>
              <a:gd name="connsiteX5514" fmla="*/ 1027735 w 4493400"/>
              <a:gd name="connsiteY5514" fmla="*/ 490729 h 4503132"/>
              <a:gd name="connsiteX5515" fmla="*/ 1056010 w 4493400"/>
              <a:gd name="connsiteY5515" fmla="*/ 471289 h 4503132"/>
              <a:gd name="connsiteX5516" fmla="*/ 1115203 w 4493400"/>
              <a:gd name="connsiteY5516" fmla="*/ 424853 h 4503132"/>
              <a:gd name="connsiteX5517" fmla="*/ 1244458 w 4493400"/>
              <a:gd name="connsiteY5517" fmla="*/ 311145 h 4503132"/>
              <a:gd name="connsiteX5518" fmla="*/ 1276387 w 4493400"/>
              <a:gd name="connsiteY5518" fmla="*/ 278520 h 4503132"/>
              <a:gd name="connsiteX5519" fmla="*/ 1290091 w 4493400"/>
              <a:gd name="connsiteY5519" fmla="*/ 259608 h 4503132"/>
              <a:gd name="connsiteX5520" fmla="*/ 1291438 w 4493400"/>
              <a:gd name="connsiteY5520" fmla="*/ 256577 h 4503132"/>
              <a:gd name="connsiteX5521" fmla="*/ 1292448 w 4493400"/>
              <a:gd name="connsiteY5521" fmla="*/ 252535 h 4503132"/>
              <a:gd name="connsiteX5522" fmla="*/ 1288793 w 4493400"/>
              <a:gd name="connsiteY5522" fmla="*/ 243296 h 4503132"/>
              <a:gd name="connsiteX5523" fmla="*/ 1284081 w 4493400"/>
              <a:gd name="connsiteY5523" fmla="*/ 241467 h 4503132"/>
              <a:gd name="connsiteX5524" fmla="*/ 1280138 w 4493400"/>
              <a:gd name="connsiteY5524" fmla="*/ 241130 h 4503132"/>
              <a:gd name="connsiteX5525" fmla="*/ 1273935 w 4493400"/>
              <a:gd name="connsiteY5525" fmla="*/ 241852 h 4503132"/>
              <a:gd name="connsiteX5526" fmla="*/ 1261913 w 4493400"/>
              <a:gd name="connsiteY5526" fmla="*/ 245124 h 4503132"/>
              <a:gd name="connsiteX5527" fmla="*/ 1275954 w 4493400"/>
              <a:gd name="connsiteY5527" fmla="*/ 239590 h 4503132"/>
              <a:gd name="connsiteX5528" fmla="*/ 1306345 w 4493400"/>
              <a:gd name="connsiteY5528" fmla="*/ 229244 h 4503132"/>
              <a:gd name="connsiteX5529" fmla="*/ 1321684 w 4493400"/>
              <a:gd name="connsiteY5529" fmla="*/ 225154 h 4503132"/>
              <a:gd name="connsiteX5530" fmla="*/ 1328897 w 4493400"/>
              <a:gd name="connsiteY5530" fmla="*/ 223999 h 4503132"/>
              <a:gd name="connsiteX5531" fmla="*/ 1334907 w 4493400"/>
              <a:gd name="connsiteY5531" fmla="*/ 224529 h 4503132"/>
              <a:gd name="connsiteX5532" fmla="*/ 1335437 w 4493400"/>
              <a:gd name="connsiteY5532" fmla="*/ 224769 h 4503132"/>
              <a:gd name="connsiteX5533" fmla="*/ 1335677 w 4493400"/>
              <a:gd name="connsiteY5533" fmla="*/ 224866 h 4503132"/>
              <a:gd name="connsiteX5534" fmla="*/ 1335677 w 4493400"/>
              <a:gd name="connsiteY5534" fmla="*/ 224866 h 4503132"/>
              <a:gd name="connsiteX5535" fmla="*/ 1335629 w 4493400"/>
              <a:gd name="connsiteY5535" fmla="*/ 225732 h 4503132"/>
              <a:gd name="connsiteX5536" fmla="*/ 1335100 w 4493400"/>
              <a:gd name="connsiteY5536" fmla="*/ 227608 h 4503132"/>
              <a:gd name="connsiteX5537" fmla="*/ 1329762 w 4493400"/>
              <a:gd name="connsiteY5537" fmla="*/ 236703 h 4503132"/>
              <a:gd name="connsiteX5538" fmla="*/ 1314471 w 4493400"/>
              <a:gd name="connsiteY5538" fmla="*/ 254315 h 4503132"/>
              <a:gd name="connsiteX5539" fmla="*/ 1280234 w 4493400"/>
              <a:gd name="connsiteY5539" fmla="*/ 286796 h 4503132"/>
              <a:gd name="connsiteX5540" fmla="*/ 1209836 w 4493400"/>
              <a:gd name="connsiteY5540" fmla="*/ 347476 h 4503132"/>
              <a:gd name="connsiteX5541" fmla="*/ 1141506 w 4493400"/>
              <a:gd name="connsiteY5541" fmla="*/ 405894 h 4503132"/>
              <a:gd name="connsiteX5542" fmla="*/ 1078370 w 4493400"/>
              <a:gd name="connsiteY5542" fmla="*/ 465081 h 4503132"/>
              <a:gd name="connsiteX5543" fmla="*/ 1028072 w 4493400"/>
              <a:gd name="connsiteY5543" fmla="*/ 530669 h 4503132"/>
              <a:gd name="connsiteX5544" fmla="*/ 1005712 w 4493400"/>
              <a:gd name="connsiteY5544" fmla="*/ 562717 h 4503132"/>
              <a:gd name="connsiteX5545" fmla="*/ 981332 w 4493400"/>
              <a:gd name="connsiteY5545" fmla="*/ 590434 h 4503132"/>
              <a:gd name="connsiteX5546" fmla="*/ 974456 w 4493400"/>
              <a:gd name="connsiteY5546" fmla="*/ 595679 h 4503132"/>
              <a:gd name="connsiteX5547" fmla="*/ 966811 w 4493400"/>
              <a:gd name="connsiteY5547" fmla="*/ 599866 h 4503132"/>
              <a:gd name="connsiteX5548" fmla="*/ 951087 w 4493400"/>
              <a:gd name="connsiteY5548" fmla="*/ 604245 h 4503132"/>
              <a:gd name="connsiteX5549" fmla="*/ 937094 w 4493400"/>
              <a:gd name="connsiteY5549" fmla="*/ 599866 h 4503132"/>
              <a:gd name="connsiteX5550" fmla="*/ 927284 w 4493400"/>
              <a:gd name="connsiteY5550" fmla="*/ 587740 h 4503132"/>
              <a:gd name="connsiteX5551" fmla="*/ 920985 w 4493400"/>
              <a:gd name="connsiteY5551" fmla="*/ 572534 h 4503132"/>
              <a:gd name="connsiteX5552" fmla="*/ 915840 w 4493400"/>
              <a:gd name="connsiteY5552" fmla="*/ 556269 h 4503132"/>
              <a:gd name="connsiteX5553" fmla="*/ 914686 w 4493400"/>
              <a:gd name="connsiteY5553" fmla="*/ 553815 h 4503132"/>
              <a:gd name="connsiteX5554" fmla="*/ 913628 w 4493400"/>
              <a:gd name="connsiteY5554" fmla="*/ 552371 h 4503132"/>
              <a:gd name="connsiteX5555" fmla="*/ 912954 w 4493400"/>
              <a:gd name="connsiteY5555" fmla="*/ 551601 h 4503132"/>
              <a:gd name="connsiteX5556" fmla="*/ 910310 w 4493400"/>
              <a:gd name="connsiteY5556" fmla="*/ 548522 h 4503132"/>
              <a:gd name="connsiteX5557" fmla="*/ 904828 w 4493400"/>
              <a:gd name="connsiteY5557" fmla="*/ 542218 h 4503132"/>
              <a:gd name="connsiteX5558" fmla="*/ 890979 w 4493400"/>
              <a:gd name="connsiteY5558" fmla="*/ 531535 h 4503132"/>
              <a:gd name="connsiteX5559" fmla="*/ 873765 w 4493400"/>
              <a:gd name="connsiteY5559" fmla="*/ 528889 h 4503132"/>
              <a:gd name="connsiteX5560" fmla="*/ 865542 w 4493400"/>
              <a:gd name="connsiteY5560" fmla="*/ 530284 h 4503132"/>
              <a:gd name="connsiteX5561" fmla="*/ 857944 w 4493400"/>
              <a:gd name="connsiteY5561" fmla="*/ 532883 h 4503132"/>
              <a:gd name="connsiteX5562" fmla="*/ 831593 w 4493400"/>
              <a:gd name="connsiteY5562" fmla="*/ 547511 h 4503132"/>
              <a:gd name="connsiteX5563" fmla="*/ 788701 w 4493400"/>
              <a:gd name="connsiteY5563" fmla="*/ 580858 h 4503132"/>
              <a:gd name="connsiteX5564" fmla="*/ 724458 w 4493400"/>
              <a:gd name="connsiteY5564" fmla="*/ 638747 h 4503132"/>
              <a:gd name="connsiteX5565" fmla="*/ 682768 w 4493400"/>
              <a:gd name="connsiteY5565" fmla="*/ 673779 h 4503132"/>
              <a:gd name="connsiteX5566" fmla="*/ 667669 w 4493400"/>
              <a:gd name="connsiteY5566" fmla="*/ 685375 h 4503132"/>
              <a:gd name="connsiteX5567" fmla="*/ 671997 w 4493400"/>
              <a:gd name="connsiteY5567" fmla="*/ 683162 h 4503132"/>
              <a:gd name="connsiteX5568" fmla="*/ 684018 w 4493400"/>
              <a:gd name="connsiteY5568" fmla="*/ 675511 h 4503132"/>
              <a:gd name="connsiteX5569" fmla="*/ 727199 w 4493400"/>
              <a:gd name="connsiteY5569" fmla="*/ 641875 h 4503132"/>
              <a:gd name="connsiteX5570" fmla="*/ 792548 w 4493400"/>
              <a:gd name="connsiteY5570" fmla="*/ 585382 h 4503132"/>
              <a:gd name="connsiteX5571" fmla="*/ 835296 w 4493400"/>
              <a:gd name="connsiteY5571" fmla="*/ 553141 h 4503132"/>
              <a:gd name="connsiteX5572" fmla="*/ 860493 w 4493400"/>
              <a:gd name="connsiteY5572" fmla="*/ 539523 h 4503132"/>
              <a:gd name="connsiteX5573" fmla="*/ 867321 w 4493400"/>
              <a:gd name="connsiteY5573" fmla="*/ 537310 h 4503132"/>
              <a:gd name="connsiteX5574" fmla="*/ 874293 w 4493400"/>
              <a:gd name="connsiteY5574" fmla="*/ 536203 h 4503132"/>
              <a:gd name="connsiteX5575" fmla="*/ 887758 w 4493400"/>
              <a:gd name="connsiteY5575" fmla="*/ 538368 h 4503132"/>
              <a:gd name="connsiteX5576" fmla="*/ 899058 w 4493400"/>
              <a:gd name="connsiteY5576" fmla="*/ 547415 h 4503132"/>
              <a:gd name="connsiteX5577" fmla="*/ 904251 w 4493400"/>
              <a:gd name="connsiteY5577" fmla="*/ 553526 h 4503132"/>
              <a:gd name="connsiteX5578" fmla="*/ 906944 w 4493400"/>
              <a:gd name="connsiteY5578" fmla="*/ 556750 h 4503132"/>
              <a:gd name="connsiteX5579" fmla="*/ 907617 w 4493400"/>
              <a:gd name="connsiteY5579" fmla="*/ 557568 h 4503132"/>
              <a:gd name="connsiteX5580" fmla="*/ 908338 w 4493400"/>
              <a:gd name="connsiteY5580" fmla="*/ 557183 h 4503132"/>
              <a:gd name="connsiteX5581" fmla="*/ 907713 w 4493400"/>
              <a:gd name="connsiteY5581" fmla="*/ 557761 h 4503132"/>
              <a:gd name="connsiteX5582" fmla="*/ 907713 w 4493400"/>
              <a:gd name="connsiteY5582" fmla="*/ 557761 h 4503132"/>
              <a:gd name="connsiteX5583" fmla="*/ 908290 w 4493400"/>
              <a:gd name="connsiteY5583" fmla="*/ 559156 h 4503132"/>
              <a:gd name="connsiteX5584" fmla="*/ 913099 w 4493400"/>
              <a:gd name="connsiteY5584" fmla="*/ 575036 h 4503132"/>
              <a:gd name="connsiteX5585" fmla="*/ 919783 w 4493400"/>
              <a:gd name="connsiteY5585" fmla="*/ 591637 h 4503132"/>
              <a:gd name="connsiteX5586" fmla="*/ 931804 w 4493400"/>
              <a:gd name="connsiteY5586" fmla="*/ 606603 h 4503132"/>
              <a:gd name="connsiteX5587" fmla="*/ 951135 w 4493400"/>
              <a:gd name="connsiteY5587" fmla="*/ 612858 h 4503132"/>
              <a:gd name="connsiteX5588" fmla="*/ 970321 w 4493400"/>
              <a:gd name="connsiteY5588" fmla="*/ 607806 h 4503132"/>
              <a:gd name="connsiteX5589" fmla="*/ 978880 w 4493400"/>
              <a:gd name="connsiteY5589" fmla="*/ 603186 h 4503132"/>
              <a:gd name="connsiteX5590" fmla="*/ 986862 w 4493400"/>
              <a:gd name="connsiteY5590" fmla="*/ 597267 h 4503132"/>
              <a:gd name="connsiteX5591" fmla="*/ 1012877 w 4493400"/>
              <a:gd name="connsiteY5591" fmla="*/ 568203 h 4503132"/>
              <a:gd name="connsiteX5592" fmla="*/ 1035669 w 4493400"/>
              <a:gd name="connsiteY5592" fmla="*/ 536010 h 4503132"/>
              <a:gd name="connsiteX5593" fmla="*/ 1085342 w 4493400"/>
              <a:gd name="connsiteY5593" fmla="*/ 471914 h 4503132"/>
              <a:gd name="connsiteX5594" fmla="*/ 1148094 w 4493400"/>
              <a:gd name="connsiteY5594" fmla="*/ 413641 h 4503132"/>
              <a:gd name="connsiteX5595" fmla="*/ 1190698 w 4493400"/>
              <a:gd name="connsiteY5595" fmla="*/ 377262 h 4503132"/>
              <a:gd name="connsiteX5596" fmla="*/ 1187765 w 4493400"/>
              <a:gd name="connsiteY5596" fmla="*/ 379909 h 4503132"/>
              <a:gd name="connsiteX5597" fmla="*/ 1116598 w 4493400"/>
              <a:gd name="connsiteY5597" fmla="*/ 450886 h 4503132"/>
              <a:gd name="connsiteX5598" fmla="*/ 1086015 w 4493400"/>
              <a:gd name="connsiteY5598" fmla="*/ 490585 h 4503132"/>
              <a:gd name="connsiteX5599" fmla="*/ 1074090 w 4493400"/>
              <a:gd name="connsiteY5599" fmla="*/ 513009 h 4503132"/>
              <a:gd name="connsiteX5600" fmla="*/ 1070339 w 4493400"/>
              <a:gd name="connsiteY5600" fmla="*/ 538994 h 4503132"/>
              <a:gd name="connsiteX5601" fmla="*/ 1073032 w 4493400"/>
              <a:gd name="connsiteY5601" fmla="*/ 587114 h 4503132"/>
              <a:gd name="connsiteX5602" fmla="*/ 1059472 w 4493400"/>
              <a:gd name="connsiteY5602" fmla="*/ 630278 h 4503132"/>
              <a:gd name="connsiteX5603" fmla="*/ 1052836 w 4493400"/>
              <a:gd name="connsiteY5603" fmla="*/ 639661 h 4503132"/>
              <a:gd name="connsiteX5604" fmla="*/ 1045335 w 4493400"/>
              <a:gd name="connsiteY5604" fmla="*/ 648419 h 4503132"/>
              <a:gd name="connsiteX5605" fmla="*/ 1028072 w 4493400"/>
              <a:gd name="connsiteY5605" fmla="*/ 663962 h 4503132"/>
              <a:gd name="connsiteX5606" fmla="*/ 989219 w 4493400"/>
              <a:gd name="connsiteY5606" fmla="*/ 689081 h 4503132"/>
              <a:gd name="connsiteX5607" fmla="*/ 901318 w 4493400"/>
              <a:gd name="connsiteY5607" fmla="*/ 706500 h 4503132"/>
              <a:gd name="connsiteX5608" fmla="*/ 879583 w 4493400"/>
              <a:gd name="connsiteY5608" fmla="*/ 702121 h 4503132"/>
              <a:gd name="connsiteX5609" fmla="*/ 860156 w 4493400"/>
              <a:gd name="connsiteY5609" fmla="*/ 693027 h 4503132"/>
              <a:gd name="connsiteX5610" fmla="*/ 853569 w 4493400"/>
              <a:gd name="connsiteY5610" fmla="*/ 686338 h 4503132"/>
              <a:gd name="connsiteX5611" fmla="*/ 852847 w 4493400"/>
              <a:gd name="connsiteY5611" fmla="*/ 684750 h 4503132"/>
              <a:gd name="connsiteX5612" fmla="*/ 852511 w 4493400"/>
              <a:gd name="connsiteY5612" fmla="*/ 682536 h 4503132"/>
              <a:gd name="connsiteX5613" fmla="*/ 852366 w 4493400"/>
              <a:gd name="connsiteY5613" fmla="*/ 677628 h 4503132"/>
              <a:gd name="connsiteX5614" fmla="*/ 857031 w 4493400"/>
              <a:gd name="connsiteY5614" fmla="*/ 656552 h 4503132"/>
              <a:gd name="connsiteX5615" fmla="*/ 864340 w 4493400"/>
              <a:gd name="connsiteY5615" fmla="*/ 635186 h 4503132"/>
              <a:gd name="connsiteX5616" fmla="*/ 869533 w 4493400"/>
              <a:gd name="connsiteY5616" fmla="*/ 612088 h 4503132"/>
              <a:gd name="connsiteX5617" fmla="*/ 864773 w 4493400"/>
              <a:gd name="connsiteY5617" fmla="*/ 587932 h 4503132"/>
              <a:gd name="connsiteX5618" fmla="*/ 854290 w 4493400"/>
              <a:gd name="connsiteY5618" fmla="*/ 579030 h 4503132"/>
              <a:gd name="connsiteX5619" fmla="*/ 841403 w 4493400"/>
              <a:gd name="connsiteY5619" fmla="*/ 577490 h 4503132"/>
              <a:gd name="connsiteX5620" fmla="*/ 818754 w 4493400"/>
              <a:gd name="connsiteY5620" fmla="*/ 583938 h 4503132"/>
              <a:gd name="connsiteX5621" fmla="*/ 798751 w 4493400"/>
              <a:gd name="connsiteY5621" fmla="*/ 594476 h 4503132"/>
              <a:gd name="connsiteX5622" fmla="*/ 762446 w 4493400"/>
              <a:gd name="connsiteY5622" fmla="*/ 619788 h 4503132"/>
              <a:gd name="connsiteX5623" fmla="*/ 697193 w 4493400"/>
              <a:gd name="connsiteY5623" fmla="*/ 676618 h 4503132"/>
              <a:gd name="connsiteX5624" fmla="*/ 636750 w 4493400"/>
              <a:gd name="connsiteY5624" fmla="*/ 734458 h 4503132"/>
              <a:gd name="connsiteX5625" fmla="*/ 620449 w 4493400"/>
              <a:gd name="connsiteY5625" fmla="*/ 746392 h 4503132"/>
              <a:gd name="connsiteX5626" fmla="*/ 616313 w 4493400"/>
              <a:gd name="connsiteY5626" fmla="*/ 748750 h 4503132"/>
              <a:gd name="connsiteX5627" fmla="*/ 614390 w 4493400"/>
              <a:gd name="connsiteY5627" fmla="*/ 749616 h 4503132"/>
              <a:gd name="connsiteX5628" fmla="*/ 613572 w 4493400"/>
              <a:gd name="connsiteY5628" fmla="*/ 749953 h 4503132"/>
              <a:gd name="connsiteX5629" fmla="*/ 613284 w 4493400"/>
              <a:gd name="connsiteY5629" fmla="*/ 750049 h 4503132"/>
              <a:gd name="connsiteX5630" fmla="*/ 612130 w 4493400"/>
              <a:gd name="connsiteY5630" fmla="*/ 749808 h 4503132"/>
              <a:gd name="connsiteX5631" fmla="*/ 611985 w 4493400"/>
              <a:gd name="connsiteY5631" fmla="*/ 748461 h 4503132"/>
              <a:gd name="connsiteX5632" fmla="*/ 612995 w 4493400"/>
              <a:gd name="connsiteY5632" fmla="*/ 744515 h 4503132"/>
              <a:gd name="connsiteX5633" fmla="*/ 614678 w 4493400"/>
              <a:gd name="connsiteY5633" fmla="*/ 740040 h 4503132"/>
              <a:gd name="connsiteX5634" fmla="*/ 618910 w 4493400"/>
              <a:gd name="connsiteY5634" fmla="*/ 731138 h 4503132"/>
              <a:gd name="connsiteX5635" fmla="*/ 629008 w 4493400"/>
              <a:gd name="connsiteY5635" fmla="*/ 713863 h 4503132"/>
              <a:gd name="connsiteX5636" fmla="*/ 669304 w 4493400"/>
              <a:gd name="connsiteY5636" fmla="*/ 659246 h 4503132"/>
              <a:gd name="connsiteX5637" fmla="*/ 668679 w 4493400"/>
              <a:gd name="connsiteY5637" fmla="*/ 660161 h 4503132"/>
              <a:gd name="connsiteX5638" fmla="*/ 660167 w 4493400"/>
              <a:gd name="connsiteY5638" fmla="*/ 675270 h 4503132"/>
              <a:gd name="connsiteX5639" fmla="*/ 657619 w 4493400"/>
              <a:gd name="connsiteY5639" fmla="*/ 681815 h 4503132"/>
              <a:gd name="connsiteX5640" fmla="*/ 657523 w 4493400"/>
              <a:gd name="connsiteY5640" fmla="*/ 688022 h 4503132"/>
              <a:gd name="connsiteX5641" fmla="*/ 660264 w 4493400"/>
              <a:gd name="connsiteY5641" fmla="*/ 689273 h 4503132"/>
              <a:gd name="connsiteX5642" fmla="*/ 662475 w 4493400"/>
              <a:gd name="connsiteY5642" fmla="*/ 688744 h 4503132"/>
              <a:gd name="connsiteX5643" fmla="*/ 665409 w 4493400"/>
              <a:gd name="connsiteY5643" fmla="*/ 687252 h 4503132"/>
              <a:gd name="connsiteX5644" fmla="*/ 667476 w 4493400"/>
              <a:gd name="connsiteY5644" fmla="*/ 685616 h 4503132"/>
              <a:gd name="connsiteX5645" fmla="*/ 665072 w 4493400"/>
              <a:gd name="connsiteY5645" fmla="*/ 686530 h 4503132"/>
              <a:gd name="connsiteX5646" fmla="*/ 662139 w 4493400"/>
              <a:gd name="connsiteY5646" fmla="*/ 687637 h 4503132"/>
              <a:gd name="connsiteX5647" fmla="*/ 658965 w 4493400"/>
              <a:gd name="connsiteY5647" fmla="*/ 687252 h 4503132"/>
              <a:gd name="connsiteX5648" fmla="*/ 659542 w 4493400"/>
              <a:gd name="connsiteY5648" fmla="*/ 682440 h 4503132"/>
              <a:gd name="connsiteX5649" fmla="*/ 662283 w 4493400"/>
              <a:gd name="connsiteY5649" fmla="*/ 676377 h 4503132"/>
              <a:gd name="connsiteX5650" fmla="*/ 671275 w 4493400"/>
              <a:gd name="connsiteY5650" fmla="*/ 661941 h 4503132"/>
              <a:gd name="connsiteX5651" fmla="*/ 700800 w 4493400"/>
              <a:gd name="connsiteY5651" fmla="*/ 624792 h 4503132"/>
              <a:gd name="connsiteX5652" fmla="*/ 543319 w 4493400"/>
              <a:gd name="connsiteY5652" fmla="*/ 823577 h 4503132"/>
              <a:gd name="connsiteX5653" fmla="*/ 549041 w 4493400"/>
              <a:gd name="connsiteY5653" fmla="*/ 814867 h 4503132"/>
              <a:gd name="connsiteX5654" fmla="*/ 520238 w 4493400"/>
              <a:gd name="connsiteY5654" fmla="*/ 861303 h 4503132"/>
              <a:gd name="connsiteX5655" fmla="*/ 500619 w 4493400"/>
              <a:gd name="connsiteY5655" fmla="*/ 891041 h 4503132"/>
              <a:gd name="connsiteX5656" fmla="*/ 543367 w 4493400"/>
              <a:gd name="connsiteY5656" fmla="*/ 823577 h 4503132"/>
              <a:gd name="connsiteX5657" fmla="*/ 1137034 w 4493400"/>
              <a:gd name="connsiteY5657" fmla="*/ 445111 h 4503132"/>
              <a:gd name="connsiteX5658" fmla="*/ 1126744 w 4493400"/>
              <a:gd name="connsiteY5658" fmla="*/ 459836 h 4503132"/>
              <a:gd name="connsiteX5659" fmla="*/ 1122176 w 4493400"/>
              <a:gd name="connsiteY5659" fmla="*/ 467728 h 4503132"/>
              <a:gd name="connsiteX5660" fmla="*/ 1119916 w 4493400"/>
              <a:gd name="connsiteY5660" fmla="*/ 471674 h 4503132"/>
              <a:gd name="connsiteX5661" fmla="*/ 1118041 w 4493400"/>
              <a:gd name="connsiteY5661" fmla="*/ 475908 h 4503132"/>
              <a:gd name="connsiteX5662" fmla="*/ 1109914 w 4493400"/>
              <a:gd name="connsiteY5662" fmla="*/ 512191 h 4503132"/>
              <a:gd name="connsiteX5663" fmla="*/ 1118569 w 4493400"/>
              <a:gd name="connsiteY5663" fmla="*/ 548041 h 4503132"/>
              <a:gd name="connsiteX5664" fmla="*/ 1128571 w 4493400"/>
              <a:gd name="connsiteY5664" fmla="*/ 580281 h 4503132"/>
              <a:gd name="connsiteX5665" fmla="*/ 1121214 w 4493400"/>
              <a:gd name="connsiteY5665" fmla="*/ 611415 h 4503132"/>
              <a:gd name="connsiteX5666" fmla="*/ 1117175 w 4493400"/>
              <a:gd name="connsiteY5666" fmla="*/ 619018 h 4503132"/>
              <a:gd name="connsiteX5667" fmla="*/ 1112799 w 4493400"/>
              <a:gd name="connsiteY5667" fmla="*/ 626525 h 4503132"/>
              <a:gd name="connsiteX5668" fmla="*/ 1103230 w 4493400"/>
              <a:gd name="connsiteY5668" fmla="*/ 641153 h 4503132"/>
              <a:gd name="connsiteX5669" fmla="*/ 1059135 w 4493400"/>
              <a:gd name="connsiteY5669" fmla="*/ 696443 h 4503132"/>
              <a:gd name="connsiteX5670" fmla="*/ 1009847 w 4493400"/>
              <a:gd name="connsiteY5670" fmla="*/ 747932 h 4503132"/>
              <a:gd name="connsiteX5671" fmla="*/ 955703 w 4493400"/>
              <a:gd name="connsiteY5671" fmla="*/ 794368 h 4503132"/>
              <a:gd name="connsiteX5672" fmla="*/ 925697 w 4493400"/>
              <a:gd name="connsiteY5672" fmla="*/ 812124 h 4503132"/>
              <a:gd name="connsiteX5673" fmla="*/ 892470 w 4493400"/>
              <a:gd name="connsiteY5673" fmla="*/ 819583 h 4503132"/>
              <a:gd name="connsiteX5674" fmla="*/ 874822 w 4493400"/>
              <a:gd name="connsiteY5674" fmla="*/ 819005 h 4503132"/>
              <a:gd name="connsiteX5675" fmla="*/ 855155 w 4493400"/>
              <a:gd name="connsiteY5675" fmla="*/ 819823 h 4503132"/>
              <a:gd name="connsiteX5676" fmla="*/ 850010 w 4493400"/>
              <a:gd name="connsiteY5676" fmla="*/ 821556 h 4503132"/>
              <a:gd name="connsiteX5677" fmla="*/ 845202 w 4493400"/>
              <a:gd name="connsiteY5677" fmla="*/ 824106 h 4503132"/>
              <a:gd name="connsiteX5678" fmla="*/ 840970 w 4493400"/>
              <a:gd name="connsiteY5678" fmla="*/ 827330 h 4503132"/>
              <a:gd name="connsiteX5679" fmla="*/ 838950 w 4493400"/>
              <a:gd name="connsiteY5679" fmla="*/ 829207 h 4503132"/>
              <a:gd name="connsiteX5680" fmla="*/ 836883 w 4493400"/>
              <a:gd name="connsiteY5680" fmla="*/ 832334 h 4503132"/>
              <a:gd name="connsiteX5681" fmla="*/ 834815 w 4493400"/>
              <a:gd name="connsiteY5681" fmla="*/ 835462 h 4503132"/>
              <a:gd name="connsiteX5682" fmla="*/ 833757 w 4493400"/>
              <a:gd name="connsiteY5682" fmla="*/ 837002 h 4503132"/>
              <a:gd name="connsiteX5683" fmla="*/ 833517 w 4493400"/>
              <a:gd name="connsiteY5683" fmla="*/ 837387 h 4503132"/>
              <a:gd name="connsiteX5684" fmla="*/ 833613 w 4493400"/>
              <a:gd name="connsiteY5684" fmla="*/ 837820 h 4503132"/>
              <a:gd name="connsiteX5685" fmla="*/ 833421 w 4493400"/>
              <a:gd name="connsiteY5685" fmla="*/ 838783 h 4503132"/>
              <a:gd name="connsiteX5686" fmla="*/ 838421 w 4493400"/>
              <a:gd name="connsiteY5686" fmla="*/ 845086 h 4503132"/>
              <a:gd name="connsiteX5687" fmla="*/ 840874 w 4493400"/>
              <a:gd name="connsiteY5687" fmla="*/ 846915 h 4503132"/>
              <a:gd name="connsiteX5688" fmla="*/ 842797 w 4493400"/>
              <a:gd name="connsiteY5688" fmla="*/ 848310 h 4503132"/>
              <a:gd name="connsiteX5689" fmla="*/ 846644 w 4493400"/>
              <a:gd name="connsiteY5689" fmla="*/ 850957 h 4503132"/>
              <a:gd name="connsiteX5690" fmla="*/ 932429 w 4493400"/>
              <a:gd name="connsiteY5690" fmla="*/ 900521 h 4503132"/>
              <a:gd name="connsiteX5691" fmla="*/ 977438 w 4493400"/>
              <a:gd name="connsiteY5691" fmla="*/ 921790 h 4503132"/>
              <a:gd name="connsiteX5692" fmla="*/ 984266 w 4493400"/>
              <a:gd name="connsiteY5692" fmla="*/ 923715 h 4503132"/>
              <a:gd name="connsiteX5693" fmla="*/ 990902 w 4493400"/>
              <a:gd name="connsiteY5693" fmla="*/ 924051 h 4503132"/>
              <a:gd name="connsiteX5694" fmla="*/ 1003596 w 4493400"/>
              <a:gd name="connsiteY5694" fmla="*/ 924244 h 4503132"/>
              <a:gd name="connsiteX5695" fmla="*/ 1028457 w 4493400"/>
              <a:gd name="connsiteY5695" fmla="*/ 921838 h 4503132"/>
              <a:gd name="connsiteX5696" fmla="*/ 1123522 w 4493400"/>
              <a:gd name="connsiteY5696" fmla="*/ 897585 h 4503132"/>
              <a:gd name="connsiteX5697" fmla="*/ 1214116 w 4493400"/>
              <a:gd name="connsiteY5697" fmla="*/ 862939 h 4503132"/>
              <a:gd name="connsiteX5698" fmla="*/ 1301728 w 4493400"/>
              <a:gd name="connsiteY5698" fmla="*/ 823240 h 4503132"/>
              <a:gd name="connsiteX5699" fmla="*/ 1386359 w 4493400"/>
              <a:gd name="connsiteY5699" fmla="*/ 778873 h 4503132"/>
              <a:gd name="connsiteX5700" fmla="*/ 1547591 w 4493400"/>
              <a:gd name="connsiteY5700" fmla="*/ 682440 h 4503132"/>
              <a:gd name="connsiteX5701" fmla="*/ 1631501 w 4493400"/>
              <a:gd name="connsiteY5701" fmla="*/ 645147 h 4503132"/>
              <a:gd name="connsiteX5702" fmla="*/ 1719835 w 4493400"/>
              <a:gd name="connsiteY5702" fmla="*/ 625562 h 4503132"/>
              <a:gd name="connsiteX5703" fmla="*/ 1808361 w 4493400"/>
              <a:gd name="connsiteY5703" fmla="*/ 632588 h 4503132"/>
              <a:gd name="connsiteX5704" fmla="*/ 1886211 w 4493400"/>
              <a:gd name="connsiteY5704" fmla="*/ 671517 h 4503132"/>
              <a:gd name="connsiteX5705" fmla="*/ 1911697 w 4493400"/>
              <a:gd name="connsiteY5705" fmla="*/ 704960 h 4503132"/>
              <a:gd name="connsiteX5706" fmla="*/ 1916169 w 4493400"/>
              <a:gd name="connsiteY5706" fmla="*/ 724738 h 4503132"/>
              <a:gd name="connsiteX5707" fmla="*/ 1915688 w 4493400"/>
              <a:gd name="connsiteY5707" fmla="*/ 735180 h 4503132"/>
              <a:gd name="connsiteX5708" fmla="*/ 1914149 w 4493400"/>
              <a:gd name="connsiteY5708" fmla="*/ 745622 h 4503132"/>
              <a:gd name="connsiteX5709" fmla="*/ 1872074 w 4493400"/>
              <a:gd name="connsiteY5709" fmla="*/ 818813 h 4503132"/>
              <a:gd name="connsiteX5710" fmla="*/ 1807014 w 4493400"/>
              <a:gd name="connsiteY5710" fmla="*/ 875498 h 4503132"/>
              <a:gd name="connsiteX5711" fmla="*/ 1737530 w 4493400"/>
              <a:gd name="connsiteY5711" fmla="*/ 926361 h 4503132"/>
              <a:gd name="connsiteX5712" fmla="*/ 1670354 w 4493400"/>
              <a:gd name="connsiteY5712" fmla="*/ 979342 h 4503132"/>
              <a:gd name="connsiteX5713" fmla="*/ 1639724 w 4493400"/>
              <a:gd name="connsiteY5713" fmla="*/ 1009176 h 4503132"/>
              <a:gd name="connsiteX5714" fmla="*/ 1613517 w 4493400"/>
              <a:gd name="connsiteY5714" fmla="*/ 1042379 h 4503132"/>
              <a:gd name="connsiteX5715" fmla="*/ 1515662 w 4493400"/>
              <a:gd name="connsiteY5715" fmla="*/ 1174661 h 4503132"/>
              <a:gd name="connsiteX5716" fmla="*/ 1463633 w 4493400"/>
              <a:gd name="connsiteY5716" fmla="*/ 1235678 h 4503132"/>
              <a:gd name="connsiteX5717" fmla="*/ 1405978 w 4493400"/>
              <a:gd name="connsiteY5717" fmla="*/ 1288947 h 4503132"/>
              <a:gd name="connsiteX5718" fmla="*/ 1373809 w 4493400"/>
              <a:gd name="connsiteY5718" fmla="*/ 1309975 h 4503132"/>
              <a:gd name="connsiteX5719" fmla="*/ 1338754 w 4493400"/>
              <a:gd name="connsiteY5719" fmla="*/ 1323497 h 4503132"/>
              <a:gd name="connsiteX5720" fmla="*/ 1329618 w 4493400"/>
              <a:gd name="connsiteY5720" fmla="*/ 1325422 h 4503132"/>
              <a:gd name="connsiteX5721" fmla="*/ 1320338 w 4493400"/>
              <a:gd name="connsiteY5721" fmla="*/ 1326384 h 4503132"/>
              <a:gd name="connsiteX5722" fmla="*/ 1315673 w 4493400"/>
              <a:gd name="connsiteY5722" fmla="*/ 1326817 h 4503132"/>
              <a:gd name="connsiteX5723" fmla="*/ 1311009 w 4493400"/>
              <a:gd name="connsiteY5723" fmla="*/ 1326817 h 4503132"/>
              <a:gd name="connsiteX5724" fmla="*/ 1301680 w 4493400"/>
              <a:gd name="connsiteY5724" fmla="*/ 1326817 h 4503132"/>
              <a:gd name="connsiteX5725" fmla="*/ 1264702 w 4493400"/>
              <a:gd name="connsiteY5725" fmla="*/ 1321235 h 4503132"/>
              <a:gd name="connsiteX5726" fmla="*/ 1193728 w 4493400"/>
              <a:gd name="connsiteY5726" fmla="*/ 1297416 h 4503132"/>
              <a:gd name="connsiteX5727" fmla="*/ 1122368 w 4493400"/>
              <a:gd name="connsiteY5727" fmla="*/ 1274607 h 4503132"/>
              <a:gd name="connsiteX5728" fmla="*/ 1049422 w 4493400"/>
              <a:gd name="connsiteY5728" fmla="*/ 1267389 h 4503132"/>
              <a:gd name="connsiteX5729" fmla="*/ 978303 w 4493400"/>
              <a:gd name="connsiteY5729" fmla="*/ 1263732 h 4503132"/>
              <a:gd name="connsiteX5730" fmla="*/ 944210 w 4493400"/>
              <a:gd name="connsiteY5730" fmla="*/ 1258342 h 4503132"/>
              <a:gd name="connsiteX5731" fmla="*/ 914012 w 4493400"/>
              <a:gd name="connsiteY5731" fmla="*/ 1245157 h 4503132"/>
              <a:gd name="connsiteX5732" fmla="*/ 892229 w 4493400"/>
              <a:gd name="connsiteY5732" fmla="*/ 1220424 h 4503132"/>
              <a:gd name="connsiteX5733" fmla="*/ 875880 w 4493400"/>
              <a:gd name="connsiteY5733" fmla="*/ 1191070 h 4503132"/>
              <a:gd name="connsiteX5734" fmla="*/ 847029 w 4493400"/>
              <a:gd name="connsiteY5734" fmla="*/ 1130343 h 4503132"/>
              <a:gd name="connsiteX5735" fmla="*/ 828372 w 4493400"/>
              <a:gd name="connsiteY5735" fmla="*/ 1102144 h 4503132"/>
              <a:gd name="connsiteX5736" fmla="*/ 815340 w 4493400"/>
              <a:gd name="connsiteY5736" fmla="*/ 1090692 h 4503132"/>
              <a:gd name="connsiteX5737" fmla="*/ 807502 w 4493400"/>
              <a:gd name="connsiteY5737" fmla="*/ 1086553 h 4503132"/>
              <a:gd name="connsiteX5738" fmla="*/ 798847 w 4493400"/>
              <a:gd name="connsiteY5738" fmla="*/ 1084340 h 4503132"/>
              <a:gd name="connsiteX5739" fmla="*/ 765716 w 4493400"/>
              <a:gd name="connsiteY5739" fmla="*/ 1091991 h 4503132"/>
              <a:gd name="connsiteX5740" fmla="*/ 739509 w 4493400"/>
              <a:gd name="connsiteY5740" fmla="*/ 1111191 h 4503132"/>
              <a:gd name="connsiteX5741" fmla="*/ 695607 w 4493400"/>
              <a:gd name="connsiteY5741" fmla="*/ 1156231 h 4503132"/>
              <a:gd name="connsiteX5742" fmla="*/ 633384 w 4493400"/>
              <a:gd name="connsiteY5742" fmla="*/ 1235533 h 4503132"/>
              <a:gd name="connsiteX5743" fmla="*/ 660793 w 4493400"/>
              <a:gd name="connsiteY5743" fmla="*/ 1190926 h 4503132"/>
              <a:gd name="connsiteX5744" fmla="*/ 718495 w 4493400"/>
              <a:gd name="connsiteY5744" fmla="*/ 1086601 h 4503132"/>
              <a:gd name="connsiteX5745" fmla="*/ 731046 w 4493400"/>
              <a:gd name="connsiteY5745" fmla="*/ 1060039 h 4503132"/>
              <a:gd name="connsiteX5746" fmla="*/ 742250 w 4493400"/>
              <a:gd name="connsiteY5746" fmla="*/ 1032996 h 4503132"/>
              <a:gd name="connsiteX5747" fmla="*/ 756627 w 4493400"/>
              <a:gd name="connsiteY5747" fmla="*/ 976262 h 4503132"/>
              <a:gd name="connsiteX5748" fmla="*/ 755425 w 4493400"/>
              <a:gd name="connsiteY5748" fmla="*/ 947005 h 4503132"/>
              <a:gd name="connsiteX5749" fmla="*/ 751001 w 4493400"/>
              <a:gd name="connsiteY5749" fmla="*/ 919336 h 4503132"/>
              <a:gd name="connsiteX5750" fmla="*/ 748886 w 4493400"/>
              <a:gd name="connsiteY5750" fmla="*/ 892388 h 4503132"/>
              <a:gd name="connsiteX5751" fmla="*/ 749126 w 4493400"/>
              <a:gd name="connsiteY5751" fmla="*/ 878963 h 4503132"/>
              <a:gd name="connsiteX5752" fmla="*/ 749751 w 4493400"/>
              <a:gd name="connsiteY5752" fmla="*/ 872659 h 4503132"/>
              <a:gd name="connsiteX5753" fmla="*/ 751001 w 4493400"/>
              <a:gd name="connsiteY5753" fmla="*/ 866211 h 4503132"/>
              <a:gd name="connsiteX5754" fmla="*/ 765091 w 4493400"/>
              <a:gd name="connsiteY5754" fmla="*/ 814386 h 4503132"/>
              <a:gd name="connsiteX5755" fmla="*/ 771486 w 4493400"/>
              <a:gd name="connsiteY5755" fmla="*/ 788208 h 4503132"/>
              <a:gd name="connsiteX5756" fmla="*/ 772640 w 4493400"/>
              <a:gd name="connsiteY5756" fmla="*/ 781471 h 4503132"/>
              <a:gd name="connsiteX5757" fmla="*/ 773361 w 4493400"/>
              <a:gd name="connsiteY5757" fmla="*/ 774494 h 4503132"/>
              <a:gd name="connsiteX5758" fmla="*/ 773361 w 4493400"/>
              <a:gd name="connsiteY5758" fmla="*/ 770789 h 4503132"/>
              <a:gd name="connsiteX5759" fmla="*/ 773265 w 4493400"/>
              <a:gd name="connsiteY5759" fmla="*/ 768864 h 4503132"/>
              <a:gd name="connsiteX5760" fmla="*/ 773265 w 4493400"/>
              <a:gd name="connsiteY5760" fmla="*/ 767805 h 4503132"/>
              <a:gd name="connsiteX5761" fmla="*/ 772688 w 4493400"/>
              <a:gd name="connsiteY5761" fmla="*/ 766314 h 4503132"/>
              <a:gd name="connsiteX5762" fmla="*/ 769707 w 4493400"/>
              <a:gd name="connsiteY5762" fmla="*/ 761502 h 4503132"/>
              <a:gd name="connsiteX5763" fmla="*/ 766148 w 4493400"/>
              <a:gd name="connsiteY5763" fmla="*/ 758903 h 4503132"/>
              <a:gd name="connsiteX5764" fmla="*/ 752444 w 4493400"/>
              <a:gd name="connsiteY5764" fmla="*/ 754187 h 4503132"/>
              <a:gd name="connsiteX5765" fmla="*/ 739076 w 4493400"/>
              <a:gd name="connsiteY5765" fmla="*/ 752311 h 4503132"/>
              <a:gd name="connsiteX5766" fmla="*/ 712869 w 4493400"/>
              <a:gd name="connsiteY5766" fmla="*/ 752214 h 4503132"/>
              <a:gd name="connsiteX5767" fmla="*/ 662620 w 4493400"/>
              <a:gd name="connsiteY5767" fmla="*/ 760828 h 4503132"/>
              <a:gd name="connsiteX5768" fmla="*/ 578181 w 4493400"/>
              <a:gd name="connsiteY5768" fmla="*/ 809044 h 4503132"/>
              <a:gd name="connsiteX5769" fmla="*/ 570920 w 4493400"/>
              <a:gd name="connsiteY5769" fmla="*/ 817946 h 4503132"/>
              <a:gd name="connsiteX5770" fmla="*/ 563371 w 4493400"/>
              <a:gd name="connsiteY5770" fmla="*/ 826464 h 4503132"/>
              <a:gd name="connsiteX5771" fmla="*/ 548416 w 4493400"/>
              <a:gd name="connsiteY5771" fmla="*/ 843498 h 4503132"/>
              <a:gd name="connsiteX5772" fmla="*/ 520622 w 4493400"/>
              <a:gd name="connsiteY5772" fmla="*/ 877712 h 4503132"/>
              <a:gd name="connsiteX5773" fmla="*/ 488982 w 4493400"/>
              <a:gd name="connsiteY5773" fmla="*/ 921164 h 4503132"/>
              <a:gd name="connsiteX5774" fmla="*/ 525960 w 4493400"/>
              <a:gd name="connsiteY5774" fmla="*/ 865152 h 4503132"/>
              <a:gd name="connsiteX5775" fmla="*/ 559572 w 4493400"/>
              <a:gd name="connsiteY5775" fmla="*/ 811162 h 4503132"/>
              <a:gd name="connsiteX5776" fmla="*/ 592991 w 4493400"/>
              <a:gd name="connsiteY5776" fmla="*/ 755294 h 4503132"/>
              <a:gd name="connsiteX5777" fmla="*/ 614582 w 4493400"/>
              <a:gd name="connsiteY5777" fmla="*/ 722909 h 4503132"/>
              <a:gd name="connsiteX5778" fmla="*/ 612082 w 4493400"/>
              <a:gd name="connsiteY5778" fmla="*/ 727384 h 4503132"/>
              <a:gd name="connsiteX5779" fmla="*/ 607513 w 4493400"/>
              <a:gd name="connsiteY5779" fmla="*/ 736912 h 4503132"/>
              <a:gd name="connsiteX5780" fmla="*/ 605590 w 4493400"/>
              <a:gd name="connsiteY5780" fmla="*/ 742013 h 4503132"/>
              <a:gd name="connsiteX5781" fmla="*/ 604195 w 4493400"/>
              <a:gd name="connsiteY5781" fmla="*/ 747980 h 4503132"/>
              <a:gd name="connsiteX5782" fmla="*/ 605927 w 4493400"/>
              <a:gd name="connsiteY5782" fmla="*/ 755968 h 4503132"/>
              <a:gd name="connsiteX5783" fmla="*/ 613572 w 4493400"/>
              <a:gd name="connsiteY5783" fmla="*/ 758278 h 4503132"/>
              <a:gd name="connsiteX5784" fmla="*/ 615736 w 4493400"/>
              <a:gd name="connsiteY5784" fmla="*/ 757893 h 4503132"/>
              <a:gd name="connsiteX5785" fmla="*/ 617323 w 4493400"/>
              <a:gd name="connsiteY5785" fmla="*/ 757363 h 4503132"/>
              <a:gd name="connsiteX5786" fmla="*/ 620112 w 4493400"/>
              <a:gd name="connsiteY5786" fmla="*/ 756160 h 4503132"/>
              <a:gd name="connsiteX5787" fmla="*/ 624969 w 4493400"/>
              <a:gd name="connsiteY5787" fmla="*/ 753466 h 4503132"/>
              <a:gd name="connsiteX5788" fmla="*/ 642087 w 4493400"/>
              <a:gd name="connsiteY5788" fmla="*/ 741002 h 4503132"/>
              <a:gd name="connsiteX5789" fmla="*/ 703252 w 4493400"/>
              <a:gd name="connsiteY5789" fmla="*/ 682777 h 4503132"/>
              <a:gd name="connsiteX5790" fmla="*/ 767880 w 4493400"/>
              <a:gd name="connsiteY5790" fmla="*/ 626717 h 4503132"/>
              <a:gd name="connsiteX5791" fmla="*/ 803367 w 4493400"/>
              <a:gd name="connsiteY5791" fmla="*/ 602079 h 4503132"/>
              <a:gd name="connsiteX5792" fmla="*/ 822361 w 4493400"/>
              <a:gd name="connsiteY5792" fmla="*/ 592070 h 4503132"/>
              <a:gd name="connsiteX5793" fmla="*/ 842172 w 4493400"/>
              <a:gd name="connsiteY5793" fmla="*/ 586392 h 4503132"/>
              <a:gd name="connsiteX5794" fmla="*/ 851212 w 4493400"/>
              <a:gd name="connsiteY5794" fmla="*/ 587403 h 4503132"/>
              <a:gd name="connsiteX5795" fmla="*/ 857415 w 4493400"/>
              <a:gd name="connsiteY5795" fmla="*/ 592744 h 4503132"/>
              <a:gd name="connsiteX5796" fmla="*/ 860878 w 4493400"/>
              <a:gd name="connsiteY5796" fmla="*/ 611992 h 4503132"/>
              <a:gd name="connsiteX5797" fmla="*/ 856069 w 4493400"/>
              <a:gd name="connsiteY5797" fmla="*/ 632636 h 4503132"/>
              <a:gd name="connsiteX5798" fmla="*/ 848664 w 4493400"/>
              <a:gd name="connsiteY5798" fmla="*/ 654097 h 4503132"/>
              <a:gd name="connsiteX5799" fmla="*/ 843567 w 4493400"/>
              <a:gd name="connsiteY5799" fmla="*/ 677388 h 4503132"/>
              <a:gd name="connsiteX5800" fmla="*/ 843759 w 4493400"/>
              <a:gd name="connsiteY5800" fmla="*/ 683836 h 4503132"/>
              <a:gd name="connsiteX5801" fmla="*/ 844336 w 4493400"/>
              <a:gd name="connsiteY5801" fmla="*/ 687252 h 4503132"/>
              <a:gd name="connsiteX5802" fmla="*/ 845875 w 4493400"/>
              <a:gd name="connsiteY5802" fmla="*/ 690909 h 4503132"/>
              <a:gd name="connsiteX5803" fmla="*/ 855059 w 4493400"/>
              <a:gd name="connsiteY5803" fmla="*/ 700581 h 4503132"/>
              <a:gd name="connsiteX5804" fmla="*/ 877034 w 4493400"/>
              <a:gd name="connsiteY5804" fmla="*/ 710975 h 4503132"/>
              <a:gd name="connsiteX5805" fmla="*/ 900452 w 4493400"/>
              <a:gd name="connsiteY5805" fmla="*/ 715739 h 4503132"/>
              <a:gd name="connsiteX5806" fmla="*/ 993402 w 4493400"/>
              <a:gd name="connsiteY5806" fmla="*/ 697598 h 4503132"/>
              <a:gd name="connsiteX5807" fmla="*/ 1033987 w 4493400"/>
              <a:gd name="connsiteY5807" fmla="*/ 671469 h 4503132"/>
              <a:gd name="connsiteX5808" fmla="*/ 1052163 w 4493400"/>
              <a:gd name="connsiteY5808" fmla="*/ 655108 h 4503132"/>
              <a:gd name="connsiteX5809" fmla="*/ 1060241 w 4493400"/>
              <a:gd name="connsiteY5809" fmla="*/ 645724 h 4503132"/>
              <a:gd name="connsiteX5810" fmla="*/ 1067454 w 4493400"/>
              <a:gd name="connsiteY5810" fmla="*/ 635523 h 4503132"/>
              <a:gd name="connsiteX5811" fmla="*/ 1082505 w 4493400"/>
              <a:gd name="connsiteY5811" fmla="*/ 587836 h 4503132"/>
              <a:gd name="connsiteX5812" fmla="*/ 1079908 w 4493400"/>
              <a:gd name="connsiteY5812" fmla="*/ 538946 h 4503132"/>
              <a:gd name="connsiteX5813" fmla="*/ 1082986 w 4493400"/>
              <a:gd name="connsiteY5813" fmla="*/ 516811 h 4503132"/>
              <a:gd name="connsiteX5814" fmla="*/ 1094142 w 4493400"/>
              <a:gd name="connsiteY5814" fmla="*/ 495926 h 4503132"/>
              <a:gd name="connsiteX5815" fmla="*/ 1123859 w 4493400"/>
              <a:gd name="connsiteY5815" fmla="*/ 457430 h 4503132"/>
              <a:gd name="connsiteX5816" fmla="*/ 1148046 w 4493400"/>
              <a:gd name="connsiteY5816" fmla="*/ 431734 h 4503132"/>
              <a:gd name="connsiteX5817" fmla="*/ 1136890 w 4493400"/>
              <a:gd name="connsiteY5817" fmla="*/ 445256 h 4503132"/>
              <a:gd name="connsiteX5818" fmla="*/ 1384195 w 4493400"/>
              <a:gd name="connsiteY5818" fmla="*/ 742542 h 4503132"/>
              <a:gd name="connsiteX5819" fmla="*/ 1298170 w 4493400"/>
              <a:gd name="connsiteY5819" fmla="*/ 792298 h 4503132"/>
              <a:gd name="connsiteX5820" fmla="*/ 1206182 w 4493400"/>
              <a:gd name="connsiteY5820" fmla="*/ 831709 h 4503132"/>
              <a:gd name="connsiteX5821" fmla="*/ 1109626 w 4493400"/>
              <a:gd name="connsiteY5821" fmla="*/ 859089 h 4503132"/>
              <a:gd name="connsiteX5822" fmla="*/ 1084861 w 4493400"/>
              <a:gd name="connsiteY5822" fmla="*/ 862073 h 4503132"/>
              <a:gd name="connsiteX5823" fmla="*/ 1060386 w 4493400"/>
              <a:gd name="connsiteY5823" fmla="*/ 861640 h 4503132"/>
              <a:gd name="connsiteX5824" fmla="*/ 1038266 w 4493400"/>
              <a:gd name="connsiteY5824" fmla="*/ 854807 h 4503132"/>
              <a:gd name="connsiteX5825" fmla="*/ 1025812 w 4493400"/>
              <a:gd name="connsiteY5825" fmla="*/ 837820 h 4503132"/>
              <a:gd name="connsiteX5826" fmla="*/ 1026052 w 4493400"/>
              <a:gd name="connsiteY5826" fmla="*/ 814722 h 4503132"/>
              <a:gd name="connsiteX5827" fmla="*/ 1034083 w 4493400"/>
              <a:gd name="connsiteY5827" fmla="*/ 791769 h 4503132"/>
              <a:gd name="connsiteX5828" fmla="*/ 1061251 w 4493400"/>
              <a:gd name="connsiteY5828" fmla="*/ 749279 h 4503132"/>
              <a:gd name="connsiteX5829" fmla="*/ 1125927 w 4493400"/>
              <a:gd name="connsiteY5829" fmla="*/ 668293 h 4503132"/>
              <a:gd name="connsiteX5830" fmla="*/ 1155403 w 4493400"/>
              <a:gd name="connsiteY5830" fmla="*/ 624600 h 4503132"/>
              <a:gd name="connsiteX5831" fmla="*/ 1161799 w 4493400"/>
              <a:gd name="connsiteY5831" fmla="*/ 612907 h 4503132"/>
              <a:gd name="connsiteX5832" fmla="*/ 1167377 w 4493400"/>
              <a:gd name="connsiteY5832" fmla="*/ 600732 h 4503132"/>
              <a:gd name="connsiteX5833" fmla="*/ 1170069 w 4493400"/>
              <a:gd name="connsiteY5833" fmla="*/ 594573 h 4503132"/>
              <a:gd name="connsiteX5834" fmla="*/ 1172233 w 4493400"/>
              <a:gd name="connsiteY5834" fmla="*/ 588173 h 4503132"/>
              <a:gd name="connsiteX5835" fmla="*/ 1174397 w 4493400"/>
              <a:gd name="connsiteY5835" fmla="*/ 581773 h 4503132"/>
              <a:gd name="connsiteX5836" fmla="*/ 1175455 w 4493400"/>
              <a:gd name="connsiteY5836" fmla="*/ 578501 h 4503132"/>
              <a:gd name="connsiteX5837" fmla="*/ 1176128 w 4493400"/>
              <a:gd name="connsiteY5837" fmla="*/ 574892 h 4503132"/>
              <a:gd name="connsiteX5838" fmla="*/ 1173483 w 4493400"/>
              <a:gd name="connsiteY5838" fmla="*/ 546501 h 4503132"/>
              <a:gd name="connsiteX5839" fmla="*/ 1162808 w 4493400"/>
              <a:gd name="connsiteY5839" fmla="*/ 521959 h 4503132"/>
              <a:gd name="connsiteX5840" fmla="*/ 1154826 w 4493400"/>
              <a:gd name="connsiteY5840" fmla="*/ 498477 h 4503132"/>
              <a:gd name="connsiteX5841" fmla="*/ 1155836 w 4493400"/>
              <a:gd name="connsiteY5841" fmla="*/ 474705 h 4503132"/>
              <a:gd name="connsiteX5842" fmla="*/ 1166174 w 4493400"/>
              <a:gd name="connsiteY5842" fmla="*/ 452137 h 4503132"/>
              <a:gd name="connsiteX5843" fmla="*/ 1173147 w 4493400"/>
              <a:gd name="connsiteY5843" fmla="*/ 441406 h 4503132"/>
              <a:gd name="connsiteX5844" fmla="*/ 1180841 w 4493400"/>
              <a:gd name="connsiteY5844" fmla="*/ 431012 h 4503132"/>
              <a:gd name="connsiteX5845" fmla="*/ 1215655 w 4493400"/>
              <a:gd name="connsiteY5845" fmla="*/ 392131 h 4503132"/>
              <a:gd name="connsiteX5846" fmla="*/ 1293506 w 4493400"/>
              <a:gd name="connsiteY5846" fmla="*/ 320336 h 4503132"/>
              <a:gd name="connsiteX5847" fmla="*/ 1332888 w 4493400"/>
              <a:gd name="connsiteY5847" fmla="*/ 284198 h 4503132"/>
              <a:gd name="connsiteX5848" fmla="*/ 1372030 w 4493400"/>
              <a:gd name="connsiteY5848" fmla="*/ 247674 h 4503132"/>
              <a:gd name="connsiteX5849" fmla="*/ 1410018 w 4493400"/>
              <a:gd name="connsiteY5849" fmla="*/ 209130 h 4503132"/>
              <a:gd name="connsiteX5850" fmla="*/ 1418673 w 4493400"/>
              <a:gd name="connsiteY5850" fmla="*/ 198111 h 4503132"/>
              <a:gd name="connsiteX5851" fmla="*/ 1422520 w 4493400"/>
              <a:gd name="connsiteY5851" fmla="*/ 191663 h 4503132"/>
              <a:gd name="connsiteX5852" fmla="*/ 1424107 w 4493400"/>
              <a:gd name="connsiteY5852" fmla="*/ 187621 h 4503132"/>
              <a:gd name="connsiteX5853" fmla="*/ 1424203 w 4493400"/>
              <a:gd name="connsiteY5853" fmla="*/ 181076 h 4503132"/>
              <a:gd name="connsiteX5854" fmla="*/ 1420837 w 4493400"/>
              <a:gd name="connsiteY5854" fmla="*/ 176312 h 4503132"/>
              <a:gd name="connsiteX5855" fmla="*/ 1422039 w 4493400"/>
              <a:gd name="connsiteY5855" fmla="*/ 175975 h 4503132"/>
              <a:gd name="connsiteX5856" fmla="*/ 1437955 w 4493400"/>
              <a:gd name="connsiteY5856" fmla="*/ 172366 h 4503132"/>
              <a:gd name="connsiteX5857" fmla="*/ 1441706 w 4493400"/>
              <a:gd name="connsiteY5857" fmla="*/ 171837 h 4503132"/>
              <a:gd name="connsiteX5858" fmla="*/ 1443966 w 4493400"/>
              <a:gd name="connsiteY5858" fmla="*/ 171741 h 4503132"/>
              <a:gd name="connsiteX5859" fmla="*/ 1443966 w 4493400"/>
              <a:gd name="connsiteY5859" fmla="*/ 171741 h 4503132"/>
              <a:gd name="connsiteX5860" fmla="*/ 1441177 w 4493400"/>
              <a:gd name="connsiteY5860" fmla="*/ 177515 h 4503132"/>
              <a:gd name="connsiteX5861" fmla="*/ 1436657 w 4493400"/>
              <a:gd name="connsiteY5861" fmla="*/ 183963 h 4503132"/>
              <a:gd name="connsiteX5862" fmla="*/ 1426126 w 4493400"/>
              <a:gd name="connsiteY5862" fmla="*/ 196427 h 4503132"/>
              <a:gd name="connsiteX5863" fmla="*/ 1379002 w 4493400"/>
              <a:gd name="connsiteY5863" fmla="*/ 243440 h 4503132"/>
              <a:gd name="connsiteX5864" fmla="*/ 1330387 w 4493400"/>
              <a:gd name="connsiteY5864" fmla="*/ 289250 h 4503132"/>
              <a:gd name="connsiteX5865" fmla="*/ 1232389 w 4493400"/>
              <a:gd name="connsiteY5865" fmla="*/ 379139 h 4503132"/>
              <a:gd name="connsiteX5866" fmla="*/ 1209548 w 4493400"/>
              <a:gd name="connsiteY5866" fmla="*/ 403728 h 4503132"/>
              <a:gd name="connsiteX5867" fmla="*/ 1190121 w 4493400"/>
              <a:gd name="connsiteY5867" fmla="*/ 431830 h 4503132"/>
              <a:gd name="connsiteX5868" fmla="*/ 1184159 w 4493400"/>
              <a:gd name="connsiteY5868" fmla="*/ 448817 h 4503132"/>
              <a:gd name="connsiteX5869" fmla="*/ 1184880 w 4493400"/>
              <a:gd name="connsiteY5869" fmla="*/ 467439 h 4503132"/>
              <a:gd name="connsiteX5870" fmla="*/ 1201469 w 4493400"/>
              <a:gd name="connsiteY5870" fmla="*/ 497707 h 4503132"/>
              <a:gd name="connsiteX5871" fmla="*/ 1215414 w 4493400"/>
              <a:gd name="connsiteY5871" fmla="*/ 525280 h 4503132"/>
              <a:gd name="connsiteX5872" fmla="*/ 1215847 w 4493400"/>
              <a:gd name="connsiteY5872" fmla="*/ 555403 h 4503132"/>
              <a:gd name="connsiteX5873" fmla="*/ 1190362 w 4493400"/>
              <a:gd name="connsiteY5873" fmla="*/ 613243 h 4503132"/>
              <a:gd name="connsiteX5874" fmla="*/ 1116454 w 4493400"/>
              <a:gd name="connsiteY5874" fmla="*/ 720070 h 4503132"/>
              <a:gd name="connsiteX5875" fmla="*/ 1100633 w 4493400"/>
              <a:gd name="connsiteY5875" fmla="*/ 749135 h 4503132"/>
              <a:gd name="connsiteX5876" fmla="*/ 1092459 w 4493400"/>
              <a:gd name="connsiteY5876" fmla="*/ 782386 h 4503132"/>
              <a:gd name="connsiteX5877" fmla="*/ 1096161 w 4493400"/>
              <a:gd name="connsiteY5877" fmla="*/ 800190 h 4503132"/>
              <a:gd name="connsiteX5878" fmla="*/ 1098229 w 4493400"/>
              <a:gd name="connsiteY5878" fmla="*/ 804232 h 4503132"/>
              <a:gd name="connsiteX5879" fmla="*/ 1100585 w 4493400"/>
              <a:gd name="connsiteY5879" fmla="*/ 808034 h 4503132"/>
              <a:gd name="connsiteX5880" fmla="*/ 1106500 w 4493400"/>
              <a:gd name="connsiteY5880" fmla="*/ 814867 h 4503132"/>
              <a:gd name="connsiteX5881" fmla="*/ 1138140 w 4493400"/>
              <a:gd name="connsiteY5881" fmla="*/ 829399 h 4503132"/>
              <a:gd name="connsiteX5882" fmla="*/ 1171560 w 4493400"/>
              <a:gd name="connsiteY5882" fmla="*/ 828966 h 4503132"/>
              <a:gd name="connsiteX5883" fmla="*/ 1203537 w 4493400"/>
              <a:gd name="connsiteY5883" fmla="*/ 822133 h 4503132"/>
              <a:gd name="connsiteX5884" fmla="*/ 1264125 w 4493400"/>
              <a:gd name="connsiteY5884" fmla="*/ 800335 h 4503132"/>
              <a:gd name="connsiteX5885" fmla="*/ 1378137 w 4493400"/>
              <a:gd name="connsiteY5885" fmla="*/ 743986 h 4503132"/>
              <a:gd name="connsiteX5886" fmla="*/ 1412037 w 4493400"/>
              <a:gd name="connsiteY5886" fmla="*/ 725171 h 4503132"/>
              <a:gd name="connsiteX5887" fmla="*/ 1384244 w 4493400"/>
              <a:gd name="connsiteY5887" fmla="*/ 742638 h 4503132"/>
              <a:gd name="connsiteX5888" fmla="*/ 42505 w 4493400"/>
              <a:gd name="connsiteY5888" fmla="*/ 1903056 h 4503132"/>
              <a:gd name="connsiteX5889" fmla="*/ 47217 w 4493400"/>
              <a:gd name="connsiteY5889" fmla="*/ 1900361 h 4503132"/>
              <a:gd name="connsiteX5890" fmla="*/ 50728 w 4493400"/>
              <a:gd name="connsiteY5890" fmla="*/ 1893769 h 4503132"/>
              <a:gd name="connsiteX5891" fmla="*/ 52651 w 4493400"/>
              <a:gd name="connsiteY5891" fmla="*/ 1887706 h 4503132"/>
              <a:gd name="connsiteX5892" fmla="*/ 55440 w 4493400"/>
              <a:gd name="connsiteY5892" fmla="*/ 1877504 h 4503132"/>
              <a:gd name="connsiteX5893" fmla="*/ 57508 w 4493400"/>
              <a:gd name="connsiteY5893" fmla="*/ 1868217 h 4503132"/>
              <a:gd name="connsiteX5894" fmla="*/ 61018 w 4493400"/>
              <a:gd name="connsiteY5894" fmla="*/ 1849691 h 4503132"/>
              <a:gd name="connsiteX5895" fmla="*/ 67462 w 4493400"/>
              <a:gd name="connsiteY5895" fmla="*/ 1806286 h 4503132"/>
              <a:gd name="connsiteX5896" fmla="*/ 65682 w 4493400"/>
              <a:gd name="connsiteY5896" fmla="*/ 1858641 h 4503132"/>
              <a:gd name="connsiteX5897" fmla="*/ 68279 w 4493400"/>
              <a:gd name="connsiteY5897" fmla="*/ 1892422 h 4503132"/>
              <a:gd name="connsiteX5898" fmla="*/ 74578 w 4493400"/>
              <a:gd name="connsiteY5898" fmla="*/ 1924518 h 4503132"/>
              <a:gd name="connsiteX5899" fmla="*/ 87898 w 4493400"/>
              <a:gd name="connsiteY5899" fmla="*/ 1984427 h 4503132"/>
              <a:gd name="connsiteX5900" fmla="*/ 92610 w 4493400"/>
              <a:gd name="connsiteY5900" fmla="*/ 2040920 h 4503132"/>
              <a:gd name="connsiteX5901" fmla="*/ 89148 w 4493400"/>
              <a:gd name="connsiteY5901" fmla="*/ 2141155 h 4503132"/>
              <a:gd name="connsiteX5902" fmla="*/ 87994 w 4493400"/>
              <a:gd name="connsiteY5902" fmla="*/ 2163675 h 4503132"/>
              <a:gd name="connsiteX5903" fmla="*/ 86504 w 4493400"/>
              <a:gd name="connsiteY5903" fmla="*/ 2093564 h 4503132"/>
              <a:gd name="connsiteX5904" fmla="*/ 84821 w 4493400"/>
              <a:gd name="connsiteY5904" fmla="*/ 2051651 h 4503132"/>
              <a:gd name="connsiteX5905" fmla="*/ 78521 w 4493400"/>
              <a:gd name="connsiteY5905" fmla="*/ 2009161 h 4503132"/>
              <a:gd name="connsiteX5906" fmla="*/ 66211 w 4493400"/>
              <a:gd name="connsiteY5906" fmla="*/ 1967248 h 4503132"/>
              <a:gd name="connsiteX5907" fmla="*/ 63470 w 4493400"/>
              <a:gd name="connsiteY5907" fmla="*/ 1961955 h 4503132"/>
              <a:gd name="connsiteX5908" fmla="*/ 56883 w 4493400"/>
              <a:gd name="connsiteY5908" fmla="*/ 1955363 h 4503132"/>
              <a:gd name="connsiteX5909" fmla="*/ 52411 w 4493400"/>
              <a:gd name="connsiteY5909" fmla="*/ 1954641 h 4503132"/>
              <a:gd name="connsiteX5910" fmla="*/ 50247 w 4493400"/>
              <a:gd name="connsiteY5910" fmla="*/ 1955363 h 4503132"/>
              <a:gd name="connsiteX5911" fmla="*/ 48323 w 4493400"/>
              <a:gd name="connsiteY5911" fmla="*/ 1956614 h 4503132"/>
              <a:gd name="connsiteX5912" fmla="*/ 45486 w 4493400"/>
              <a:gd name="connsiteY5912" fmla="*/ 1960608 h 4503132"/>
              <a:gd name="connsiteX5913" fmla="*/ 43996 w 4493400"/>
              <a:gd name="connsiteY5913" fmla="*/ 1963639 h 4503132"/>
              <a:gd name="connsiteX5914" fmla="*/ 43226 w 4493400"/>
              <a:gd name="connsiteY5914" fmla="*/ 1964554 h 4503132"/>
              <a:gd name="connsiteX5915" fmla="*/ 40726 w 4493400"/>
              <a:gd name="connsiteY5915" fmla="*/ 1967778 h 4503132"/>
              <a:gd name="connsiteX5916" fmla="*/ 38658 w 4493400"/>
              <a:gd name="connsiteY5916" fmla="*/ 1974755 h 4503132"/>
              <a:gd name="connsiteX5917" fmla="*/ 37312 w 4493400"/>
              <a:gd name="connsiteY5917" fmla="*/ 1985534 h 4503132"/>
              <a:gd name="connsiteX5918" fmla="*/ 33946 w 4493400"/>
              <a:gd name="connsiteY5918" fmla="*/ 2014117 h 4503132"/>
              <a:gd name="connsiteX5919" fmla="*/ 33561 w 4493400"/>
              <a:gd name="connsiteY5919" fmla="*/ 1946509 h 4503132"/>
              <a:gd name="connsiteX5920" fmla="*/ 33465 w 4493400"/>
              <a:gd name="connsiteY5920" fmla="*/ 1928704 h 4503132"/>
              <a:gd name="connsiteX5921" fmla="*/ 33753 w 4493400"/>
              <a:gd name="connsiteY5921" fmla="*/ 1924951 h 4503132"/>
              <a:gd name="connsiteX5922" fmla="*/ 34427 w 4493400"/>
              <a:gd name="connsiteY5922" fmla="*/ 1920572 h 4503132"/>
              <a:gd name="connsiteX5923" fmla="*/ 35773 w 4493400"/>
              <a:gd name="connsiteY5923" fmla="*/ 1911862 h 4503132"/>
              <a:gd name="connsiteX5924" fmla="*/ 37456 w 4493400"/>
              <a:gd name="connsiteY5924" fmla="*/ 1900939 h 4503132"/>
              <a:gd name="connsiteX5925" fmla="*/ 42553 w 4493400"/>
              <a:gd name="connsiteY5925" fmla="*/ 1902960 h 4503132"/>
              <a:gd name="connsiteX5926" fmla="*/ 23511 w 4493400"/>
              <a:gd name="connsiteY5926" fmla="*/ 2058629 h 4503132"/>
              <a:gd name="connsiteX5927" fmla="*/ 23463 w 4493400"/>
              <a:gd name="connsiteY5927" fmla="*/ 2052902 h 4503132"/>
              <a:gd name="connsiteX5928" fmla="*/ 23607 w 4493400"/>
              <a:gd name="connsiteY5928" fmla="*/ 2054538 h 4503132"/>
              <a:gd name="connsiteX5929" fmla="*/ 23511 w 4493400"/>
              <a:gd name="connsiteY5929" fmla="*/ 2058629 h 4503132"/>
              <a:gd name="connsiteX5930" fmla="*/ 77415 w 4493400"/>
              <a:gd name="connsiteY5930" fmla="*/ 2145967 h 4503132"/>
              <a:gd name="connsiteX5931" fmla="*/ 71453 w 4493400"/>
              <a:gd name="connsiteY5931" fmla="*/ 2088126 h 4503132"/>
              <a:gd name="connsiteX5932" fmla="*/ 68135 w 4493400"/>
              <a:gd name="connsiteY5932" fmla="*/ 2073209 h 4503132"/>
              <a:gd name="connsiteX5933" fmla="*/ 66933 w 4493400"/>
              <a:gd name="connsiteY5933" fmla="*/ 2069407 h 4503132"/>
              <a:gd name="connsiteX5934" fmla="*/ 64961 w 4493400"/>
              <a:gd name="connsiteY5934" fmla="*/ 2064836 h 4503132"/>
              <a:gd name="connsiteX5935" fmla="*/ 63326 w 4493400"/>
              <a:gd name="connsiteY5935" fmla="*/ 2061805 h 4503132"/>
              <a:gd name="connsiteX5936" fmla="*/ 61259 w 4493400"/>
              <a:gd name="connsiteY5936" fmla="*/ 2059206 h 4503132"/>
              <a:gd name="connsiteX5937" fmla="*/ 56546 w 4493400"/>
              <a:gd name="connsiteY5937" fmla="*/ 2056174 h 4503132"/>
              <a:gd name="connsiteX5938" fmla="*/ 53901 w 4493400"/>
              <a:gd name="connsiteY5938" fmla="*/ 2055741 h 4503132"/>
              <a:gd name="connsiteX5939" fmla="*/ 51401 w 4493400"/>
              <a:gd name="connsiteY5939" fmla="*/ 2056463 h 4503132"/>
              <a:gd name="connsiteX5940" fmla="*/ 48035 w 4493400"/>
              <a:gd name="connsiteY5940" fmla="*/ 2060457 h 4503132"/>
              <a:gd name="connsiteX5941" fmla="*/ 45919 w 4493400"/>
              <a:gd name="connsiteY5941" fmla="*/ 2067435 h 4503132"/>
              <a:gd name="connsiteX5942" fmla="*/ 44813 w 4493400"/>
              <a:gd name="connsiteY5942" fmla="*/ 2070851 h 4503132"/>
              <a:gd name="connsiteX5943" fmla="*/ 41159 w 4493400"/>
              <a:gd name="connsiteY5943" fmla="*/ 2086442 h 4503132"/>
              <a:gd name="connsiteX5944" fmla="*/ 35629 w 4493400"/>
              <a:gd name="connsiteY5944" fmla="*/ 2142262 h 4503132"/>
              <a:gd name="connsiteX5945" fmla="*/ 47698 w 4493400"/>
              <a:gd name="connsiteY5945" fmla="*/ 1986978 h 4503132"/>
              <a:gd name="connsiteX5946" fmla="*/ 48997 w 4493400"/>
              <a:gd name="connsiteY5946" fmla="*/ 1976295 h 4503132"/>
              <a:gd name="connsiteX5947" fmla="*/ 49814 w 4493400"/>
              <a:gd name="connsiteY5947" fmla="*/ 1972975 h 4503132"/>
              <a:gd name="connsiteX5948" fmla="*/ 50632 w 4493400"/>
              <a:gd name="connsiteY5948" fmla="*/ 1972012 h 4503132"/>
              <a:gd name="connsiteX5949" fmla="*/ 53180 w 4493400"/>
              <a:gd name="connsiteY5949" fmla="*/ 1968692 h 4503132"/>
              <a:gd name="connsiteX5950" fmla="*/ 53998 w 4493400"/>
              <a:gd name="connsiteY5950" fmla="*/ 1966863 h 4503132"/>
              <a:gd name="connsiteX5951" fmla="*/ 54094 w 4493400"/>
              <a:gd name="connsiteY5951" fmla="*/ 1966863 h 4503132"/>
              <a:gd name="connsiteX5952" fmla="*/ 54478 w 4493400"/>
              <a:gd name="connsiteY5952" fmla="*/ 1967441 h 4503132"/>
              <a:gd name="connsiteX5953" fmla="*/ 56642 w 4493400"/>
              <a:gd name="connsiteY5953" fmla="*/ 1971675 h 4503132"/>
              <a:gd name="connsiteX5954" fmla="*/ 68327 w 4493400"/>
              <a:gd name="connsiteY5954" fmla="*/ 2011471 h 4503132"/>
              <a:gd name="connsiteX5955" fmla="*/ 74482 w 4493400"/>
              <a:gd name="connsiteY5955" fmla="*/ 2052469 h 4503132"/>
              <a:gd name="connsiteX5956" fmla="*/ 76213 w 4493400"/>
              <a:gd name="connsiteY5956" fmla="*/ 2094045 h 4503132"/>
              <a:gd name="connsiteX5957" fmla="*/ 77608 w 4493400"/>
              <a:gd name="connsiteY5957" fmla="*/ 2152511 h 4503132"/>
              <a:gd name="connsiteX5958" fmla="*/ 77319 w 4493400"/>
              <a:gd name="connsiteY5958" fmla="*/ 2146063 h 4503132"/>
              <a:gd name="connsiteX5959" fmla="*/ 83859 w 4493400"/>
              <a:gd name="connsiteY5959" fmla="*/ 2705027 h 4503132"/>
              <a:gd name="connsiteX5960" fmla="*/ 80733 w 4493400"/>
              <a:gd name="connsiteY5960" fmla="*/ 2756371 h 4503132"/>
              <a:gd name="connsiteX5961" fmla="*/ 76406 w 4493400"/>
              <a:gd name="connsiteY5961" fmla="*/ 2790488 h 4503132"/>
              <a:gd name="connsiteX5962" fmla="*/ 66933 w 4493400"/>
              <a:gd name="connsiteY5962" fmla="*/ 2751078 h 4503132"/>
              <a:gd name="connsiteX5963" fmla="*/ 66067 w 4493400"/>
              <a:gd name="connsiteY5963" fmla="*/ 2747421 h 4503132"/>
              <a:gd name="connsiteX5964" fmla="*/ 66067 w 4493400"/>
              <a:gd name="connsiteY5964" fmla="*/ 2747132 h 4503132"/>
              <a:gd name="connsiteX5965" fmla="*/ 66067 w 4493400"/>
              <a:gd name="connsiteY5965" fmla="*/ 2746218 h 4503132"/>
              <a:gd name="connsiteX5966" fmla="*/ 66067 w 4493400"/>
              <a:gd name="connsiteY5966" fmla="*/ 2744293 h 4503132"/>
              <a:gd name="connsiteX5967" fmla="*/ 66067 w 4493400"/>
              <a:gd name="connsiteY5967" fmla="*/ 2736497 h 4503132"/>
              <a:gd name="connsiteX5968" fmla="*/ 66259 w 4493400"/>
              <a:gd name="connsiteY5968" fmla="*/ 2720810 h 4503132"/>
              <a:gd name="connsiteX5969" fmla="*/ 67173 w 4493400"/>
              <a:gd name="connsiteY5969" fmla="*/ 2688906 h 4503132"/>
              <a:gd name="connsiteX5970" fmla="*/ 73665 w 4493400"/>
              <a:gd name="connsiteY5970" fmla="*/ 2623848 h 4503132"/>
              <a:gd name="connsiteX5971" fmla="*/ 80878 w 4493400"/>
              <a:gd name="connsiteY5971" fmla="*/ 2590549 h 4503132"/>
              <a:gd name="connsiteX5972" fmla="*/ 84676 w 4493400"/>
              <a:gd name="connsiteY5972" fmla="*/ 2563698 h 4503132"/>
              <a:gd name="connsiteX5973" fmla="*/ 84917 w 4493400"/>
              <a:gd name="connsiteY5973" fmla="*/ 2610567 h 4503132"/>
              <a:gd name="connsiteX5974" fmla="*/ 83811 w 4493400"/>
              <a:gd name="connsiteY5974" fmla="*/ 2704979 h 4503132"/>
              <a:gd name="connsiteX5975" fmla="*/ 88860 w 4493400"/>
              <a:gd name="connsiteY5975" fmla="*/ 2287969 h 4503132"/>
              <a:gd name="connsiteX5976" fmla="*/ 88764 w 4493400"/>
              <a:gd name="connsiteY5976" fmla="*/ 2256162 h 4503132"/>
              <a:gd name="connsiteX5977" fmla="*/ 88619 w 4493400"/>
              <a:gd name="connsiteY5977" fmla="*/ 2230610 h 4503132"/>
              <a:gd name="connsiteX5978" fmla="*/ 93957 w 4493400"/>
              <a:gd name="connsiteY5978" fmla="*/ 2141492 h 4503132"/>
              <a:gd name="connsiteX5979" fmla="*/ 98477 w 4493400"/>
              <a:gd name="connsiteY5979" fmla="*/ 2040920 h 4503132"/>
              <a:gd name="connsiteX5980" fmla="*/ 94197 w 4493400"/>
              <a:gd name="connsiteY5980" fmla="*/ 1983465 h 4503132"/>
              <a:gd name="connsiteX5981" fmla="*/ 81262 w 4493400"/>
              <a:gd name="connsiteY5981" fmla="*/ 1922978 h 4503132"/>
              <a:gd name="connsiteX5982" fmla="*/ 75300 w 4493400"/>
              <a:gd name="connsiteY5982" fmla="*/ 1891459 h 4503132"/>
              <a:gd name="connsiteX5983" fmla="*/ 72991 w 4493400"/>
              <a:gd name="connsiteY5983" fmla="*/ 1858593 h 4503132"/>
              <a:gd name="connsiteX5984" fmla="*/ 76406 w 4493400"/>
              <a:gd name="connsiteY5984" fmla="*/ 1789156 h 4503132"/>
              <a:gd name="connsiteX5985" fmla="*/ 77704 w 4493400"/>
              <a:gd name="connsiteY5985" fmla="*/ 1775057 h 4503132"/>
              <a:gd name="connsiteX5986" fmla="*/ 77031 w 4493400"/>
              <a:gd name="connsiteY5986" fmla="*/ 1786124 h 4503132"/>
              <a:gd name="connsiteX5987" fmla="*/ 76069 w 4493400"/>
              <a:gd name="connsiteY5987" fmla="*/ 1835784 h 4503132"/>
              <a:gd name="connsiteX5988" fmla="*/ 82945 w 4493400"/>
              <a:gd name="connsiteY5988" fmla="*/ 1885204 h 4503132"/>
              <a:gd name="connsiteX5989" fmla="*/ 98237 w 4493400"/>
              <a:gd name="connsiteY5989" fmla="*/ 1930918 h 4503132"/>
              <a:gd name="connsiteX5990" fmla="*/ 106844 w 4493400"/>
              <a:gd name="connsiteY5990" fmla="*/ 1976487 h 4503132"/>
              <a:gd name="connsiteX5991" fmla="*/ 107277 w 4493400"/>
              <a:gd name="connsiteY5991" fmla="*/ 2022683 h 4503132"/>
              <a:gd name="connsiteX5992" fmla="*/ 104392 w 4493400"/>
              <a:gd name="connsiteY5992" fmla="*/ 2068686 h 4503132"/>
              <a:gd name="connsiteX5993" fmla="*/ 90639 w 4493400"/>
              <a:gd name="connsiteY5993" fmla="*/ 2245864 h 4503132"/>
              <a:gd name="connsiteX5994" fmla="*/ 88764 w 4493400"/>
              <a:gd name="connsiteY5994" fmla="*/ 2287969 h 4503132"/>
              <a:gd name="connsiteX5995" fmla="*/ 107950 w 4493400"/>
              <a:gd name="connsiteY5995" fmla="*/ 2147795 h 4503132"/>
              <a:gd name="connsiteX5996" fmla="*/ 114682 w 4493400"/>
              <a:gd name="connsiteY5996" fmla="*/ 2069456 h 4503132"/>
              <a:gd name="connsiteX5997" fmla="*/ 117663 w 4493400"/>
              <a:gd name="connsiteY5997" fmla="*/ 2023164 h 4503132"/>
              <a:gd name="connsiteX5998" fmla="*/ 117278 w 4493400"/>
              <a:gd name="connsiteY5998" fmla="*/ 1975621 h 4503132"/>
              <a:gd name="connsiteX5999" fmla="*/ 108335 w 4493400"/>
              <a:gd name="connsiteY5999" fmla="*/ 1927934 h 4503132"/>
              <a:gd name="connsiteX6000" fmla="*/ 93139 w 4493400"/>
              <a:gd name="connsiteY6000" fmla="*/ 1882364 h 4503132"/>
              <a:gd name="connsiteX6001" fmla="*/ 86696 w 4493400"/>
              <a:gd name="connsiteY6001" fmla="*/ 1835544 h 4503132"/>
              <a:gd name="connsiteX6002" fmla="*/ 87706 w 4493400"/>
              <a:gd name="connsiteY6002" fmla="*/ 1786702 h 4503132"/>
              <a:gd name="connsiteX6003" fmla="*/ 89293 w 4493400"/>
              <a:gd name="connsiteY6003" fmla="*/ 1761246 h 4503132"/>
              <a:gd name="connsiteX6004" fmla="*/ 89293 w 4493400"/>
              <a:gd name="connsiteY6004" fmla="*/ 1765192 h 4503132"/>
              <a:gd name="connsiteX6005" fmla="*/ 90976 w 4493400"/>
              <a:gd name="connsiteY6005" fmla="*/ 1795941 h 4503132"/>
              <a:gd name="connsiteX6006" fmla="*/ 96409 w 4493400"/>
              <a:gd name="connsiteY6006" fmla="*/ 1826641 h 4503132"/>
              <a:gd name="connsiteX6007" fmla="*/ 112085 w 4493400"/>
              <a:gd name="connsiteY6007" fmla="*/ 1853733 h 4503132"/>
              <a:gd name="connsiteX6008" fmla="*/ 128819 w 4493400"/>
              <a:gd name="connsiteY6008" fmla="*/ 1877408 h 4503132"/>
              <a:gd name="connsiteX6009" fmla="*/ 146611 w 4493400"/>
              <a:gd name="connsiteY6009" fmla="*/ 1930052 h 4503132"/>
              <a:gd name="connsiteX6010" fmla="*/ 147765 w 4493400"/>
              <a:gd name="connsiteY6010" fmla="*/ 1943958 h 4503132"/>
              <a:gd name="connsiteX6011" fmla="*/ 147909 w 4493400"/>
              <a:gd name="connsiteY6011" fmla="*/ 1957865 h 4503132"/>
              <a:gd name="connsiteX6012" fmla="*/ 147284 w 4493400"/>
              <a:gd name="connsiteY6012" fmla="*/ 1971724 h 4503132"/>
              <a:gd name="connsiteX6013" fmla="*/ 145745 w 4493400"/>
              <a:gd name="connsiteY6013" fmla="*/ 1985438 h 4503132"/>
              <a:gd name="connsiteX6014" fmla="*/ 134686 w 4493400"/>
              <a:gd name="connsiteY6014" fmla="*/ 2039284 h 4503132"/>
              <a:gd name="connsiteX6015" fmla="*/ 108863 w 4493400"/>
              <a:gd name="connsiteY6015" fmla="*/ 2142935 h 4503132"/>
              <a:gd name="connsiteX6016" fmla="*/ 107902 w 4493400"/>
              <a:gd name="connsiteY6016" fmla="*/ 2147747 h 4503132"/>
              <a:gd name="connsiteX6017" fmla="*/ 157142 w 4493400"/>
              <a:gd name="connsiteY6017" fmla="*/ 2952027 h 4503132"/>
              <a:gd name="connsiteX6018" fmla="*/ 156324 w 4493400"/>
              <a:gd name="connsiteY6018" fmla="*/ 2954722 h 4503132"/>
              <a:gd name="connsiteX6019" fmla="*/ 155314 w 4493400"/>
              <a:gd name="connsiteY6019" fmla="*/ 2956984 h 4503132"/>
              <a:gd name="connsiteX6020" fmla="*/ 154016 w 4493400"/>
              <a:gd name="connsiteY6020" fmla="*/ 2958813 h 4503132"/>
              <a:gd name="connsiteX6021" fmla="*/ 152670 w 4493400"/>
              <a:gd name="connsiteY6021" fmla="*/ 2960064 h 4503132"/>
              <a:gd name="connsiteX6022" fmla="*/ 144736 w 4493400"/>
              <a:gd name="connsiteY6022" fmla="*/ 2959679 h 4503132"/>
              <a:gd name="connsiteX6023" fmla="*/ 133724 w 4493400"/>
              <a:gd name="connsiteY6023" fmla="*/ 2953952 h 4503132"/>
              <a:gd name="connsiteX6024" fmla="*/ 127280 w 4493400"/>
              <a:gd name="connsiteY6024" fmla="*/ 2950632 h 4503132"/>
              <a:gd name="connsiteX6025" fmla="*/ 125405 w 4493400"/>
              <a:gd name="connsiteY6025" fmla="*/ 2949862 h 4503132"/>
              <a:gd name="connsiteX6026" fmla="*/ 123818 w 4493400"/>
              <a:gd name="connsiteY6026" fmla="*/ 2949477 h 4503132"/>
              <a:gd name="connsiteX6027" fmla="*/ 123818 w 4493400"/>
              <a:gd name="connsiteY6027" fmla="*/ 2949477 h 4503132"/>
              <a:gd name="connsiteX6028" fmla="*/ 116509 w 4493400"/>
              <a:gd name="connsiteY6028" fmla="*/ 2926668 h 4503132"/>
              <a:gd name="connsiteX6029" fmla="*/ 115980 w 4493400"/>
              <a:gd name="connsiteY6029" fmla="*/ 2925032 h 4503132"/>
              <a:gd name="connsiteX6030" fmla="*/ 115980 w 4493400"/>
              <a:gd name="connsiteY6030" fmla="*/ 2925032 h 4503132"/>
              <a:gd name="connsiteX6031" fmla="*/ 117375 w 4493400"/>
              <a:gd name="connsiteY6031" fmla="*/ 2925128 h 4503132"/>
              <a:gd name="connsiteX6032" fmla="*/ 125597 w 4493400"/>
              <a:gd name="connsiteY6032" fmla="*/ 2924695 h 4503132"/>
              <a:gd name="connsiteX6033" fmla="*/ 133483 w 4493400"/>
              <a:gd name="connsiteY6033" fmla="*/ 2920798 h 4503132"/>
              <a:gd name="connsiteX6034" fmla="*/ 138917 w 4493400"/>
              <a:gd name="connsiteY6034" fmla="*/ 2914638 h 4503132"/>
              <a:gd name="connsiteX6035" fmla="*/ 142427 w 4493400"/>
              <a:gd name="connsiteY6035" fmla="*/ 2907950 h 4503132"/>
              <a:gd name="connsiteX6036" fmla="*/ 144591 w 4493400"/>
              <a:gd name="connsiteY6036" fmla="*/ 2901213 h 4503132"/>
              <a:gd name="connsiteX6037" fmla="*/ 146274 w 4493400"/>
              <a:gd name="connsiteY6037" fmla="*/ 2894476 h 4503132"/>
              <a:gd name="connsiteX6038" fmla="*/ 147621 w 4493400"/>
              <a:gd name="connsiteY6038" fmla="*/ 2887787 h 4503132"/>
              <a:gd name="connsiteX6039" fmla="*/ 149352 w 4493400"/>
              <a:gd name="connsiteY6039" fmla="*/ 2874458 h 4503132"/>
              <a:gd name="connsiteX6040" fmla="*/ 150939 w 4493400"/>
              <a:gd name="connsiteY6040" fmla="*/ 2847944 h 4503132"/>
              <a:gd name="connsiteX6041" fmla="*/ 151131 w 4493400"/>
              <a:gd name="connsiteY6041" fmla="*/ 2819312 h 4503132"/>
              <a:gd name="connsiteX6042" fmla="*/ 151371 w 4493400"/>
              <a:gd name="connsiteY6042" fmla="*/ 2821141 h 4503132"/>
              <a:gd name="connsiteX6043" fmla="*/ 156901 w 4493400"/>
              <a:gd name="connsiteY6043" fmla="*/ 2874217 h 4503132"/>
              <a:gd name="connsiteX6044" fmla="*/ 159594 w 4493400"/>
              <a:gd name="connsiteY6044" fmla="*/ 2926909 h 4503132"/>
              <a:gd name="connsiteX6045" fmla="*/ 157190 w 4493400"/>
              <a:gd name="connsiteY6045" fmla="*/ 2951980 h 4503132"/>
              <a:gd name="connsiteX6046" fmla="*/ 131945 w 4493400"/>
              <a:gd name="connsiteY6046" fmla="*/ 2355241 h 4503132"/>
              <a:gd name="connsiteX6047" fmla="*/ 135551 w 4493400"/>
              <a:gd name="connsiteY6047" fmla="*/ 2314387 h 4503132"/>
              <a:gd name="connsiteX6048" fmla="*/ 145890 w 4493400"/>
              <a:gd name="connsiteY6048" fmla="*/ 2267037 h 4503132"/>
              <a:gd name="connsiteX6049" fmla="*/ 176472 w 4493400"/>
              <a:gd name="connsiteY6049" fmla="*/ 2223103 h 4503132"/>
              <a:gd name="connsiteX6050" fmla="*/ 203785 w 4493400"/>
              <a:gd name="connsiteY6050" fmla="*/ 2212084 h 4503132"/>
              <a:gd name="connsiteX6051" fmla="*/ 235618 w 4493400"/>
              <a:gd name="connsiteY6051" fmla="*/ 2208812 h 4503132"/>
              <a:gd name="connsiteX6052" fmla="*/ 241436 w 4493400"/>
              <a:gd name="connsiteY6052" fmla="*/ 2206502 h 4503132"/>
              <a:gd name="connsiteX6053" fmla="*/ 245475 w 4493400"/>
              <a:gd name="connsiteY6053" fmla="*/ 2203903 h 4503132"/>
              <a:gd name="connsiteX6054" fmla="*/ 253265 w 4493400"/>
              <a:gd name="connsiteY6054" fmla="*/ 2199188 h 4503132"/>
              <a:gd name="connsiteX6055" fmla="*/ 268989 w 4493400"/>
              <a:gd name="connsiteY6055" fmla="*/ 2195290 h 4503132"/>
              <a:gd name="connsiteX6056" fmla="*/ 280001 w 4493400"/>
              <a:gd name="connsiteY6056" fmla="*/ 2206069 h 4503132"/>
              <a:gd name="connsiteX6057" fmla="*/ 285290 w 4493400"/>
              <a:gd name="connsiteY6057" fmla="*/ 2224451 h 4503132"/>
              <a:gd name="connsiteX6058" fmla="*/ 288704 w 4493400"/>
              <a:gd name="connsiteY6058" fmla="*/ 2265257 h 4503132"/>
              <a:gd name="connsiteX6059" fmla="*/ 288464 w 4493400"/>
              <a:gd name="connsiteY6059" fmla="*/ 2308469 h 4503132"/>
              <a:gd name="connsiteX6060" fmla="*/ 288224 w 4493400"/>
              <a:gd name="connsiteY6060" fmla="*/ 2353750 h 4503132"/>
              <a:gd name="connsiteX6061" fmla="*/ 289810 w 4493400"/>
              <a:gd name="connsiteY6061" fmla="*/ 2377280 h 4503132"/>
              <a:gd name="connsiteX6062" fmla="*/ 293176 w 4493400"/>
              <a:gd name="connsiteY6062" fmla="*/ 2400715 h 4503132"/>
              <a:gd name="connsiteX6063" fmla="*/ 313613 w 4493400"/>
              <a:gd name="connsiteY6063" fmla="*/ 2496811 h 4503132"/>
              <a:gd name="connsiteX6064" fmla="*/ 384347 w 4493400"/>
              <a:gd name="connsiteY6064" fmla="*/ 2696558 h 4503132"/>
              <a:gd name="connsiteX6065" fmla="*/ 436039 w 4493400"/>
              <a:gd name="connsiteY6065" fmla="*/ 2796455 h 4503132"/>
              <a:gd name="connsiteX6066" fmla="*/ 484654 w 4493400"/>
              <a:gd name="connsiteY6066" fmla="*/ 2900731 h 4503132"/>
              <a:gd name="connsiteX6067" fmla="*/ 500859 w 4493400"/>
              <a:gd name="connsiteY6067" fmla="*/ 2952990 h 4503132"/>
              <a:gd name="connsiteX6068" fmla="*/ 505620 w 4493400"/>
              <a:gd name="connsiteY6068" fmla="*/ 2979456 h 4503132"/>
              <a:gd name="connsiteX6069" fmla="*/ 506533 w 4493400"/>
              <a:gd name="connsiteY6069" fmla="*/ 2992689 h 4503132"/>
              <a:gd name="connsiteX6070" fmla="*/ 506870 w 4493400"/>
              <a:gd name="connsiteY6070" fmla="*/ 2999281 h 4503132"/>
              <a:gd name="connsiteX6071" fmla="*/ 506581 w 4493400"/>
              <a:gd name="connsiteY6071" fmla="*/ 3005585 h 4503132"/>
              <a:gd name="connsiteX6072" fmla="*/ 497589 w 4493400"/>
              <a:gd name="connsiteY6072" fmla="*/ 3026373 h 4503132"/>
              <a:gd name="connsiteX6073" fmla="*/ 475951 w 4493400"/>
              <a:gd name="connsiteY6073" fmla="*/ 3034409 h 4503132"/>
              <a:gd name="connsiteX6074" fmla="*/ 424835 w 4493400"/>
              <a:gd name="connsiteY6074" fmla="*/ 3029212 h 4503132"/>
              <a:gd name="connsiteX6075" fmla="*/ 373143 w 4493400"/>
              <a:gd name="connsiteY6075" fmla="*/ 3019540 h 4503132"/>
              <a:gd name="connsiteX6076" fmla="*/ 359583 w 4493400"/>
              <a:gd name="connsiteY6076" fmla="*/ 3018866 h 4503132"/>
              <a:gd name="connsiteX6077" fmla="*/ 352466 w 4493400"/>
              <a:gd name="connsiteY6077" fmla="*/ 3019588 h 4503132"/>
              <a:gd name="connsiteX6078" fmla="*/ 344580 w 4493400"/>
              <a:gd name="connsiteY6078" fmla="*/ 3022620 h 4503132"/>
              <a:gd name="connsiteX6079" fmla="*/ 334482 w 4493400"/>
              <a:gd name="connsiteY6079" fmla="*/ 3032773 h 4503132"/>
              <a:gd name="connsiteX6080" fmla="*/ 326885 w 4493400"/>
              <a:gd name="connsiteY6080" fmla="*/ 3043360 h 4503132"/>
              <a:gd name="connsiteX6081" fmla="*/ 312603 w 4493400"/>
              <a:gd name="connsiteY6081" fmla="*/ 3063714 h 4503132"/>
              <a:gd name="connsiteX6082" fmla="*/ 296302 w 4493400"/>
              <a:gd name="connsiteY6082" fmla="*/ 3080124 h 4503132"/>
              <a:gd name="connsiteX6083" fmla="*/ 286877 w 4493400"/>
              <a:gd name="connsiteY6083" fmla="*/ 3084166 h 4503132"/>
              <a:gd name="connsiteX6084" fmla="*/ 277164 w 4493400"/>
              <a:gd name="connsiteY6084" fmla="*/ 3083492 h 4503132"/>
              <a:gd name="connsiteX6085" fmla="*/ 259613 w 4493400"/>
              <a:gd name="connsiteY6085" fmla="*/ 3070981 h 4503132"/>
              <a:gd name="connsiteX6086" fmla="*/ 252255 w 4493400"/>
              <a:gd name="connsiteY6086" fmla="*/ 3062175 h 4503132"/>
              <a:gd name="connsiteX6087" fmla="*/ 246004 w 4493400"/>
              <a:gd name="connsiteY6087" fmla="*/ 3052695 h 4503132"/>
              <a:gd name="connsiteX6088" fmla="*/ 241244 w 4493400"/>
              <a:gd name="connsiteY6088" fmla="*/ 3042494 h 4503132"/>
              <a:gd name="connsiteX6089" fmla="*/ 237253 w 4493400"/>
              <a:gd name="connsiteY6089" fmla="*/ 3031618 h 4503132"/>
              <a:gd name="connsiteX6090" fmla="*/ 224269 w 4493400"/>
              <a:gd name="connsiteY6090" fmla="*/ 2987348 h 4503132"/>
              <a:gd name="connsiteX6091" fmla="*/ 204073 w 4493400"/>
              <a:gd name="connsiteY6091" fmla="*/ 2900972 h 4503132"/>
              <a:gd name="connsiteX6092" fmla="*/ 173731 w 4493400"/>
              <a:gd name="connsiteY6092" fmla="*/ 2744389 h 4503132"/>
              <a:gd name="connsiteX6093" fmla="*/ 138677 w 4493400"/>
              <a:gd name="connsiteY6093" fmla="*/ 2516107 h 4503132"/>
              <a:gd name="connsiteX6094" fmla="*/ 131993 w 4493400"/>
              <a:gd name="connsiteY6094" fmla="*/ 2453695 h 4503132"/>
              <a:gd name="connsiteX6095" fmla="*/ 131031 w 4493400"/>
              <a:gd name="connsiteY6095" fmla="*/ 2442628 h 4503132"/>
              <a:gd name="connsiteX6096" fmla="*/ 130310 w 4493400"/>
              <a:gd name="connsiteY6096" fmla="*/ 2422513 h 4503132"/>
              <a:gd name="connsiteX6097" fmla="*/ 130454 w 4493400"/>
              <a:gd name="connsiteY6097" fmla="*/ 2412071 h 4503132"/>
              <a:gd name="connsiteX6098" fmla="*/ 131993 w 4493400"/>
              <a:gd name="connsiteY6098" fmla="*/ 2355289 h 4503132"/>
              <a:gd name="connsiteX6099" fmla="*/ 508841 w 4493400"/>
              <a:gd name="connsiteY6099" fmla="*/ 3483659 h 4503132"/>
              <a:gd name="connsiteX6100" fmla="*/ 471046 w 4493400"/>
              <a:gd name="connsiteY6100" fmla="*/ 3454402 h 4503132"/>
              <a:gd name="connsiteX6101" fmla="*/ 408630 w 4493400"/>
              <a:gd name="connsiteY6101" fmla="*/ 3373753 h 4503132"/>
              <a:gd name="connsiteX6102" fmla="*/ 373432 w 4493400"/>
              <a:gd name="connsiteY6102" fmla="*/ 3269957 h 4503132"/>
              <a:gd name="connsiteX6103" fmla="*/ 373864 w 4493400"/>
              <a:gd name="connsiteY6103" fmla="*/ 3212213 h 4503132"/>
              <a:gd name="connsiteX6104" fmla="*/ 392714 w 4493400"/>
              <a:gd name="connsiteY6104" fmla="*/ 3156298 h 4503132"/>
              <a:gd name="connsiteX6105" fmla="*/ 412477 w 4493400"/>
              <a:gd name="connsiteY6105" fmla="*/ 3134547 h 4503132"/>
              <a:gd name="connsiteX6106" fmla="*/ 425557 w 4493400"/>
              <a:gd name="connsiteY6106" fmla="*/ 3129350 h 4503132"/>
              <a:gd name="connsiteX6107" fmla="*/ 440511 w 4493400"/>
              <a:gd name="connsiteY6107" fmla="*/ 3129976 h 4503132"/>
              <a:gd name="connsiteX6108" fmla="*/ 504033 w 4493400"/>
              <a:gd name="connsiteY6108" fmla="*/ 3141188 h 4503132"/>
              <a:gd name="connsiteX6109" fmla="*/ 537500 w 4493400"/>
              <a:gd name="connsiteY6109" fmla="*/ 3143016 h 4503132"/>
              <a:gd name="connsiteX6110" fmla="*/ 571112 w 4493400"/>
              <a:gd name="connsiteY6110" fmla="*/ 3134499 h 4503132"/>
              <a:gd name="connsiteX6111" fmla="*/ 593520 w 4493400"/>
              <a:gd name="connsiteY6111" fmla="*/ 3106878 h 4503132"/>
              <a:gd name="connsiteX6112" fmla="*/ 597271 w 4493400"/>
              <a:gd name="connsiteY6112" fmla="*/ 3071703 h 4503132"/>
              <a:gd name="connsiteX6113" fmla="*/ 562986 w 4493400"/>
              <a:gd name="connsiteY6113" fmla="*/ 2933501 h 4503132"/>
              <a:gd name="connsiteX6114" fmla="*/ 497205 w 4493400"/>
              <a:gd name="connsiteY6114" fmla="*/ 2799872 h 4503132"/>
              <a:gd name="connsiteX6115" fmla="*/ 429788 w 4493400"/>
              <a:gd name="connsiteY6115" fmla="*/ 2659986 h 4503132"/>
              <a:gd name="connsiteX6116" fmla="*/ 399398 w 4493400"/>
              <a:gd name="connsiteY6116" fmla="*/ 2586170 h 4503132"/>
              <a:gd name="connsiteX6117" fmla="*/ 375547 w 4493400"/>
              <a:gd name="connsiteY6117" fmla="*/ 2508552 h 4503132"/>
              <a:gd name="connsiteX6118" fmla="*/ 360929 w 4493400"/>
              <a:gd name="connsiteY6118" fmla="*/ 2427229 h 4503132"/>
              <a:gd name="connsiteX6119" fmla="*/ 357515 w 4493400"/>
              <a:gd name="connsiteY6119" fmla="*/ 2385509 h 4503132"/>
              <a:gd name="connsiteX6120" fmla="*/ 357034 w 4493400"/>
              <a:gd name="connsiteY6120" fmla="*/ 2364432 h 4503132"/>
              <a:gd name="connsiteX6121" fmla="*/ 356890 w 4493400"/>
              <a:gd name="connsiteY6121" fmla="*/ 2353846 h 4503132"/>
              <a:gd name="connsiteX6122" fmla="*/ 357082 w 4493400"/>
              <a:gd name="connsiteY6122" fmla="*/ 2343308 h 4503132"/>
              <a:gd name="connsiteX6123" fmla="*/ 370546 w 4493400"/>
              <a:gd name="connsiteY6123" fmla="*/ 2259434 h 4503132"/>
              <a:gd name="connsiteX6124" fmla="*/ 398052 w 4493400"/>
              <a:gd name="connsiteY6124" fmla="*/ 2176571 h 4503132"/>
              <a:gd name="connsiteX6125" fmla="*/ 423826 w 4493400"/>
              <a:gd name="connsiteY6125" fmla="*/ 2090821 h 4503132"/>
              <a:gd name="connsiteX6126" fmla="*/ 432048 w 4493400"/>
              <a:gd name="connsiteY6126" fmla="*/ 1999874 h 4503132"/>
              <a:gd name="connsiteX6127" fmla="*/ 430125 w 4493400"/>
              <a:gd name="connsiteY6127" fmla="*/ 1976536 h 4503132"/>
              <a:gd name="connsiteX6128" fmla="*/ 422143 w 4493400"/>
              <a:gd name="connsiteY6128" fmla="*/ 1953582 h 4503132"/>
              <a:gd name="connsiteX6129" fmla="*/ 406370 w 4493400"/>
              <a:gd name="connsiteY6129" fmla="*/ 1934671 h 4503132"/>
              <a:gd name="connsiteX6130" fmla="*/ 385020 w 4493400"/>
              <a:gd name="connsiteY6130" fmla="*/ 1922737 h 4503132"/>
              <a:gd name="connsiteX6131" fmla="*/ 337704 w 4493400"/>
              <a:gd name="connsiteY6131" fmla="*/ 1915664 h 4503132"/>
              <a:gd name="connsiteX6132" fmla="*/ 290580 w 4493400"/>
              <a:gd name="connsiteY6132" fmla="*/ 1922352 h 4503132"/>
              <a:gd name="connsiteX6133" fmla="*/ 245668 w 4493400"/>
              <a:gd name="connsiteY6133" fmla="*/ 1939002 h 4503132"/>
              <a:gd name="connsiteX6134" fmla="*/ 224895 w 4493400"/>
              <a:gd name="connsiteY6134" fmla="*/ 1951802 h 4503132"/>
              <a:gd name="connsiteX6135" fmla="*/ 215470 w 4493400"/>
              <a:gd name="connsiteY6135" fmla="*/ 1960030 h 4503132"/>
              <a:gd name="connsiteX6136" fmla="*/ 207295 w 4493400"/>
              <a:gd name="connsiteY6136" fmla="*/ 1969125 h 4503132"/>
              <a:gd name="connsiteX6137" fmla="*/ 155411 w 4493400"/>
              <a:gd name="connsiteY6137" fmla="*/ 2050400 h 4503132"/>
              <a:gd name="connsiteX6138" fmla="*/ 119394 w 4493400"/>
              <a:gd name="connsiteY6138" fmla="*/ 2141059 h 4503132"/>
              <a:gd name="connsiteX6139" fmla="*/ 110595 w 4493400"/>
              <a:gd name="connsiteY6139" fmla="*/ 2189467 h 4503132"/>
              <a:gd name="connsiteX6140" fmla="*/ 117807 w 4493400"/>
              <a:gd name="connsiteY6140" fmla="*/ 2144619 h 4503132"/>
              <a:gd name="connsiteX6141" fmla="*/ 144014 w 4493400"/>
              <a:gd name="connsiteY6141" fmla="*/ 2041402 h 4503132"/>
              <a:gd name="connsiteX6142" fmla="*/ 155459 w 4493400"/>
              <a:gd name="connsiteY6142" fmla="*/ 1986593 h 4503132"/>
              <a:gd name="connsiteX6143" fmla="*/ 157142 w 4493400"/>
              <a:gd name="connsiteY6143" fmla="*/ 1972301 h 4503132"/>
              <a:gd name="connsiteX6144" fmla="*/ 157815 w 4493400"/>
              <a:gd name="connsiteY6144" fmla="*/ 1957817 h 4503132"/>
              <a:gd name="connsiteX6145" fmla="*/ 157719 w 4493400"/>
              <a:gd name="connsiteY6145" fmla="*/ 1943236 h 4503132"/>
              <a:gd name="connsiteX6146" fmla="*/ 156565 w 4493400"/>
              <a:gd name="connsiteY6146" fmla="*/ 1928560 h 4503132"/>
              <a:gd name="connsiteX6147" fmla="*/ 137571 w 4493400"/>
              <a:gd name="connsiteY6147" fmla="*/ 1871874 h 4503132"/>
              <a:gd name="connsiteX6148" fmla="*/ 120308 w 4493400"/>
              <a:gd name="connsiteY6148" fmla="*/ 1847333 h 4503132"/>
              <a:gd name="connsiteX6149" fmla="*/ 106219 w 4493400"/>
              <a:gd name="connsiteY6149" fmla="*/ 1823129 h 4503132"/>
              <a:gd name="connsiteX6150" fmla="*/ 103141 w 4493400"/>
              <a:gd name="connsiteY6150" fmla="*/ 1809270 h 4503132"/>
              <a:gd name="connsiteX6151" fmla="*/ 101314 w 4493400"/>
              <a:gd name="connsiteY6151" fmla="*/ 1794641 h 4503132"/>
              <a:gd name="connsiteX6152" fmla="*/ 99727 w 4493400"/>
              <a:gd name="connsiteY6152" fmla="*/ 1764711 h 4503132"/>
              <a:gd name="connsiteX6153" fmla="*/ 101554 w 4493400"/>
              <a:gd name="connsiteY6153" fmla="*/ 1703598 h 4503132"/>
              <a:gd name="connsiteX6154" fmla="*/ 104103 w 4493400"/>
              <a:gd name="connsiteY6154" fmla="*/ 1669481 h 4503132"/>
              <a:gd name="connsiteX6155" fmla="*/ 103911 w 4493400"/>
              <a:gd name="connsiteY6155" fmla="*/ 1698112 h 4503132"/>
              <a:gd name="connsiteX6156" fmla="*/ 106026 w 4493400"/>
              <a:gd name="connsiteY6156" fmla="*/ 1743249 h 4503132"/>
              <a:gd name="connsiteX6157" fmla="*/ 107565 w 4493400"/>
              <a:gd name="connsiteY6157" fmla="*/ 1754605 h 4503132"/>
              <a:gd name="connsiteX6158" fmla="*/ 108094 w 4493400"/>
              <a:gd name="connsiteY6158" fmla="*/ 1757445 h 4503132"/>
              <a:gd name="connsiteX6159" fmla="*/ 108335 w 4493400"/>
              <a:gd name="connsiteY6159" fmla="*/ 1758359 h 4503132"/>
              <a:gd name="connsiteX6160" fmla="*/ 108335 w 4493400"/>
              <a:gd name="connsiteY6160" fmla="*/ 1757396 h 4503132"/>
              <a:gd name="connsiteX6161" fmla="*/ 108046 w 4493400"/>
              <a:gd name="connsiteY6161" fmla="*/ 1754509 h 4503132"/>
              <a:gd name="connsiteX6162" fmla="*/ 106892 w 4493400"/>
              <a:gd name="connsiteY6162" fmla="*/ 1743153 h 4503132"/>
              <a:gd name="connsiteX6163" fmla="*/ 105594 w 4493400"/>
              <a:gd name="connsiteY6163" fmla="*/ 1698112 h 4503132"/>
              <a:gd name="connsiteX6164" fmla="*/ 108335 w 4493400"/>
              <a:gd name="connsiteY6164" fmla="*/ 1624392 h 4503132"/>
              <a:gd name="connsiteX6165" fmla="*/ 108575 w 4493400"/>
              <a:gd name="connsiteY6165" fmla="*/ 1621120 h 4503132"/>
              <a:gd name="connsiteX6166" fmla="*/ 112710 w 4493400"/>
              <a:gd name="connsiteY6166" fmla="*/ 1578293 h 4503132"/>
              <a:gd name="connsiteX6167" fmla="*/ 112710 w 4493400"/>
              <a:gd name="connsiteY6167" fmla="*/ 1578293 h 4503132"/>
              <a:gd name="connsiteX6168" fmla="*/ 112807 w 4493400"/>
              <a:gd name="connsiteY6168" fmla="*/ 1577283 h 4503132"/>
              <a:gd name="connsiteX6169" fmla="*/ 114297 w 4493400"/>
              <a:gd name="connsiteY6169" fmla="*/ 1564483 h 4503132"/>
              <a:gd name="connsiteX6170" fmla="*/ 115115 w 4493400"/>
              <a:gd name="connsiteY6170" fmla="*/ 1558179 h 4503132"/>
              <a:gd name="connsiteX6171" fmla="*/ 117230 w 4493400"/>
              <a:gd name="connsiteY6171" fmla="*/ 1551827 h 4503132"/>
              <a:gd name="connsiteX6172" fmla="*/ 119923 w 4493400"/>
              <a:gd name="connsiteY6172" fmla="*/ 1543791 h 4503132"/>
              <a:gd name="connsiteX6173" fmla="*/ 115307 w 4493400"/>
              <a:gd name="connsiteY6173" fmla="*/ 1589457 h 4503132"/>
              <a:gd name="connsiteX6174" fmla="*/ 114490 w 4493400"/>
              <a:gd name="connsiteY6174" fmla="*/ 1624970 h 4503132"/>
              <a:gd name="connsiteX6175" fmla="*/ 117856 w 4493400"/>
              <a:gd name="connsiteY6175" fmla="*/ 1662215 h 4503132"/>
              <a:gd name="connsiteX6176" fmla="*/ 138965 w 4493400"/>
              <a:gd name="connsiteY6176" fmla="*/ 1739496 h 4503132"/>
              <a:gd name="connsiteX6177" fmla="*/ 160700 w 4493400"/>
              <a:gd name="connsiteY6177" fmla="*/ 1776644 h 4503132"/>
              <a:gd name="connsiteX6178" fmla="*/ 177530 w 4493400"/>
              <a:gd name="connsiteY6178" fmla="*/ 1791706 h 4503132"/>
              <a:gd name="connsiteX6179" fmla="*/ 199794 w 4493400"/>
              <a:gd name="connsiteY6179" fmla="*/ 1798635 h 4503132"/>
              <a:gd name="connsiteX6180" fmla="*/ 222827 w 4493400"/>
              <a:gd name="connsiteY6180" fmla="*/ 1793438 h 4503132"/>
              <a:gd name="connsiteX6181" fmla="*/ 233454 w 4493400"/>
              <a:gd name="connsiteY6181" fmla="*/ 1788241 h 4503132"/>
              <a:gd name="connsiteX6182" fmla="*/ 243504 w 4493400"/>
              <a:gd name="connsiteY6182" fmla="*/ 1781938 h 4503132"/>
              <a:gd name="connsiteX6183" fmla="*/ 280578 w 4493400"/>
              <a:gd name="connsiteY6183" fmla="*/ 1751333 h 4503132"/>
              <a:gd name="connsiteX6184" fmla="*/ 348235 w 4493400"/>
              <a:gd name="connsiteY6184" fmla="*/ 1676795 h 4503132"/>
              <a:gd name="connsiteX6185" fmla="*/ 480471 w 4493400"/>
              <a:gd name="connsiteY6185" fmla="*/ 1500290 h 4503132"/>
              <a:gd name="connsiteX6186" fmla="*/ 618044 w 4493400"/>
              <a:gd name="connsiteY6186" fmla="*/ 1297512 h 4503132"/>
              <a:gd name="connsiteX6187" fmla="*/ 658148 w 4493400"/>
              <a:gd name="connsiteY6187" fmla="*/ 1246649 h 4503132"/>
              <a:gd name="connsiteX6188" fmla="*/ 704166 w 4493400"/>
              <a:gd name="connsiteY6188" fmla="*/ 1199636 h 4503132"/>
              <a:gd name="connsiteX6189" fmla="*/ 731382 w 4493400"/>
              <a:gd name="connsiteY6189" fmla="*/ 1181446 h 4503132"/>
              <a:gd name="connsiteX6190" fmla="*/ 746578 w 4493400"/>
              <a:gd name="connsiteY6190" fmla="*/ 1176490 h 4503132"/>
              <a:gd name="connsiteX6191" fmla="*/ 762350 w 4493400"/>
              <a:gd name="connsiteY6191" fmla="*/ 1176490 h 4503132"/>
              <a:gd name="connsiteX6192" fmla="*/ 777112 w 4493400"/>
              <a:gd name="connsiteY6192" fmla="*/ 1182120 h 4503132"/>
              <a:gd name="connsiteX6193" fmla="*/ 789903 w 4493400"/>
              <a:gd name="connsiteY6193" fmla="*/ 1192273 h 4503132"/>
              <a:gd name="connsiteX6194" fmla="*/ 810820 w 4493400"/>
              <a:gd name="connsiteY6194" fmla="*/ 1219076 h 4503132"/>
              <a:gd name="connsiteX6195" fmla="*/ 850828 w 4493400"/>
              <a:gd name="connsiteY6195" fmla="*/ 1277879 h 4503132"/>
              <a:gd name="connsiteX6196" fmla="*/ 879439 w 4493400"/>
              <a:gd name="connsiteY6196" fmla="*/ 1301458 h 4503132"/>
              <a:gd name="connsiteX6197" fmla="*/ 915214 w 4493400"/>
              <a:gd name="connsiteY6197" fmla="*/ 1311707 h 4503132"/>
              <a:gd name="connsiteX6198" fmla="*/ 988738 w 4493400"/>
              <a:gd name="connsiteY6198" fmla="*/ 1317723 h 4503132"/>
              <a:gd name="connsiteX6199" fmla="*/ 1062982 w 4493400"/>
              <a:gd name="connsiteY6199" fmla="*/ 1322535 h 4503132"/>
              <a:gd name="connsiteX6200" fmla="*/ 1099912 w 4493400"/>
              <a:gd name="connsiteY6200" fmla="*/ 1328309 h 4503132"/>
              <a:gd name="connsiteX6201" fmla="*/ 1109049 w 4493400"/>
              <a:gd name="connsiteY6201" fmla="*/ 1330330 h 4503132"/>
              <a:gd name="connsiteX6202" fmla="*/ 1118041 w 4493400"/>
              <a:gd name="connsiteY6202" fmla="*/ 1332880 h 4503132"/>
              <a:gd name="connsiteX6203" fmla="*/ 1135159 w 4493400"/>
              <a:gd name="connsiteY6203" fmla="*/ 1339425 h 4503132"/>
              <a:gd name="connsiteX6204" fmla="*/ 1196517 w 4493400"/>
              <a:gd name="connsiteY6204" fmla="*/ 1384465 h 4503132"/>
              <a:gd name="connsiteX6205" fmla="*/ 1255951 w 4493400"/>
              <a:gd name="connsiteY6205" fmla="*/ 1435906 h 4503132"/>
              <a:gd name="connsiteX6206" fmla="*/ 1287928 w 4493400"/>
              <a:gd name="connsiteY6206" fmla="*/ 1460158 h 4503132"/>
              <a:gd name="connsiteX6207" fmla="*/ 1324761 w 4493400"/>
              <a:gd name="connsiteY6207" fmla="*/ 1478685 h 4503132"/>
              <a:gd name="connsiteX6208" fmla="*/ 1346737 w 4493400"/>
              <a:gd name="connsiteY6208" fmla="*/ 1479647 h 4503132"/>
              <a:gd name="connsiteX6209" fmla="*/ 1366163 w 4493400"/>
              <a:gd name="connsiteY6209" fmla="*/ 1469782 h 4503132"/>
              <a:gd name="connsiteX6210" fmla="*/ 1395400 w 4493400"/>
              <a:gd name="connsiteY6210" fmla="*/ 1440236 h 4503132"/>
              <a:gd name="connsiteX6211" fmla="*/ 1442524 w 4493400"/>
              <a:gd name="connsiteY6211" fmla="*/ 1372339 h 4503132"/>
              <a:gd name="connsiteX6212" fmla="*/ 1485368 w 4493400"/>
              <a:gd name="connsiteY6212" fmla="*/ 1300784 h 4503132"/>
              <a:gd name="connsiteX6213" fmla="*/ 1507439 w 4493400"/>
              <a:gd name="connsiteY6213" fmla="*/ 1265272 h 4503132"/>
              <a:gd name="connsiteX6214" fmla="*/ 1531530 w 4493400"/>
              <a:gd name="connsiteY6214" fmla="*/ 1230481 h 4503132"/>
              <a:gd name="connsiteX6215" fmla="*/ 1635588 w 4493400"/>
              <a:gd name="connsiteY6215" fmla="*/ 1093868 h 4503132"/>
              <a:gd name="connsiteX6216" fmla="*/ 1695214 w 4493400"/>
              <a:gd name="connsiteY6216" fmla="*/ 1030060 h 4503132"/>
              <a:gd name="connsiteX6217" fmla="*/ 1761188 w 4493400"/>
              <a:gd name="connsiteY6217" fmla="*/ 971113 h 4503132"/>
              <a:gd name="connsiteX6218" fmla="*/ 1831057 w 4493400"/>
              <a:gd name="connsiteY6218" fmla="*/ 914764 h 4503132"/>
              <a:gd name="connsiteX6219" fmla="*/ 1901118 w 4493400"/>
              <a:gd name="connsiteY6219" fmla="*/ 856395 h 4503132"/>
              <a:gd name="connsiteX6220" fmla="*/ 1962812 w 4493400"/>
              <a:gd name="connsiteY6220" fmla="*/ 786909 h 4503132"/>
              <a:gd name="connsiteX6221" fmla="*/ 1982335 w 4493400"/>
              <a:gd name="connsiteY6221" fmla="*/ 743505 h 4503132"/>
              <a:gd name="connsiteX6222" fmla="*/ 1985364 w 4493400"/>
              <a:gd name="connsiteY6222" fmla="*/ 695384 h 4503132"/>
              <a:gd name="connsiteX6223" fmla="*/ 1966611 w 4493400"/>
              <a:gd name="connsiteY6223" fmla="*/ 650392 h 4503132"/>
              <a:gd name="connsiteX6224" fmla="*/ 1930066 w 4493400"/>
              <a:gd name="connsiteY6224" fmla="*/ 618296 h 4503132"/>
              <a:gd name="connsiteX6225" fmla="*/ 1838462 w 4493400"/>
              <a:gd name="connsiteY6225" fmla="*/ 589231 h 4503132"/>
              <a:gd name="connsiteX6226" fmla="*/ 1741906 w 4493400"/>
              <a:gd name="connsiteY6226" fmla="*/ 588365 h 4503132"/>
              <a:gd name="connsiteX6227" fmla="*/ 1646263 w 4493400"/>
              <a:gd name="connsiteY6227" fmla="*/ 606218 h 4503132"/>
              <a:gd name="connsiteX6228" fmla="*/ 1558939 w 4493400"/>
              <a:gd name="connsiteY6228" fmla="*/ 640046 h 4503132"/>
              <a:gd name="connsiteX6229" fmla="*/ 1595196 w 4493400"/>
              <a:gd name="connsiteY6229" fmla="*/ 619547 h 4503132"/>
              <a:gd name="connsiteX6230" fmla="*/ 1649629 w 4493400"/>
              <a:gd name="connsiteY6230" fmla="*/ 591252 h 4503132"/>
              <a:gd name="connsiteX6231" fmla="*/ 1677471 w 4493400"/>
              <a:gd name="connsiteY6231" fmla="*/ 579415 h 4503132"/>
              <a:gd name="connsiteX6232" fmla="*/ 1691560 w 4493400"/>
              <a:gd name="connsiteY6232" fmla="*/ 575084 h 4503132"/>
              <a:gd name="connsiteX6233" fmla="*/ 1706370 w 4493400"/>
              <a:gd name="connsiteY6233" fmla="*/ 572004 h 4503132"/>
              <a:gd name="connsiteX6234" fmla="*/ 1826393 w 4493400"/>
              <a:gd name="connsiteY6234" fmla="*/ 561081 h 4503132"/>
              <a:gd name="connsiteX6235" fmla="*/ 1944059 w 4493400"/>
              <a:gd name="connsiteY6235" fmla="*/ 577201 h 4503132"/>
              <a:gd name="connsiteX6236" fmla="*/ 1998347 w 4493400"/>
              <a:gd name="connsiteY6236" fmla="*/ 598952 h 4503132"/>
              <a:gd name="connsiteX6237" fmla="*/ 2022487 w 4493400"/>
              <a:gd name="connsiteY6237" fmla="*/ 614783 h 4503132"/>
              <a:gd name="connsiteX6238" fmla="*/ 2033306 w 4493400"/>
              <a:gd name="connsiteY6238" fmla="*/ 624118 h 4503132"/>
              <a:gd name="connsiteX6239" fmla="*/ 2042779 w 4493400"/>
              <a:gd name="connsiteY6239" fmla="*/ 634657 h 4503132"/>
              <a:gd name="connsiteX6240" fmla="*/ 2050857 w 4493400"/>
              <a:gd name="connsiteY6240" fmla="*/ 646158 h 4503132"/>
              <a:gd name="connsiteX6241" fmla="*/ 2056868 w 4493400"/>
              <a:gd name="connsiteY6241" fmla="*/ 658765 h 4503132"/>
              <a:gd name="connsiteX6242" fmla="*/ 2062542 w 4493400"/>
              <a:gd name="connsiteY6242" fmla="*/ 685953 h 4503132"/>
              <a:gd name="connsiteX6243" fmla="*/ 2062879 w 4493400"/>
              <a:gd name="connsiteY6243" fmla="*/ 693027 h 4503132"/>
              <a:gd name="connsiteX6244" fmla="*/ 2062638 w 4493400"/>
              <a:gd name="connsiteY6244" fmla="*/ 700100 h 4503132"/>
              <a:gd name="connsiteX6245" fmla="*/ 2061244 w 4493400"/>
              <a:gd name="connsiteY6245" fmla="*/ 714151 h 4503132"/>
              <a:gd name="connsiteX6246" fmla="*/ 2053646 w 4493400"/>
              <a:gd name="connsiteY6246" fmla="*/ 741291 h 4503132"/>
              <a:gd name="connsiteX6247" fmla="*/ 2023833 w 4493400"/>
              <a:gd name="connsiteY6247" fmla="*/ 789219 h 4503132"/>
              <a:gd name="connsiteX6248" fmla="*/ 1982720 w 4493400"/>
              <a:gd name="connsiteY6248" fmla="*/ 828677 h 4503132"/>
              <a:gd name="connsiteX6249" fmla="*/ 1889000 w 4493400"/>
              <a:gd name="connsiteY6249" fmla="*/ 893784 h 4503132"/>
              <a:gd name="connsiteX6250" fmla="*/ 1795762 w 4493400"/>
              <a:gd name="connsiteY6250" fmla="*/ 958987 h 4503132"/>
              <a:gd name="connsiteX6251" fmla="*/ 1713776 w 4493400"/>
              <a:gd name="connsiteY6251" fmla="*/ 1035353 h 4503132"/>
              <a:gd name="connsiteX6252" fmla="*/ 1575577 w 4493400"/>
              <a:gd name="connsiteY6252" fmla="*/ 1205218 h 4503132"/>
              <a:gd name="connsiteX6253" fmla="*/ 1523885 w 4493400"/>
              <a:gd name="connsiteY6253" fmla="*/ 1299196 h 4503132"/>
              <a:gd name="connsiteX6254" fmla="*/ 1504987 w 4493400"/>
              <a:gd name="connsiteY6254" fmla="*/ 1348952 h 4503132"/>
              <a:gd name="connsiteX6255" fmla="*/ 1492292 w 4493400"/>
              <a:gd name="connsiteY6255" fmla="*/ 1400008 h 4503132"/>
              <a:gd name="connsiteX6256" fmla="*/ 1456997 w 4493400"/>
              <a:gd name="connsiteY6256" fmla="*/ 1601343 h 4503132"/>
              <a:gd name="connsiteX6257" fmla="*/ 1443533 w 4493400"/>
              <a:gd name="connsiteY6257" fmla="*/ 1648982 h 4503132"/>
              <a:gd name="connsiteX6258" fmla="*/ 1423818 w 4493400"/>
              <a:gd name="connsiteY6258" fmla="*/ 1693445 h 4503132"/>
              <a:gd name="connsiteX6259" fmla="*/ 1394582 w 4493400"/>
              <a:gd name="connsiteY6259" fmla="*/ 1730882 h 4503132"/>
              <a:gd name="connsiteX6260" fmla="*/ 1354863 w 4493400"/>
              <a:gd name="connsiteY6260" fmla="*/ 1755231 h 4503132"/>
              <a:gd name="connsiteX6261" fmla="*/ 1343755 w 4493400"/>
              <a:gd name="connsiteY6261" fmla="*/ 1758840 h 4503132"/>
              <a:gd name="connsiteX6262" fmla="*/ 1332311 w 4493400"/>
              <a:gd name="connsiteY6262" fmla="*/ 1761294 h 4503132"/>
              <a:gd name="connsiteX6263" fmla="*/ 1309422 w 4493400"/>
              <a:gd name="connsiteY6263" fmla="*/ 1763171 h 4503132"/>
              <a:gd name="connsiteX6264" fmla="*/ 1268212 w 4493400"/>
              <a:gd name="connsiteY6264" fmla="*/ 1747628 h 4503132"/>
              <a:gd name="connsiteX6265" fmla="*/ 1242246 w 4493400"/>
              <a:gd name="connsiteY6265" fmla="*/ 1710960 h 4503132"/>
              <a:gd name="connsiteX6266" fmla="*/ 1227676 w 4493400"/>
              <a:gd name="connsiteY6266" fmla="*/ 1667556 h 4503132"/>
              <a:gd name="connsiteX6267" fmla="*/ 1210606 w 4493400"/>
              <a:gd name="connsiteY6267" fmla="*/ 1577860 h 4503132"/>
              <a:gd name="connsiteX6268" fmla="*/ 1201373 w 4493400"/>
              <a:gd name="connsiteY6268" fmla="*/ 1533445 h 4503132"/>
              <a:gd name="connsiteX6269" fmla="*/ 1194401 w 4493400"/>
              <a:gd name="connsiteY6269" fmla="*/ 1511791 h 4503132"/>
              <a:gd name="connsiteX6270" fmla="*/ 1189881 w 4493400"/>
              <a:gd name="connsiteY6270" fmla="*/ 1501397 h 4503132"/>
              <a:gd name="connsiteX6271" fmla="*/ 1185120 w 4493400"/>
              <a:gd name="connsiteY6271" fmla="*/ 1491244 h 4503132"/>
              <a:gd name="connsiteX6272" fmla="*/ 1131264 w 4493400"/>
              <a:gd name="connsiteY6272" fmla="*/ 1421229 h 4503132"/>
              <a:gd name="connsiteX6273" fmla="*/ 1093324 w 4493400"/>
              <a:gd name="connsiteY6273" fmla="*/ 1399382 h 4503132"/>
              <a:gd name="connsiteX6274" fmla="*/ 1051971 w 4493400"/>
              <a:gd name="connsiteY6274" fmla="*/ 1387689 h 4503132"/>
              <a:gd name="connsiteX6275" fmla="*/ 969263 w 4493400"/>
              <a:gd name="connsiteY6275" fmla="*/ 1377680 h 4503132"/>
              <a:gd name="connsiteX6276" fmla="*/ 889873 w 4493400"/>
              <a:gd name="connsiteY6276" fmla="*/ 1365217 h 4503132"/>
              <a:gd name="connsiteX6277" fmla="*/ 852030 w 4493400"/>
              <a:gd name="connsiteY6277" fmla="*/ 1354823 h 4503132"/>
              <a:gd name="connsiteX6278" fmla="*/ 817985 w 4493400"/>
              <a:gd name="connsiteY6278" fmla="*/ 1338077 h 4503132"/>
              <a:gd name="connsiteX6279" fmla="*/ 764081 w 4493400"/>
              <a:gd name="connsiteY6279" fmla="*/ 1285626 h 4503132"/>
              <a:gd name="connsiteX6280" fmla="*/ 735085 w 4493400"/>
              <a:gd name="connsiteY6280" fmla="*/ 1260748 h 4503132"/>
              <a:gd name="connsiteX6281" fmla="*/ 715947 w 4493400"/>
              <a:gd name="connsiteY6281" fmla="*/ 1256129 h 4503132"/>
              <a:gd name="connsiteX6282" fmla="*/ 697145 w 4493400"/>
              <a:gd name="connsiteY6282" fmla="*/ 1260171 h 4503132"/>
              <a:gd name="connsiteX6283" fmla="*/ 665601 w 4493400"/>
              <a:gd name="connsiteY6283" fmla="*/ 1279082 h 4503132"/>
              <a:gd name="connsiteX6284" fmla="*/ 639010 w 4493400"/>
              <a:gd name="connsiteY6284" fmla="*/ 1303046 h 4503132"/>
              <a:gd name="connsiteX6285" fmla="*/ 593569 w 4493400"/>
              <a:gd name="connsiteY6285" fmla="*/ 1355449 h 4503132"/>
              <a:gd name="connsiteX6286" fmla="*/ 553898 w 4493400"/>
              <a:gd name="connsiteY6286" fmla="*/ 1409103 h 4503132"/>
              <a:gd name="connsiteX6287" fmla="*/ 483789 w 4493400"/>
              <a:gd name="connsiteY6287" fmla="*/ 1513379 h 4503132"/>
              <a:gd name="connsiteX6288" fmla="*/ 450802 w 4493400"/>
              <a:gd name="connsiteY6288" fmla="*/ 1562077 h 4503132"/>
              <a:gd name="connsiteX6289" fmla="*/ 416517 w 4493400"/>
              <a:gd name="connsiteY6289" fmla="*/ 1606492 h 4503132"/>
              <a:gd name="connsiteX6290" fmla="*/ 350735 w 4493400"/>
              <a:gd name="connsiteY6290" fmla="*/ 1687670 h 4503132"/>
              <a:gd name="connsiteX6291" fmla="*/ 297745 w 4493400"/>
              <a:gd name="connsiteY6291" fmla="*/ 1764759 h 4503132"/>
              <a:gd name="connsiteX6292" fmla="*/ 255189 w 4493400"/>
              <a:gd name="connsiteY6292" fmla="*/ 1834774 h 4503132"/>
              <a:gd name="connsiteX6293" fmla="*/ 233694 w 4493400"/>
              <a:gd name="connsiteY6293" fmla="*/ 1864127 h 4503132"/>
              <a:gd name="connsiteX6294" fmla="*/ 230857 w 4493400"/>
              <a:gd name="connsiteY6294" fmla="*/ 1867351 h 4503132"/>
              <a:gd name="connsiteX6295" fmla="*/ 227780 w 4493400"/>
              <a:gd name="connsiteY6295" fmla="*/ 1870286 h 4503132"/>
              <a:gd name="connsiteX6296" fmla="*/ 221384 w 4493400"/>
              <a:gd name="connsiteY6296" fmla="*/ 1875387 h 4503132"/>
              <a:gd name="connsiteX6297" fmla="*/ 206430 w 4493400"/>
              <a:gd name="connsiteY6297" fmla="*/ 1879140 h 4503132"/>
              <a:gd name="connsiteX6298" fmla="*/ 179117 w 4493400"/>
              <a:gd name="connsiteY6298" fmla="*/ 1868073 h 4503132"/>
              <a:gd name="connsiteX6299" fmla="*/ 158921 w 4493400"/>
              <a:gd name="connsiteY6299" fmla="*/ 1849691 h 4503132"/>
              <a:gd name="connsiteX6300" fmla="*/ 131849 w 4493400"/>
              <a:gd name="connsiteY6300" fmla="*/ 1812975 h 4503132"/>
              <a:gd name="connsiteX6301" fmla="*/ 116701 w 4493400"/>
              <a:gd name="connsiteY6301" fmla="*/ 1783574 h 4503132"/>
              <a:gd name="connsiteX6302" fmla="*/ 110018 w 4493400"/>
              <a:gd name="connsiteY6302" fmla="*/ 1764663 h 4503132"/>
              <a:gd name="connsiteX6303" fmla="*/ 108286 w 4493400"/>
              <a:gd name="connsiteY6303" fmla="*/ 1758118 h 4503132"/>
              <a:gd name="connsiteX6304" fmla="*/ 108479 w 4493400"/>
              <a:gd name="connsiteY6304" fmla="*/ 1759802 h 4503132"/>
              <a:gd name="connsiteX6305" fmla="*/ 109489 w 4493400"/>
              <a:gd name="connsiteY6305" fmla="*/ 1764807 h 4503132"/>
              <a:gd name="connsiteX6306" fmla="*/ 115740 w 4493400"/>
              <a:gd name="connsiteY6306" fmla="*/ 1784007 h 4503132"/>
              <a:gd name="connsiteX6307" fmla="*/ 130454 w 4493400"/>
              <a:gd name="connsiteY6307" fmla="*/ 1813793 h 4503132"/>
              <a:gd name="connsiteX6308" fmla="*/ 157334 w 4493400"/>
              <a:gd name="connsiteY6308" fmla="*/ 1851086 h 4503132"/>
              <a:gd name="connsiteX6309" fmla="*/ 177722 w 4493400"/>
              <a:gd name="connsiteY6309" fmla="*/ 1869950 h 4503132"/>
              <a:gd name="connsiteX6310" fmla="*/ 206333 w 4493400"/>
              <a:gd name="connsiteY6310" fmla="*/ 1881739 h 4503132"/>
              <a:gd name="connsiteX6311" fmla="*/ 222827 w 4493400"/>
              <a:gd name="connsiteY6311" fmla="*/ 1877745 h 4503132"/>
              <a:gd name="connsiteX6312" fmla="*/ 229751 w 4493400"/>
              <a:gd name="connsiteY6312" fmla="*/ 1872356 h 4503132"/>
              <a:gd name="connsiteX6313" fmla="*/ 232973 w 4493400"/>
              <a:gd name="connsiteY6313" fmla="*/ 1869324 h 4503132"/>
              <a:gd name="connsiteX6314" fmla="*/ 235906 w 4493400"/>
              <a:gd name="connsiteY6314" fmla="*/ 1866004 h 4503132"/>
              <a:gd name="connsiteX6315" fmla="*/ 257881 w 4493400"/>
              <a:gd name="connsiteY6315" fmla="*/ 1836458 h 4503132"/>
              <a:gd name="connsiteX6316" fmla="*/ 354053 w 4493400"/>
              <a:gd name="connsiteY6316" fmla="*/ 1690125 h 4503132"/>
              <a:gd name="connsiteX6317" fmla="*/ 420123 w 4493400"/>
              <a:gd name="connsiteY6317" fmla="*/ 1609331 h 4503132"/>
              <a:gd name="connsiteX6318" fmla="*/ 454745 w 4493400"/>
              <a:gd name="connsiteY6318" fmla="*/ 1564820 h 4503132"/>
              <a:gd name="connsiteX6319" fmla="*/ 488020 w 4493400"/>
              <a:gd name="connsiteY6319" fmla="*/ 1516122 h 4503132"/>
              <a:gd name="connsiteX6320" fmla="*/ 558418 w 4493400"/>
              <a:gd name="connsiteY6320" fmla="*/ 1412182 h 4503132"/>
              <a:gd name="connsiteX6321" fmla="*/ 598089 w 4493400"/>
              <a:gd name="connsiteY6321" fmla="*/ 1358913 h 4503132"/>
              <a:gd name="connsiteX6322" fmla="*/ 643241 w 4493400"/>
              <a:gd name="connsiteY6322" fmla="*/ 1307184 h 4503132"/>
              <a:gd name="connsiteX6323" fmla="*/ 669304 w 4493400"/>
              <a:gd name="connsiteY6323" fmla="*/ 1283798 h 4503132"/>
              <a:gd name="connsiteX6324" fmla="*/ 699357 w 4493400"/>
              <a:gd name="connsiteY6324" fmla="*/ 1265849 h 4503132"/>
              <a:gd name="connsiteX6325" fmla="*/ 732248 w 4493400"/>
              <a:gd name="connsiteY6325" fmla="*/ 1266282 h 4503132"/>
              <a:gd name="connsiteX6326" fmla="*/ 759320 w 4493400"/>
              <a:gd name="connsiteY6326" fmla="*/ 1289813 h 4503132"/>
              <a:gd name="connsiteX6327" fmla="*/ 814282 w 4493400"/>
              <a:gd name="connsiteY6327" fmla="*/ 1343467 h 4503132"/>
              <a:gd name="connsiteX6328" fmla="*/ 849962 w 4493400"/>
              <a:gd name="connsiteY6328" fmla="*/ 1361079 h 4503132"/>
              <a:gd name="connsiteX6329" fmla="*/ 888335 w 4493400"/>
              <a:gd name="connsiteY6329" fmla="*/ 1371762 h 4503132"/>
              <a:gd name="connsiteX6330" fmla="*/ 968494 w 4493400"/>
              <a:gd name="connsiteY6330" fmla="*/ 1384561 h 4503132"/>
              <a:gd name="connsiteX6331" fmla="*/ 1050576 w 4493400"/>
              <a:gd name="connsiteY6331" fmla="*/ 1394667 h 4503132"/>
              <a:gd name="connsiteX6332" fmla="*/ 1090583 w 4493400"/>
              <a:gd name="connsiteY6332" fmla="*/ 1406071 h 4503132"/>
              <a:gd name="connsiteX6333" fmla="*/ 1126696 w 4493400"/>
              <a:gd name="connsiteY6333" fmla="*/ 1426955 h 4503132"/>
              <a:gd name="connsiteX6334" fmla="*/ 1178340 w 4493400"/>
              <a:gd name="connsiteY6334" fmla="*/ 1494564 h 4503132"/>
              <a:gd name="connsiteX6335" fmla="*/ 1183004 w 4493400"/>
              <a:gd name="connsiteY6335" fmla="*/ 1504477 h 4503132"/>
              <a:gd name="connsiteX6336" fmla="*/ 1187332 w 4493400"/>
              <a:gd name="connsiteY6336" fmla="*/ 1514486 h 4503132"/>
              <a:gd name="connsiteX6337" fmla="*/ 1193968 w 4493400"/>
              <a:gd name="connsiteY6337" fmla="*/ 1535322 h 4503132"/>
              <a:gd name="connsiteX6338" fmla="*/ 1203008 w 4493400"/>
              <a:gd name="connsiteY6338" fmla="*/ 1579111 h 4503132"/>
              <a:gd name="connsiteX6339" fmla="*/ 1219982 w 4493400"/>
              <a:gd name="connsiteY6339" fmla="*/ 1669433 h 4503132"/>
              <a:gd name="connsiteX6340" fmla="*/ 1234937 w 4493400"/>
              <a:gd name="connsiteY6340" fmla="*/ 1714233 h 4503132"/>
              <a:gd name="connsiteX6341" fmla="*/ 1262971 w 4493400"/>
              <a:gd name="connsiteY6341" fmla="*/ 1753739 h 4503132"/>
              <a:gd name="connsiteX6342" fmla="*/ 1309037 w 4493400"/>
              <a:gd name="connsiteY6342" fmla="*/ 1771255 h 4503132"/>
              <a:gd name="connsiteX6343" fmla="*/ 1333753 w 4493400"/>
              <a:gd name="connsiteY6343" fmla="*/ 1769282 h 4503132"/>
              <a:gd name="connsiteX6344" fmla="*/ 1345823 w 4493400"/>
              <a:gd name="connsiteY6344" fmla="*/ 1766732 h 4503132"/>
              <a:gd name="connsiteX6345" fmla="*/ 1357652 w 4493400"/>
              <a:gd name="connsiteY6345" fmla="*/ 1762930 h 4503132"/>
              <a:gd name="connsiteX6346" fmla="*/ 1400112 w 4493400"/>
              <a:gd name="connsiteY6346" fmla="*/ 1736993 h 4503132"/>
              <a:gd name="connsiteX6347" fmla="*/ 1431031 w 4493400"/>
              <a:gd name="connsiteY6347" fmla="*/ 1697583 h 4503132"/>
              <a:gd name="connsiteX6348" fmla="*/ 1451468 w 4493400"/>
              <a:gd name="connsiteY6348" fmla="*/ 1651725 h 4503132"/>
              <a:gd name="connsiteX6349" fmla="*/ 1465220 w 4493400"/>
              <a:gd name="connsiteY6349" fmla="*/ 1603220 h 4503132"/>
              <a:gd name="connsiteX6350" fmla="*/ 1500852 w 4493400"/>
              <a:gd name="connsiteY6350" fmla="*/ 1401740 h 4503132"/>
              <a:gd name="connsiteX6351" fmla="*/ 1513402 w 4493400"/>
              <a:gd name="connsiteY6351" fmla="*/ 1351455 h 4503132"/>
              <a:gd name="connsiteX6352" fmla="*/ 1531963 w 4493400"/>
              <a:gd name="connsiteY6352" fmla="*/ 1302805 h 4503132"/>
              <a:gd name="connsiteX6353" fmla="*/ 1583126 w 4493400"/>
              <a:gd name="connsiteY6353" fmla="*/ 1210078 h 4503132"/>
              <a:gd name="connsiteX6354" fmla="*/ 1720315 w 4493400"/>
              <a:gd name="connsiteY6354" fmla="*/ 1041850 h 4503132"/>
              <a:gd name="connsiteX6355" fmla="*/ 1801773 w 4493400"/>
              <a:gd name="connsiteY6355" fmla="*/ 966157 h 4503132"/>
              <a:gd name="connsiteX6356" fmla="*/ 1894049 w 4493400"/>
              <a:gd name="connsiteY6356" fmla="*/ 901820 h 4503132"/>
              <a:gd name="connsiteX6357" fmla="*/ 1988730 w 4493400"/>
              <a:gd name="connsiteY6357" fmla="*/ 836136 h 4503132"/>
              <a:gd name="connsiteX6358" fmla="*/ 2031142 w 4493400"/>
              <a:gd name="connsiteY6358" fmla="*/ 795474 h 4503132"/>
              <a:gd name="connsiteX6359" fmla="*/ 2062638 w 4493400"/>
              <a:gd name="connsiteY6359" fmla="*/ 744852 h 4503132"/>
              <a:gd name="connsiteX6360" fmla="*/ 2070813 w 4493400"/>
              <a:gd name="connsiteY6360" fmla="*/ 715691 h 4503132"/>
              <a:gd name="connsiteX6361" fmla="*/ 2072303 w 4493400"/>
              <a:gd name="connsiteY6361" fmla="*/ 700533 h 4503132"/>
              <a:gd name="connsiteX6362" fmla="*/ 2072544 w 4493400"/>
              <a:gd name="connsiteY6362" fmla="*/ 692930 h 4503132"/>
              <a:gd name="connsiteX6363" fmla="*/ 2072207 w 4493400"/>
              <a:gd name="connsiteY6363" fmla="*/ 685327 h 4503132"/>
              <a:gd name="connsiteX6364" fmla="*/ 2065908 w 4493400"/>
              <a:gd name="connsiteY6364" fmla="*/ 655108 h 4503132"/>
              <a:gd name="connsiteX6365" fmla="*/ 2059176 w 4493400"/>
              <a:gd name="connsiteY6365" fmla="*/ 641105 h 4503132"/>
              <a:gd name="connsiteX6366" fmla="*/ 2050280 w 4493400"/>
              <a:gd name="connsiteY6366" fmla="*/ 628449 h 4503132"/>
              <a:gd name="connsiteX6367" fmla="*/ 2039990 w 4493400"/>
              <a:gd name="connsiteY6367" fmla="*/ 616997 h 4503132"/>
              <a:gd name="connsiteX6368" fmla="*/ 2028401 w 4493400"/>
              <a:gd name="connsiteY6368" fmla="*/ 606940 h 4503132"/>
              <a:gd name="connsiteX6369" fmla="*/ 2002916 w 4493400"/>
              <a:gd name="connsiteY6369" fmla="*/ 590146 h 4503132"/>
              <a:gd name="connsiteX6370" fmla="*/ 1946607 w 4493400"/>
              <a:gd name="connsiteY6370" fmla="*/ 567529 h 4503132"/>
              <a:gd name="connsiteX6371" fmla="*/ 1826296 w 4493400"/>
              <a:gd name="connsiteY6371" fmla="*/ 550928 h 4503132"/>
              <a:gd name="connsiteX6372" fmla="*/ 1704159 w 4493400"/>
              <a:gd name="connsiteY6372" fmla="*/ 561947 h 4503132"/>
              <a:gd name="connsiteX6373" fmla="*/ 1688963 w 4493400"/>
              <a:gd name="connsiteY6373" fmla="*/ 565123 h 4503132"/>
              <a:gd name="connsiteX6374" fmla="*/ 1673768 w 4493400"/>
              <a:gd name="connsiteY6374" fmla="*/ 569791 h 4503132"/>
              <a:gd name="connsiteX6375" fmla="*/ 1645061 w 4493400"/>
              <a:gd name="connsiteY6375" fmla="*/ 581965 h 4503132"/>
              <a:gd name="connsiteX6376" fmla="*/ 1590003 w 4493400"/>
              <a:gd name="connsiteY6376" fmla="*/ 610549 h 4503132"/>
              <a:gd name="connsiteX6377" fmla="*/ 1482098 w 4493400"/>
              <a:gd name="connsiteY6377" fmla="*/ 672527 h 4503132"/>
              <a:gd name="connsiteX6378" fmla="*/ 1373040 w 4493400"/>
              <a:gd name="connsiteY6378" fmla="*/ 734410 h 4503132"/>
              <a:gd name="connsiteX6379" fmla="*/ 1259942 w 4493400"/>
              <a:gd name="connsiteY6379" fmla="*/ 790277 h 4503132"/>
              <a:gd name="connsiteX6380" fmla="*/ 1200604 w 4493400"/>
              <a:gd name="connsiteY6380" fmla="*/ 811643 h 4503132"/>
              <a:gd name="connsiteX6381" fmla="*/ 1170021 w 4493400"/>
              <a:gd name="connsiteY6381" fmla="*/ 818187 h 4503132"/>
              <a:gd name="connsiteX6382" fmla="*/ 1139535 w 4493400"/>
              <a:gd name="connsiteY6382" fmla="*/ 818620 h 4503132"/>
              <a:gd name="connsiteX6383" fmla="*/ 1113713 w 4493400"/>
              <a:gd name="connsiteY6383" fmla="*/ 806975 h 4503132"/>
              <a:gd name="connsiteX6384" fmla="*/ 1109097 w 4493400"/>
              <a:gd name="connsiteY6384" fmla="*/ 801682 h 4503132"/>
              <a:gd name="connsiteX6385" fmla="*/ 1107269 w 4493400"/>
              <a:gd name="connsiteY6385" fmla="*/ 798650 h 4503132"/>
              <a:gd name="connsiteX6386" fmla="*/ 1105682 w 4493400"/>
              <a:gd name="connsiteY6386" fmla="*/ 795571 h 4503132"/>
              <a:gd name="connsiteX6387" fmla="*/ 1102893 w 4493400"/>
              <a:gd name="connsiteY6387" fmla="*/ 782049 h 4503132"/>
              <a:gd name="connsiteX6388" fmla="*/ 1110203 w 4493400"/>
              <a:gd name="connsiteY6388" fmla="*/ 753129 h 4503132"/>
              <a:gd name="connsiteX6389" fmla="*/ 1125350 w 4493400"/>
              <a:gd name="connsiteY6389" fmla="*/ 725460 h 4503132"/>
              <a:gd name="connsiteX6390" fmla="*/ 1199354 w 4493400"/>
              <a:gd name="connsiteY6390" fmla="*/ 618537 h 4503132"/>
              <a:gd name="connsiteX6391" fmla="*/ 1226234 w 4493400"/>
              <a:gd name="connsiteY6391" fmla="*/ 557232 h 4503132"/>
              <a:gd name="connsiteX6392" fmla="*/ 1225657 w 4493400"/>
              <a:gd name="connsiteY6392" fmla="*/ 522344 h 4503132"/>
              <a:gd name="connsiteX6393" fmla="*/ 1210221 w 4493400"/>
              <a:gd name="connsiteY6393" fmla="*/ 491547 h 4503132"/>
              <a:gd name="connsiteX6394" fmla="*/ 1195122 w 4493400"/>
              <a:gd name="connsiteY6394" fmla="*/ 464552 h 4503132"/>
              <a:gd name="connsiteX6395" fmla="*/ 1199546 w 4493400"/>
              <a:gd name="connsiteY6395" fmla="*/ 436498 h 4503132"/>
              <a:gd name="connsiteX6396" fmla="*/ 1217674 w 4493400"/>
              <a:gd name="connsiteY6396" fmla="*/ 410369 h 4503132"/>
              <a:gd name="connsiteX6397" fmla="*/ 1239842 w 4493400"/>
              <a:gd name="connsiteY6397" fmla="*/ 386501 h 4503132"/>
              <a:gd name="connsiteX6398" fmla="*/ 1337697 w 4493400"/>
              <a:gd name="connsiteY6398" fmla="*/ 296757 h 4503132"/>
              <a:gd name="connsiteX6399" fmla="*/ 1380830 w 4493400"/>
              <a:gd name="connsiteY6399" fmla="*/ 256096 h 4503132"/>
              <a:gd name="connsiteX6400" fmla="*/ 1363759 w 4493400"/>
              <a:gd name="connsiteY6400" fmla="*/ 274092 h 4503132"/>
              <a:gd name="connsiteX6401" fmla="*/ 1343563 w 4493400"/>
              <a:gd name="connsiteY6401" fmla="*/ 295313 h 4503132"/>
              <a:gd name="connsiteX6402" fmla="*/ 1322165 w 4493400"/>
              <a:gd name="connsiteY6402" fmla="*/ 315331 h 4503132"/>
              <a:gd name="connsiteX6403" fmla="*/ 1277734 w 4493400"/>
              <a:gd name="connsiteY6403" fmla="*/ 354357 h 4503132"/>
              <a:gd name="connsiteX6404" fmla="*/ 1235947 w 4493400"/>
              <a:gd name="connsiteY6404" fmla="*/ 397424 h 4503132"/>
              <a:gd name="connsiteX6405" fmla="*/ 1220030 w 4493400"/>
              <a:gd name="connsiteY6405" fmla="*/ 424035 h 4503132"/>
              <a:gd name="connsiteX6406" fmla="*/ 1218203 w 4493400"/>
              <a:gd name="connsiteY6406" fmla="*/ 456420 h 4503132"/>
              <a:gd name="connsiteX6407" fmla="*/ 1233831 w 4493400"/>
              <a:gd name="connsiteY6407" fmla="*/ 483463 h 4503132"/>
              <a:gd name="connsiteX6408" fmla="*/ 1249411 w 4493400"/>
              <a:gd name="connsiteY6408" fmla="*/ 507283 h 4503132"/>
              <a:gd name="connsiteX6409" fmla="*/ 1254027 w 4493400"/>
              <a:gd name="connsiteY6409" fmla="*/ 533508 h 4503132"/>
              <a:gd name="connsiteX6410" fmla="*/ 1246045 w 4493400"/>
              <a:gd name="connsiteY6410" fmla="*/ 559926 h 4503132"/>
              <a:gd name="connsiteX6411" fmla="*/ 1215414 w 4493400"/>
              <a:gd name="connsiteY6411" fmla="*/ 609779 h 4503132"/>
              <a:gd name="connsiteX6412" fmla="*/ 1181706 w 4493400"/>
              <a:gd name="connsiteY6412" fmla="*/ 658765 h 4503132"/>
              <a:gd name="connsiteX6413" fmla="*/ 1151268 w 4493400"/>
              <a:gd name="connsiteY6413" fmla="*/ 710639 h 4503132"/>
              <a:gd name="connsiteX6414" fmla="*/ 1141074 w 4493400"/>
              <a:gd name="connsiteY6414" fmla="*/ 739847 h 4503132"/>
              <a:gd name="connsiteX6415" fmla="*/ 1139968 w 4493400"/>
              <a:gd name="connsiteY6415" fmla="*/ 747787 h 4503132"/>
              <a:gd name="connsiteX6416" fmla="*/ 1139920 w 4493400"/>
              <a:gd name="connsiteY6416" fmla="*/ 756016 h 4503132"/>
              <a:gd name="connsiteX6417" fmla="*/ 1141362 w 4493400"/>
              <a:gd name="connsiteY6417" fmla="*/ 764389 h 4503132"/>
              <a:gd name="connsiteX6418" fmla="*/ 1144824 w 4493400"/>
              <a:gd name="connsiteY6418" fmla="*/ 772377 h 4503132"/>
              <a:gd name="connsiteX6419" fmla="*/ 1171271 w 4493400"/>
              <a:gd name="connsiteY6419" fmla="*/ 791962 h 4503132"/>
              <a:gd name="connsiteX6420" fmla="*/ 1202864 w 4493400"/>
              <a:gd name="connsiteY6420" fmla="*/ 793165 h 4503132"/>
              <a:gd name="connsiteX6421" fmla="*/ 1261096 w 4493400"/>
              <a:gd name="connsiteY6421" fmla="*/ 775938 h 4503132"/>
              <a:gd name="connsiteX6422" fmla="*/ 1315337 w 4493400"/>
              <a:gd name="connsiteY6422" fmla="*/ 750145 h 4503132"/>
              <a:gd name="connsiteX6423" fmla="*/ 1418913 w 4493400"/>
              <a:gd name="connsiteY6423" fmla="*/ 690332 h 4503132"/>
              <a:gd name="connsiteX6424" fmla="*/ 1520903 w 4493400"/>
              <a:gd name="connsiteY6424" fmla="*/ 628161 h 4503132"/>
              <a:gd name="connsiteX6425" fmla="*/ 1572692 w 4493400"/>
              <a:gd name="connsiteY6425" fmla="*/ 598663 h 4503132"/>
              <a:gd name="connsiteX6426" fmla="*/ 1626115 w 4493400"/>
              <a:gd name="connsiteY6426" fmla="*/ 573207 h 4503132"/>
              <a:gd name="connsiteX6427" fmla="*/ 1682808 w 4493400"/>
              <a:gd name="connsiteY6427" fmla="*/ 556895 h 4503132"/>
              <a:gd name="connsiteX6428" fmla="*/ 1741425 w 4493400"/>
              <a:gd name="connsiteY6428" fmla="*/ 546982 h 4503132"/>
              <a:gd name="connsiteX6429" fmla="*/ 1860437 w 4493400"/>
              <a:gd name="connsiteY6429" fmla="*/ 538994 h 4503132"/>
              <a:gd name="connsiteX6430" fmla="*/ 1979690 w 4493400"/>
              <a:gd name="connsiteY6430" fmla="*/ 544816 h 4503132"/>
              <a:gd name="connsiteX6431" fmla="*/ 2038499 w 4493400"/>
              <a:gd name="connsiteY6431" fmla="*/ 554344 h 4503132"/>
              <a:gd name="connsiteX6432" fmla="*/ 2095144 w 4493400"/>
              <a:gd name="connsiteY6432" fmla="*/ 571331 h 4503132"/>
              <a:gd name="connsiteX6433" fmla="*/ 2142124 w 4493400"/>
              <a:gd name="connsiteY6433" fmla="*/ 603234 h 4503132"/>
              <a:gd name="connsiteX6434" fmla="*/ 2148760 w 4493400"/>
              <a:gd name="connsiteY6434" fmla="*/ 615216 h 4503132"/>
              <a:gd name="connsiteX6435" fmla="*/ 2153328 w 4493400"/>
              <a:gd name="connsiteY6435" fmla="*/ 628786 h 4503132"/>
              <a:gd name="connsiteX6436" fmla="*/ 2155059 w 4493400"/>
              <a:gd name="connsiteY6436" fmla="*/ 635764 h 4503132"/>
              <a:gd name="connsiteX6437" fmla="*/ 2156021 w 4493400"/>
              <a:gd name="connsiteY6437" fmla="*/ 642837 h 4503132"/>
              <a:gd name="connsiteX6438" fmla="*/ 2156742 w 4493400"/>
              <a:gd name="connsiteY6438" fmla="*/ 649959 h 4503132"/>
              <a:gd name="connsiteX6439" fmla="*/ 2156742 w 4493400"/>
              <a:gd name="connsiteY6439" fmla="*/ 657129 h 4503132"/>
              <a:gd name="connsiteX6440" fmla="*/ 2155444 w 4493400"/>
              <a:gd name="connsiteY6440" fmla="*/ 671421 h 4503132"/>
              <a:gd name="connsiteX6441" fmla="*/ 2152366 w 4493400"/>
              <a:gd name="connsiteY6441" fmla="*/ 685520 h 4503132"/>
              <a:gd name="connsiteX6442" fmla="*/ 2147510 w 4493400"/>
              <a:gd name="connsiteY6442" fmla="*/ 699234 h 4503132"/>
              <a:gd name="connsiteX6443" fmla="*/ 2141355 w 4493400"/>
              <a:gd name="connsiteY6443" fmla="*/ 712467 h 4503132"/>
              <a:gd name="connsiteX6444" fmla="*/ 2107502 w 4493400"/>
              <a:gd name="connsiteY6444" fmla="*/ 760732 h 4503132"/>
              <a:gd name="connsiteX6445" fmla="*/ 2018640 w 4493400"/>
              <a:gd name="connsiteY6445" fmla="*/ 840707 h 4503132"/>
              <a:gd name="connsiteX6446" fmla="*/ 1919920 w 4493400"/>
              <a:gd name="connsiteY6446" fmla="*/ 910097 h 4503132"/>
              <a:gd name="connsiteX6447" fmla="*/ 1869910 w 4493400"/>
              <a:gd name="connsiteY6447" fmla="*/ 944551 h 4503132"/>
              <a:gd name="connsiteX6448" fmla="*/ 1845579 w 4493400"/>
              <a:gd name="connsiteY6448" fmla="*/ 962884 h 4503132"/>
              <a:gd name="connsiteX6449" fmla="*/ 1833557 w 4493400"/>
              <a:gd name="connsiteY6449" fmla="*/ 972220 h 4503132"/>
              <a:gd name="connsiteX6450" fmla="*/ 1821776 w 4493400"/>
              <a:gd name="connsiteY6450" fmla="*/ 981892 h 4503132"/>
              <a:gd name="connsiteX6451" fmla="*/ 1732096 w 4493400"/>
              <a:gd name="connsiteY6451" fmla="*/ 1064370 h 4503132"/>
              <a:gd name="connsiteX6452" fmla="*/ 1652659 w 4493400"/>
              <a:gd name="connsiteY6452" fmla="*/ 1157049 h 4503132"/>
              <a:gd name="connsiteX6453" fmla="*/ 1643474 w 4493400"/>
              <a:gd name="connsiteY6453" fmla="*/ 1169272 h 4503132"/>
              <a:gd name="connsiteX6454" fmla="*/ 1634723 w 4493400"/>
              <a:gd name="connsiteY6454" fmla="*/ 1181783 h 4503132"/>
              <a:gd name="connsiteX6455" fmla="*/ 1617604 w 4493400"/>
              <a:gd name="connsiteY6455" fmla="*/ 1207142 h 4503132"/>
              <a:gd name="connsiteX6456" fmla="*/ 1601399 w 4493400"/>
              <a:gd name="connsiteY6456" fmla="*/ 1233127 h 4503132"/>
              <a:gd name="connsiteX6457" fmla="*/ 1586444 w 4493400"/>
              <a:gd name="connsiteY6457" fmla="*/ 1259882 h 4503132"/>
              <a:gd name="connsiteX6458" fmla="*/ 1538888 w 4493400"/>
              <a:gd name="connsiteY6458" fmla="*/ 1372916 h 4503132"/>
              <a:gd name="connsiteX6459" fmla="*/ 1530617 w 4493400"/>
              <a:gd name="connsiteY6459" fmla="*/ 1402558 h 4503132"/>
              <a:gd name="connsiteX6460" fmla="*/ 1524173 w 4493400"/>
              <a:gd name="connsiteY6460" fmla="*/ 1432633 h 4503132"/>
              <a:gd name="connsiteX6461" fmla="*/ 1514797 w 4493400"/>
              <a:gd name="connsiteY6461" fmla="*/ 1493217 h 4503132"/>
              <a:gd name="connsiteX6462" fmla="*/ 1500996 w 4493400"/>
              <a:gd name="connsiteY6462" fmla="*/ 1614624 h 4503132"/>
              <a:gd name="connsiteX6463" fmla="*/ 1492196 w 4493400"/>
              <a:gd name="connsiteY6463" fmla="*/ 1674822 h 4503132"/>
              <a:gd name="connsiteX6464" fmla="*/ 1478732 w 4493400"/>
              <a:gd name="connsiteY6464" fmla="*/ 1733866 h 4503132"/>
              <a:gd name="connsiteX6465" fmla="*/ 1456901 w 4493400"/>
              <a:gd name="connsiteY6465" fmla="*/ 1789829 h 4503132"/>
              <a:gd name="connsiteX6466" fmla="*/ 1422135 w 4493400"/>
              <a:gd name="connsiteY6466" fmla="*/ 1837853 h 4503132"/>
              <a:gd name="connsiteX6467" fmla="*/ 1315048 w 4493400"/>
              <a:gd name="connsiteY6467" fmla="*/ 1883856 h 4503132"/>
              <a:gd name="connsiteX6468" fmla="*/ 1307595 w 4493400"/>
              <a:gd name="connsiteY6468" fmla="*/ 1884674 h 4503132"/>
              <a:gd name="connsiteX6469" fmla="*/ 1300093 w 4493400"/>
              <a:gd name="connsiteY6469" fmla="*/ 1884867 h 4503132"/>
              <a:gd name="connsiteX6470" fmla="*/ 1285043 w 4493400"/>
              <a:gd name="connsiteY6470" fmla="*/ 1885252 h 4503132"/>
              <a:gd name="connsiteX6471" fmla="*/ 1270569 w 4493400"/>
              <a:gd name="connsiteY6471" fmla="*/ 1883953 h 4503132"/>
              <a:gd name="connsiteX6472" fmla="*/ 1263500 w 4493400"/>
              <a:gd name="connsiteY6472" fmla="*/ 1882413 h 4503132"/>
              <a:gd name="connsiteX6473" fmla="*/ 1259990 w 4493400"/>
              <a:gd name="connsiteY6473" fmla="*/ 1881643 h 4503132"/>
              <a:gd name="connsiteX6474" fmla="*/ 1256624 w 4493400"/>
              <a:gd name="connsiteY6474" fmla="*/ 1880392 h 4503132"/>
              <a:gd name="connsiteX6475" fmla="*/ 1249844 w 4493400"/>
              <a:gd name="connsiteY6475" fmla="*/ 1877937 h 4503132"/>
              <a:gd name="connsiteX6476" fmla="*/ 1243448 w 4493400"/>
              <a:gd name="connsiteY6476" fmla="*/ 1874569 h 4503132"/>
              <a:gd name="connsiteX6477" fmla="*/ 1231379 w 4493400"/>
              <a:gd name="connsiteY6477" fmla="*/ 1866629 h 4503132"/>
              <a:gd name="connsiteX6478" fmla="*/ 1225945 w 4493400"/>
              <a:gd name="connsiteY6478" fmla="*/ 1861817 h 4503132"/>
              <a:gd name="connsiteX6479" fmla="*/ 1220704 w 4493400"/>
              <a:gd name="connsiteY6479" fmla="*/ 1856764 h 4503132"/>
              <a:gd name="connsiteX6480" fmla="*/ 1211375 w 4493400"/>
              <a:gd name="connsiteY6480" fmla="*/ 1845408 h 4503132"/>
              <a:gd name="connsiteX6481" fmla="*/ 1184399 w 4493400"/>
              <a:gd name="connsiteY6481" fmla="*/ 1792139 h 4503132"/>
              <a:gd name="connsiteX6482" fmla="*/ 1167328 w 4493400"/>
              <a:gd name="connsiteY6482" fmla="*/ 1733721 h 4503132"/>
              <a:gd name="connsiteX6483" fmla="*/ 1141747 w 4493400"/>
              <a:gd name="connsiteY6483" fmla="*/ 1613421 h 4503132"/>
              <a:gd name="connsiteX6484" fmla="*/ 1125830 w 4493400"/>
              <a:gd name="connsiteY6484" fmla="*/ 1553463 h 4503132"/>
              <a:gd name="connsiteX6485" fmla="*/ 1099960 w 4493400"/>
              <a:gd name="connsiteY6485" fmla="*/ 1496200 h 4503132"/>
              <a:gd name="connsiteX6486" fmla="*/ 1079331 w 4493400"/>
              <a:gd name="connsiteY6486" fmla="*/ 1471755 h 4503132"/>
              <a:gd name="connsiteX6487" fmla="*/ 1066925 w 4493400"/>
              <a:gd name="connsiteY6487" fmla="*/ 1461506 h 4503132"/>
              <a:gd name="connsiteX6488" fmla="*/ 1053269 w 4493400"/>
              <a:gd name="connsiteY6488" fmla="*/ 1452988 h 4503132"/>
              <a:gd name="connsiteX6489" fmla="*/ 992825 w 4493400"/>
              <a:gd name="connsiteY6489" fmla="*/ 1434703 h 4503132"/>
              <a:gd name="connsiteX6490" fmla="*/ 931083 w 4493400"/>
              <a:gd name="connsiteY6490" fmla="*/ 1428688 h 4503132"/>
              <a:gd name="connsiteX6491" fmla="*/ 870110 w 4493400"/>
              <a:gd name="connsiteY6491" fmla="*/ 1421951 h 4503132"/>
              <a:gd name="connsiteX6492" fmla="*/ 840056 w 4493400"/>
              <a:gd name="connsiteY6492" fmla="*/ 1416513 h 4503132"/>
              <a:gd name="connsiteX6493" fmla="*/ 825246 w 4493400"/>
              <a:gd name="connsiteY6493" fmla="*/ 1412904 h 4503132"/>
              <a:gd name="connsiteX6494" fmla="*/ 817841 w 4493400"/>
              <a:gd name="connsiteY6494" fmla="*/ 1411076 h 4503132"/>
              <a:gd name="connsiteX6495" fmla="*/ 811013 w 4493400"/>
              <a:gd name="connsiteY6495" fmla="*/ 1408862 h 4503132"/>
              <a:gd name="connsiteX6496" fmla="*/ 764225 w 4493400"/>
              <a:gd name="connsiteY6496" fmla="*/ 1372965 h 4503132"/>
              <a:gd name="connsiteX6497" fmla="*/ 742586 w 4493400"/>
              <a:gd name="connsiteY6497" fmla="*/ 1350540 h 4503132"/>
              <a:gd name="connsiteX6498" fmla="*/ 716909 w 4493400"/>
              <a:gd name="connsiteY6498" fmla="*/ 1330907 h 4503132"/>
              <a:gd name="connsiteX6499" fmla="*/ 701088 w 4493400"/>
              <a:gd name="connsiteY6499" fmla="*/ 1325037 h 4503132"/>
              <a:gd name="connsiteX6500" fmla="*/ 684066 w 4493400"/>
              <a:gd name="connsiteY6500" fmla="*/ 1324123 h 4503132"/>
              <a:gd name="connsiteX6501" fmla="*/ 653003 w 4493400"/>
              <a:gd name="connsiteY6501" fmla="*/ 1334805 h 4503132"/>
              <a:gd name="connsiteX6502" fmla="*/ 603859 w 4493400"/>
              <a:gd name="connsiteY6502" fmla="*/ 1374697 h 4503132"/>
              <a:gd name="connsiteX6503" fmla="*/ 563563 w 4493400"/>
              <a:gd name="connsiteY6503" fmla="*/ 1422480 h 4503132"/>
              <a:gd name="connsiteX6504" fmla="*/ 492011 w 4493400"/>
              <a:gd name="connsiteY6504" fmla="*/ 1524158 h 4503132"/>
              <a:gd name="connsiteX6505" fmla="*/ 456380 w 4493400"/>
              <a:gd name="connsiteY6505" fmla="*/ 1574780 h 4503132"/>
              <a:gd name="connsiteX6506" fmla="*/ 418055 w 4493400"/>
              <a:gd name="connsiteY6506" fmla="*/ 1623334 h 4503132"/>
              <a:gd name="connsiteX6507" fmla="*/ 343089 w 4493400"/>
              <a:gd name="connsiteY6507" fmla="*/ 1723135 h 4503132"/>
              <a:gd name="connsiteX6508" fmla="*/ 312315 w 4493400"/>
              <a:gd name="connsiteY6508" fmla="*/ 1778088 h 4503132"/>
              <a:gd name="connsiteX6509" fmla="*/ 301543 w 4493400"/>
              <a:gd name="connsiteY6509" fmla="*/ 1808163 h 4503132"/>
              <a:gd name="connsiteX6510" fmla="*/ 297745 w 4493400"/>
              <a:gd name="connsiteY6510" fmla="*/ 1840596 h 4503132"/>
              <a:gd name="connsiteX6511" fmla="*/ 298802 w 4493400"/>
              <a:gd name="connsiteY6511" fmla="*/ 1849017 h 4503132"/>
              <a:gd name="connsiteX6512" fmla="*/ 299764 w 4493400"/>
              <a:gd name="connsiteY6512" fmla="*/ 1853252 h 4503132"/>
              <a:gd name="connsiteX6513" fmla="*/ 301255 w 4493400"/>
              <a:gd name="connsiteY6513" fmla="*/ 1857438 h 4503132"/>
              <a:gd name="connsiteX6514" fmla="*/ 311641 w 4493400"/>
              <a:gd name="connsiteY6514" fmla="*/ 1872019 h 4503132"/>
              <a:gd name="connsiteX6515" fmla="*/ 326836 w 4493400"/>
              <a:gd name="connsiteY6515" fmla="*/ 1880488 h 4503132"/>
              <a:gd name="connsiteX6516" fmla="*/ 342849 w 4493400"/>
              <a:gd name="connsiteY6516" fmla="*/ 1884482 h 4503132"/>
              <a:gd name="connsiteX6517" fmla="*/ 403966 w 4493400"/>
              <a:gd name="connsiteY6517" fmla="*/ 1892903 h 4503132"/>
              <a:gd name="connsiteX6518" fmla="*/ 429115 w 4493400"/>
              <a:gd name="connsiteY6518" fmla="*/ 1905991 h 4503132"/>
              <a:gd name="connsiteX6519" fmla="*/ 443541 w 4493400"/>
              <a:gd name="connsiteY6519" fmla="*/ 1930003 h 4503132"/>
              <a:gd name="connsiteX6520" fmla="*/ 447628 w 4493400"/>
              <a:gd name="connsiteY6520" fmla="*/ 1959501 h 4503132"/>
              <a:gd name="connsiteX6521" fmla="*/ 448301 w 4493400"/>
              <a:gd name="connsiteY6521" fmla="*/ 1974851 h 4503132"/>
              <a:gd name="connsiteX6522" fmla="*/ 447868 w 4493400"/>
              <a:gd name="connsiteY6522" fmla="*/ 1990202 h 4503132"/>
              <a:gd name="connsiteX6523" fmla="*/ 440319 w 4493400"/>
              <a:gd name="connsiteY6523" fmla="*/ 2051170 h 4503132"/>
              <a:gd name="connsiteX6524" fmla="*/ 423537 w 4493400"/>
              <a:gd name="connsiteY6524" fmla="*/ 2110695 h 4503132"/>
              <a:gd name="connsiteX6525" fmla="*/ 381510 w 4493400"/>
              <a:gd name="connsiteY6525" fmla="*/ 2228589 h 4503132"/>
              <a:gd name="connsiteX6526" fmla="*/ 366700 w 4493400"/>
              <a:gd name="connsiteY6526" fmla="*/ 2290087 h 4503132"/>
              <a:gd name="connsiteX6527" fmla="*/ 361795 w 4493400"/>
              <a:gd name="connsiteY6527" fmla="*/ 2353220 h 4503132"/>
              <a:gd name="connsiteX6528" fmla="*/ 374009 w 4493400"/>
              <a:gd name="connsiteY6528" fmla="*/ 2478814 h 4503132"/>
              <a:gd name="connsiteX6529" fmla="*/ 410362 w 4493400"/>
              <a:gd name="connsiteY6529" fmla="*/ 2599644 h 4503132"/>
              <a:gd name="connsiteX6530" fmla="*/ 460948 w 4493400"/>
              <a:gd name="connsiteY6530" fmla="*/ 2714940 h 4503132"/>
              <a:gd name="connsiteX6531" fmla="*/ 518843 w 4493400"/>
              <a:gd name="connsiteY6531" fmla="*/ 2826819 h 4503132"/>
              <a:gd name="connsiteX6532" fmla="*/ 573276 w 4493400"/>
              <a:gd name="connsiteY6532" fmla="*/ 2939661 h 4503132"/>
              <a:gd name="connsiteX6533" fmla="*/ 607513 w 4493400"/>
              <a:gd name="connsiteY6533" fmla="*/ 3059191 h 4503132"/>
              <a:gd name="connsiteX6534" fmla="*/ 610543 w 4493400"/>
              <a:gd name="connsiteY6534" fmla="*/ 3090036 h 4503132"/>
              <a:gd name="connsiteX6535" fmla="*/ 609052 w 4493400"/>
              <a:gd name="connsiteY6535" fmla="*/ 3120015 h 4503132"/>
              <a:gd name="connsiteX6536" fmla="*/ 595588 w 4493400"/>
              <a:gd name="connsiteY6536" fmla="*/ 3143786 h 4503132"/>
              <a:gd name="connsiteX6537" fmla="*/ 569093 w 4493400"/>
              <a:gd name="connsiteY6537" fmla="*/ 3152833 h 4503132"/>
              <a:gd name="connsiteX6538" fmla="*/ 507591 w 4493400"/>
              <a:gd name="connsiteY6538" fmla="*/ 3147925 h 4503132"/>
              <a:gd name="connsiteX6539" fmla="*/ 443445 w 4493400"/>
              <a:gd name="connsiteY6539" fmla="*/ 3144075 h 4503132"/>
              <a:gd name="connsiteX6540" fmla="*/ 426951 w 4493400"/>
              <a:gd name="connsiteY6540" fmla="*/ 3147444 h 4503132"/>
              <a:gd name="connsiteX6541" fmla="*/ 422720 w 4493400"/>
              <a:gd name="connsiteY6541" fmla="*/ 3149080 h 4503132"/>
              <a:gd name="connsiteX6542" fmla="*/ 418777 w 4493400"/>
              <a:gd name="connsiteY6542" fmla="*/ 3151245 h 4503132"/>
              <a:gd name="connsiteX6543" fmla="*/ 414978 w 4493400"/>
              <a:gd name="connsiteY6543" fmla="*/ 3153651 h 4503132"/>
              <a:gd name="connsiteX6544" fmla="*/ 411564 w 4493400"/>
              <a:gd name="connsiteY6544" fmla="*/ 3156490 h 4503132"/>
              <a:gd name="connsiteX6545" fmla="*/ 392954 w 4493400"/>
              <a:gd name="connsiteY6545" fmla="*/ 3184640 h 4503132"/>
              <a:gd name="connsiteX6546" fmla="*/ 384972 w 4493400"/>
              <a:gd name="connsiteY6546" fmla="*/ 3216448 h 4503132"/>
              <a:gd name="connsiteX6547" fmla="*/ 383482 w 4493400"/>
              <a:gd name="connsiteY6547" fmla="*/ 3248881 h 4503132"/>
              <a:gd name="connsiteX6548" fmla="*/ 418825 w 4493400"/>
              <a:gd name="connsiteY6548" fmla="*/ 3371732 h 4503132"/>
              <a:gd name="connsiteX6549" fmla="*/ 455274 w 4493400"/>
              <a:gd name="connsiteY6549" fmla="*/ 3424664 h 4503132"/>
              <a:gd name="connsiteX6550" fmla="*/ 501340 w 4493400"/>
              <a:gd name="connsiteY6550" fmla="*/ 3469416 h 4503132"/>
              <a:gd name="connsiteX6551" fmla="*/ 554282 w 4493400"/>
              <a:gd name="connsiteY6551" fmla="*/ 3505506 h 4503132"/>
              <a:gd name="connsiteX6552" fmla="*/ 584432 w 4493400"/>
              <a:gd name="connsiteY6552" fmla="*/ 3522733 h 4503132"/>
              <a:gd name="connsiteX6553" fmla="*/ 549185 w 4493400"/>
              <a:gd name="connsiteY6553" fmla="*/ 3505650 h 4503132"/>
              <a:gd name="connsiteX6554" fmla="*/ 508889 w 4493400"/>
              <a:gd name="connsiteY6554" fmla="*/ 3483611 h 4503132"/>
              <a:gd name="connsiteX6555" fmla="*/ 477634 w 4493400"/>
              <a:gd name="connsiteY6555" fmla="*/ 3424616 h 4503132"/>
              <a:gd name="connsiteX6556" fmla="*/ 553994 w 4493400"/>
              <a:gd name="connsiteY6556" fmla="*/ 3476826 h 4503132"/>
              <a:gd name="connsiteX6557" fmla="*/ 632326 w 4493400"/>
              <a:gd name="connsiteY6557" fmla="*/ 3524224 h 4503132"/>
              <a:gd name="connsiteX6558" fmla="*/ 703733 w 4493400"/>
              <a:gd name="connsiteY6558" fmla="*/ 3580140 h 4503132"/>
              <a:gd name="connsiteX6559" fmla="*/ 734123 w 4493400"/>
              <a:gd name="connsiteY6559" fmla="*/ 3613632 h 4503132"/>
              <a:gd name="connsiteX6560" fmla="*/ 747443 w 4493400"/>
              <a:gd name="connsiteY6560" fmla="*/ 3631869 h 4503132"/>
              <a:gd name="connsiteX6561" fmla="*/ 759561 w 4493400"/>
              <a:gd name="connsiteY6561" fmla="*/ 3650973 h 4503132"/>
              <a:gd name="connsiteX6562" fmla="*/ 788556 w 4493400"/>
              <a:gd name="connsiteY6562" fmla="*/ 3718871 h 4503132"/>
              <a:gd name="connsiteX6563" fmla="*/ 792403 w 4493400"/>
              <a:gd name="connsiteY6563" fmla="*/ 3754768 h 4503132"/>
              <a:gd name="connsiteX6564" fmla="*/ 783700 w 4493400"/>
              <a:gd name="connsiteY6564" fmla="*/ 3789126 h 4503132"/>
              <a:gd name="connsiteX6565" fmla="*/ 763408 w 4493400"/>
              <a:gd name="connsiteY6565" fmla="*/ 3819297 h 4503132"/>
              <a:gd name="connsiteX6566" fmla="*/ 739701 w 4493400"/>
              <a:gd name="connsiteY6566" fmla="*/ 3849661 h 4503132"/>
              <a:gd name="connsiteX6567" fmla="*/ 731863 w 4493400"/>
              <a:gd name="connsiteY6567" fmla="*/ 3868669 h 4503132"/>
              <a:gd name="connsiteX6568" fmla="*/ 732056 w 4493400"/>
              <a:gd name="connsiteY6568" fmla="*/ 3889745 h 4503132"/>
              <a:gd name="connsiteX6569" fmla="*/ 734941 w 4493400"/>
              <a:gd name="connsiteY6569" fmla="*/ 3898503 h 4503132"/>
              <a:gd name="connsiteX6570" fmla="*/ 711908 w 4493400"/>
              <a:gd name="connsiteY6570" fmla="*/ 3877234 h 4503132"/>
              <a:gd name="connsiteX6571" fmla="*/ 706282 w 4493400"/>
              <a:gd name="connsiteY6571" fmla="*/ 3862557 h 4503132"/>
              <a:gd name="connsiteX6572" fmla="*/ 704551 w 4493400"/>
              <a:gd name="connsiteY6572" fmla="*/ 3855869 h 4503132"/>
              <a:gd name="connsiteX6573" fmla="*/ 705176 w 4493400"/>
              <a:gd name="connsiteY6573" fmla="*/ 3851730 h 4503132"/>
              <a:gd name="connsiteX6574" fmla="*/ 706763 w 4493400"/>
              <a:gd name="connsiteY6574" fmla="*/ 3849805 h 4503132"/>
              <a:gd name="connsiteX6575" fmla="*/ 709311 w 4493400"/>
              <a:gd name="connsiteY6575" fmla="*/ 3847833 h 4503132"/>
              <a:gd name="connsiteX6576" fmla="*/ 715610 w 4493400"/>
              <a:gd name="connsiteY6576" fmla="*/ 3844031 h 4503132"/>
              <a:gd name="connsiteX6577" fmla="*/ 729699 w 4493400"/>
              <a:gd name="connsiteY6577" fmla="*/ 3836139 h 4503132"/>
              <a:gd name="connsiteX6578" fmla="*/ 743212 w 4493400"/>
              <a:gd name="connsiteY6578" fmla="*/ 3825890 h 4503132"/>
              <a:gd name="connsiteX6579" fmla="*/ 753935 w 4493400"/>
              <a:gd name="connsiteY6579" fmla="*/ 3812223 h 4503132"/>
              <a:gd name="connsiteX6580" fmla="*/ 762013 w 4493400"/>
              <a:gd name="connsiteY6580" fmla="*/ 3798365 h 4503132"/>
              <a:gd name="connsiteX6581" fmla="*/ 768841 w 4493400"/>
              <a:gd name="connsiteY6581" fmla="*/ 3783255 h 4503132"/>
              <a:gd name="connsiteX6582" fmla="*/ 775333 w 4493400"/>
              <a:gd name="connsiteY6582" fmla="*/ 3718052 h 4503132"/>
              <a:gd name="connsiteX6583" fmla="*/ 754175 w 4493400"/>
              <a:gd name="connsiteY6583" fmla="*/ 3656603 h 4503132"/>
              <a:gd name="connsiteX6584" fmla="*/ 750424 w 4493400"/>
              <a:gd name="connsiteY6584" fmla="*/ 3649433 h 4503132"/>
              <a:gd name="connsiteX6585" fmla="*/ 746193 w 4493400"/>
              <a:gd name="connsiteY6585" fmla="*/ 3642552 h 4503132"/>
              <a:gd name="connsiteX6586" fmla="*/ 737586 w 4493400"/>
              <a:gd name="connsiteY6586" fmla="*/ 3628886 h 4503132"/>
              <a:gd name="connsiteX6587" fmla="*/ 728113 w 4493400"/>
              <a:gd name="connsiteY6587" fmla="*/ 3615797 h 4503132"/>
              <a:gd name="connsiteX6588" fmla="*/ 717822 w 4493400"/>
              <a:gd name="connsiteY6588" fmla="*/ 3603286 h 4503132"/>
              <a:gd name="connsiteX6589" fmla="*/ 669448 w 4493400"/>
              <a:gd name="connsiteY6589" fmla="*/ 3560555 h 4503132"/>
              <a:gd name="connsiteX6590" fmla="*/ 614726 w 4493400"/>
              <a:gd name="connsiteY6590" fmla="*/ 3527593 h 4503132"/>
              <a:gd name="connsiteX6591" fmla="*/ 559668 w 4493400"/>
              <a:gd name="connsiteY6591" fmla="*/ 3496555 h 4503132"/>
              <a:gd name="connsiteX6592" fmla="*/ 508024 w 4493400"/>
              <a:gd name="connsiteY6592" fmla="*/ 3461380 h 4503132"/>
              <a:gd name="connsiteX6593" fmla="*/ 463400 w 4493400"/>
              <a:gd name="connsiteY6593" fmla="*/ 3418023 h 4503132"/>
              <a:gd name="connsiteX6594" fmla="*/ 431856 w 4493400"/>
              <a:gd name="connsiteY6594" fmla="*/ 3373175 h 4503132"/>
              <a:gd name="connsiteX6595" fmla="*/ 444743 w 4493400"/>
              <a:gd name="connsiteY6595" fmla="*/ 3391461 h 4503132"/>
              <a:gd name="connsiteX6596" fmla="*/ 477586 w 4493400"/>
              <a:gd name="connsiteY6596" fmla="*/ 3424808 h 4503132"/>
              <a:gd name="connsiteX6597" fmla="*/ 391752 w 4493400"/>
              <a:gd name="connsiteY6597" fmla="*/ 2381322 h 4503132"/>
              <a:gd name="connsiteX6598" fmla="*/ 400167 w 4493400"/>
              <a:gd name="connsiteY6598" fmla="*/ 2471885 h 4503132"/>
              <a:gd name="connsiteX6599" fmla="*/ 393916 w 4493400"/>
              <a:gd name="connsiteY6599" fmla="*/ 2430646 h 4503132"/>
              <a:gd name="connsiteX6600" fmla="*/ 405216 w 4493400"/>
              <a:gd name="connsiteY6600" fmla="*/ 2252649 h 4503132"/>
              <a:gd name="connsiteX6601" fmla="*/ 391752 w 4493400"/>
              <a:gd name="connsiteY6601" fmla="*/ 2381322 h 4503132"/>
              <a:gd name="connsiteX6602" fmla="*/ 2131064 w 4493400"/>
              <a:gd name="connsiteY6602" fmla="*/ 4446255 h 4503132"/>
              <a:gd name="connsiteX6603" fmla="*/ 2185161 w 4493400"/>
              <a:gd name="connsiteY6603" fmla="*/ 4438267 h 4503132"/>
              <a:gd name="connsiteX6604" fmla="*/ 2212185 w 4493400"/>
              <a:gd name="connsiteY6604" fmla="*/ 4431145 h 4503132"/>
              <a:gd name="connsiteX6605" fmla="*/ 2238440 w 4493400"/>
              <a:gd name="connsiteY6605" fmla="*/ 4420655 h 4503132"/>
              <a:gd name="connsiteX6606" fmla="*/ 2288305 w 4493400"/>
              <a:gd name="connsiteY6606" fmla="*/ 4392601 h 4503132"/>
              <a:gd name="connsiteX6607" fmla="*/ 2334708 w 4493400"/>
              <a:gd name="connsiteY6607" fmla="*/ 4357184 h 4503132"/>
              <a:gd name="connsiteX6608" fmla="*/ 2375677 w 4493400"/>
              <a:gd name="connsiteY6608" fmla="*/ 4313732 h 4503132"/>
              <a:gd name="connsiteX6609" fmla="*/ 2392122 w 4493400"/>
              <a:gd name="connsiteY6609" fmla="*/ 4288036 h 4503132"/>
              <a:gd name="connsiteX6610" fmla="*/ 2402845 w 4493400"/>
              <a:gd name="connsiteY6610" fmla="*/ 4258875 h 4503132"/>
              <a:gd name="connsiteX6611" fmla="*/ 2402653 w 4493400"/>
              <a:gd name="connsiteY6611" fmla="*/ 4227260 h 4503132"/>
              <a:gd name="connsiteX6612" fmla="*/ 2388083 w 4493400"/>
              <a:gd name="connsiteY6612" fmla="*/ 4198821 h 4503132"/>
              <a:gd name="connsiteX6613" fmla="*/ 2363271 w 4493400"/>
              <a:gd name="connsiteY6613" fmla="*/ 4178274 h 4503132"/>
              <a:gd name="connsiteX6614" fmla="*/ 2332881 w 4493400"/>
              <a:gd name="connsiteY6614" fmla="*/ 4167976 h 4503132"/>
              <a:gd name="connsiteX6615" fmla="*/ 2206751 w 4493400"/>
              <a:gd name="connsiteY6615" fmla="*/ 4140355 h 4503132"/>
              <a:gd name="connsiteX6616" fmla="*/ 2175255 w 4493400"/>
              <a:gd name="connsiteY6616" fmla="*/ 4131645 h 4503132"/>
              <a:gd name="connsiteX6617" fmla="*/ 2160204 w 4493400"/>
              <a:gd name="connsiteY6617" fmla="*/ 4125678 h 4503132"/>
              <a:gd name="connsiteX6618" fmla="*/ 2145779 w 4493400"/>
              <a:gd name="connsiteY6618" fmla="*/ 4117931 h 4503132"/>
              <a:gd name="connsiteX6619" fmla="*/ 2094615 w 4493400"/>
              <a:gd name="connsiteY6619" fmla="*/ 4075537 h 4503132"/>
              <a:gd name="connsiteX6620" fmla="*/ 2047587 w 4493400"/>
              <a:gd name="connsiteY6620" fmla="*/ 4025685 h 4503132"/>
              <a:gd name="connsiteX6621" fmla="*/ 1992962 w 4493400"/>
              <a:gd name="connsiteY6621" fmla="*/ 3981607 h 4503132"/>
              <a:gd name="connsiteX6622" fmla="*/ 1926844 w 4493400"/>
              <a:gd name="connsiteY6622" fmla="*/ 3954755 h 4503132"/>
              <a:gd name="connsiteX6623" fmla="*/ 1855581 w 4493400"/>
              <a:gd name="connsiteY6623" fmla="*/ 3943303 h 4503132"/>
              <a:gd name="connsiteX6624" fmla="*/ 1782202 w 4493400"/>
              <a:gd name="connsiteY6624" fmla="*/ 3943832 h 4503132"/>
              <a:gd name="connsiteX6625" fmla="*/ 1709400 w 4493400"/>
              <a:gd name="connsiteY6625" fmla="*/ 3959423 h 4503132"/>
              <a:gd name="connsiteX6626" fmla="*/ 1638521 w 4493400"/>
              <a:gd name="connsiteY6626" fmla="*/ 3983964 h 4503132"/>
              <a:gd name="connsiteX6627" fmla="*/ 1564998 w 4493400"/>
              <a:gd name="connsiteY6627" fmla="*/ 3997871 h 4503132"/>
              <a:gd name="connsiteX6628" fmla="*/ 1489744 w 4493400"/>
              <a:gd name="connsiteY6628" fmla="*/ 3988728 h 4503132"/>
              <a:gd name="connsiteX6629" fmla="*/ 1418913 w 4493400"/>
              <a:gd name="connsiteY6629" fmla="*/ 3959616 h 4503132"/>
              <a:gd name="connsiteX6630" fmla="*/ 1403286 w 4493400"/>
              <a:gd name="connsiteY6630" fmla="*/ 3948356 h 4503132"/>
              <a:gd name="connsiteX6631" fmla="*/ 1389100 w 4493400"/>
              <a:gd name="connsiteY6631" fmla="*/ 3935219 h 4503132"/>
              <a:gd name="connsiteX6632" fmla="*/ 1364865 w 4493400"/>
              <a:gd name="connsiteY6632" fmla="*/ 3904759 h 4503132"/>
              <a:gd name="connsiteX6633" fmla="*/ 1345919 w 4493400"/>
              <a:gd name="connsiteY6633" fmla="*/ 3870209 h 4503132"/>
              <a:gd name="connsiteX6634" fmla="*/ 1330820 w 4493400"/>
              <a:gd name="connsiteY6634" fmla="*/ 3833252 h 4503132"/>
              <a:gd name="connsiteX6635" fmla="*/ 1303075 w 4493400"/>
              <a:gd name="connsiteY6635" fmla="*/ 3756789 h 4503132"/>
              <a:gd name="connsiteX6636" fmla="*/ 1258307 w 4493400"/>
              <a:gd name="connsiteY6636" fmla="*/ 3686726 h 4503132"/>
              <a:gd name="connsiteX6637" fmla="*/ 1222627 w 4493400"/>
              <a:gd name="connsiteY6637" fmla="*/ 3663773 h 4503132"/>
              <a:gd name="connsiteX6638" fmla="*/ 1182812 w 4493400"/>
              <a:gd name="connsiteY6638" fmla="*/ 3649626 h 4503132"/>
              <a:gd name="connsiteX6639" fmla="*/ 1101210 w 4493400"/>
              <a:gd name="connsiteY6639" fmla="*/ 3629126 h 4503132"/>
              <a:gd name="connsiteX6640" fmla="*/ 1023504 w 4493400"/>
              <a:gd name="connsiteY6640" fmla="*/ 3597848 h 4503132"/>
              <a:gd name="connsiteX6641" fmla="*/ 954885 w 4493400"/>
              <a:gd name="connsiteY6641" fmla="*/ 3547467 h 4503132"/>
              <a:gd name="connsiteX6642" fmla="*/ 946999 w 4493400"/>
              <a:gd name="connsiteY6642" fmla="*/ 3540200 h 4503132"/>
              <a:gd name="connsiteX6643" fmla="*/ 939450 w 4493400"/>
              <a:gd name="connsiteY6643" fmla="*/ 3532597 h 4503132"/>
              <a:gd name="connsiteX6644" fmla="*/ 924976 w 4493400"/>
              <a:gd name="connsiteY6644" fmla="*/ 3516814 h 4503132"/>
              <a:gd name="connsiteX6645" fmla="*/ 899875 w 4493400"/>
              <a:gd name="connsiteY6645" fmla="*/ 3481975 h 4503132"/>
              <a:gd name="connsiteX6646" fmla="*/ 881074 w 4493400"/>
              <a:gd name="connsiteY6646" fmla="*/ 3443238 h 4503132"/>
              <a:gd name="connsiteX6647" fmla="*/ 870110 w 4493400"/>
              <a:gd name="connsiteY6647" fmla="*/ 3401422 h 4503132"/>
              <a:gd name="connsiteX6648" fmla="*/ 872707 w 4493400"/>
              <a:gd name="connsiteY6648" fmla="*/ 3314517 h 4503132"/>
              <a:gd name="connsiteX6649" fmla="*/ 902953 w 4493400"/>
              <a:gd name="connsiteY6649" fmla="*/ 3231413 h 4503132"/>
              <a:gd name="connsiteX6650" fmla="*/ 971283 w 4493400"/>
              <a:gd name="connsiteY6650" fmla="*/ 3061838 h 4503132"/>
              <a:gd name="connsiteX6651" fmla="*/ 984362 w 4493400"/>
              <a:gd name="connsiteY6651" fmla="*/ 3017279 h 4503132"/>
              <a:gd name="connsiteX6652" fmla="*/ 995758 w 4493400"/>
              <a:gd name="connsiteY6652" fmla="*/ 2972286 h 4503132"/>
              <a:gd name="connsiteX6653" fmla="*/ 1019417 w 4493400"/>
              <a:gd name="connsiteY6653" fmla="*/ 2882061 h 4503132"/>
              <a:gd name="connsiteX6654" fmla="*/ 1047354 w 4493400"/>
              <a:gd name="connsiteY6654" fmla="*/ 2792317 h 4503132"/>
              <a:gd name="connsiteX6655" fmla="*/ 1084236 w 4493400"/>
              <a:gd name="connsiteY6655" fmla="*/ 2705412 h 4503132"/>
              <a:gd name="connsiteX6656" fmla="*/ 1109289 w 4493400"/>
              <a:gd name="connsiteY6656" fmla="*/ 2665520 h 4503132"/>
              <a:gd name="connsiteX6657" fmla="*/ 1142901 w 4493400"/>
              <a:gd name="connsiteY6657" fmla="*/ 2633953 h 4503132"/>
              <a:gd name="connsiteX6658" fmla="*/ 1163866 w 4493400"/>
              <a:gd name="connsiteY6658" fmla="*/ 2626158 h 4503132"/>
              <a:gd name="connsiteX6659" fmla="*/ 1186467 w 4493400"/>
              <a:gd name="connsiteY6659" fmla="*/ 2626687 h 4503132"/>
              <a:gd name="connsiteX6660" fmla="*/ 1230465 w 4493400"/>
              <a:gd name="connsiteY6660" fmla="*/ 2642759 h 4503132"/>
              <a:gd name="connsiteX6661" fmla="*/ 1308653 w 4493400"/>
              <a:gd name="connsiteY6661" fmla="*/ 2699252 h 4503132"/>
              <a:gd name="connsiteX6662" fmla="*/ 1381695 w 4493400"/>
              <a:gd name="connsiteY6662" fmla="*/ 2765033 h 4503132"/>
              <a:gd name="connsiteX6663" fmla="*/ 1537782 w 4493400"/>
              <a:gd name="connsiteY6663" fmla="*/ 2889953 h 4503132"/>
              <a:gd name="connsiteX6664" fmla="*/ 1630635 w 4493400"/>
              <a:gd name="connsiteY6664" fmla="*/ 2931673 h 4503132"/>
              <a:gd name="connsiteX6665" fmla="*/ 1733347 w 4493400"/>
              <a:gd name="connsiteY6665" fmla="*/ 2937399 h 4503132"/>
              <a:gd name="connsiteX6666" fmla="*/ 1781721 w 4493400"/>
              <a:gd name="connsiteY6666" fmla="*/ 2916756 h 4503132"/>
              <a:gd name="connsiteX6667" fmla="*/ 1820622 w 4493400"/>
              <a:gd name="connsiteY6667" fmla="*/ 2881724 h 4503132"/>
              <a:gd name="connsiteX6668" fmla="*/ 1877027 w 4493400"/>
              <a:gd name="connsiteY6668" fmla="*/ 2794193 h 4503132"/>
              <a:gd name="connsiteX6669" fmla="*/ 1949012 w 4493400"/>
              <a:gd name="connsiteY6669" fmla="*/ 2597671 h 4503132"/>
              <a:gd name="connsiteX6670" fmla="*/ 1996953 w 4493400"/>
              <a:gd name="connsiteY6670" fmla="*/ 2391139 h 4503132"/>
              <a:gd name="connsiteX6671" fmla="*/ 2030854 w 4493400"/>
              <a:gd name="connsiteY6671" fmla="*/ 2179170 h 4503132"/>
              <a:gd name="connsiteX6672" fmla="*/ 2048597 w 4493400"/>
              <a:gd name="connsiteY6672" fmla="*/ 2072439 h 4503132"/>
              <a:gd name="connsiteX6673" fmla="*/ 2072015 w 4493400"/>
              <a:gd name="connsiteY6673" fmla="*/ 1966382 h 4503132"/>
              <a:gd name="connsiteX6674" fmla="*/ 2107214 w 4493400"/>
              <a:gd name="connsiteY6674" fmla="*/ 1863405 h 4503132"/>
              <a:gd name="connsiteX6675" fmla="*/ 2163138 w 4493400"/>
              <a:gd name="connsiteY6675" fmla="*/ 1770293 h 4503132"/>
              <a:gd name="connsiteX6676" fmla="*/ 2246038 w 4493400"/>
              <a:gd name="connsiteY6676" fmla="*/ 1700326 h 4503132"/>
              <a:gd name="connsiteX6677" fmla="*/ 2348941 w 4493400"/>
              <a:gd name="connsiteY6677" fmla="*/ 1662792 h 4503132"/>
              <a:gd name="connsiteX6678" fmla="*/ 2376206 w 4493400"/>
              <a:gd name="connsiteY6678" fmla="*/ 1657980 h 4503132"/>
              <a:gd name="connsiteX6679" fmla="*/ 2403807 w 4493400"/>
              <a:gd name="connsiteY6679" fmla="*/ 1655045 h 4503132"/>
              <a:gd name="connsiteX6680" fmla="*/ 2459250 w 4493400"/>
              <a:gd name="connsiteY6680" fmla="*/ 1653698 h 4503132"/>
              <a:gd name="connsiteX6681" fmla="*/ 2569896 w 4493400"/>
              <a:gd name="connsiteY6681" fmla="*/ 1669962 h 4503132"/>
              <a:gd name="connsiteX6682" fmla="*/ 2789311 w 4493400"/>
              <a:gd name="connsiteY6682" fmla="*/ 1730112 h 4503132"/>
              <a:gd name="connsiteX6683" fmla="*/ 2903803 w 4493400"/>
              <a:gd name="connsiteY6683" fmla="*/ 1746473 h 4503132"/>
              <a:gd name="connsiteX6684" fmla="*/ 2962180 w 4493400"/>
              <a:gd name="connsiteY6684" fmla="*/ 1737908 h 4503132"/>
              <a:gd name="connsiteX6685" fmla="*/ 3012189 w 4493400"/>
              <a:gd name="connsiteY6685" fmla="*/ 1705571 h 4503132"/>
              <a:gd name="connsiteX6686" fmla="*/ 3046426 w 4493400"/>
              <a:gd name="connsiteY6686" fmla="*/ 1657258 h 4503132"/>
              <a:gd name="connsiteX6687" fmla="*/ 3068401 w 4493400"/>
              <a:gd name="connsiteY6687" fmla="*/ 1602594 h 4503132"/>
              <a:gd name="connsiteX6688" fmla="*/ 3089655 w 4493400"/>
              <a:gd name="connsiteY6688" fmla="*/ 1487106 h 4503132"/>
              <a:gd name="connsiteX6689" fmla="*/ 3091146 w 4493400"/>
              <a:gd name="connsiteY6689" fmla="*/ 1369355 h 4503132"/>
              <a:gd name="connsiteX6690" fmla="*/ 3077008 w 4493400"/>
              <a:gd name="connsiteY6690" fmla="*/ 1251942 h 4503132"/>
              <a:gd name="connsiteX6691" fmla="*/ 3045753 w 4493400"/>
              <a:gd name="connsiteY6691" fmla="*/ 1137176 h 4503132"/>
              <a:gd name="connsiteX6692" fmla="*/ 3021229 w 4493400"/>
              <a:gd name="connsiteY6692" fmla="*/ 1082463 h 4503132"/>
              <a:gd name="connsiteX6693" fmla="*/ 3005649 w 4493400"/>
              <a:gd name="connsiteY6693" fmla="*/ 1056574 h 4503132"/>
              <a:gd name="connsiteX6694" fmla="*/ 2984491 w 4493400"/>
              <a:gd name="connsiteY6694" fmla="*/ 1033958 h 4503132"/>
              <a:gd name="connsiteX6695" fmla="*/ 2935636 w 4493400"/>
              <a:gd name="connsiteY6695" fmla="*/ 998638 h 4503132"/>
              <a:gd name="connsiteX6696" fmla="*/ 2883896 w 4493400"/>
              <a:gd name="connsiteY6696" fmla="*/ 968274 h 4503132"/>
              <a:gd name="connsiteX6697" fmla="*/ 2776616 w 4493400"/>
              <a:gd name="connsiteY6697" fmla="*/ 914379 h 4503132"/>
              <a:gd name="connsiteX6698" fmla="*/ 2552440 w 4493400"/>
              <a:gd name="connsiteY6698" fmla="*/ 824876 h 4503132"/>
              <a:gd name="connsiteX6699" fmla="*/ 2435640 w 4493400"/>
              <a:gd name="connsiteY6699" fmla="*/ 790903 h 4503132"/>
              <a:gd name="connsiteX6700" fmla="*/ 2375437 w 4493400"/>
              <a:gd name="connsiteY6700" fmla="*/ 779450 h 4503132"/>
              <a:gd name="connsiteX6701" fmla="*/ 2313406 w 4493400"/>
              <a:gd name="connsiteY6701" fmla="*/ 777718 h 4503132"/>
              <a:gd name="connsiteX6702" fmla="*/ 2253250 w 4493400"/>
              <a:gd name="connsiteY6702" fmla="*/ 792683 h 4503132"/>
              <a:gd name="connsiteX6703" fmla="*/ 2245941 w 4493400"/>
              <a:gd name="connsiteY6703" fmla="*/ 795186 h 4503132"/>
              <a:gd name="connsiteX6704" fmla="*/ 2238729 w 4493400"/>
              <a:gd name="connsiteY6704" fmla="*/ 797977 h 4503132"/>
              <a:gd name="connsiteX6705" fmla="*/ 2224351 w 4493400"/>
              <a:gd name="connsiteY6705" fmla="*/ 803559 h 4503132"/>
              <a:gd name="connsiteX6706" fmla="*/ 2196173 w 4493400"/>
              <a:gd name="connsiteY6706" fmla="*/ 815974 h 4503132"/>
              <a:gd name="connsiteX6707" fmla="*/ 2087835 w 4493400"/>
              <a:gd name="connsiteY6707" fmla="*/ 874536 h 4503132"/>
              <a:gd name="connsiteX6708" fmla="*/ 1886692 w 4493400"/>
              <a:gd name="connsiteY6708" fmla="*/ 1018174 h 4503132"/>
              <a:gd name="connsiteX6709" fmla="*/ 1793839 w 4493400"/>
              <a:gd name="connsiteY6709" fmla="*/ 1100893 h 4503132"/>
              <a:gd name="connsiteX6710" fmla="*/ 1709833 w 4493400"/>
              <a:gd name="connsiteY6710" fmla="*/ 1193572 h 4503132"/>
              <a:gd name="connsiteX6711" fmla="*/ 1675307 w 4493400"/>
              <a:gd name="connsiteY6711" fmla="*/ 1246553 h 4503132"/>
              <a:gd name="connsiteX6712" fmla="*/ 1662228 w 4493400"/>
              <a:gd name="connsiteY6712" fmla="*/ 1275425 h 4503132"/>
              <a:gd name="connsiteX6713" fmla="*/ 1651697 w 4493400"/>
              <a:gd name="connsiteY6713" fmla="*/ 1305308 h 4503132"/>
              <a:gd name="connsiteX6714" fmla="*/ 1632270 w 4493400"/>
              <a:gd name="connsiteY6714" fmla="*/ 1430035 h 4503132"/>
              <a:gd name="connsiteX6715" fmla="*/ 1630539 w 4493400"/>
              <a:gd name="connsiteY6715" fmla="*/ 1555869 h 4503132"/>
              <a:gd name="connsiteX6716" fmla="*/ 1624528 w 4493400"/>
              <a:gd name="connsiteY6716" fmla="*/ 1681174 h 4503132"/>
              <a:gd name="connsiteX6717" fmla="*/ 1618999 w 4493400"/>
              <a:gd name="connsiteY6717" fmla="*/ 1722124 h 4503132"/>
              <a:gd name="connsiteX6718" fmla="*/ 1615344 w 4493400"/>
              <a:gd name="connsiteY6718" fmla="*/ 1742431 h 4503132"/>
              <a:gd name="connsiteX6719" fmla="*/ 1611161 w 4493400"/>
              <a:gd name="connsiteY6719" fmla="*/ 1762160 h 4503132"/>
              <a:gd name="connsiteX6720" fmla="*/ 1594715 w 4493400"/>
              <a:gd name="connsiteY6720" fmla="*/ 1798972 h 4503132"/>
              <a:gd name="connsiteX6721" fmla="*/ 1573077 w 4493400"/>
              <a:gd name="connsiteY6721" fmla="*/ 1833763 h 4503132"/>
              <a:gd name="connsiteX6722" fmla="*/ 1468971 w 4493400"/>
              <a:gd name="connsiteY6722" fmla="*/ 1961089 h 4503132"/>
              <a:gd name="connsiteX6723" fmla="*/ 1350535 w 4493400"/>
              <a:gd name="connsiteY6723" fmla="*/ 2074605 h 4503132"/>
              <a:gd name="connsiteX6724" fmla="*/ 1286389 w 4493400"/>
              <a:gd name="connsiteY6724" fmla="*/ 2125083 h 4503132"/>
              <a:gd name="connsiteX6725" fmla="*/ 1217242 w 4493400"/>
              <a:gd name="connsiteY6725" fmla="*/ 2166899 h 4503132"/>
              <a:gd name="connsiteX6726" fmla="*/ 1179975 w 4493400"/>
              <a:gd name="connsiteY6726" fmla="*/ 2179410 h 4503132"/>
              <a:gd name="connsiteX6727" fmla="*/ 1161510 w 4493400"/>
              <a:gd name="connsiteY6727" fmla="*/ 2179603 h 4503132"/>
              <a:gd name="connsiteX6728" fmla="*/ 1152470 w 4493400"/>
              <a:gd name="connsiteY6728" fmla="*/ 2177052 h 4503132"/>
              <a:gd name="connsiteX6729" fmla="*/ 1143863 w 4493400"/>
              <a:gd name="connsiteY6729" fmla="*/ 2173203 h 4503132"/>
              <a:gd name="connsiteX6730" fmla="*/ 1115732 w 4493400"/>
              <a:gd name="connsiteY6730" fmla="*/ 2147603 h 4503132"/>
              <a:gd name="connsiteX6731" fmla="*/ 1096883 w 4493400"/>
              <a:gd name="connsiteY6731" fmla="*/ 2113004 h 4503132"/>
              <a:gd name="connsiteX6732" fmla="*/ 1075292 w 4493400"/>
              <a:gd name="connsiteY6732" fmla="*/ 2035820 h 4503132"/>
              <a:gd name="connsiteX6733" fmla="*/ 1063944 w 4493400"/>
              <a:gd name="connsiteY6733" fmla="*/ 1955892 h 4503132"/>
              <a:gd name="connsiteX6734" fmla="*/ 1055769 w 4493400"/>
              <a:gd name="connsiteY6734" fmla="*/ 1875243 h 4503132"/>
              <a:gd name="connsiteX6735" fmla="*/ 1049855 w 4493400"/>
              <a:gd name="connsiteY6735" fmla="*/ 1835062 h 4503132"/>
              <a:gd name="connsiteX6736" fmla="*/ 1043411 w 4493400"/>
              <a:gd name="connsiteY6736" fmla="*/ 1795171 h 4503132"/>
              <a:gd name="connsiteX6737" fmla="*/ 1027880 w 4493400"/>
              <a:gd name="connsiteY6737" fmla="*/ 1715772 h 4503132"/>
              <a:gd name="connsiteX6738" fmla="*/ 1004462 w 4493400"/>
              <a:gd name="connsiteY6738" fmla="*/ 1638107 h 4503132"/>
              <a:gd name="connsiteX6739" fmla="*/ 986670 w 4493400"/>
              <a:gd name="connsiteY6739" fmla="*/ 1601295 h 4503132"/>
              <a:gd name="connsiteX6740" fmla="*/ 960608 w 4493400"/>
              <a:gd name="connsiteY6740" fmla="*/ 1568910 h 4503132"/>
              <a:gd name="connsiteX6741" fmla="*/ 942575 w 4493400"/>
              <a:gd name="connsiteY6741" fmla="*/ 1557265 h 4503132"/>
              <a:gd name="connsiteX6742" fmla="*/ 922668 w 4493400"/>
              <a:gd name="connsiteY6742" fmla="*/ 1550720 h 4503132"/>
              <a:gd name="connsiteX6743" fmla="*/ 882180 w 4493400"/>
              <a:gd name="connsiteY6743" fmla="*/ 1545475 h 4503132"/>
              <a:gd name="connsiteX6744" fmla="*/ 802117 w 4493400"/>
              <a:gd name="connsiteY6744" fmla="*/ 1545427 h 4503132"/>
              <a:gd name="connsiteX6745" fmla="*/ 762590 w 4493400"/>
              <a:gd name="connsiteY6745" fmla="*/ 1545283 h 4503132"/>
              <a:gd name="connsiteX6746" fmla="*/ 723929 w 4493400"/>
              <a:gd name="connsiteY6746" fmla="*/ 1541577 h 4503132"/>
              <a:gd name="connsiteX6747" fmla="*/ 651127 w 4493400"/>
              <a:gd name="connsiteY6747" fmla="*/ 1513716 h 4503132"/>
              <a:gd name="connsiteX6748" fmla="*/ 632133 w 4493400"/>
              <a:gd name="connsiteY6748" fmla="*/ 1506354 h 4503132"/>
              <a:gd name="connsiteX6749" fmla="*/ 610879 w 4493400"/>
              <a:gd name="connsiteY6749" fmla="*/ 1502985 h 4503132"/>
              <a:gd name="connsiteX6750" fmla="*/ 605157 w 4493400"/>
              <a:gd name="connsiteY6750" fmla="*/ 1503755 h 4503132"/>
              <a:gd name="connsiteX6751" fmla="*/ 602272 w 4493400"/>
              <a:gd name="connsiteY6751" fmla="*/ 1504381 h 4503132"/>
              <a:gd name="connsiteX6752" fmla="*/ 599243 w 4493400"/>
              <a:gd name="connsiteY6752" fmla="*/ 1505680 h 4503132"/>
              <a:gd name="connsiteX6753" fmla="*/ 590251 w 4493400"/>
              <a:gd name="connsiteY6753" fmla="*/ 1511406 h 4503132"/>
              <a:gd name="connsiteX6754" fmla="*/ 574382 w 4493400"/>
              <a:gd name="connsiteY6754" fmla="*/ 1523869 h 4503132"/>
              <a:gd name="connsiteX6755" fmla="*/ 517689 w 4493400"/>
              <a:gd name="connsiteY6755" fmla="*/ 1579689 h 4503132"/>
              <a:gd name="connsiteX6756" fmla="*/ 470132 w 4493400"/>
              <a:gd name="connsiteY6756" fmla="*/ 1643400 h 4503132"/>
              <a:gd name="connsiteX6757" fmla="*/ 452340 w 4493400"/>
              <a:gd name="connsiteY6757" fmla="*/ 1679345 h 4503132"/>
              <a:gd name="connsiteX6758" fmla="*/ 443925 w 4493400"/>
              <a:gd name="connsiteY6758" fmla="*/ 1719333 h 4503132"/>
              <a:gd name="connsiteX6759" fmla="*/ 456668 w 4493400"/>
              <a:gd name="connsiteY6759" fmla="*/ 1758696 h 4503132"/>
              <a:gd name="connsiteX6760" fmla="*/ 478595 w 4493400"/>
              <a:gd name="connsiteY6760" fmla="*/ 1791225 h 4503132"/>
              <a:gd name="connsiteX6761" fmla="*/ 506197 w 4493400"/>
              <a:gd name="connsiteY6761" fmla="*/ 1860855 h 4503132"/>
              <a:gd name="connsiteX6762" fmla="*/ 507351 w 4493400"/>
              <a:gd name="connsiteY6762" fmla="*/ 1870190 h 4503132"/>
              <a:gd name="connsiteX6763" fmla="*/ 507639 w 4493400"/>
              <a:gd name="connsiteY6763" fmla="*/ 1879622 h 4503132"/>
              <a:gd name="connsiteX6764" fmla="*/ 507783 w 4493400"/>
              <a:gd name="connsiteY6764" fmla="*/ 1889101 h 4503132"/>
              <a:gd name="connsiteX6765" fmla="*/ 507303 w 4493400"/>
              <a:gd name="connsiteY6765" fmla="*/ 1898725 h 4503132"/>
              <a:gd name="connsiteX6766" fmla="*/ 506341 w 4493400"/>
              <a:gd name="connsiteY6766" fmla="*/ 1917925 h 4503132"/>
              <a:gd name="connsiteX6767" fmla="*/ 505764 w 4493400"/>
              <a:gd name="connsiteY6767" fmla="*/ 1927501 h 4503132"/>
              <a:gd name="connsiteX6768" fmla="*/ 504610 w 4493400"/>
              <a:gd name="connsiteY6768" fmla="*/ 1937029 h 4503132"/>
              <a:gd name="connsiteX6769" fmla="*/ 466718 w 4493400"/>
              <a:gd name="connsiteY6769" fmla="*/ 2085095 h 4503132"/>
              <a:gd name="connsiteX6770" fmla="*/ 426086 w 4493400"/>
              <a:gd name="connsiteY6770" fmla="*/ 2185040 h 4503132"/>
              <a:gd name="connsiteX6771" fmla="*/ 432577 w 4493400"/>
              <a:gd name="connsiteY6771" fmla="*/ 2166755 h 4503132"/>
              <a:gd name="connsiteX6772" fmla="*/ 462967 w 4493400"/>
              <a:gd name="connsiteY6772" fmla="*/ 2081245 h 4503132"/>
              <a:gd name="connsiteX6773" fmla="*/ 484798 w 4493400"/>
              <a:gd name="connsiteY6773" fmla="*/ 1992656 h 4503132"/>
              <a:gd name="connsiteX6774" fmla="*/ 487684 w 4493400"/>
              <a:gd name="connsiteY6774" fmla="*/ 1969943 h 4503132"/>
              <a:gd name="connsiteX6775" fmla="*/ 489463 w 4493400"/>
              <a:gd name="connsiteY6775" fmla="*/ 1947134 h 4503132"/>
              <a:gd name="connsiteX6776" fmla="*/ 490088 w 4493400"/>
              <a:gd name="connsiteY6776" fmla="*/ 1924229 h 4503132"/>
              <a:gd name="connsiteX6777" fmla="*/ 489703 w 4493400"/>
              <a:gd name="connsiteY6777" fmla="*/ 1912632 h 4503132"/>
              <a:gd name="connsiteX6778" fmla="*/ 488549 w 4493400"/>
              <a:gd name="connsiteY6778" fmla="*/ 1901035 h 4503132"/>
              <a:gd name="connsiteX6779" fmla="*/ 473354 w 4493400"/>
              <a:gd name="connsiteY6779" fmla="*/ 1856380 h 4503132"/>
              <a:gd name="connsiteX6780" fmla="*/ 437963 w 4493400"/>
              <a:gd name="connsiteY6780" fmla="*/ 1825101 h 4503132"/>
              <a:gd name="connsiteX6781" fmla="*/ 400504 w 4493400"/>
              <a:gd name="connsiteY6781" fmla="*/ 1802726 h 4503132"/>
              <a:gd name="connsiteX6782" fmla="*/ 388386 w 4493400"/>
              <a:gd name="connsiteY6782" fmla="*/ 1765577 h 4503132"/>
              <a:gd name="connsiteX6783" fmla="*/ 389396 w 4493400"/>
              <a:gd name="connsiteY6783" fmla="*/ 1754942 h 4503132"/>
              <a:gd name="connsiteX6784" fmla="*/ 391512 w 4493400"/>
              <a:gd name="connsiteY6784" fmla="*/ 1744308 h 4503132"/>
              <a:gd name="connsiteX6785" fmla="*/ 394589 w 4493400"/>
              <a:gd name="connsiteY6785" fmla="*/ 1733866 h 4503132"/>
              <a:gd name="connsiteX6786" fmla="*/ 398244 w 4493400"/>
              <a:gd name="connsiteY6786" fmla="*/ 1723568 h 4503132"/>
              <a:gd name="connsiteX6787" fmla="*/ 417719 w 4493400"/>
              <a:gd name="connsiteY6787" fmla="*/ 1683917 h 4503132"/>
              <a:gd name="connsiteX6788" fmla="*/ 442098 w 4493400"/>
              <a:gd name="connsiteY6788" fmla="*/ 1646624 h 4503132"/>
              <a:gd name="connsiteX6789" fmla="*/ 469315 w 4493400"/>
              <a:gd name="connsiteY6789" fmla="*/ 1611063 h 4503132"/>
              <a:gd name="connsiteX6790" fmla="*/ 577989 w 4493400"/>
              <a:gd name="connsiteY6790" fmla="*/ 1468387 h 4503132"/>
              <a:gd name="connsiteX6791" fmla="*/ 611937 w 4493400"/>
              <a:gd name="connsiteY6791" fmla="*/ 1441247 h 4503132"/>
              <a:gd name="connsiteX6792" fmla="*/ 631364 w 4493400"/>
              <a:gd name="connsiteY6792" fmla="*/ 1432056 h 4503132"/>
              <a:gd name="connsiteX6793" fmla="*/ 651512 w 4493400"/>
              <a:gd name="connsiteY6793" fmla="*/ 1427773 h 4503132"/>
              <a:gd name="connsiteX6794" fmla="*/ 690461 w 4493400"/>
              <a:gd name="connsiteY6794" fmla="*/ 1440718 h 4503132"/>
              <a:gd name="connsiteX6795" fmla="*/ 725468 w 4493400"/>
              <a:gd name="connsiteY6795" fmla="*/ 1468002 h 4503132"/>
              <a:gd name="connsiteX6796" fmla="*/ 765860 w 4493400"/>
              <a:gd name="connsiteY6796" fmla="*/ 1491436 h 4503132"/>
              <a:gd name="connsiteX6797" fmla="*/ 777352 w 4493400"/>
              <a:gd name="connsiteY6797" fmla="*/ 1493746 h 4503132"/>
              <a:gd name="connsiteX6798" fmla="*/ 788605 w 4493400"/>
              <a:gd name="connsiteY6798" fmla="*/ 1495623 h 4503132"/>
              <a:gd name="connsiteX6799" fmla="*/ 811253 w 4493400"/>
              <a:gd name="connsiteY6799" fmla="*/ 1497933 h 4503132"/>
              <a:gd name="connsiteX6800" fmla="*/ 901270 w 4493400"/>
              <a:gd name="connsiteY6800" fmla="*/ 1498895 h 4503132"/>
              <a:gd name="connsiteX6801" fmla="*/ 945124 w 4493400"/>
              <a:gd name="connsiteY6801" fmla="*/ 1501926 h 4503132"/>
              <a:gd name="connsiteX6802" fmla="*/ 985612 w 4493400"/>
              <a:gd name="connsiteY6802" fmla="*/ 1515304 h 4503132"/>
              <a:gd name="connsiteX6803" fmla="*/ 1016387 w 4493400"/>
              <a:gd name="connsiteY6803" fmla="*/ 1544032 h 4503132"/>
              <a:gd name="connsiteX6804" fmla="*/ 1036824 w 4493400"/>
              <a:gd name="connsiteY6804" fmla="*/ 1582383 h 4503132"/>
              <a:gd name="connsiteX6805" fmla="*/ 1061876 w 4493400"/>
              <a:gd name="connsiteY6805" fmla="*/ 1667267 h 4503132"/>
              <a:gd name="connsiteX6806" fmla="*/ 1079139 w 4493400"/>
              <a:gd name="connsiteY6806" fmla="*/ 1754798 h 4503132"/>
              <a:gd name="connsiteX6807" fmla="*/ 1116790 w 4493400"/>
              <a:gd name="connsiteY6807" fmla="*/ 1930003 h 4503132"/>
              <a:gd name="connsiteX6808" fmla="*/ 1133139 w 4493400"/>
              <a:gd name="connsiteY6808" fmla="*/ 1972205 h 4503132"/>
              <a:gd name="connsiteX6809" fmla="*/ 1157134 w 4493400"/>
              <a:gd name="connsiteY6809" fmla="*/ 2011278 h 4503132"/>
              <a:gd name="connsiteX6810" fmla="*/ 1174301 w 4493400"/>
              <a:gd name="connsiteY6810" fmla="*/ 2027399 h 4503132"/>
              <a:gd name="connsiteX6811" fmla="*/ 1196132 w 4493400"/>
              <a:gd name="connsiteY6811" fmla="*/ 2037696 h 4503132"/>
              <a:gd name="connsiteX6812" fmla="*/ 1242150 w 4493400"/>
              <a:gd name="connsiteY6812" fmla="*/ 2040391 h 4503132"/>
              <a:gd name="connsiteX6813" fmla="*/ 1328176 w 4493400"/>
              <a:gd name="connsiteY6813" fmla="*/ 2012289 h 4503132"/>
              <a:gd name="connsiteX6814" fmla="*/ 1402564 w 4493400"/>
              <a:gd name="connsiteY6814" fmla="*/ 1961859 h 4503132"/>
              <a:gd name="connsiteX6815" fmla="*/ 1467240 w 4493400"/>
              <a:gd name="connsiteY6815" fmla="*/ 1899880 h 4503132"/>
              <a:gd name="connsiteX6816" fmla="*/ 1496043 w 4493400"/>
              <a:gd name="connsiteY6816" fmla="*/ 1865571 h 4503132"/>
              <a:gd name="connsiteX6817" fmla="*/ 1522154 w 4493400"/>
              <a:gd name="connsiteY6817" fmla="*/ 1829144 h 4503132"/>
              <a:gd name="connsiteX6818" fmla="*/ 1561969 w 4493400"/>
              <a:gd name="connsiteY6818" fmla="*/ 1748687 h 4503132"/>
              <a:gd name="connsiteX6819" fmla="*/ 1586204 w 4493400"/>
              <a:gd name="connsiteY6819" fmla="*/ 1662792 h 4503132"/>
              <a:gd name="connsiteX6820" fmla="*/ 1608949 w 4493400"/>
              <a:gd name="connsiteY6820" fmla="*/ 1486528 h 4503132"/>
              <a:gd name="connsiteX6821" fmla="*/ 1628712 w 4493400"/>
              <a:gd name="connsiteY6821" fmla="*/ 1311852 h 4503132"/>
              <a:gd name="connsiteX6822" fmla="*/ 1640733 w 4493400"/>
              <a:gd name="connsiteY6822" fmla="*/ 1270035 h 4503132"/>
              <a:gd name="connsiteX6823" fmla="*/ 1648571 w 4493400"/>
              <a:gd name="connsiteY6823" fmla="*/ 1249777 h 4503132"/>
              <a:gd name="connsiteX6824" fmla="*/ 1657900 w 4493400"/>
              <a:gd name="connsiteY6824" fmla="*/ 1230192 h 4503132"/>
              <a:gd name="connsiteX6825" fmla="*/ 1706130 w 4493400"/>
              <a:gd name="connsiteY6825" fmla="*/ 1157819 h 4503132"/>
              <a:gd name="connsiteX6826" fmla="*/ 1765420 w 4493400"/>
              <a:gd name="connsiteY6826" fmla="*/ 1093627 h 4503132"/>
              <a:gd name="connsiteX6827" fmla="*/ 1831105 w 4493400"/>
              <a:gd name="connsiteY6827" fmla="*/ 1035786 h 4503132"/>
              <a:gd name="connsiteX6828" fmla="*/ 1900685 w 4493400"/>
              <a:gd name="connsiteY6828" fmla="*/ 982566 h 4503132"/>
              <a:gd name="connsiteX6829" fmla="*/ 1972525 w 4493400"/>
              <a:gd name="connsiteY6829" fmla="*/ 932184 h 4503132"/>
              <a:gd name="connsiteX6830" fmla="*/ 2041865 w 4493400"/>
              <a:gd name="connsiteY6830" fmla="*/ 877664 h 4503132"/>
              <a:gd name="connsiteX6831" fmla="*/ 2109522 w 4493400"/>
              <a:gd name="connsiteY6831" fmla="*/ 822181 h 4503132"/>
              <a:gd name="connsiteX6832" fmla="*/ 2259934 w 4493400"/>
              <a:gd name="connsiteY6832" fmla="*/ 738789 h 4503132"/>
              <a:gd name="connsiteX6833" fmla="*/ 2280756 w 4493400"/>
              <a:gd name="connsiteY6833" fmla="*/ 733592 h 4503132"/>
              <a:gd name="connsiteX6834" fmla="*/ 2301913 w 4493400"/>
              <a:gd name="connsiteY6834" fmla="*/ 730368 h 4503132"/>
              <a:gd name="connsiteX6835" fmla="*/ 2344614 w 4493400"/>
              <a:gd name="connsiteY6835" fmla="*/ 729020 h 4503132"/>
              <a:gd name="connsiteX6836" fmla="*/ 2428619 w 4493400"/>
              <a:gd name="connsiteY6836" fmla="*/ 746055 h 4503132"/>
              <a:gd name="connsiteX6837" fmla="*/ 2588697 w 4493400"/>
              <a:gd name="connsiteY6837" fmla="*/ 813616 h 4503132"/>
              <a:gd name="connsiteX6838" fmla="*/ 2668808 w 4493400"/>
              <a:gd name="connsiteY6838" fmla="*/ 848214 h 4503132"/>
              <a:gd name="connsiteX6839" fmla="*/ 2750121 w 4493400"/>
              <a:gd name="connsiteY6839" fmla="*/ 879540 h 4503132"/>
              <a:gd name="connsiteX6840" fmla="*/ 2909814 w 4493400"/>
              <a:gd name="connsiteY6840" fmla="*/ 946331 h 4503132"/>
              <a:gd name="connsiteX6841" fmla="*/ 2982808 w 4493400"/>
              <a:gd name="connsiteY6841" fmla="*/ 991179 h 4503132"/>
              <a:gd name="connsiteX6842" fmla="*/ 3040511 w 4493400"/>
              <a:gd name="connsiteY6842" fmla="*/ 1052725 h 4503132"/>
              <a:gd name="connsiteX6843" fmla="*/ 3073835 w 4493400"/>
              <a:gd name="connsiteY6843" fmla="*/ 1131016 h 4503132"/>
              <a:gd name="connsiteX6844" fmla="*/ 3094608 w 4493400"/>
              <a:gd name="connsiteY6844" fmla="*/ 1214409 h 4503132"/>
              <a:gd name="connsiteX6845" fmla="*/ 3115381 w 4493400"/>
              <a:gd name="connsiteY6845" fmla="*/ 1385091 h 4503132"/>
              <a:gd name="connsiteX6846" fmla="*/ 3110813 w 4493400"/>
              <a:gd name="connsiteY6846" fmla="*/ 1556399 h 4503132"/>
              <a:gd name="connsiteX6847" fmla="*/ 3095089 w 4493400"/>
              <a:gd name="connsiteY6847" fmla="*/ 1640176 h 4503132"/>
              <a:gd name="connsiteX6848" fmla="*/ 3062823 w 4493400"/>
              <a:gd name="connsiteY6848" fmla="*/ 1717890 h 4503132"/>
              <a:gd name="connsiteX6849" fmla="*/ 3036232 w 4493400"/>
              <a:gd name="connsiteY6849" fmla="*/ 1749457 h 4503132"/>
              <a:gd name="connsiteX6850" fmla="*/ 3028201 w 4493400"/>
              <a:gd name="connsiteY6850" fmla="*/ 1755808 h 4503132"/>
              <a:gd name="connsiteX6851" fmla="*/ 3019546 w 4493400"/>
              <a:gd name="connsiteY6851" fmla="*/ 1761198 h 4503132"/>
              <a:gd name="connsiteX6852" fmla="*/ 3015074 w 4493400"/>
              <a:gd name="connsiteY6852" fmla="*/ 1763604 h 4503132"/>
              <a:gd name="connsiteX6853" fmla="*/ 3010313 w 4493400"/>
              <a:gd name="connsiteY6853" fmla="*/ 1765577 h 4503132"/>
              <a:gd name="connsiteX6854" fmla="*/ 3000744 w 4493400"/>
              <a:gd name="connsiteY6854" fmla="*/ 1769330 h 4503132"/>
              <a:gd name="connsiteX6855" fmla="*/ 2990791 w 4493400"/>
              <a:gd name="connsiteY6855" fmla="*/ 1772266 h 4503132"/>
              <a:gd name="connsiteX6856" fmla="*/ 2980596 w 4493400"/>
              <a:gd name="connsiteY6856" fmla="*/ 1774479 h 4503132"/>
              <a:gd name="connsiteX6857" fmla="*/ 2959920 w 4493400"/>
              <a:gd name="connsiteY6857" fmla="*/ 1777511 h 4503132"/>
              <a:gd name="connsiteX6858" fmla="*/ 2917748 w 4493400"/>
              <a:gd name="connsiteY6858" fmla="*/ 1778521 h 4503132"/>
              <a:gd name="connsiteX6859" fmla="*/ 2833214 w 4493400"/>
              <a:gd name="connsiteY6859" fmla="*/ 1769715 h 4503132"/>
              <a:gd name="connsiteX6860" fmla="*/ 2749304 w 4493400"/>
              <a:gd name="connsiteY6860" fmla="*/ 1754172 h 4503132"/>
              <a:gd name="connsiteX6861" fmla="*/ 2581677 w 4493400"/>
              <a:gd name="connsiteY6861" fmla="*/ 1720103 h 4503132"/>
              <a:gd name="connsiteX6862" fmla="*/ 2496757 w 4493400"/>
              <a:gd name="connsiteY6862" fmla="*/ 1708410 h 4503132"/>
              <a:gd name="connsiteX6863" fmla="*/ 2410635 w 4493400"/>
              <a:gd name="connsiteY6863" fmla="*/ 1708218 h 4503132"/>
              <a:gd name="connsiteX6864" fmla="*/ 2368176 w 4493400"/>
              <a:gd name="connsiteY6864" fmla="*/ 1716735 h 4503132"/>
              <a:gd name="connsiteX6865" fmla="*/ 2347499 w 4493400"/>
              <a:gd name="connsiteY6865" fmla="*/ 1722991 h 4503132"/>
              <a:gd name="connsiteX6866" fmla="*/ 2327206 w 4493400"/>
              <a:gd name="connsiteY6866" fmla="*/ 1730401 h 4503132"/>
              <a:gd name="connsiteX6867" fmla="*/ 2253202 w 4493400"/>
              <a:gd name="connsiteY6867" fmla="*/ 1774672 h 4503132"/>
              <a:gd name="connsiteX6868" fmla="*/ 2236901 w 4493400"/>
              <a:gd name="connsiteY6868" fmla="*/ 1788915 h 4503132"/>
              <a:gd name="connsiteX6869" fmla="*/ 2221706 w 4493400"/>
              <a:gd name="connsiteY6869" fmla="*/ 1804314 h 4503132"/>
              <a:gd name="connsiteX6870" fmla="*/ 2207809 w 4493400"/>
              <a:gd name="connsiteY6870" fmla="*/ 1820819 h 4503132"/>
              <a:gd name="connsiteX6871" fmla="*/ 2204347 w 4493400"/>
              <a:gd name="connsiteY6871" fmla="*/ 1824957 h 4503132"/>
              <a:gd name="connsiteX6872" fmla="*/ 2201222 w 4493400"/>
              <a:gd name="connsiteY6872" fmla="*/ 1829336 h 4503132"/>
              <a:gd name="connsiteX6873" fmla="*/ 2194971 w 4493400"/>
              <a:gd name="connsiteY6873" fmla="*/ 1838094 h 4503132"/>
              <a:gd name="connsiteX6874" fmla="*/ 2153328 w 4493400"/>
              <a:gd name="connsiteY6874" fmla="*/ 1913065 h 4503132"/>
              <a:gd name="connsiteX6875" fmla="*/ 2103175 w 4493400"/>
              <a:gd name="connsiteY6875" fmla="*/ 2075808 h 4503132"/>
              <a:gd name="connsiteX6876" fmla="*/ 2072207 w 4493400"/>
              <a:gd name="connsiteY6876" fmla="*/ 2242400 h 4503132"/>
              <a:gd name="connsiteX6877" fmla="*/ 2005272 w 4493400"/>
              <a:gd name="connsiteY6877" fmla="*/ 2572167 h 4503132"/>
              <a:gd name="connsiteX6878" fmla="*/ 1960841 w 4493400"/>
              <a:gd name="connsiteY6878" fmla="*/ 2734188 h 4503132"/>
              <a:gd name="connsiteX6879" fmla="*/ 1907369 w 4493400"/>
              <a:gd name="connsiteY6879" fmla="*/ 2892262 h 4503132"/>
              <a:gd name="connsiteX6880" fmla="*/ 1868901 w 4493400"/>
              <a:gd name="connsiteY6880" fmla="*/ 2965357 h 4503132"/>
              <a:gd name="connsiteX6881" fmla="*/ 1812063 w 4493400"/>
              <a:gd name="connsiteY6881" fmla="*/ 3022235 h 4503132"/>
              <a:gd name="connsiteX6882" fmla="*/ 1774700 w 4493400"/>
              <a:gd name="connsiteY6882" fmla="*/ 3034939 h 4503132"/>
              <a:gd name="connsiteX6883" fmla="*/ 1754456 w 4493400"/>
              <a:gd name="connsiteY6883" fmla="*/ 3036142 h 4503132"/>
              <a:gd name="connsiteX6884" fmla="*/ 1744310 w 4493400"/>
              <a:gd name="connsiteY6884" fmla="*/ 3035853 h 4503132"/>
              <a:gd name="connsiteX6885" fmla="*/ 1739261 w 4493400"/>
              <a:gd name="connsiteY6885" fmla="*/ 3035708 h 4503132"/>
              <a:gd name="connsiteX6886" fmla="*/ 1734212 w 4493400"/>
              <a:gd name="connsiteY6886" fmla="*/ 3035083 h 4503132"/>
              <a:gd name="connsiteX6887" fmla="*/ 1656409 w 4493400"/>
              <a:gd name="connsiteY6887" fmla="*/ 3011985 h 4503132"/>
              <a:gd name="connsiteX6888" fmla="*/ 1585819 w 4493400"/>
              <a:gd name="connsiteY6888" fmla="*/ 2969736 h 4503132"/>
              <a:gd name="connsiteX6889" fmla="*/ 1520086 w 4493400"/>
              <a:gd name="connsiteY6889" fmla="*/ 2919354 h 4503132"/>
              <a:gd name="connsiteX6890" fmla="*/ 1388764 w 4493400"/>
              <a:gd name="connsiteY6890" fmla="*/ 2817243 h 4503132"/>
              <a:gd name="connsiteX6891" fmla="*/ 1316202 w 4493400"/>
              <a:gd name="connsiteY6891" fmla="*/ 2775764 h 4503132"/>
              <a:gd name="connsiteX6892" fmla="*/ 1235755 w 4493400"/>
              <a:gd name="connsiteY6892" fmla="*/ 2751944 h 4503132"/>
              <a:gd name="connsiteX6893" fmla="*/ 1225272 w 4493400"/>
              <a:gd name="connsiteY6893" fmla="*/ 2750597 h 4503132"/>
              <a:gd name="connsiteX6894" fmla="*/ 1214693 w 4493400"/>
              <a:gd name="connsiteY6894" fmla="*/ 2750115 h 4503132"/>
              <a:gd name="connsiteX6895" fmla="*/ 1204114 w 4493400"/>
              <a:gd name="connsiteY6895" fmla="*/ 2749730 h 4503132"/>
              <a:gd name="connsiteX6896" fmla="*/ 1193295 w 4493400"/>
              <a:gd name="connsiteY6896" fmla="*/ 2750452 h 4503132"/>
              <a:gd name="connsiteX6897" fmla="*/ 1152422 w 4493400"/>
              <a:gd name="connsiteY6897" fmla="*/ 2763926 h 4503132"/>
              <a:gd name="connsiteX6898" fmla="*/ 1093853 w 4493400"/>
              <a:gd name="connsiteY6898" fmla="*/ 2824365 h 4503132"/>
              <a:gd name="connsiteX6899" fmla="*/ 1057789 w 4493400"/>
              <a:gd name="connsiteY6899" fmla="*/ 2899480 h 4503132"/>
              <a:gd name="connsiteX6900" fmla="*/ 1032688 w 4493400"/>
              <a:gd name="connsiteY6900" fmla="*/ 2978398 h 4503132"/>
              <a:gd name="connsiteX6901" fmla="*/ 996431 w 4493400"/>
              <a:gd name="connsiteY6901" fmla="*/ 3139071 h 4503132"/>
              <a:gd name="connsiteX6902" fmla="*/ 977438 w 4493400"/>
              <a:gd name="connsiteY6902" fmla="*/ 3218325 h 4503132"/>
              <a:gd name="connsiteX6903" fmla="*/ 959982 w 4493400"/>
              <a:gd name="connsiteY6903" fmla="*/ 3254174 h 4503132"/>
              <a:gd name="connsiteX6904" fmla="*/ 939594 w 4493400"/>
              <a:gd name="connsiteY6904" fmla="*/ 3289927 h 4503132"/>
              <a:gd name="connsiteX6905" fmla="*/ 915311 w 4493400"/>
              <a:gd name="connsiteY6905" fmla="*/ 3369663 h 4503132"/>
              <a:gd name="connsiteX6906" fmla="*/ 932573 w 4493400"/>
              <a:gd name="connsiteY6906" fmla="*/ 3451178 h 4503132"/>
              <a:gd name="connsiteX6907" fmla="*/ 936901 w 4493400"/>
              <a:gd name="connsiteY6907" fmla="*/ 3460609 h 4503132"/>
              <a:gd name="connsiteX6908" fmla="*/ 941758 w 4493400"/>
              <a:gd name="connsiteY6908" fmla="*/ 3469801 h 4503132"/>
              <a:gd name="connsiteX6909" fmla="*/ 946855 w 4493400"/>
              <a:gd name="connsiteY6909" fmla="*/ 3478895 h 4503132"/>
              <a:gd name="connsiteX6910" fmla="*/ 952577 w 4493400"/>
              <a:gd name="connsiteY6910" fmla="*/ 3487653 h 4503132"/>
              <a:gd name="connsiteX6911" fmla="*/ 955462 w 4493400"/>
              <a:gd name="connsiteY6911" fmla="*/ 3492032 h 4503132"/>
              <a:gd name="connsiteX6912" fmla="*/ 958684 w 4493400"/>
              <a:gd name="connsiteY6912" fmla="*/ 3496170 h 4503132"/>
              <a:gd name="connsiteX6913" fmla="*/ 965176 w 4493400"/>
              <a:gd name="connsiteY6913" fmla="*/ 3504399 h 4503132"/>
              <a:gd name="connsiteX6914" fmla="*/ 979986 w 4493400"/>
              <a:gd name="connsiteY6914" fmla="*/ 3519364 h 4503132"/>
              <a:gd name="connsiteX6915" fmla="*/ 1015377 w 4493400"/>
              <a:gd name="connsiteY6915" fmla="*/ 3542221 h 4503132"/>
              <a:gd name="connsiteX6916" fmla="*/ 1055817 w 4493400"/>
              <a:gd name="connsiteY6916" fmla="*/ 3553433 h 4503132"/>
              <a:gd name="connsiteX6917" fmla="*/ 1138237 w 4493400"/>
              <a:gd name="connsiteY6917" fmla="*/ 3551460 h 4503132"/>
              <a:gd name="connsiteX6918" fmla="*/ 1218540 w 4493400"/>
              <a:gd name="connsiteY6918" fmla="*/ 3541596 h 4503132"/>
              <a:gd name="connsiteX6919" fmla="*/ 1294948 w 4493400"/>
              <a:gd name="connsiteY6919" fmla="*/ 3554492 h 4503132"/>
              <a:gd name="connsiteX6920" fmla="*/ 1312115 w 4493400"/>
              <a:gd name="connsiteY6920" fmla="*/ 3564116 h 4503132"/>
              <a:gd name="connsiteX6921" fmla="*/ 1320097 w 4493400"/>
              <a:gd name="connsiteY6921" fmla="*/ 3569794 h 4503132"/>
              <a:gd name="connsiteX6922" fmla="*/ 1327791 w 4493400"/>
              <a:gd name="connsiteY6922" fmla="*/ 3575809 h 4503132"/>
              <a:gd name="connsiteX6923" fmla="*/ 1341543 w 4493400"/>
              <a:gd name="connsiteY6923" fmla="*/ 3589668 h 4503132"/>
              <a:gd name="connsiteX6924" fmla="*/ 1353324 w 4493400"/>
              <a:gd name="connsiteY6924" fmla="*/ 3605259 h 4503132"/>
              <a:gd name="connsiteX6925" fmla="*/ 1379243 w 4493400"/>
              <a:gd name="connsiteY6925" fmla="*/ 3679316 h 4503132"/>
              <a:gd name="connsiteX6926" fmla="*/ 1387610 w 4493400"/>
              <a:gd name="connsiteY6926" fmla="*/ 3759339 h 4503132"/>
              <a:gd name="connsiteX6927" fmla="*/ 1400593 w 4493400"/>
              <a:gd name="connsiteY6927" fmla="*/ 3839989 h 4503132"/>
              <a:gd name="connsiteX6928" fmla="*/ 1403863 w 4493400"/>
              <a:gd name="connsiteY6928" fmla="*/ 3849805 h 4503132"/>
              <a:gd name="connsiteX6929" fmla="*/ 1407613 w 4493400"/>
              <a:gd name="connsiteY6929" fmla="*/ 3859478 h 4503132"/>
              <a:gd name="connsiteX6930" fmla="*/ 1411941 w 4493400"/>
              <a:gd name="connsiteY6930" fmla="*/ 3868957 h 4503132"/>
              <a:gd name="connsiteX6931" fmla="*/ 1417086 w 4493400"/>
              <a:gd name="connsiteY6931" fmla="*/ 3878052 h 4503132"/>
              <a:gd name="connsiteX6932" fmla="*/ 1422905 w 4493400"/>
              <a:gd name="connsiteY6932" fmla="*/ 3886762 h 4503132"/>
              <a:gd name="connsiteX6933" fmla="*/ 1429300 w 4493400"/>
              <a:gd name="connsiteY6933" fmla="*/ 3895038 h 4503132"/>
              <a:gd name="connsiteX6934" fmla="*/ 1436272 w 4493400"/>
              <a:gd name="connsiteY6934" fmla="*/ 3902882 h 4503132"/>
              <a:gd name="connsiteX6935" fmla="*/ 1444062 w 4493400"/>
              <a:gd name="connsiteY6935" fmla="*/ 3909859 h 4503132"/>
              <a:gd name="connsiteX6936" fmla="*/ 1452285 w 4493400"/>
              <a:gd name="connsiteY6936" fmla="*/ 3916259 h 4503132"/>
              <a:gd name="connsiteX6937" fmla="*/ 1460892 w 4493400"/>
              <a:gd name="connsiteY6937" fmla="*/ 3922178 h 4503132"/>
              <a:gd name="connsiteX6938" fmla="*/ 1469981 w 4493400"/>
              <a:gd name="connsiteY6938" fmla="*/ 3927231 h 4503132"/>
              <a:gd name="connsiteX6939" fmla="*/ 1474549 w 4493400"/>
              <a:gd name="connsiteY6939" fmla="*/ 3929733 h 4503132"/>
              <a:gd name="connsiteX6940" fmla="*/ 1479309 w 4493400"/>
              <a:gd name="connsiteY6940" fmla="*/ 3931754 h 4503132"/>
              <a:gd name="connsiteX6941" fmla="*/ 1518307 w 4493400"/>
              <a:gd name="connsiteY6941" fmla="*/ 3944891 h 4503132"/>
              <a:gd name="connsiteX6942" fmla="*/ 1599812 w 4493400"/>
              <a:gd name="connsiteY6942" fmla="*/ 3949462 h 4503132"/>
              <a:gd name="connsiteX6943" fmla="*/ 1679442 w 4493400"/>
              <a:gd name="connsiteY6943" fmla="*/ 3935892 h 4503132"/>
              <a:gd name="connsiteX6944" fmla="*/ 1758063 w 4493400"/>
              <a:gd name="connsiteY6944" fmla="*/ 3922178 h 4503132"/>
              <a:gd name="connsiteX6945" fmla="*/ 1916121 w 4493400"/>
              <a:gd name="connsiteY6945" fmla="*/ 3925113 h 4503132"/>
              <a:gd name="connsiteX6946" fmla="*/ 1991712 w 4493400"/>
              <a:gd name="connsiteY6946" fmla="*/ 3946094 h 4503132"/>
              <a:gd name="connsiteX6947" fmla="*/ 2059897 w 4493400"/>
              <a:gd name="connsiteY6947" fmla="*/ 3985167 h 4503132"/>
              <a:gd name="connsiteX6948" fmla="*/ 2091634 w 4493400"/>
              <a:gd name="connsiteY6948" fmla="*/ 4008891 h 4503132"/>
              <a:gd name="connsiteX6949" fmla="*/ 2107310 w 4493400"/>
              <a:gd name="connsiteY6949" fmla="*/ 4021161 h 4503132"/>
              <a:gd name="connsiteX6950" fmla="*/ 2122169 w 4493400"/>
              <a:gd name="connsiteY6950" fmla="*/ 4033913 h 4503132"/>
              <a:gd name="connsiteX6951" fmla="*/ 2186700 w 4493400"/>
              <a:gd name="connsiteY6951" fmla="*/ 4081985 h 4503132"/>
              <a:gd name="connsiteX6952" fmla="*/ 2224255 w 4493400"/>
              <a:gd name="connsiteY6952" fmla="*/ 4097769 h 4503132"/>
              <a:gd name="connsiteX6953" fmla="*/ 2264935 w 4493400"/>
              <a:gd name="connsiteY6953" fmla="*/ 4103110 h 4503132"/>
              <a:gd name="connsiteX6954" fmla="*/ 2275274 w 4493400"/>
              <a:gd name="connsiteY6954" fmla="*/ 4102340 h 4503132"/>
              <a:gd name="connsiteX6955" fmla="*/ 2280515 w 4493400"/>
              <a:gd name="connsiteY6955" fmla="*/ 4101474 h 4503132"/>
              <a:gd name="connsiteX6956" fmla="*/ 2285805 w 4493400"/>
              <a:gd name="connsiteY6956" fmla="*/ 4100271 h 4503132"/>
              <a:gd name="connsiteX6957" fmla="*/ 2295806 w 4493400"/>
              <a:gd name="connsiteY6957" fmla="*/ 4096084 h 4503132"/>
              <a:gd name="connsiteX6958" fmla="*/ 2300375 w 4493400"/>
              <a:gd name="connsiteY6958" fmla="*/ 4093197 h 4503132"/>
              <a:gd name="connsiteX6959" fmla="*/ 2304702 w 4493400"/>
              <a:gd name="connsiteY6959" fmla="*/ 4090021 h 4503132"/>
              <a:gd name="connsiteX6960" fmla="*/ 2329226 w 4493400"/>
              <a:gd name="connsiteY6960" fmla="*/ 4056530 h 4503132"/>
              <a:gd name="connsiteX6961" fmla="*/ 2348364 w 4493400"/>
              <a:gd name="connsiteY6961" fmla="*/ 3978334 h 4503132"/>
              <a:gd name="connsiteX6962" fmla="*/ 2350095 w 4493400"/>
              <a:gd name="connsiteY6962" fmla="*/ 3898503 h 4503132"/>
              <a:gd name="connsiteX6963" fmla="*/ 2340430 w 4493400"/>
              <a:gd name="connsiteY6963" fmla="*/ 3819393 h 4503132"/>
              <a:gd name="connsiteX6964" fmla="*/ 2329755 w 4493400"/>
              <a:gd name="connsiteY6964" fmla="*/ 3780657 h 4503132"/>
              <a:gd name="connsiteX6965" fmla="*/ 2320907 w 4493400"/>
              <a:gd name="connsiteY6965" fmla="*/ 3762131 h 4503132"/>
              <a:gd name="connsiteX6966" fmla="*/ 2315570 w 4493400"/>
              <a:gd name="connsiteY6966" fmla="*/ 3753517 h 4503132"/>
              <a:gd name="connsiteX6967" fmla="*/ 2309559 w 4493400"/>
              <a:gd name="connsiteY6967" fmla="*/ 3745337 h 4503132"/>
              <a:gd name="connsiteX6968" fmla="*/ 2248153 w 4493400"/>
              <a:gd name="connsiteY6968" fmla="*/ 3693800 h 4503132"/>
              <a:gd name="connsiteX6969" fmla="*/ 2175351 w 4493400"/>
              <a:gd name="connsiteY6969" fmla="*/ 3662233 h 4503132"/>
              <a:gd name="connsiteX6970" fmla="*/ 2138373 w 4493400"/>
              <a:gd name="connsiteY6970" fmla="*/ 3648952 h 4503132"/>
              <a:gd name="connsiteX6971" fmla="*/ 2120053 w 4493400"/>
              <a:gd name="connsiteY6971" fmla="*/ 3642119 h 4503132"/>
              <a:gd name="connsiteX6972" fmla="*/ 2101347 w 4493400"/>
              <a:gd name="connsiteY6972" fmla="*/ 3635575 h 4503132"/>
              <a:gd name="connsiteX6973" fmla="*/ 2026910 w 4493400"/>
              <a:gd name="connsiteY6973" fmla="*/ 3611178 h 4503132"/>
              <a:gd name="connsiteX6974" fmla="*/ 1955022 w 4493400"/>
              <a:gd name="connsiteY6974" fmla="*/ 3581872 h 4503132"/>
              <a:gd name="connsiteX6975" fmla="*/ 1921747 w 4493400"/>
              <a:gd name="connsiteY6975" fmla="*/ 3562672 h 4503132"/>
              <a:gd name="connsiteX6976" fmla="*/ 1893617 w 4493400"/>
              <a:gd name="connsiteY6976" fmla="*/ 3537794 h 4503132"/>
              <a:gd name="connsiteX6977" fmla="*/ 1876931 w 4493400"/>
              <a:gd name="connsiteY6977" fmla="*/ 3504880 h 4503132"/>
              <a:gd name="connsiteX6978" fmla="*/ 1871016 w 4493400"/>
              <a:gd name="connsiteY6978" fmla="*/ 3467587 h 4503132"/>
              <a:gd name="connsiteX6979" fmla="*/ 1879095 w 4493400"/>
              <a:gd name="connsiteY6979" fmla="*/ 3391605 h 4503132"/>
              <a:gd name="connsiteX6980" fmla="*/ 1903811 w 4493400"/>
              <a:gd name="connsiteY6980" fmla="*/ 3318848 h 4503132"/>
              <a:gd name="connsiteX6981" fmla="*/ 1921266 w 4493400"/>
              <a:gd name="connsiteY6981" fmla="*/ 3284682 h 4503132"/>
              <a:gd name="connsiteX6982" fmla="*/ 1931364 w 4493400"/>
              <a:gd name="connsiteY6982" fmla="*/ 3268418 h 4503132"/>
              <a:gd name="connsiteX6983" fmla="*/ 1936990 w 4493400"/>
              <a:gd name="connsiteY6983" fmla="*/ 3260863 h 4503132"/>
              <a:gd name="connsiteX6984" fmla="*/ 1942905 w 4493400"/>
              <a:gd name="connsiteY6984" fmla="*/ 3253549 h 4503132"/>
              <a:gd name="connsiteX6985" fmla="*/ 1998636 w 4493400"/>
              <a:gd name="connsiteY6985" fmla="*/ 3200713 h 4503132"/>
              <a:gd name="connsiteX6986" fmla="*/ 2058310 w 4493400"/>
              <a:gd name="connsiteY6986" fmla="*/ 3151437 h 4503132"/>
              <a:gd name="connsiteX6987" fmla="*/ 2177227 w 4493400"/>
              <a:gd name="connsiteY6987" fmla="*/ 3052358 h 4503132"/>
              <a:gd name="connsiteX6988" fmla="*/ 2234257 w 4493400"/>
              <a:gd name="connsiteY6988" fmla="*/ 3000100 h 4503132"/>
              <a:gd name="connsiteX6989" fmla="*/ 2289122 w 4493400"/>
              <a:gd name="connsiteY6989" fmla="*/ 2945965 h 4503132"/>
              <a:gd name="connsiteX6990" fmla="*/ 2400008 w 4493400"/>
              <a:gd name="connsiteY6990" fmla="*/ 2839812 h 4503132"/>
              <a:gd name="connsiteX6991" fmla="*/ 2516905 w 4493400"/>
              <a:gd name="connsiteY6991" fmla="*/ 2741598 h 4503132"/>
              <a:gd name="connsiteX6992" fmla="*/ 2547776 w 4493400"/>
              <a:gd name="connsiteY6992" fmla="*/ 2719415 h 4503132"/>
              <a:gd name="connsiteX6993" fmla="*/ 2579513 w 4493400"/>
              <a:gd name="connsiteY6993" fmla="*/ 2698627 h 4503132"/>
              <a:gd name="connsiteX6994" fmla="*/ 2595814 w 4493400"/>
              <a:gd name="connsiteY6994" fmla="*/ 2689051 h 4503132"/>
              <a:gd name="connsiteX6995" fmla="*/ 2612355 w 4493400"/>
              <a:gd name="connsiteY6995" fmla="*/ 2679956 h 4503132"/>
              <a:gd name="connsiteX6996" fmla="*/ 2629233 w 4493400"/>
              <a:gd name="connsiteY6996" fmla="*/ 2671583 h 4503132"/>
              <a:gd name="connsiteX6997" fmla="*/ 2646640 w 4493400"/>
              <a:gd name="connsiteY6997" fmla="*/ 2664509 h 4503132"/>
              <a:gd name="connsiteX6998" fmla="*/ 2718962 w 4493400"/>
              <a:gd name="connsiteY6998" fmla="*/ 2643962 h 4503132"/>
              <a:gd name="connsiteX6999" fmla="*/ 2756228 w 4493400"/>
              <a:gd name="connsiteY6999" fmla="*/ 2637803 h 4503132"/>
              <a:gd name="connsiteX7000" fmla="*/ 2793783 w 4493400"/>
              <a:gd name="connsiteY7000" fmla="*/ 2633231 h 4503132"/>
              <a:gd name="connsiteX7001" fmla="*/ 2944917 w 4493400"/>
              <a:gd name="connsiteY7001" fmla="*/ 2621635 h 4503132"/>
              <a:gd name="connsiteX7002" fmla="*/ 3095089 w 4493400"/>
              <a:gd name="connsiteY7002" fmla="*/ 2599066 h 4503132"/>
              <a:gd name="connsiteX7003" fmla="*/ 3113409 w 4493400"/>
              <a:gd name="connsiteY7003" fmla="*/ 2593677 h 4503132"/>
              <a:gd name="connsiteX7004" fmla="*/ 3131249 w 4493400"/>
              <a:gd name="connsiteY7004" fmla="*/ 2586651 h 4503132"/>
              <a:gd name="connsiteX7005" fmla="*/ 3165246 w 4493400"/>
              <a:gd name="connsiteY7005" fmla="*/ 2568317 h 4503132"/>
              <a:gd name="connsiteX7006" fmla="*/ 3219679 w 4493400"/>
              <a:gd name="connsiteY7006" fmla="*/ 2514760 h 4503132"/>
              <a:gd name="connsiteX7007" fmla="*/ 3305128 w 4493400"/>
              <a:gd name="connsiteY7007" fmla="*/ 2390754 h 4503132"/>
              <a:gd name="connsiteX7008" fmla="*/ 3351098 w 4493400"/>
              <a:gd name="connsiteY7008" fmla="*/ 2332721 h 4503132"/>
              <a:gd name="connsiteX7009" fmla="*/ 3378988 w 4493400"/>
              <a:gd name="connsiteY7009" fmla="*/ 2309287 h 4503132"/>
              <a:gd name="connsiteX7010" fmla="*/ 3394471 w 4493400"/>
              <a:gd name="connsiteY7010" fmla="*/ 2299278 h 4503132"/>
              <a:gd name="connsiteX7011" fmla="*/ 3410580 w 4493400"/>
              <a:gd name="connsiteY7011" fmla="*/ 2290231 h 4503132"/>
              <a:gd name="connsiteX7012" fmla="*/ 3478381 w 4493400"/>
              <a:gd name="connsiteY7012" fmla="*/ 2261215 h 4503132"/>
              <a:gd name="connsiteX7013" fmla="*/ 3513772 w 4493400"/>
              <a:gd name="connsiteY7013" fmla="*/ 2250676 h 4503132"/>
              <a:gd name="connsiteX7014" fmla="*/ 3531756 w 4493400"/>
              <a:gd name="connsiteY7014" fmla="*/ 2246490 h 4503132"/>
              <a:gd name="connsiteX7015" fmla="*/ 3549836 w 4493400"/>
              <a:gd name="connsiteY7015" fmla="*/ 2242784 h 4503132"/>
              <a:gd name="connsiteX7016" fmla="*/ 3568013 w 4493400"/>
              <a:gd name="connsiteY7016" fmla="*/ 2239609 h 4503132"/>
              <a:gd name="connsiteX7017" fmla="*/ 3586334 w 4493400"/>
              <a:gd name="connsiteY7017" fmla="*/ 2237203 h 4503132"/>
              <a:gd name="connsiteX7018" fmla="*/ 3623071 w 4493400"/>
              <a:gd name="connsiteY7018" fmla="*/ 2233690 h 4503132"/>
              <a:gd name="connsiteX7019" fmla="*/ 3696787 w 4493400"/>
              <a:gd name="connsiteY7019" fmla="*/ 2233401 h 4503132"/>
              <a:gd name="connsiteX7020" fmla="*/ 3769925 w 4493400"/>
              <a:gd name="connsiteY7020" fmla="*/ 2241485 h 4503132"/>
              <a:gd name="connsiteX7021" fmla="*/ 3806086 w 4493400"/>
              <a:gd name="connsiteY7021" fmla="*/ 2248751 h 4503132"/>
              <a:gd name="connsiteX7022" fmla="*/ 3841958 w 4493400"/>
              <a:gd name="connsiteY7022" fmla="*/ 2256932 h 4503132"/>
              <a:gd name="connsiteX7023" fmla="*/ 3907114 w 4493400"/>
              <a:gd name="connsiteY7023" fmla="*/ 2285852 h 4503132"/>
              <a:gd name="connsiteX7024" fmla="*/ 3927021 w 4493400"/>
              <a:gd name="connsiteY7024" fmla="*/ 2313473 h 4503132"/>
              <a:gd name="connsiteX7025" fmla="*/ 3930820 w 4493400"/>
              <a:gd name="connsiteY7025" fmla="*/ 2348120 h 4503132"/>
              <a:gd name="connsiteX7026" fmla="*/ 3928849 w 4493400"/>
              <a:gd name="connsiteY7026" fmla="*/ 2365924 h 4503132"/>
              <a:gd name="connsiteX7027" fmla="*/ 3924906 w 4493400"/>
              <a:gd name="connsiteY7027" fmla="*/ 2383536 h 4503132"/>
              <a:gd name="connsiteX7028" fmla="*/ 3913413 w 4493400"/>
              <a:gd name="connsiteY7028" fmla="*/ 2417894 h 4503132"/>
              <a:gd name="connsiteX7029" fmla="*/ 3880859 w 4493400"/>
              <a:gd name="connsiteY7029" fmla="*/ 2483049 h 4503132"/>
              <a:gd name="connsiteX7030" fmla="*/ 3795651 w 4493400"/>
              <a:gd name="connsiteY7030" fmla="*/ 2601183 h 4503132"/>
              <a:gd name="connsiteX7031" fmla="*/ 3744776 w 4493400"/>
              <a:gd name="connsiteY7031" fmla="*/ 2652528 h 4503132"/>
              <a:gd name="connsiteX7032" fmla="*/ 3730206 w 4493400"/>
              <a:gd name="connsiteY7032" fmla="*/ 2662440 h 4503132"/>
              <a:gd name="connsiteX7033" fmla="*/ 3714482 w 4493400"/>
              <a:gd name="connsiteY7033" fmla="*/ 2671054 h 4503132"/>
              <a:gd name="connsiteX7034" fmla="*/ 3698181 w 4493400"/>
              <a:gd name="connsiteY7034" fmla="*/ 2678464 h 4503132"/>
              <a:gd name="connsiteX7035" fmla="*/ 3689910 w 4493400"/>
              <a:gd name="connsiteY7035" fmla="*/ 2681833 h 4503132"/>
              <a:gd name="connsiteX7036" fmla="*/ 3681399 w 4493400"/>
              <a:gd name="connsiteY7036" fmla="*/ 2684672 h 4503132"/>
              <a:gd name="connsiteX7037" fmla="*/ 3611050 w 4493400"/>
              <a:gd name="connsiteY7037" fmla="*/ 2696798 h 4503132"/>
              <a:gd name="connsiteX7038" fmla="*/ 3539210 w 4493400"/>
              <a:gd name="connsiteY7038" fmla="*/ 2693045 h 4503132"/>
              <a:gd name="connsiteX7039" fmla="*/ 3394904 w 4493400"/>
              <a:gd name="connsiteY7039" fmla="*/ 2675337 h 4503132"/>
              <a:gd name="connsiteX7040" fmla="*/ 3321862 w 4493400"/>
              <a:gd name="connsiteY7040" fmla="*/ 2681159 h 4503132"/>
              <a:gd name="connsiteX7041" fmla="*/ 3253483 w 4493400"/>
              <a:gd name="connsiteY7041" fmla="*/ 2707529 h 4503132"/>
              <a:gd name="connsiteX7042" fmla="*/ 3245598 w 4493400"/>
              <a:gd name="connsiteY7042" fmla="*/ 2712245 h 4503132"/>
              <a:gd name="connsiteX7043" fmla="*/ 3241654 w 4493400"/>
              <a:gd name="connsiteY7043" fmla="*/ 2714603 h 4503132"/>
              <a:gd name="connsiteX7044" fmla="*/ 3237807 w 4493400"/>
              <a:gd name="connsiteY7044" fmla="*/ 2717346 h 4503132"/>
              <a:gd name="connsiteX7045" fmla="*/ 3233961 w 4493400"/>
              <a:gd name="connsiteY7045" fmla="*/ 2720185 h 4503132"/>
              <a:gd name="connsiteX7046" fmla="*/ 3230450 w 4493400"/>
              <a:gd name="connsiteY7046" fmla="*/ 2723312 h 4503132"/>
              <a:gd name="connsiteX7047" fmla="*/ 3226940 w 4493400"/>
              <a:gd name="connsiteY7047" fmla="*/ 2726440 h 4503132"/>
              <a:gd name="connsiteX7048" fmla="*/ 3223718 w 4493400"/>
              <a:gd name="connsiteY7048" fmla="*/ 2729809 h 4503132"/>
              <a:gd name="connsiteX7049" fmla="*/ 3201407 w 4493400"/>
              <a:gd name="connsiteY7049" fmla="*/ 2759162 h 4503132"/>
              <a:gd name="connsiteX7050" fmla="*/ 3169381 w 4493400"/>
              <a:gd name="connsiteY7050" fmla="*/ 2824413 h 4503132"/>
              <a:gd name="connsiteX7051" fmla="*/ 3125912 w 4493400"/>
              <a:gd name="connsiteY7051" fmla="*/ 2961748 h 4503132"/>
              <a:gd name="connsiteX7052" fmla="*/ 3065612 w 4493400"/>
              <a:gd name="connsiteY7052" fmla="*/ 3241133 h 4503132"/>
              <a:gd name="connsiteX7053" fmla="*/ 3017046 w 4493400"/>
              <a:gd name="connsiteY7053" fmla="*/ 3520471 h 4503132"/>
              <a:gd name="connsiteX7054" fmla="*/ 2996080 w 4493400"/>
              <a:gd name="connsiteY7054" fmla="*/ 3659875 h 4503132"/>
              <a:gd name="connsiteX7055" fmla="*/ 2991272 w 4493400"/>
              <a:gd name="connsiteY7055" fmla="*/ 3694714 h 4503132"/>
              <a:gd name="connsiteX7056" fmla="*/ 2987954 w 4493400"/>
              <a:gd name="connsiteY7056" fmla="*/ 3729986 h 4503132"/>
              <a:gd name="connsiteX7057" fmla="*/ 2989877 w 4493400"/>
              <a:gd name="connsiteY7057" fmla="*/ 3800675 h 4503132"/>
              <a:gd name="connsiteX7058" fmla="*/ 3001706 w 4493400"/>
              <a:gd name="connsiteY7058" fmla="*/ 3870112 h 4503132"/>
              <a:gd name="connsiteX7059" fmla="*/ 3017719 w 4493400"/>
              <a:gd name="connsiteY7059" fmla="*/ 3937865 h 4503132"/>
              <a:gd name="connsiteX7060" fmla="*/ 3014497 w 4493400"/>
              <a:gd name="connsiteY7060" fmla="*/ 4004079 h 4503132"/>
              <a:gd name="connsiteX7061" fmla="*/ 2970258 w 4493400"/>
              <a:gd name="connsiteY7061" fmla="*/ 4052632 h 4503132"/>
              <a:gd name="connsiteX7062" fmla="*/ 2908035 w 4493400"/>
              <a:gd name="connsiteY7062" fmla="*/ 4080397 h 4503132"/>
              <a:gd name="connsiteX7063" fmla="*/ 2841580 w 4493400"/>
              <a:gd name="connsiteY7063" fmla="*/ 4097384 h 4503132"/>
              <a:gd name="connsiteX7064" fmla="*/ 2704873 w 4493400"/>
              <a:gd name="connsiteY7064" fmla="*/ 4112542 h 4503132"/>
              <a:gd name="connsiteX7065" fmla="*/ 2636302 w 4493400"/>
              <a:gd name="connsiteY7065" fmla="*/ 4119326 h 4503132"/>
              <a:gd name="connsiteX7066" fmla="*/ 2568068 w 4493400"/>
              <a:gd name="connsiteY7066" fmla="*/ 4129287 h 4503132"/>
              <a:gd name="connsiteX7067" fmla="*/ 2501277 w 4493400"/>
              <a:gd name="connsiteY7067" fmla="*/ 4147573 h 4503132"/>
              <a:gd name="connsiteX7068" fmla="*/ 2471512 w 4493400"/>
              <a:gd name="connsiteY7068" fmla="*/ 4167062 h 4503132"/>
              <a:gd name="connsiteX7069" fmla="*/ 2449681 w 4493400"/>
              <a:gd name="connsiteY7069" fmla="*/ 4194635 h 4503132"/>
              <a:gd name="connsiteX7070" fmla="*/ 2420349 w 4493400"/>
              <a:gd name="connsiteY7070" fmla="*/ 4256998 h 4503132"/>
              <a:gd name="connsiteX7071" fmla="*/ 2391497 w 4493400"/>
              <a:gd name="connsiteY7071" fmla="*/ 4317341 h 4503132"/>
              <a:gd name="connsiteX7072" fmla="*/ 2290757 w 4493400"/>
              <a:gd name="connsiteY7072" fmla="*/ 4404342 h 4503132"/>
              <a:gd name="connsiteX7073" fmla="*/ 2275947 w 4493400"/>
              <a:gd name="connsiteY7073" fmla="*/ 4412090 h 4503132"/>
              <a:gd name="connsiteX7074" fmla="*/ 2260800 w 4493400"/>
              <a:gd name="connsiteY7074" fmla="*/ 4419163 h 4503132"/>
              <a:gd name="connsiteX7075" fmla="*/ 2245364 w 4493400"/>
              <a:gd name="connsiteY7075" fmla="*/ 4425563 h 4503132"/>
              <a:gd name="connsiteX7076" fmla="*/ 2229544 w 4493400"/>
              <a:gd name="connsiteY7076" fmla="*/ 4430905 h 4503132"/>
              <a:gd name="connsiteX7077" fmla="*/ 2221610 w 4493400"/>
              <a:gd name="connsiteY7077" fmla="*/ 4433551 h 4503132"/>
              <a:gd name="connsiteX7078" fmla="*/ 2213532 w 4493400"/>
              <a:gd name="connsiteY7078" fmla="*/ 4435668 h 4503132"/>
              <a:gd name="connsiteX7079" fmla="*/ 2197375 w 4493400"/>
              <a:gd name="connsiteY7079" fmla="*/ 4439903 h 4503132"/>
              <a:gd name="connsiteX7080" fmla="*/ 2180978 w 4493400"/>
              <a:gd name="connsiteY7080" fmla="*/ 4443079 h 4503132"/>
              <a:gd name="connsiteX7081" fmla="*/ 2164532 w 4493400"/>
              <a:gd name="connsiteY7081" fmla="*/ 4445870 h 4503132"/>
              <a:gd name="connsiteX7082" fmla="*/ 2031286 w 4493400"/>
              <a:gd name="connsiteY7082" fmla="*/ 4448420 h 4503132"/>
              <a:gd name="connsiteX7083" fmla="*/ 1992722 w 4493400"/>
              <a:gd name="connsiteY7083" fmla="*/ 4443368 h 4503132"/>
              <a:gd name="connsiteX7084" fmla="*/ 2024987 w 4493400"/>
              <a:gd name="connsiteY7084" fmla="*/ 4447073 h 4503132"/>
              <a:gd name="connsiteX7085" fmla="*/ 2130391 w 4493400"/>
              <a:gd name="connsiteY7085" fmla="*/ 4446351 h 4503132"/>
              <a:gd name="connsiteX7086" fmla="*/ 1771767 w 4493400"/>
              <a:gd name="connsiteY7086" fmla="*/ 4405160 h 4503132"/>
              <a:gd name="connsiteX7087" fmla="*/ 1745416 w 4493400"/>
              <a:gd name="connsiteY7087" fmla="*/ 4395199 h 4503132"/>
              <a:gd name="connsiteX7088" fmla="*/ 1677038 w 4493400"/>
              <a:gd name="connsiteY7088" fmla="*/ 4369263 h 4503132"/>
              <a:gd name="connsiteX7089" fmla="*/ 1660785 w 4493400"/>
              <a:gd name="connsiteY7089" fmla="*/ 4363151 h 4503132"/>
              <a:gd name="connsiteX7090" fmla="*/ 1661699 w 4493400"/>
              <a:gd name="connsiteY7090" fmla="*/ 4363488 h 4503132"/>
              <a:gd name="connsiteX7091" fmla="*/ 1767391 w 4493400"/>
              <a:gd name="connsiteY7091" fmla="*/ 4402177 h 4503132"/>
              <a:gd name="connsiteX7092" fmla="*/ 1858802 w 4493400"/>
              <a:gd name="connsiteY7092" fmla="*/ 4437497 h 4503132"/>
              <a:gd name="connsiteX7093" fmla="*/ 1849233 w 4493400"/>
              <a:gd name="connsiteY7093" fmla="*/ 4434032 h 4503132"/>
              <a:gd name="connsiteX7094" fmla="*/ 1773691 w 4493400"/>
              <a:gd name="connsiteY7094" fmla="*/ 4405930 h 4503132"/>
              <a:gd name="connsiteX7095" fmla="*/ 1771815 w 4493400"/>
              <a:gd name="connsiteY7095" fmla="*/ 4405209 h 4503132"/>
              <a:gd name="connsiteX7096" fmla="*/ 1420789 w 4493400"/>
              <a:gd name="connsiteY7096" fmla="*/ 4313299 h 4503132"/>
              <a:gd name="connsiteX7097" fmla="*/ 1423530 w 4493400"/>
              <a:gd name="connsiteY7097" fmla="*/ 4317774 h 4503132"/>
              <a:gd name="connsiteX7098" fmla="*/ 1425597 w 4493400"/>
              <a:gd name="connsiteY7098" fmla="*/ 4320276 h 4503132"/>
              <a:gd name="connsiteX7099" fmla="*/ 1429973 w 4493400"/>
              <a:gd name="connsiteY7099" fmla="*/ 4324607 h 4503132"/>
              <a:gd name="connsiteX7100" fmla="*/ 1432714 w 4493400"/>
              <a:gd name="connsiteY7100" fmla="*/ 4326869 h 4503132"/>
              <a:gd name="connsiteX7101" fmla="*/ 1399150 w 4493400"/>
              <a:gd name="connsiteY7101" fmla="*/ 4305503 h 4503132"/>
              <a:gd name="connsiteX7102" fmla="*/ 1383955 w 4493400"/>
              <a:gd name="connsiteY7102" fmla="*/ 4293281 h 4503132"/>
              <a:gd name="connsiteX7103" fmla="*/ 1380830 w 4493400"/>
              <a:gd name="connsiteY7103" fmla="*/ 4290009 h 4503132"/>
              <a:gd name="connsiteX7104" fmla="*/ 1378617 w 4493400"/>
              <a:gd name="connsiteY7104" fmla="*/ 4287025 h 4503132"/>
              <a:gd name="connsiteX7105" fmla="*/ 1378906 w 4493400"/>
              <a:gd name="connsiteY7105" fmla="*/ 4286304 h 4503132"/>
              <a:gd name="connsiteX7106" fmla="*/ 1382416 w 4493400"/>
              <a:gd name="connsiteY7106" fmla="*/ 4285870 h 4503132"/>
              <a:gd name="connsiteX7107" fmla="*/ 1386888 w 4493400"/>
              <a:gd name="connsiteY7107" fmla="*/ 4285870 h 4503132"/>
              <a:gd name="connsiteX7108" fmla="*/ 1396217 w 4493400"/>
              <a:gd name="connsiteY7108" fmla="*/ 4286833 h 4503132"/>
              <a:gd name="connsiteX7109" fmla="*/ 1414970 w 4493400"/>
              <a:gd name="connsiteY7109" fmla="*/ 4290346 h 4503132"/>
              <a:gd name="connsiteX7110" fmla="*/ 1417423 w 4493400"/>
              <a:gd name="connsiteY7110" fmla="*/ 4290875 h 4503132"/>
              <a:gd name="connsiteX7111" fmla="*/ 1421173 w 4493400"/>
              <a:gd name="connsiteY7111" fmla="*/ 4291116 h 4503132"/>
              <a:gd name="connsiteX7112" fmla="*/ 1424780 w 4493400"/>
              <a:gd name="connsiteY7112" fmla="*/ 4291308 h 4503132"/>
              <a:gd name="connsiteX7113" fmla="*/ 1433435 w 4493400"/>
              <a:gd name="connsiteY7113" fmla="*/ 4293810 h 4503132"/>
              <a:gd name="connsiteX7114" fmla="*/ 1451564 w 4493400"/>
              <a:gd name="connsiteY7114" fmla="*/ 4299585 h 4503132"/>
              <a:gd name="connsiteX7115" fmla="*/ 1481858 w 4493400"/>
              <a:gd name="connsiteY7115" fmla="*/ 4309353 h 4503132"/>
              <a:gd name="connsiteX7116" fmla="*/ 1471087 w 4493400"/>
              <a:gd name="connsiteY7116" fmla="*/ 4306947 h 4503132"/>
              <a:gd name="connsiteX7117" fmla="*/ 1446322 w 4493400"/>
              <a:gd name="connsiteY7117" fmla="*/ 4302135 h 4503132"/>
              <a:gd name="connsiteX7118" fmla="*/ 1433051 w 4493400"/>
              <a:gd name="connsiteY7118" fmla="*/ 4300691 h 4503132"/>
              <a:gd name="connsiteX7119" fmla="*/ 1430887 w 4493400"/>
              <a:gd name="connsiteY7119" fmla="*/ 4300691 h 4503132"/>
              <a:gd name="connsiteX7120" fmla="*/ 1427905 w 4493400"/>
              <a:gd name="connsiteY7120" fmla="*/ 4301173 h 4503132"/>
              <a:gd name="connsiteX7121" fmla="*/ 1422760 w 4493400"/>
              <a:gd name="connsiteY7121" fmla="*/ 4303338 h 4503132"/>
              <a:gd name="connsiteX7122" fmla="*/ 1420116 w 4493400"/>
              <a:gd name="connsiteY7122" fmla="*/ 4307861 h 4503132"/>
              <a:gd name="connsiteX7123" fmla="*/ 1420789 w 4493400"/>
              <a:gd name="connsiteY7123" fmla="*/ 4313203 h 4503132"/>
              <a:gd name="connsiteX7124" fmla="*/ 1374482 w 4493400"/>
              <a:gd name="connsiteY7124" fmla="*/ 4303097 h 4503132"/>
              <a:gd name="connsiteX7125" fmla="*/ 1350151 w 4493400"/>
              <a:gd name="connsiteY7125" fmla="*/ 4285052 h 4503132"/>
              <a:gd name="connsiteX7126" fmla="*/ 1339428 w 4493400"/>
              <a:gd name="connsiteY7126" fmla="*/ 4275043 h 4503132"/>
              <a:gd name="connsiteX7127" fmla="*/ 1335100 w 4493400"/>
              <a:gd name="connsiteY7127" fmla="*/ 4269702 h 4503132"/>
              <a:gd name="connsiteX7128" fmla="*/ 1333032 w 4493400"/>
              <a:gd name="connsiteY7128" fmla="*/ 4265275 h 4503132"/>
              <a:gd name="connsiteX7129" fmla="*/ 1333946 w 4493400"/>
              <a:gd name="connsiteY7129" fmla="*/ 4264649 h 4503132"/>
              <a:gd name="connsiteX7130" fmla="*/ 1339716 w 4493400"/>
              <a:gd name="connsiteY7130" fmla="*/ 4263687 h 4503132"/>
              <a:gd name="connsiteX7131" fmla="*/ 1353950 w 4493400"/>
              <a:gd name="connsiteY7131" fmla="*/ 4264601 h 4503132"/>
              <a:gd name="connsiteX7132" fmla="*/ 1383138 w 4493400"/>
              <a:gd name="connsiteY7132" fmla="*/ 4270568 h 4503132"/>
              <a:gd name="connsiteX7133" fmla="*/ 1422376 w 4493400"/>
              <a:gd name="connsiteY7133" fmla="*/ 4281492 h 4503132"/>
              <a:gd name="connsiteX7134" fmla="*/ 1420548 w 4493400"/>
              <a:gd name="connsiteY7134" fmla="*/ 4281540 h 4503132"/>
              <a:gd name="connsiteX7135" fmla="*/ 1419490 w 4493400"/>
              <a:gd name="connsiteY7135" fmla="*/ 4281492 h 4503132"/>
              <a:gd name="connsiteX7136" fmla="*/ 1417230 w 4493400"/>
              <a:gd name="connsiteY7136" fmla="*/ 4280962 h 4503132"/>
              <a:gd name="connsiteX7137" fmla="*/ 1397660 w 4493400"/>
              <a:gd name="connsiteY7137" fmla="*/ 4277161 h 4503132"/>
              <a:gd name="connsiteX7138" fmla="*/ 1387417 w 4493400"/>
              <a:gd name="connsiteY7138" fmla="*/ 4276054 h 4503132"/>
              <a:gd name="connsiteX7139" fmla="*/ 1381984 w 4493400"/>
              <a:gd name="connsiteY7139" fmla="*/ 4276006 h 4503132"/>
              <a:gd name="connsiteX7140" fmla="*/ 1375684 w 4493400"/>
              <a:gd name="connsiteY7140" fmla="*/ 4276968 h 4503132"/>
              <a:gd name="connsiteX7141" fmla="*/ 1373617 w 4493400"/>
              <a:gd name="connsiteY7141" fmla="*/ 4277786 h 4503132"/>
              <a:gd name="connsiteX7142" fmla="*/ 1371597 w 4493400"/>
              <a:gd name="connsiteY7142" fmla="*/ 4278941 h 4503132"/>
              <a:gd name="connsiteX7143" fmla="*/ 1368760 w 4493400"/>
              <a:gd name="connsiteY7143" fmla="*/ 4282454 h 4503132"/>
              <a:gd name="connsiteX7144" fmla="*/ 1368231 w 4493400"/>
              <a:gd name="connsiteY7144" fmla="*/ 4286929 h 4503132"/>
              <a:gd name="connsiteX7145" fmla="*/ 1369625 w 4493400"/>
              <a:gd name="connsiteY7145" fmla="*/ 4291260 h 4503132"/>
              <a:gd name="connsiteX7146" fmla="*/ 1373232 w 4493400"/>
              <a:gd name="connsiteY7146" fmla="*/ 4296409 h 4503132"/>
              <a:gd name="connsiteX7147" fmla="*/ 1377031 w 4493400"/>
              <a:gd name="connsiteY7147" fmla="*/ 4300403 h 4503132"/>
              <a:gd name="connsiteX7148" fmla="*/ 1393284 w 4493400"/>
              <a:gd name="connsiteY7148" fmla="*/ 4313588 h 4503132"/>
              <a:gd name="connsiteX7149" fmla="*/ 1409825 w 4493400"/>
              <a:gd name="connsiteY7149" fmla="*/ 4324703 h 4503132"/>
              <a:gd name="connsiteX7150" fmla="*/ 1374434 w 4493400"/>
              <a:gd name="connsiteY7150" fmla="*/ 4303001 h 4503132"/>
              <a:gd name="connsiteX7151" fmla="*/ 1700167 w 4493400"/>
              <a:gd name="connsiteY7151" fmla="*/ 4355741 h 4503132"/>
              <a:gd name="connsiteX7152" fmla="*/ 1652178 w 4493400"/>
              <a:gd name="connsiteY7152" fmla="*/ 4337503 h 4503132"/>
              <a:gd name="connsiteX7153" fmla="*/ 1726567 w 4493400"/>
              <a:gd name="connsiteY7153" fmla="*/ 4365942 h 4503132"/>
              <a:gd name="connsiteX7154" fmla="*/ 1700167 w 4493400"/>
              <a:gd name="connsiteY7154" fmla="*/ 4355741 h 4503132"/>
              <a:gd name="connsiteX7155" fmla="*/ 1274993 w 4493400"/>
              <a:gd name="connsiteY7155" fmla="*/ 4202671 h 4503132"/>
              <a:gd name="connsiteX7156" fmla="*/ 1255854 w 4493400"/>
              <a:gd name="connsiteY7156" fmla="*/ 4199784 h 4503132"/>
              <a:gd name="connsiteX7157" fmla="*/ 1235658 w 4493400"/>
              <a:gd name="connsiteY7157" fmla="*/ 4200409 h 4503132"/>
              <a:gd name="connsiteX7158" fmla="*/ 1225224 w 4493400"/>
              <a:gd name="connsiteY7158" fmla="*/ 4206424 h 4503132"/>
              <a:gd name="connsiteX7159" fmla="*/ 1223156 w 4493400"/>
              <a:gd name="connsiteY7159" fmla="*/ 4218791 h 4503132"/>
              <a:gd name="connsiteX7160" fmla="*/ 1227147 w 4493400"/>
              <a:gd name="connsiteY7160" fmla="*/ 4228704 h 4503132"/>
              <a:gd name="connsiteX7161" fmla="*/ 1233254 w 4493400"/>
              <a:gd name="connsiteY7161" fmla="*/ 4237029 h 4503132"/>
              <a:gd name="connsiteX7162" fmla="*/ 1257057 w 4493400"/>
              <a:gd name="connsiteY7162" fmla="*/ 4259452 h 4503132"/>
              <a:gd name="connsiteX7163" fmla="*/ 1238880 w 4493400"/>
              <a:gd name="connsiteY7163" fmla="*/ 4250550 h 4503132"/>
              <a:gd name="connsiteX7164" fmla="*/ 1226089 w 4493400"/>
              <a:gd name="connsiteY7164" fmla="*/ 4241215 h 4503132"/>
              <a:gd name="connsiteX7165" fmla="*/ 1213106 w 4493400"/>
              <a:gd name="connsiteY7165" fmla="*/ 4231543 h 4503132"/>
              <a:gd name="connsiteX7166" fmla="*/ 1188727 w 4493400"/>
              <a:gd name="connsiteY7166" fmla="*/ 4211092 h 4503132"/>
              <a:gd name="connsiteX7167" fmla="*/ 1181802 w 4493400"/>
              <a:gd name="connsiteY7167" fmla="*/ 4199591 h 4503132"/>
              <a:gd name="connsiteX7168" fmla="*/ 1183197 w 4493400"/>
              <a:gd name="connsiteY7168" fmla="*/ 4194923 h 4503132"/>
              <a:gd name="connsiteX7169" fmla="*/ 1188198 w 4493400"/>
              <a:gd name="connsiteY7169" fmla="*/ 4191170 h 4503132"/>
              <a:gd name="connsiteX7170" fmla="*/ 1202575 w 4493400"/>
              <a:gd name="connsiteY7170" fmla="*/ 4187272 h 4503132"/>
              <a:gd name="connsiteX7171" fmla="*/ 1218299 w 4493400"/>
              <a:gd name="connsiteY7171" fmla="*/ 4186310 h 4503132"/>
              <a:gd name="connsiteX7172" fmla="*/ 1281869 w 4493400"/>
              <a:gd name="connsiteY7172" fmla="*/ 4194972 h 4503132"/>
              <a:gd name="connsiteX7173" fmla="*/ 1343996 w 4493400"/>
              <a:gd name="connsiteY7173" fmla="*/ 4214075 h 4503132"/>
              <a:gd name="connsiteX7174" fmla="*/ 1404969 w 4493400"/>
              <a:gd name="connsiteY7174" fmla="*/ 4237654 h 4503132"/>
              <a:gd name="connsiteX7175" fmla="*/ 1494312 w 4493400"/>
              <a:gd name="connsiteY7175" fmla="*/ 4275862 h 4503132"/>
              <a:gd name="connsiteX7176" fmla="*/ 1420019 w 4493400"/>
              <a:gd name="connsiteY7176" fmla="*/ 4247807 h 4503132"/>
              <a:gd name="connsiteX7177" fmla="*/ 1348516 w 4493400"/>
              <a:gd name="connsiteY7177" fmla="*/ 4222881 h 4503132"/>
              <a:gd name="connsiteX7178" fmla="*/ 1275041 w 4493400"/>
              <a:gd name="connsiteY7178" fmla="*/ 4202622 h 4503132"/>
              <a:gd name="connsiteX7179" fmla="*/ 1351978 w 4493400"/>
              <a:gd name="connsiteY7179" fmla="*/ 4302761 h 4503132"/>
              <a:gd name="connsiteX7180" fmla="*/ 1350247 w 4493400"/>
              <a:gd name="connsiteY7180" fmla="*/ 4302039 h 4503132"/>
              <a:gd name="connsiteX7181" fmla="*/ 1350055 w 4493400"/>
              <a:gd name="connsiteY7181" fmla="*/ 4301943 h 4503132"/>
              <a:gd name="connsiteX7182" fmla="*/ 1349285 w 4493400"/>
              <a:gd name="connsiteY7182" fmla="*/ 4301461 h 4503132"/>
              <a:gd name="connsiteX7183" fmla="*/ 1346160 w 4493400"/>
              <a:gd name="connsiteY7183" fmla="*/ 4299488 h 4503132"/>
              <a:gd name="connsiteX7184" fmla="*/ 1321636 w 4493400"/>
              <a:gd name="connsiteY7184" fmla="*/ 4283031 h 4503132"/>
              <a:gd name="connsiteX7185" fmla="*/ 1298459 w 4493400"/>
              <a:gd name="connsiteY7185" fmla="*/ 4264794 h 4503132"/>
              <a:gd name="connsiteX7186" fmla="*/ 1279032 w 4493400"/>
              <a:gd name="connsiteY7186" fmla="*/ 4243910 h 4503132"/>
              <a:gd name="connsiteX7187" fmla="*/ 1277397 w 4493400"/>
              <a:gd name="connsiteY7187" fmla="*/ 4241119 h 4503132"/>
              <a:gd name="connsiteX7188" fmla="*/ 1276243 w 4493400"/>
              <a:gd name="connsiteY7188" fmla="*/ 4238424 h 4503132"/>
              <a:gd name="connsiteX7189" fmla="*/ 1276002 w 4493400"/>
              <a:gd name="connsiteY7189" fmla="*/ 4235055 h 4503132"/>
              <a:gd name="connsiteX7190" fmla="*/ 1278888 w 4493400"/>
              <a:gd name="connsiteY7190" fmla="*/ 4233227 h 4503132"/>
              <a:gd name="connsiteX7191" fmla="*/ 1284946 w 4493400"/>
              <a:gd name="connsiteY7191" fmla="*/ 4232168 h 4503132"/>
              <a:gd name="connsiteX7192" fmla="*/ 1313654 w 4493400"/>
              <a:gd name="connsiteY7192" fmla="*/ 4235055 h 4503132"/>
              <a:gd name="connsiteX7193" fmla="*/ 1342842 w 4493400"/>
              <a:gd name="connsiteY7193" fmla="*/ 4242177 h 4503132"/>
              <a:gd name="connsiteX7194" fmla="*/ 1372030 w 4493400"/>
              <a:gd name="connsiteY7194" fmla="*/ 4250743 h 4503132"/>
              <a:gd name="connsiteX7195" fmla="*/ 1430214 w 4493400"/>
              <a:gd name="connsiteY7195" fmla="*/ 4269895 h 4503132"/>
              <a:gd name="connsiteX7196" fmla="*/ 1518740 w 4493400"/>
              <a:gd name="connsiteY7196" fmla="*/ 4302183 h 4503132"/>
              <a:gd name="connsiteX7197" fmla="*/ 1443870 w 4493400"/>
              <a:gd name="connsiteY7197" fmla="*/ 4277353 h 4503132"/>
              <a:gd name="connsiteX7198" fmla="*/ 1385734 w 4493400"/>
              <a:gd name="connsiteY7198" fmla="*/ 4260607 h 4503132"/>
              <a:gd name="connsiteX7199" fmla="*/ 1355488 w 4493400"/>
              <a:gd name="connsiteY7199" fmla="*/ 4254400 h 4503132"/>
              <a:gd name="connsiteX7200" fmla="*/ 1339331 w 4493400"/>
              <a:gd name="connsiteY7200" fmla="*/ 4253389 h 4503132"/>
              <a:gd name="connsiteX7201" fmla="*/ 1330147 w 4493400"/>
              <a:gd name="connsiteY7201" fmla="*/ 4255122 h 4503132"/>
              <a:gd name="connsiteX7202" fmla="*/ 1324858 w 4493400"/>
              <a:gd name="connsiteY7202" fmla="*/ 4258971 h 4503132"/>
              <a:gd name="connsiteX7203" fmla="*/ 1322790 w 4493400"/>
              <a:gd name="connsiteY7203" fmla="*/ 4265997 h 4503132"/>
              <a:gd name="connsiteX7204" fmla="*/ 1326589 w 4493400"/>
              <a:gd name="connsiteY7204" fmla="*/ 4275525 h 4503132"/>
              <a:gd name="connsiteX7205" fmla="*/ 1331878 w 4493400"/>
              <a:gd name="connsiteY7205" fmla="*/ 4282117 h 4503132"/>
              <a:gd name="connsiteX7206" fmla="*/ 1343563 w 4493400"/>
              <a:gd name="connsiteY7206" fmla="*/ 4293040 h 4503132"/>
              <a:gd name="connsiteX7207" fmla="*/ 1361836 w 4493400"/>
              <a:gd name="connsiteY7207" fmla="*/ 4306899 h 4503132"/>
              <a:gd name="connsiteX7208" fmla="*/ 1358854 w 4493400"/>
              <a:gd name="connsiteY7208" fmla="*/ 4305648 h 4503132"/>
              <a:gd name="connsiteX7209" fmla="*/ 1352026 w 4493400"/>
              <a:gd name="connsiteY7209" fmla="*/ 4302761 h 4503132"/>
              <a:gd name="connsiteX7210" fmla="*/ 1816535 w 4493400"/>
              <a:gd name="connsiteY7210" fmla="*/ 4444571 h 4503132"/>
              <a:gd name="connsiteX7211" fmla="*/ 1816920 w 4493400"/>
              <a:gd name="connsiteY7211" fmla="*/ 4444811 h 4503132"/>
              <a:gd name="connsiteX7212" fmla="*/ 1816920 w 4493400"/>
              <a:gd name="connsiteY7212" fmla="*/ 4444811 h 4503132"/>
              <a:gd name="connsiteX7213" fmla="*/ 1816920 w 4493400"/>
              <a:gd name="connsiteY7213" fmla="*/ 4444811 h 4503132"/>
              <a:gd name="connsiteX7214" fmla="*/ 1816920 w 4493400"/>
              <a:gd name="connsiteY7214" fmla="*/ 4444811 h 4503132"/>
              <a:gd name="connsiteX7215" fmla="*/ 1811101 w 4493400"/>
              <a:gd name="connsiteY7215" fmla="*/ 4444474 h 4503132"/>
              <a:gd name="connsiteX7216" fmla="*/ 1802398 w 4493400"/>
              <a:gd name="connsiteY7216" fmla="*/ 4443416 h 4503132"/>
              <a:gd name="connsiteX7217" fmla="*/ 1733828 w 4493400"/>
              <a:gd name="connsiteY7217" fmla="*/ 4428691 h 4503132"/>
              <a:gd name="connsiteX7218" fmla="*/ 1670643 w 4493400"/>
              <a:gd name="connsiteY7218" fmla="*/ 4410935 h 4503132"/>
              <a:gd name="connsiteX7219" fmla="*/ 1566104 w 4493400"/>
              <a:gd name="connsiteY7219" fmla="*/ 4373305 h 4503132"/>
              <a:gd name="connsiteX7220" fmla="*/ 1527107 w 4493400"/>
              <a:gd name="connsiteY7220" fmla="*/ 4356078 h 4503132"/>
              <a:gd name="connsiteX7221" fmla="*/ 1511671 w 4493400"/>
              <a:gd name="connsiteY7221" fmla="*/ 4348090 h 4503132"/>
              <a:gd name="connsiteX7222" fmla="*/ 1505420 w 4493400"/>
              <a:gd name="connsiteY7222" fmla="*/ 4344240 h 4503132"/>
              <a:gd name="connsiteX7223" fmla="*/ 1502150 w 4493400"/>
              <a:gd name="connsiteY7223" fmla="*/ 4341449 h 4503132"/>
              <a:gd name="connsiteX7224" fmla="*/ 1501958 w 4493400"/>
              <a:gd name="connsiteY7224" fmla="*/ 4339573 h 4503132"/>
              <a:gd name="connsiteX7225" fmla="*/ 1503593 w 4493400"/>
              <a:gd name="connsiteY7225" fmla="*/ 4338706 h 4503132"/>
              <a:gd name="connsiteX7226" fmla="*/ 1507199 w 4493400"/>
              <a:gd name="connsiteY7226" fmla="*/ 4338225 h 4503132"/>
              <a:gd name="connsiteX7227" fmla="*/ 1515566 w 4493400"/>
              <a:gd name="connsiteY7227" fmla="*/ 4338273 h 4503132"/>
              <a:gd name="connsiteX7228" fmla="*/ 1522779 w 4493400"/>
              <a:gd name="connsiteY7228" fmla="*/ 4338129 h 4503132"/>
              <a:gd name="connsiteX7229" fmla="*/ 1515806 w 4493400"/>
              <a:gd name="connsiteY7229" fmla="*/ 4336156 h 4503132"/>
              <a:gd name="connsiteX7230" fmla="*/ 1506911 w 4493400"/>
              <a:gd name="connsiteY7230" fmla="*/ 4335049 h 4503132"/>
              <a:gd name="connsiteX7231" fmla="*/ 1499986 w 4493400"/>
              <a:gd name="connsiteY7231" fmla="*/ 4335627 h 4503132"/>
              <a:gd name="connsiteX7232" fmla="*/ 1497005 w 4493400"/>
              <a:gd name="connsiteY7232" fmla="*/ 4337359 h 4503132"/>
              <a:gd name="connsiteX7233" fmla="*/ 1496572 w 4493400"/>
              <a:gd name="connsiteY7233" fmla="*/ 4340920 h 4503132"/>
              <a:gd name="connsiteX7234" fmla="*/ 1502342 w 4493400"/>
              <a:gd name="connsiteY7234" fmla="*/ 4347705 h 4503132"/>
              <a:gd name="connsiteX7235" fmla="*/ 1509026 w 4493400"/>
              <a:gd name="connsiteY7235" fmla="*/ 4352421 h 4503132"/>
              <a:gd name="connsiteX7236" fmla="*/ 1524366 w 4493400"/>
              <a:gd name="connsiteY7236" fmla="*/ 4361419 h 4503132"/>
              <a:gd name="connsiteX7237" fmla="*/ 1547783 w 4493400"/>
              <a:gd name="connsiteY7237" fmla="*/ 4373160 h 4503132"/>
              <a:gd name="connsiteX7238" fmla="*/ 1504025 w 4493400"/>
              <a:gd name="connsiteY7238" fmla="*/ 4354538 h 4503132"/>
              <a:gd name="connsiteX7239" fmla="*/ 1463922 w 4493400"/>
              <a:gd name="connsiteY7239" fmla="*/ 4334568 h 4503132"/>
              <a:gd name="connsiteX7240" fmla="*/ 1445361 w 4493400"/>
              <a:gd name="connsiteY7240" fmla="*/ 4323163 h 4503132"/>
              <a:gd name="connsiteX7241" fmla="*/ 1437042 w 4493400"/>
              <a:gd name="connsiteY7241" fmla="*/ 4316764 h 4503132"/>
              <a:gd name="connsiteX7242" fmla="*/ 1433532 w 4493400"/>
              <a:gd name="connsiteY7242" fmla="*/ 4313299 h 4503132"/>
              <a:gd name="connsiteX7243" fmla="*/ 1432089 w 4493400"/>
              <a:gd name="connsiteY7243" fmla="*/ 4311567 h 4503132"/>
              <a:gd name="connsiteX7244" fmla="*/ 1431945 w 4493400"/>
              <a:gd name="connsiteY7244" fmla="*/ 4311422 h 4503132"/>
              <a:gd name="connsiteX7245" fmla="*/ 1431945 w 4493400"/>
              <a:gd name="connsiteY7245" fmla="*/ 4311326 h 4503132"/>
              <a:gd name="connsiteX7246" fmla="*/ 1431993 w 4493400"/>
              <a:gd name="connsiteY7246" fmla="*/ 4311326 h 4503132"/>
              <a:gd name="connsiteX7247" fmla="*/ 1433051 w 4493400"/>
              <a:gd name="connsiteY7247" fmla="*/ 4311326 h 4503132"/>
              <a:gd name="connsiteX7248" fmla="*/ 1444784 w 4493400"/>
              <a:gd name="connsiteY7248" fmla="*/ 4312577 h 4503132"/>
              <a:gd name="connsiteX7249" fmla="*/ 1469067 w 4493400"/>
              <a:gd name="connsiteY7249" fmla="*/ 4317197 h 4503132"/>
              <a:gd name="connsiteX7250" fmla="*/ 1516431 w 4493400"/>
              <a:gd name="connsiteY7250" fmla="*/ 4328890 h 4503132"/>
              <a:gd name="connsiteX7251" fmla="*/ 1588704 w 4493400"/>
              <a:gd name="connsiteY7251" fmla="*/ 4350592 h 4503132"/>
              <a:gd name="connsiteX7252" fmla="*/ 1550332 w 4493400"/>
              <a:gd name="connsiteY7252" fmla="*/ 4341594 h 4503132"/>
              <a:gd name="connsiteX7253" fmla="*/ 1530040 w 4493400"/>
              <a:gd name="connsiteY7253" fmla="*/ 4338370 h 4503132"/>
              <a:gd name="connsiteX7254" fmla="*/ 1522827 w 4493400"/>
              <a:gd name="connsiteY7254" fmla="*/ 4338177 h 4503132"/>
              <a:gd name="connsiteX7255" fmla="*/ 1529655 w 4493400"/>
              <a:gd name="connsiteY7255" fmla="*/ 4340487 h 4503132"/>
              <a:gd name="connsiteX7256" fmla="*/ 1549370 w 4493400"/>
              <a:gd name="connsiteY7256" fmla="*/ 4345636 h 4503132"/>
              <a:gd name="connsiteX7257" fmla="*/ 1621162 w 4493400"/>
              <a:gd name="connsiteY7257" fmla="*/ 4367530 h 4503132"/>
              <a:gd name="connsiteX7258" fmla="*/ 1726134 w 4493400"/>
              <a:gd name="connsiteY7258" fmla="*/ 4404727 h 4503132"/>
              <a:gd name="connsiteX7259" fmla="*/ 1787010 w 4493400"/>
              <a:gd name="connsiteY7259" fmla="*/ 4429220 h 4503132"/>
              <a:gd name="connsiteX7260" fmla="*/ 1802398 w 4493400"/>
              <a:gd name="connsiteY7260" fmla="*/ 4436438 h 4503132"/>
              <a:gd name="connsiteX7261" fmla="*/ 1809899 w 4493400"/>
              <a:gd name="connsiteY7261" fmla="*/ 4440384 h 4503132"/>
              <a:gd name="connsiteX7262" fmla="*/ 1813554 w 4493400"/>
              <a:gd name="connsiteY7262" fmla="*/ 4442550 h 4503132"/>
              <a:gd name="connsiteX7263" fmla="*/ 1816727 w 4493400"/>
              <a:gd name="connsiteY7263" fmla="*/ 4444571 h 4503132"/>
              <a:gd name="connsiteX7264" fmla="*/ 1949300 w 4493400"/>
              <a:gd name="connsiteY7264" fmla="*/ 4473347 h 4503132"/>
              <a:gd name="connsiteX7265" fmla="*/ 1941991 w 4493400"/>
              <a:gd name="connsiteY7265" fmla="*/ 4472384 h 4503132"/>
              <a:gd name="connsiteX7266" fmla="*/ 1938288 w 4493400"/>
              <a:gd name="connsiteY7266" fmla="*/ 4471903 h 4503132"/>
              <a:gd name="connsiteX7267" fmla="*/ 1937182 w 4493400"/>
              <a:gd name="connsiteY7267" fmla="*/ 4471662 h 4503132"/>
              <a:gd name="connsiteX7268" fmla="*/ 1935451 w 4493400"/>
              <a:gd name="connsiteY7268" fmla="*/ 4470941 h 4503132"/>
              <a:gd name="connsiteX7269" fmla="*/ 1906359 w 4493400"/>
              <a:gd name="connsiteY7269" fmla="*/ 4459199 h 4503132"/>
              <a:gd name="connsiteX7270" fmla="*/ 1875296 w 4493400"/>
              <a:gd name="connsiteY7270" fmla="*/ 4446688 h 4503132"/>
              <a:gd name="connsiteX7271" fmla="*/ 1895540 w 4493400"/>
              <a:gd name="connsiteY7271" fmla="*/ 4452751 h 4503132"/>
              <a:gd name="connsiteX7272" fmla="*/ 1912418 w 4493400"/>
              <a:gd name="connsiteY7272" fmla="*/ 4457034 h 4503132"/>
              <a:gd name="connsiteX7273" fmla="*/ 1901022 w 4493400"/>
              <a:gd name="connsiteY7273" fmla="*/ 4452510 h 4503132"/>
              <a:gd name="connsiteX7274" fmla="*/ 1925113 w 4493400"/>
              <a:gd name="connsiteY7274" fmla="*/ 4459825 h 4503132"/>
              <a:gd name="connsiteX7275" fmla="*/ 1919198 w 4493400"/>
              <a:gd name="connsiteY7275" fmla="*/ 4458429 h 4503132"/>
              <a:gd name="connsiteX7276" fmla="*/ 1912418 w 4493400"/>
              <a:gd name="connsiteY7276" fmla="*/ 4457082 h 4503132"/>
              <a:gd name="connsiteX7277" fmla="*/ 1918814 w 4493400"/>
              <a:gd name="connsiteY7277" fmla="*/ 4459681 h 4503132"/>
              <a:gd name="connsiteX7278" fmla="*/ 1938096 w 4493400"/>
              <a:gd name="connsiteY7278" fmla="*/ 4465599 h 4503132"/>
              <a:gd name="connsiteX7279" fmla="*/ 1969592 w 4493400"/>
              <a:gd name="connsiteY7279" fmla="*/ 4473972 h 4503132"/>
              <a:gd name="connsiteX7280" fmla="*/ 1986711 w 4493400"/>
              <a:gd name="connsiteY7280" fmla="*/ 4478351 h 4503132"/>
              <a:gd name="connsiteX7281" fmla="*/ 1963437 w 4493400"/>
              <a:gd name="connsiteY7281" fmla="*/ 4475223 h 4503132"/>
              <a:gd name="connsiteX7282" fmla="*/ 1949252 w 4493400"/>
              <a:gd name="connsiteY7282" fmla="*/ 4473347 h 4503132"/>
              <a:gd name="connsiteX7283" fmla="*/ 2070140 w 4493400"/>
              <a:gd name="connsiteY7283" fmla="*/ 4488119 h 4503132"/>
              <a:gd name="connsiteX7284" fmla="*/ 2070140 w 4493400"/>
              <a:gd name="connsiteY7284" fmla="*/ 4488119 h 4503132"/>
              <a:gd name="connsiteX7285" fmla="*/ 2070140 w 4493400"/>
              <a:gd name="connsiteY7285" fmla="*/ 4488119 h 4503132"/>
              <a:gd name="connsiteX7286" fmla="*/ 2665538 w 4493400"/>
              <a:gd name="connsiteY7286" fmla="*/ 4454772 h 4503132"/>
              <a:gd name="connsiteX7287" fmla="*/ 2654815 w 4493400"/>
              <a:gd name="connsiteY7287" fmla="*/ 4456697 h 4503132"/>
              <a:gd name="connsiteX7288" fmla="*/ 2649285 w 4493400"/>
              <a:gd name="connsiteY7288" fmla="*/ 4457708 h 4503132"/>
              <a:gd name="connsiteX7289" fmla="*/ 2646496 w 4493400"/>
              <a:gd name="connsiteY7289" fmla="*/ 4458237 h 4503132"/>
              <a:gd name="connsiteX7290" fmla="*/ 2645102 w 4493400"/>
              <a:gd name="connsiteY7290" fmla="*/ 4458478 h 4503132"/>
              <a:gd name="connsiteX7291" fmla="*/ 2644140 w 4493400"/>
              <a:gd name="connsiteY7291" fmla="*/ 4458574 h 4503132"/>
              <a:gd name="connsiteX7292" fmla="*/ 2620241 w 4493400"/>
              <a:gd name="connsiteY7292" fmla="*/ 4459632 h 4503132"/>
              <a:gd name="connsiteX7293" fmla="*/ 2524791 w 4493400"/>
              <a:gd name="connsiteY7293" fmla="*/ 4466562 h 4503132"/>
              <a:gd name="connsiteX7294" fmla="*/ 2589851 w 4493400"/>
              <a:gd name="connsiteY7294" fmla="*/ 4459440 h 4503132"/>
              <a:gd name="connsiteX7295" fmla="*/ 2616202 w 4493400"/>
              <a:gd name="connsiteY7295" fmla="*/ 4456119 h 4503132"/>
              <a:gd name="connsiteX7296" fmla="*/ 2625291 w 4493400"/>
              <a:gd name="connsiteY7296" fmla="*/ 4454291 h 4503132"/>
              <a:gd name="connsiteX7297" fmla="*/ 2616010 w 4493400"/>
              <a:gd name="connsiteY7297" fmla="*/ 4454147 h 4503132"/>
              <a:gd name="connsiteX7298" fmla="*/ 2589515 w 4493400"/>
              <a:gd name="connsiteY7298" fmla="*/ 4455638 h 4503132"/>
              <a:gd name="connsiteX7299" fmla="*/ 2511087 w 4493400"/>
              <a:gd name="connsiteY7299" fmla="*/ 4461413 h 4503132"/>
              <a:gd name="connsiteX7300" fmla="*/ 2589082 w 4493400"/>
              <a:gd name="connsiteY7300" fmla="*/ 4454147 h 4503132"/>
              <a:gd name="connsiteX7301" fmla="*/ 2632311 w 4493400"/>
              <a:gd name="connsiteY7301" fmla="*/ 4450104 h 4503132"/>
              <a:gd name="connsiteX7302" fmla="*/ 2673665 w 4493400"/>
              <a:gd name="connsiteY7302" fmla="*/ 4447554 h 4503132"/>
              <a:gd name="connsiteX7303" fmla="*/ 2692178 w 4493400"/>
              <a:gd name="connsiteY7303" fmla="*/ 4448083 h 4503132"/>
              <a:gd name="connsiteX7304" fmla="*/ 2645967 w 4493400"/>
              <a:gd name="connsiteY7304" fmla="*/ 4451163 h 4503132"/>
              <a:gd name="connsiteX7305" fmla="*/ 2625242 w 4493400"/>
              <a:gd name="connsiteY7305" fmla="*/ 4454243 h 4503132"/>
              <a:gd name="connsiteX7306" fmla="*/ 2646160 w 4493400"/>
              <a:gd name="connsiteY7306" fmla="*/ 4454050 h 4503132"/>
              <a:gd name="connsiteX7307" fmla="*/ 2673424 w 4493400"/>
              <a:gd name="connsiteY7307" fmla="*/ 4453329 h 4503132"/>
              <a:gd name="connsiteX7308" fmla="*/ 2665490 w 4493400"/>
              <a:gd name="connsiteY7308" fmla="*/ 4454724 h 4503132"/>
              <a:gd name="connsiteX7309" fmla="*/ 2750794 w 4493400"/>
              <a:gd name="connsiteY7309" fmla="*/ 4437738 h 4503132"/>
              <a:gd name="connsiteX7310" fmla="*/ 2732329 w 4493400"/>
              <a:gd name="connsiteY7310" fmla="*/ 4441828 h 4503132"/>
              <a:gd name="connsiteX7311" fmla="*/ 2727617 w 4493400"/>
              <a:gd name="connsiteY7311" fmla="*/ 4442839 h 4503132"/>
              <a:gd name="connsiteX7312" fmla="*/ 2726848 w 4493400"/>
              <a:gd name="connsiteY7312" fmla="*/ 4442935 h 4503132"/>
              <a:gd name="connsiteX7313" fmla="*/ 2725646 w 4493400"/>
              <a:gd name="connsiteY7313" fmla="*/ 4442935 h 4503132"/>
              <a:gd name="connsiteX7314" fmla="*/ 2723289 w 4493400"/>
              <a:gd name="connsiteY7314" fmla="*/ 4443127 h 4503132"/>
              <a:gd name="connsiteX7315" fmla="*/ 2713720 w 4493400"/>
              <a:gd name="connsiteY7315" fmla="*/ 4443223 h 4503132"/>
              <a:gd name="connsiteX7316" fmla="*/ 2673665 w 4493400"/>
              <a:gd name="connsiteY7316" fmla="*/ 4441491 h 4503132"/>
              <a:gd name="connsiteX7317" fmla="*/ 2631686 w 4493400"/>
              <a:gd name="connsiteY7317" fmla="*/ 4443801 h 4503132"/>
              <a:gd name="connsiteX7318" fmla="*/ 2588457 w 4493400"/>
              <a:gd name="connsiteY7318" fmla="*/ 4447602 h 4503132"/>
              <a:gd name="connsiteX7319" fmla="*/ 2497142 w 4493400"/>
              <a:gd name="connsiteY7319" fmla="*/ 4455590 h 4503132"/>
              <a:gd name="connsiteX7320" fmla="*/ 2296287 w 4493400"/>
              <a:gd name="connsiteY7320" fmla="*/ 4473298 h 4503132"/>
              <a:gd name="connsiteX7321" fmla="*/ 2187132 w 4493400"/>
              <a:gd name="connsiteY7321" fmla="*/ 4482586 h 4503132"/>
              <a:gd name="connsiteX7322" fmla="*/ 2130680 w 4493400"/>
              <a:gd name="connsiteY7322" fmla="*/ 4488119 h 4503132"/>
              <a:gd name="connsiteX7323" fmla="*/ 2123563 w 4493400"/>
              <a:gd name="connsiteY7323" fmla="*/ 4488745 h 4503132"/>
              <a:gd name="connsiteX7324" fmla="*/ 2121784 w 4493400"/>
              <a:gd name="connsiteY7324" fmla="*/ 4488889 h 4503132"/>
              <a:gd name="connsiteX7325" fmla="*/ 2120870 w 4493400"/>
              <a:gd name="connsiteY7325" fmla="*/ 4488986 h 4503132"/>
              <a:gd name="connsiteX7326" fmla="*/ 2120582 w 4493400"/>
              <a:gd name="connsiteY7326" fmla="*/ 4488986 h 4503132"/>
              <a:gd name="connsiteX7327" fmla="*/ 2116975 w 4493400"/>
              <a:gd name="connsiteY7327" fmla="*/ 4488745 h 4503132"/>
              <a:gd name="connsiteX7328" fmla="*/ 2102550 w 4493400"/>
              <a:gd name="connsiteY7328" fmla="*/ 4487734 h 4503132"/>
              <a:gd name="connsiteX7329" fmla="*/ 2076198 w 4493400"/>
              <a:gd name="connsiteY7329" fmla="*/ 4485858 h 4503132"/>
              <a:gd name="connsiteX7330" fmla="*/ 2075621 w 4493400"/>
              <a:gd name="connsiteY7330" fmla="*/ 4485858 h 4503132"/>
              <a:gd name="connsiteX7331" fmla="*/ 2076054 w 4493400"/>
              <a:gd name="connsiteY7331" fmla="*/ 4485425 h 4503132"/>
              <a:gd name="connsiteX7332" fmla="*/ 2075766 w 4493400"/>
              <a:gd name="connsiteY7332" fmla="*/ 4484799 h 4503132"/>
              <a:gd name="connsiteX7333" fmla="*/ 2074564 w 4493400"/>
              <a:gd name="connsiteY7333" fmla="*/ 4483259 h 4503132"/>
              <a:gd name="connsiteX7334" fmla="*/ 2072592 w 4493400"/>
              <a:gd name="connsiteY7334" fmla="*/ 4481719 h 4503132"/>
              <a:gd name="connsiteX7335" fmla="*/ 2069178 w 4493400"/>
              <a:gd name="connsiteY7335" fmla="*/ 4480035 h 4503132"/>
              <a:gd name="connsiteX7336" fmla="*/ 2062542 w 4493400"/>
              <a:gd name="connsiteY7336" fmla="*/ 4477918 h 4503132"/>
              <a:gd name="connsiteX7337" fmla="*/ 2049847 w 4493400"/>
              <a:gd name="connsiteY7337" fmla="*/ 4475271 h 4503132"/>
              <a:gd name="connsiteX7338" fmla="*/ 2040952 w 4493400"/>
              <a:gd name="connsiteY7338" fmla="*/ 4473732 h 4503132"/>
              <a:gd name="connsiteX7339" fmla="*/ 2246278 w 4493400"/>
              <a:gd name="connsiteY7339" fmla="*/ 4468438 h 4503132"/>
              <a:gd name="connsiteX7340" fmla="*/ 2302538 w 4493400"/>
              <a:gd name="connsiteY7340" fmla="*/ 4457275 h 4503132"/>
              <a:gd name="connsiteX7341" fmla="*/ 2356827 w 4493400"/>
              <a:gd name="connsiteY7341" fmla="*/ 4439037 h 4503132"/>
              <a:gd name="connsiteX7342" fmla="*/ 2363367 w 4493400"/>
              <a:gd name="connsiteY7342" fmla="*/ 4435621 h 4503132"/>
              <a:gd name="connsiteX7343" fmla="*/ 2369618 w 4493400"/>
              <a:gd name="connsiteY7343" fmla="*/ 4431530 h 4503132"/>
              <a:gd name="connsiteX7344" fmla="*/ 2375388 w 4493400"/>
              <a:gd name="connsiteY7344" fmla="*/ 4427007 h 4503132"/>
              <a:gd name="connsiteX7345" fmla="*/ 2380774 w 4493400"/>
              <a:gd name="connsiteY7345" fmla="*/ 4422147 h 4503132"/>
              <a:gd name="connsiteX7346" fmla="*/ 2399768 w 4493400"/>
              <a:gd name="connsiteY7346" fmla="*/ 4401022 h 4503132"/>
              <a:gd name="connsiteX7347" fmla="*/ 2432370 w 4493400"/>
              <a:gd name="connsiteY7347" fmla="*/ 4356270 h 4503132"/>
              <a:gd name="connsiteX7348" fmla="*/ 2497238 w 4493400"/>
              <a:gd name="connsiteY7348" fmla="*/ 4270761 h 4503132"/>
              <a:gd name="connsiteX7349" fmla="*/ 2576724 w 4493400"/>
              <a:gd name="connsiteY7349" fmla="*/ 4205365 h 4503132"/>
              <a:gd name="connsiteX7350" fmla="*/ 2599613 w 4493400"/>
              <a:gd name="connsiteY7350" fmla="*/ 4194731 h 4503132"/>
              <a:gd name="connsiteX7351" fmla="*/ 2611394 w 4493400"/>
              <a:gd name="connsiteY7351" fmla="*/ 4190352 h 4503132"/>
              <a:gd name="connsiteX7352" fmla="*/ 2623463 w 4493400"/>
              <a:gd name="connsiteY7352" fmla="*/ 4186743 h 4503132"/>
              <a:gd name="connsiteX7353" fmla="*/ 2647795 w 4493400"/>
              <a:gd name="connsiteY7353" fmla="*/ 4180439 h 4503132"/>
              <a:gd name="connsiteX7354" fmla="*/ 2672366 w 4493400"/>
              <a:gd name="connsiteY7354" fmla="*/ 4175386 h 4503132"/>
              <a:gd name="connsiteX7355" fmla="*/ 2769788 w 4493400"/>
              <a:gd name="connsiteY7355" fmla="*/ 4159940 h 4503132"/>
              <a:gd name="connsiteX7356" fmla="*/ 2954967 w 4493400"/>
              <a:gd name="connsiteY7356" fmla="*/ 4127892 h 4503132"/>
              <a:gd name="connsiteX7357" fmla="*/ 3040031 w 4493400"/>
              <a:gd name="connsiteY7357" fmla="*/ 4102292 h 4503132"/>
              <a:gd name="connsiteX7358" fmla="*/ 3118459 w 4493400"/>
              <a:gd name="connsiteY7358" fmla="*/ 4069859 h 4503132"/>
              <a:gd name="connsiteX7359" fmla="*/ 3267092 w 4493400"/>
              <a:gd name="connsiteY7359" fmla="*/ 4022894 h 4503132"/>
              <a:gd name="connsiteX7360" fmla="*/ 3303060 w 4493400"/>
              <a:gd name="connsiteY7360" fmla="*/ 4020632 h 4503132"/>
              <a:gd name="connsiteX7361" fmla="*/ 3320082 w 4493400"/>
              <a:gd name="connsiteY7361" fmla="*/ 4023038 h 4503132"/>
              <a:gd name="connsiteX7362" fmla="*/ 3333690 w 4493400"/>
              <a:gd name="connsiteY7362" fmla="*/ 4030497 h 4503132"/>
              <a:gd name="connsiteX7363" fmla="*/ 3336768 w 4493400"/>
              <a:gd name="connsiteY7363" fmla="*/ 4044211 h 4503132"/>
              <a:gd name="connsiteX7364" fmla="*/ 3330805 w 4493400"/>
              <a:gd name="connsiteY7364" fmla="*/ 4059080 h 4503132"/>
              <a:gd name="connsiteX7365" fmla="*/ 3310898 w 4493400"/>
              <a:gd name="connsiteY7365" fmla="*/ 4084776 h 4503132"/>
              <a:gd name="connsiteX7366" fmla="*/ 3262043 w 4493400"/>
              <a:gd name="connsiteY7366" fmla="*/ 4124090 h 4503132"/>
              <a:gd name="connsiteX7367" fmla="*/ 3212274 w 4493400"/>
              <a:gd name="connsiteY7367" fmla="*/ 4154791 h 4503132"/>
              <a:gd name="connsiteX7368" fmla="*/ 3121873 w 4493400"/>
              <a:gd name="connsiteY7368" fmla="*/ 4203152 h 4503132"/>
              <a:gd name="connsiteX7369" fmla="*/ 2997571 w 4493400"/>
              <a:gd name="connsiteY7369" fmla="*/ 4272060 h 4503132"/>
              <a:gd name="connsiteX7370" fmla="*/ 2968094 w 4493400"/>
              <a:gd name="connsiteY7370" fmla="*/ 4294484 h 4503132"/>
              <a:gd name="connsiteX7371" fmla="*/ 2961410 w 4493400"/>
              <a:gd name="connsiteY7371" fmla="*/ 4301173 h 4503132"/>
              <a:gd name="connsiteX7372" fmla="*/ 2959343 w 4493400"/>
              <a:gd name="connsiteY7372" fmla="*/ 4303579 h 4503132"/>
              <a:gd name="connsiteX7373" fmla="*/ 2968815 w 4493400"/>
              <a:gd name="connsiteY7373" fmla="*/ 4295302 h 4503132"/>
              <a:gd name="connsiteX7374" fmla="*/ 2998725 w 4493400"/>
              <a:gd name="connsiteY7374" fmla="*/ 4273888 h 4503132"/>
              <a:gd name="connsiteX7375" fmla="*/ 3123748 w 4493400"/>
              <a:gd name="connsiteY7375" fmla="*/ 4206905 h 4503132"/>
              <a:gd name="connsiteX7376" fmla="*/ 3214774 w 4493400"/>
              <a:gd name="connsiteY7376" fmla="*/ 4159266 h 4503132"/>
              <a:gd name="connsiteX7377" fmla="*/ 3265120 w 4493400"/>
              <a:gd name="connsiteY7377" fmla="*/ 4128758 h 4503132"/>
              <a:gd name="connsiteX7378" fmla="*/ 3315129 w 4493400"/>
              <a:gd name="connsiteY7378" fmla="*/ 4089011 h 4503132"/>
              <a:gd name="connsiteX7379" fmla="*/ 3336143 w 4493400"/>
              <a:gd name="connsiteY7379" fmla="*/ 4062111 h 4503132"/>
              <a:gd name="connsiteX7380" fmla="*/ 3342875 w 4493400"/>
              <a:gd name="connsiteY7380" fmla="*/ 4045318 h 4503132"/>
              <a:gd name="connsiteX7381" fmla="*/ 3343260 w 4493400"/>
              <a:gd name="connsiteY7381" fmla="*/ 4042960 h 4503132"/>
              <a:gd name="connsiteX7382" fmla="*/ 3343356 w 4493400"/>
              <a:gd name="connsiteY7382" fmla="*/ 4040506 h 4503132"/>
              <a:gd name="connsiteX7383" fmla="*/ 3342971 w 4493400"/>
              <a:gd name="connsiteY7383" fmla="*/ 4035501 h 4503132"/>
              <a:gd name="connsiteX7384" fmla="*/ 3338451 w 4493400"/>
              <a:gd name="connsiteY7384" fmla="*/ 4026310 h 4503132"/>
              <a:gd name="connsiteX7385" fmla="*/ 3321669 w 4493400"/>
              <a:gd name="connsiteY7385" fmla="*/ 4016782 h 4503132"/>
              <a:gd name="connsiteX7386" fmla="*/ 3303252 w 4493400"/>
              <a:gd name="connsiteY7386" fmla="*/ 4014039 h 4503132"/>
              <a:gd name="connsiteX7387" fmla="*/ 3266034 w 4493400"/>
              <a:gd name="connsiteY7387" fmla="*/ 4016157 h 4503132"/>
              <a:gd name="connsiteX7388" fmla="*/ 3115333 w 4493400"/>
              <a:gd name="connsiteY7388" fmla="*/ 4062882 h 4503132"/>
              <a:gd name="connsiteX7389" fmla="*/ 3037194 w 4493400"/>
              <a:gd name="connsiteY7389" fmla="*/ 4094833 h 4503132"/>
              <a:gd name="connsiteX7390" fmla="*/ 2952899 w 4493400"/>
              <a:gd name="connsiteY7390" fmla="*/ 4119856 h 4503132"/>
              <a:gd name="connsiteX7391" fmla="*/ 2768394 w 4493400"/>
              <a:gd name="connsiteY7391" fmla="*/ 4151134 h 4503132"/>
              <a:gd name="connsiteX7392" fmla="*/ 2670491 w 4493400"/>
              <a:gd name="connsiteY7392" fmla="*/ 4166388 h 4503132"/>
              <a:gd name="connsiteX7393" fmla="*/ 2645631 w 4493400"/>
              <a:gd name="connsiteY7393" fmla="*/ 4171441 h 4503132"/>
              <a:gd name="connsiteX7394" fmla="*/ 2620770 w 4493400"/>
              <a:gd name="connsiteY7394" fmla="*/ 4177792 h 4503132"/>
              <a:gd name="connsiteX7395" fmla="*/ 2608364 w 4493400"/>
              <a:gd name="connsiteY7395" fmla="*/ 4181498 h 4503132"/>
              <a:gd name="connsiteX7396" fmla="*/ 2596054 w 4493400"/>
              <a:gd name="connsiteY7396" fmla="*/ 4186021 h 4503132"/>
              <a:gd name="connsiteX7397" fmla="*/ 2572155 w 4493400"/>
              <a:gd name="connsiteY7397" fmla="*/ 4197089 h 4503132"/>
              <a:gd name="connsiteX7398" fmla="*/ 2489929 w 4493400"/>
              <a:gd name="connsiteY7398" fmla="*/ 4264313 h 4503132"/>
              <a:gd name="connsiteX7399" fmla="*/ 2424148 w 4493400"/>
              <a:gd name="connsiteY7399" fmla="*/ 4350640 h 4503132"/>
              <a:gd name="connsiteX7400" fmla="*/ 2391882 w 4493400"/>
              <a:gd name="connsiteY7400" fmla="*/ 4394766 h 4503132"/>
              <a:gd name="connsiteX7401" fmla="*/ 2373754 w 4493400"/>
              <a:gd name="connsiteY7401" fmla="*/ 4414880 h 4503132"/>
              <a:gd name="connsiteX7402" fmla="*/ 2352307 w 4493400"/>
              <a:gd name="connsiteY7402" fmla="*/ 4429990 h 4503132"/>
              <a:gd name="connsiteX7403" fmla="*/ 2299990 w 4493400"/>
              <a:gd name="connsiteY7403" fmla="*/ 4447458 h 4503132"/>
              <a:gd name="connsiteX7404" fmla="*/ 2244595 w 4493400"/>
              <a:gd name="connsiteY7404" fmla="*/ 4458333 h 4503132"/>
              <a:gd name="connsiteX7405" fmla="*/ 2145923 w 4493400"/>
              <a:gd name="connsiteY7405" fmla="*/ 4467187 h 4503132"/>
              <a:gd name="connsiteX7406" fmla="*/ 2272004 w 4493400"/>
              <a:gd name="connsiteY7406" fmla="*/ 4448661 h 4503132"/>
              <a:gd name="connsiteX7407" fmla="*/ 2307010 w 4493400"/>
              <a:gd name="connsiteY7407" fmla="*/ 4436824 h 4503132"/>
              <a:gd name="connsiteX7408" fmla="*/ 2339468 w 4493400"/>
              <a:gd name="connsiteY7408" fmla="*/ 4419115 h 4503132"/>
              <a:gd name="connsiteX7409" fmla="*/ 2396210 w 4493400"/>
              <a:gd name="connsiteY7409" fmla="*/ 4372872 h 4503132"/>
              <a:gd name="connsiteX7410" fmla="*/ 2421647 w 4493400"/>
              <a:gd name="connsiteY7410" fmla="*/ 4346791 h 4503132"/>
              <a:gd name="connsiteX7411" fmla="*/ 2444872 w 4493400"/>
              <a:gd name="connsiteY7411" fmla="*/ 4318448 h 4503132"/>
              <a:gd name="connsiteX7412" fmla="*/ 2483293 w 4493400"/>
              <a:gd name="connsiteY7412" fmla="*/ 4257239 h 4503132"/>
              <a:gd name="connsiteX7413" fmla="*/ 2528782 w 4493400"/>
              <a:gd name="connsiteY7413" fmla="*/ 4203296 h 4503132"/>
              <a:gd name="connsiteX7414" fmla="*/ 2542775 w 4493400"/>
              <a:gd name="connsiteY7414" fmla="*/ 4192710 h 4503132"/>
              <a:gd name="connsiteX7415" fmla="*/ 2550084 w 4493400"/>
              <a:gd name="connsiteY7415" fmla="*/ 4187849 h 4503132"/>
              <a:gd name="connsiteX7416" fmla="*/ 2557778 w 4493400"/>
              <a:gd name="connsiteY7416" fmla="*/ 4183663 h 4503132"/>
              <a:gd name="connsiteX7417" fmla="*/ 2565520 w 4493400"/>
              <a:gd name="connsiteY7417" fmla="*/ 4179621 h 4503132"/>
              <a:gd name="connsiteX7418" fmla="*/ 2573598 w 4493400"/>
              <a:gd name="connsiteY7418" fmla="*/ 4176301 h 4503132"/>
              <a:gd name="connsiteX7419" fmla="*/ 2581725 w 4493400"/>
              <a:gd name="connsiteY7419" fmla="*/ 4173077 h 4503132"/>
              <a:gd name="connsiteX7420" fmla="*/ 2590140 w 4493400"/>
              <a:gd name="connsiteY7420" fmla="*/ 4170334 h 4503132"/>
              <a:gd name="connsiteX7421" fmla="*/ 2659191 w 4493400"/>
              <a:gd name="connsiteY7421" fmla="*/ 4153828 h 4503132"/>
              <a:gd name="connsiteX7422" fmla="*/ 2729252 w 4493400"/>
              <a:gd name="connsiteY7422" fmla="*/ 4141510 h 4503132"/>
              <a:gd name="connsiteX7423" fmla="*/ 2869182 w 4493400"/>
              <a:gd name="connsiteY7423" fmla="*/ 4118075 h 4503132"/>
              <a:gd name="connsiteX7424" fmla="*/ 3006707 w 4493400"/>
              <a:gd name="connsiteY7424" fmla="*/ 4085739 h 4503132"/>
              <a:gd name="connsiteX7425" fmla="*/ 3072489 w 4493400"/>
              <a:gd name="connsiteY7425" fmla="*/ 4060042 h 4503132"/>
              <a:gd name="connsiteX7426" fmla="*/ 3129662 w 4493400"/>
              <a:gd name="connsiteY7426" fmla="*/ 4018034 h 4503132"/>
              <a:gd name="connsiteX7427" fmla="*/ 3135000 w 4493400"/>
              <a:gd name="connsiteY7427" fmla="*/ 4010719 h 4503132"/>
              <a:gd name="connsiteX7428" fmla="*/ 3137645 w 4493400"/>
              <a:gd name="connsiteY7428" fmla="*/ 4007014 h 4503132"/>
              <a:gd name="connsiteX7429" fmla="*/ 3139905 w 4493400"/>
              <a:gd name="connsiteY7429" fmla="*/ 4002972 h 4503132"/>
              <a:gd name="connsiteX7430" fmla="*/ 3145435 w 4493400"/>
              <a:gd name="connsiteY7430" fmla="*/ 3985167 h 4503132"/>
              <a:gd name="connsiteX7431" fmla="*/ 3136923 w 4493400"/>
              <a:gd name="connsiteY7431" fmla="*/ 3949655 h 4503132"/>
              <a:gd name="connsiteX7432" fmla="*/ 3093165 w 4493400"/>
              <a:gd name="connsiteY7432" fmla="*/ 3895087 h 4503132"/>
              <a:gd name="connsiteX7433" fmla="*/ 3083692 w 4493400"/>
              <a:gd name="connsiteY7433" fmla="*/ 3881324 h 4503132"/>
              <a:gd name="connsiteX7434" fmla="*/ 3080326 w 4493400"/>
              <a:gd name="connsiteY7434" fmla="*/ 3874010 h 4503132"/>
              <a:gd name="connsiteX7435" fmla="*/ 3078115 w 4493400"/>
              <a:gd name="connsiteY7435" fmla="*/ 3865974 h 4503132"/>
              <a:gd name="connsiteX7436" fmla="*/ 3077008 w 4493400"/>
              <a:gd name="connsiteY7436" fmla="*/ 3861932 h 4503132"/>
              <a:gd name="connsiteX7437" fmla="*/ 3076335 w 4493400"/>
              <a:gd name="connsiteY7437" fmla="*/ 3857745 h 4503132"/>
              <a:gd name="connsiteX7438" fmla="*/ 3074989 w 4493400"/>
              <a:gd name="connsiteY7438" fmla="*/ 3849372 h 4503132"/>
              <a:gd name="connsiteX7439" fmla="*/ 3073306 w 4493400"/>
              <a:gd name="connsiteY7439" fmla="*/ 3832386 h 4503132"/>
              <a:gd name="connsiteX7440" fmla="*/ 3072873 w 4493400"/>
              <a:gd name="connsiteY7440" fmla="*/ 3763815 h 4503132"/>
              <a:gd name="connsiteX7441" fmla="*/ 3084510 w 4493400"/>
              <a:gd name="connsiteY7441" fmla="*/ 3627298 h 4503132"/>
              <a:gd name="connsiteX7442" fmla="*/ 3126441 w 4493400"/>
              <a:gd name="connsiteY7442" fmla="*/ 3358932 h 4503132"/>
              <a:gd name="connsiteX7443" fmla="*/ 3184529 w 4493400"/>
              <a:gd name="connsiteY7443" fmla="*/ 3097495 h 4503132"/>
              <a:gd name="connsiteX7444" fmla="*/ 3224969 w 4493400"/>
              <a:gd name="connsiteY7444" fmla="*/ 2971565 h 4503132"/>
              <a:gd name="connsiteX7445" fmla="*/ 3250983 w 4493400"/>
              <a:gd name="connsiteY7445" fmla="*/ 2911318 h 4503132"/>
              <a:gd name="connsiteX7446" fmla="*/ 3284258 w 4493400"/>
              <a:gd name="connsiteY7446" fmla="*/ 2855402 h 4503132"/>
              <a:gd name="connsiteX7447" fmla="*/ 3330517 w 4493400"/>
              <a:gd name="connsiteY7447" fmla="*/ 2811806 h 4503132"/>
              <a:gd name="connsiteX7448" fmla="*/ 3389614 w 4493400"/>
              <a:gd name="connsiteY7448" fmla="*/ 2786638 h 4503132"/>
              <a:gd name="connsiteX7449" fmla="*/ 3516705 w 4493400"/>
              <a:gd name="connsiteY7449" fmla="*/ 2765418 h 4503132"/>
              <a:gd name="connsiteX7450" fmla="*/ 3645142 w 4493400"/>
              <a:gd name="connsiteY7450" fmla="*/ 2755072 h 4503132"/>
              <a:gd name="connsiteX7451" fmla="*/ 3708712 w 4493400"/>
              <a:gd name="connsiteY7451" fmla="*/ 2744726 h 4503132"/>
              <a:gd name="connsiteX7452" fmla="*/ 3769060 w 4493400"/>
              <a:gd name="connsiteY7452" fmla="*/ 2721773 h 4503132"/>
              <a:gd name="connsiteX7453" fmla="*/ 3865327 w 4493400"/>
              <a:gd name="connsiteY7453" fmla="*/ 2638188 h 4503132"/>
              <a:gd name="connsiteX7454" fmla="*/ 3943948 w 4493400"/>
              <a:gd name="connsiteY7454" fmla="*/ 2539397 h 4503132"/>
              <a:gd name="connsiteX7455" fmla="*/ 4085128 w 4493400"/>
              <a:gd name="connsiteY7455" fmla="*/ 2334405 h 4503132"/>
              <a:gd name="connsiteX7456" fmla="*/ 4123933 w 4493400"/>
              <a:gd name="connsiteY7456" fmla="*/ 2287007 h 4503132"/>
              <a:gd name="connsiteX7457" fmla="*/ 4134416 w 4493400"/>
              <a:gd name="connsiteY7457" fmla="*/ 2275988 h 4503132"/>
              <a:gd name="connsiteX7458" fmla="*/ 4145379 w 4493400"/>
              <a:gd name="connsiteY7458" fmla="*/ 2265594 h 4503132"/>
              <a:gd name="connsiteX7459" fmla="*/ 4170576 w 4493400"/>
              <a:gd name="connsiteY7459" fmla="*/ 2249762 h 4503132"/>
              <a:gd name="connsiteX7460" fmla="*/ 4224192 w 4493400"/>
              <a:gd name="connsiteY7460" fmla="*/ 2219446 h 4503132"/>
              <a:gd name="connsiteX7461" fmla="*/ 4268383 w 4493400"/>
              <a:gd name="connsiteY7461" fmla="*/ 2176764 h 4503132"/>
              <a:gd name="connsiteX7462" fmla="*/ 4307621 w 4493400"/>
              <a:gd name="connsiteY7462" fmla="*/ 2130665 h 4503132"/>
              <a:gd name="connsiteX7463" fmla="*/ 4329837 w 4493400"/>
              <a:gd name="connsiteY7463" fmla="*/ 2111753 h 4503132"/>
              <a:gd name="connsiteX7464" fmla="*/ 4332914 w 4493400"/>
              <a:gd name="connsiteY7464" fmla="*/ 2109925 h 4503132"/>
              <a:gd name="connsiteX7465" fmla="*/ 4336136 w 4493400"/>
              <a:gd name="connsiteY7465" fmla="*/ 2108529 h 4503132"/>
              <a:gd name="connsiteX7466" fmla="*/ 4339406 w 4493400"/>
              <a:gd name="connsiteY7466" fmla="*/ 2107230 h 4503132"/>
              <a:gd name="connsiteX7467" fmla="*/ 4342772 w 4493400"/>
              <a:gd name="connsiteY7467" fmla="*/ 2106460 h 4503132"/>
              <a:gd name="connsiteX7468" fmla="*/ 4356187 w 4493400"/>
              <a:gd name="connsiteY7468" fmla="*/ 2106556 h 4503132"/>
              <a:gd name="connsiteX7469" fmla="*/ 4378884 w 4493400"/>
              <a:gd name="connsiteY7469" fmla="*/ 2122484 h 4503132"/>
              <a:gd name="connsiteX7470" fmla="*/ 4394752 w 4493400"/>
              <a:gd name="connsiteY7470" fmla="*/ 2146977 h 4503132"/>
              <a:gd name="connsiteX7471" fmla="*/ 4414467 w 4493400"/>
              <a:gd name="connsiteY7471" fmla="*/ 2202652 h 4503132"/>
              <a:gd name="connsiteX7472" fmla="*/ 4426874 w 4493400"/>
              <a:gd name="connsiteY7472" fmla="*/ 2319969 h 4503132"/>
              <a:gd name="connsiteX7473" fmla="*/ 4413746 w 4493400"/>
              <a:gd name="connsiteY7473" fmla="*/ 2424342 h 4503132"/>
              <a:gd name="connsiteX7474" fmla="*/ 4419420 w 4493400"/>
              <a:gd name="connsiteY7474" fmla="*/ 2398165 h 4503132"/>
              <a:gd name="connsiteX7475" fmla="*/ 4423219 w 4493400"/>
              <a:gd name="connsiteY7475" fmla="*/ 2371025 h 4503132"/>
              <a:gd name="connsiteX7476" fmla="*/ 4426200 w 4493400"/>
              <a:gd name="connsiteY7476" fmla="*/ 2315879 h 4503132"/>
              <a:gd name="connsiteX7477" fmla="*/ 4423556 w 4493400"/>
              <a:gd name="connsiteY7477" fmla="*/ 2259963 h 4503132"/>
              <a:gd name="connsiteX7478" fmla="*/ 4413362 w 4493400"/>
              <a:gd name="connsiteY7478" fmla="*/ 2204000 h 4503132"/>
              <a:gd name="connsiteX7479" fmla="*/ 4390521 w 4493400"/>
              <a:gd name="connsiteY7479" fmla="*/ 2150490 h 4503132"/>
              <a:gd name="connsiteX7480" fmla="*/ 4381048 w 4493400"/>
              <a:gd name="connsiteY7480" fmla="*/ 2138653 h 4503132"/>
              <a:gd name="connsiteX7481" fmla="*/ 4368786 w 4493400"/>
              <a:gd name="connsiteY7481" fmla="*/ 2128836 h 4503132"/>
              <a:gd name="connsiteX7482" fmla="*/ 4352918 w 4493400"/>
              <a:gd name="connsiteY7482" fmla="*/ 2123976 h 4503132"/>
              <a:gd name="connsiteX7483" fmla="*/ 4336616 w 4493400"/>
              <a:gd name="connsiteY7483" fmla="*/ 2127489 h 4503132"/>
              <a:gd name="connsiteX7484" fmla="*/ 4311997 w 4493400"/>
              <a:gd name="connsiteY7484" fmla="*/ 2145341 h 4503132"/>
              <a:gd name="connsiteX7485" fmla="*/ 4291464 w 4493400"/>
              <a:gd name="connsiteY7485" fmla="*/ 2166755 h 4503132"/>
              <a:gd name="connsiteX7486" fmla="*/ 4223086 w 4493400"/>
              <a:gd name="connsiteY7486" fmla="*/ 2263909 h 4503132"/>
              <a:gd name="connsiteX7487" fmla="*/ 4194523 w 4493400"/>
              <a:gd name="connsiteY7487" fmla="*/ 2317034 h 4503132"/>
              <a:gd name="connsiteX7488" fmla="*/ 4182357 w 4493400"/>
              <a:gd name="connsiteY7488" fmla="*/ 2345088 h 4503132"/>
              <a:gd name="connsiteX7489" fmla="*/ 4173317 w 4493400"/>
              <a:gd name="connsiteY7489" fmla="*/ 2374634 h 4503132"/>
              <a:gd name="connsiteX7490" fmla="*/ 4148697 w 4493400"/>
              <a:gd name="connsiteY7490" fmla="*/ 2494694 h 4503132"/>
              <a:gd name="connsiteX7491" fmla="*/ 4105660 w 4493400"/>
              <a:gd name="connsiteY7491" fmla="*/ 2609749 h 4503132"/>
              <a:gd name="connsiteX7492" fmla="*/ 4071567 w 4493400"/>
              <a:gd name="connsiteY7492" fmla="*/ 2660564 h 4503132"/>
              <a:gd name="connsiteX7493" fmla="*/ 4048871 w 4493400"/>
              <a:gd name="connsiteY7493" fmla="*/ 2672449 h 4503132"/>
              <a:gd name="connsiteX7494" fmla="*/ 4030743 w 4493400"/>
              <a:gd name="connsiteY7494" fmla="*/ 2653682 h 4503132"/>
              <a:gd name="connsiteX7495" fmla="*/ 4013095 w 4493400"/>
              <a:gd name="connsiteY7495" fmla="*/ 2625869 h 4503132"/>
              <a:gd name="connsiteX7496" fmla="*/ 3998477 w 4493400"/>
              <a:gd name="connsiteY7496" fmla="*/ 2615042 h 4503132"/>
              <a:gd name="connsiteX7497" fmla="*/ 3980156 w 4493400"/>
              <a:gd name="connsiteY7497" fmla="*/ 2612732 h 4503132"/>
              <a:gd name="connsiteX7498" fmla="*/ 3948275 w 4493400"/>
              <a:gd name="connsiteY7498" fmla="*/ 2625244 h 4503132"/>
              <a:gd name="connsiteX7499" fmla="*/ 3922790 w 4493400"/>
              <a:gd name="connsiteY7499" fmla="*/ 2646513 h 4503132"/>
              <a:gd name="connsiteX7500" fmla="*/ 3879753 w 4493400"/>
              <a:gd name="connsiteY7500" fmla="*/ 2694681 h 4503132"/>
              <a:gd name="connsiteX7501" fmla="*/ 3836284 w 4493400"/>
              <a:gd name="connsiteY7501" fmla="*/ 2740443 h 4503132"/>
              <a:gd name="connsiteX7502" fmla="*/ 3785649 w 4493400"/>
              <a:gd name="connsiteY7502" fmla="*/ 2775619 h 4503132"/>
              <a:gd name="connsiteX7503" fmla="*/ 3727610 w 4493400"/>
              <a:gd name="connsiteY7503" fmla="*/ 2797081 h 4503132"/>
              <a:gd name="connsiteX7504" fmla="*/ 3606049 w 4493400"/>
              <a:gd name="connsiteY7504" fmla="*/ 2818735 h 4503132"/>
              <a:gd name="connsiteX7505" fmla="*/ 3484247 w 4493400"/>
              <a:gd name="connsiteY7505" fmla="*/ 2832834 h 4503132"/>
              <a:gd name="connsiteX7506" fmla="*/ 3424477 w 4493400"/>
              <a:gd name="connsiteY7506" fmla="*/ 2845008 h 4503132"/>
              <a:gd name="connsiteX7507" fmla="*/ 3367976 w 4493400"/>
              <a:gd name="connsiteY7507" fmla="*/ 2868202 h 4503132"/>
              <a:gd name="connsiteX7508" fmla="*/ 3355185 w 4493400"/>
              <a:gd name="connsiteY7508" fmla="*/ 2876816 h 4503132"/>
              <a:gd name="connsiteX7509" fmla="*/ 3343596 w 4493400"/>
              <a:gd name="connsiteY7509" fmla="*/ 2886825 h 4503132"/>
              <a:gd name="connsiteX7510" fmla="*/ 3340711 w 4493400"/>
              <a:gd name="connsiteY7510" fmla="*/ 2889375 h 4503132"/>
              <a:gd name="connsiteX7511" fmla="*/ 3338115 w 4493400"/>
              <a:gd name="connsiteY7511" fmla="*/ 2892166 h 4503132"/>
              <a:gd name="connsiteX7512" fmla="*/ 3332921 w 4493400"/>
              <a:gd name="connsiteY7512" fmla="*/ 2897700 h 4503132"/>
              <a:gd name="connsiteX7513" fmla="*/ 3327776 w 4493400"/>
              <a:gd name="connsiteY7513" fmla="*/ 2903282 h 4503132"/>
              <a:gd name="connsiteX7514" fmla="*/ 3323112 w 4493400"/>
              <a:gd name="connsiteY7514" fmla="*/ 2909201 h 4503132"/>
              <a:gd name="connsiteX7515" fmla="*/ 3290654 w 4493400"/>
              <a:gd name="connsiteY7515" fmla="*/ 2959101 h 4503132"/>
              <a:gd name="connsiteX7516" fmla="*/ 3245261 w 4493400"/>
              <a:gd name="connsiteY7516" fmla="*/ 3066169 h 4503132"/>
              <a:gd name="connsiteX7517" fmla="*/ 3213428 w 4493400"/>
              <a:gd name="connsiteY7517" fmla="*/ 3174968 h 4503132"/>
              <a:gd name="connsiteX7518" fmla="*/ 3136346 w 4493400"/>
              <a:gd name="connsiteY7518" fmla="*/ 3590727 h 4503132"/>
              <a:gd name="connsiteX7519" fmla="*/ 3114708 w 4493400"/>
              <a:gd name="connsiteY7519" fmla="*/ 3781523 h 4503132"/>
              <a:gd name="connsiteX7520" fmla="*/ 3129759 w 4493400"/>
              <a:gd name="connsiteY7520" fmla="*/ 3871508 h 4503132"/>
              <a:gd name="connsiteX7521" fmla="*/ 3153657 w 4493400"/>
              <a:gd name="connsiteY7521" fmla="*/ 3909571 h 4503132"/>
              <a:gd name="connsiteX7522" fmla="*/ 3191501 w 4493400"/>
              <a:gd name="connsiteY7522" fmla="*/ 3932283 h 4503132"/>
              <a:gd name="connsiteX7523" fmla="*/ 3234057 w 4493400"/>
              <a:gd name="connsiteY7523" fmla="*/ 3936326 h 4503132"/>
              <a:gd name="connsiteX7524" fmla="*/ 3274785 w 4493400"/>
              <a:gd name="connsiteY7524" fmla="*/ 3929444 h 4503132"/>
              <a:gd name="connsiteX7525" fmla="*/ 3347972 w 4493400"/>
              <a:gd name="connsiteY7525" fmla="*/ 3900428 h 4503132"/>
              <a:gd name="connsiteX7526" fmla="*/ 3470495 w 4493400"/>
              <a:gd name="connsiteY7526" fmla="*/ 3825697 h 4503132"/>
              <a:gd name="connsiteX7527" fmla="*/ 3522235 w 4493400"/>
              <a:gd name="connsiteY7527" fmla="*/ 3786576 h 4503132"/>
              <a:gd name="connsiteX7528" fmla="*/ 3566763 w 4493400"/>
              <a:gd name="connsiteY7528" fmla="*/ 3746155 h 4503132"/>
              <a:gd name="connsiteX7529" fmla="*/ 3637545 w 4493400"/>
              <a:gd name="connsiteY7529" fmla="*/ 3668777 h 4503132"/>
              <a:gd name="connsiteX7530" fmla="*/ 3736986 w 4493400"/>
              <a:gd name="connsiteY7530" fmla="*/ 3563875 h 4503132"/>
              <a:gd name="connsiteX7531" fmla="*/ 3745930 w 4493400"/>
              <a:gd name="connsiteY7531" fmla="*/ 3556417 h 4503132"/>
              <a:gd name="connsiteX7532" fmla="*/ 3754105 w 4493400"/>
              <a:gd name="connsiteY7532" fmla="*/ 3550402 h 4503132"/>
              <a:gd name="connsiteX7533" fmla="*/ 3761077 w 4493400"/>
              <a:gd name="connsiteY7533" fmla="*/ 3545301 h 4503132"/>
              <a:gd name="connsiteX7534" fmla="*/ 3767088 w 4493400"/>
              <a:gd name="connsiteY7534" fmla="*/ 3541452 h 4503132"/>
              <a:gd name="connsiteX7535" fmla="*/ 3775214 w 4493400"/>
              <a:gd name="connsiteY7535" fmla="*/ 3536303 h 4503132"/>
              <a:gd name="connsiteX7536" fmla="*/ 3777859 w 4493400"/>
              <a:gd name="connsiteY7536" fmla="*/ 3534426 h 4503132"/>
              <a:gd name="connsiteX7537" fmla="*/ 3774926 w 4493400"/>
              <a:gd name="connsiteY7537" fmla="*/ 3535821 h 4503132"/>
              <a:gd name="connsiteX7538" fmla="*/ 3766511 w 4493400"/>
              <a:gd name="connsiteY7538" fmla="*/ 3540489 h 4503132"/>
              <a:gd name="connsiteX7539" fmla="*/ 3760356 w 4493400"/>
              <a:gd name="connsiteY7539" fmla="*/ 3544098 h 4503132"/>
              <a:gd name="connsiteX7540" fmla="*/ 3753191 w 4493400"/>
              <a:gd name="connsiteY7540" fmla="*/ 3549006 h 4503132"/>
              <a:gd name="connsiteX7541" fmla="*/ 3744824 w 4493400"/>
              <a:gd name="connsiteY7541" fmla="*/ 3554829 h 4503132"/>
              <a:gd name="connsiteX7542" fmla="*/ 3735640 w 4493400"/>
              <a:gd name="connsiteY7542" fmla="*/ 3562143 h 4503132"/>
              <a:gd name="connsiteX7543" fmla="*/ 3634467 w 4493400"/>
              <a:gd name="connsiteY7543" fmla="*/ 3665987 h 4503132"/>
              <a:gd name="connsiteX7544" fmla="*/ 3563252 w 4493400"/>
              <a:gd name="connsiteY7544" fmla="*/ 3742497 h 4503132"/>
              <a:gd name="connsiteX7545" fmla="*/ 3518821 w 4493400"/>
              <a:gd name="connsiteY7545" fmla="*/ 3782245 h 4503132"/>
              <a:gd name="connsiteX7546" fmla="*/ 3467129 w 4493400"/>
              <a:gd name="connsiteY7546" fmla="*/ 3820789 h 4503132"/>
              <a:gd name="connsiteX7547" fmla="*/ 3345039 w 4493400"/>
              <a:gd name="connsiteY7547" fmla="*/ 3894316 h 4503132"/>
              <a:gd name="connsiteX7548" fmla="*/ 3273054 w 4493400"/>
              <a:gd name="connsiteY7548" fmla="*/ 3922467 h 4503132"/>
              <a:gd name="connsiteX7549" fmla="*/ 3233768 w 4493400"/>
              <a:gd name="connsiteY7549" fmla="*/ 3928963 h 4503132"/>
              <a:gd name="connsiteX7550" fmla="*/ 3193809 w 4493400"/>
              <a:gd name="connsiteY7550" fmla="*/ 3925017 h 4503132"/>
              <a:gd name="connsiteX7551" fmla="*/ 3159332 w 4493400"/>
              <a:gd name="connsiteY7551" fmla="*/ 3904133 h 4503132"/>
              <a:gd name="connsiteX7552" fmla="*/ 3137308 w 4493400"/>
              <a:gd name="connsiteY7552" fmla="*/ 3868620 h 4503132"/>
              <a:gd name="connsiteX7553" fmla="*/ 3123171 w 4493400"/>
              <a:gd name="connsiteY7553" fmla="*/ 3781379 h 4503132"/>
              <a:gd name="connsiteX7554" fmla="*/ 3129278 w 4493400"/>
              <a:gd name="connsiteY7554" fmla="*/ 3688266 h 4503132"/>
              <a:gd name="connsiteX7555" fmla="*/ 3136539 w 4493400"/>
              <a:gd name="connsiteY7555" fmla="*/ 3640675 h 4503132"/>
              <a:gd name="connsiteX7556" fmla="*/ 3145338 w 4493400"/>
              <a:gd name="connsiteY7556" fmla="*/ 3592266 h 4503132"/>
              <a:gd name="connsiteX7557" fmla="*/ 3223238 w 4493400"/>
              <a:gd name="connsiteY7557" fmla="*/ 3177422 h 4503132"/>
              <a:gd name="connsiteX7558" fmla="*/ 3255022 w 4493400"/>
              <a:gd name="connsiteY7558" fmla="*/ 3069441 h 4503132"/>
              <a:gd name="connsiteX7559" fmla="*/ 3299886 w 4493400"/>
              <a:gd name="connsiteY7559" fmla="*/ 2963961 h 4503132"/>
              <a:gd name="connsiteX7560" fmla="*/ 3331382 w 4493400"/>
              <a:gd name="connsiteY7560" fmla="*/ 2915601 h 4503132"/>
              <a:gd name="connsiteX7561" fmla="*/ 3335854 w 4493400"/>
              <a:gd name="connsiteY7561" fmla="*/ 2909922 h 4503132"/>
              <a:gd name="connsiteX7562" fmla="*/ 3340759 w 4493400"/>
              <a:gd name="connsiteY7562" fmla="*/ 2904629 h 4503132"/>
              <a:gd name="connsiteX7563" fmla="*/ 3345664 w 4493400"/>
              <a:gd name="connsiteY7563" fmla="*/ 2899336 h 4503132"/>
              <a:gd name="connsiteX7564" fmla="*/ 3348116 w 4493400"/>
              <a:gd name="connsiteY7564" fmla="*/ 2896689 h 4503132"/>
              <a:gd name="connsiteX7565" fmla="*/ 3350809 w 4493400"/>
              <a:gd name="connsiteY7565" fmla="*/ 2894331 h 4503132"/>
              <a:gd name="connsiteX7566" fmla="*/ 3361676 w 4493400"/>
              <a:gd name="connsiteY7566" fmla="*/ 2884948 h 4503132"/>
              <a:gd name="connsiteX7567" fmla="*/ 3373554 w 4493400"/>
              <a:gd name="connsiteY7567" fmla="*/ 2877008 h 4503132"/>
              <a:gd name="connsiteX7568" fmla="*/ 3427506 w 4493400"/>
              <a:gd name="connsiteY7568" fmla="*/ 2855017 h 4503132"/>
              <a:gd name="connsiteX7569" fmla="*/ 3486074 w 4493400"/>
              <a:gd name="connsiteY7569" fmla="*/ 2843132 h 4503132"/>
              <a:gd name="connsiteX7570" fmla="*/ 3607539 w 4493400"/>
              <a:gd name="connsiteY7570" fmla="*/ 2829177 h 4503132"/>
              <a:gd name="connsiteX7571" fmla="*/ 3730735 w 4493400"/>
              <a:gd name="connsiteY7571" fmla="*/ 2807282 h 4503132"/>
              <a:gd name="connsiteX7572" fmla="*/ 3790554 w 4493400"/>
              <a:gd name="connsiteY7572" fmla="*/ 2785147 h 4503132"/>
              <a:gd name="connsiteX7573" fmla="*/ 3843689 w 4493400"/>
              <a:gd name="connsiteY7573" fmla="*/ 2748287 h 4503132"/>
              <a:gd name="connsiteX7574" fmla="*/ 3888072 w 4493400"/>
              <a:gd name="connsiteY7574" fmla="*/ 2701610 h 4503132"/>
              <a:gd name="connsiteX7575" fmla="*/ 3930532 w 4493400"/>
              <a:gd name="connsiteY7575" fmla="*/ 2654019 h 4503132"/>
              <a:gd name="connsiteX7576" fmla="*/ 3954334 w 4493400"/>
              <a:gd name="connsiteY7576" fmla="*/ 2634146 h 4503132"/>
              <a:gd name="connsiteX7577" fmla="*/ 3981551 w 4493400"/>
              <a:gd name="connsiteY7577" fmla="*/ 2623319 h 4503132"/>
              <a:gd name="connsiteX7578" fmla="*/ 3994630 w 4493400"/>
              <a:gd name="connsiteY7578" fmla="*/ 2624907 h 4503132"/>
              <a:gd name="connsiteX7579" fmla="*/ 4005401 w 4493400"/>
              <a:gd name="connsiteY7579" fmla="*/ 2632991 h 4503132"/>
              <a:gd name="connsiteX7580" fmla="*/ 4021702 w 4493400"/>
              <a:gd name="connsiteY7580" fmla="*/ 2658928 h 4503132"/>
              <a:gd name="connsiteX7581" fmla="*/ 4031079 w 4493400"/>
              <a:gd name="connsiteY7581" fmla="*/ 2672979 h 4503132"/>
              <a:gd name="connsiteX7582" fmla="*/ 4047428 w 4493400"/>
              <a:gd name="connsiteY7582" fmla="*/ 2682988 h 4503132"/>
              <a:gd name="connsiteX7583" fmla="*/ 4066086 w 4493400"/>
              <a:gd name="connsiteY7583" fmla="*/ 2678898 h 4503132"/>
              <a:gd name="connsiteX7584" fmla="*/ 4079405 w 4493400"/>
              <a:gd name="connsiteY7584" fmla="*/ 2668071 h 4503132"/>
              <a:gd name="connsiteX7585" fmla="*/ 4115326 w 4493400"/>
              <a:gd name="connsiteY7585" fmla="*/ 2614753 h 4503132"/>
              <a:gd name="connsiteX7586" fmla="*/ 4159228 w 4493400"/>
              <a:gd name="connsiteY7586" fmla="*/ 2497196 h 4503132"/>
              <a:gd name="connsiteX7587" fmla="*/ 4183752 w 4493400"/>
              <a:gd name="connsiteY7587" fmla="*/ 2377232 h 4503132"/>
              <a:gd name="connsiteX7588" fmla="*/ 4192359 w 4493400"/>
              <a:gd name="connsiteY7588" fmla="*/ 2348890 h 4503132"/>
              <a:gd name="connsiteX7589" fmla="*/ 4204188 w 4493400"/>
              <a:gd name="connsiteY7589" fmla="*/ 2321605 h 4503132"/>
              <a:gd name="connsiteX7590" fmla="*/ 4232270 w 4493400"/>
              <a:gd name="connsiteY7590" fmla="*/ 2269251 h 4503132"/>
              <a:gd name="connsiteX7591" fmla="*/ 4299446 w 4493400"/>
              <a:gd name="connsiteY7591" fmla="*/ 2173540 h 4503132"/>
              <a:gd name="connsiteX7592" fmla="*/ 4319209 w 4493400"/>
              <a:gd name="connsiteY7592" fmla="*/ 2152896 h 4503132"/>
              <a:gd name="connsiteX7593" fmla="*/ 4341233 w 4493400"/>
              <a:gd name="connsiteY7593" fmla="*/ 2136776 h 4503132"/>
              <a:gd name="connsiteX7594" fmla="*/ 4352774 w 4493400"/>
              <a:gd name="connsiteY7594" fmla="*/ 2134177 h 4503132"/>
              <a:gd name="connsiteX7595" fmla="*/ 4364122 w 4493400"/>
              <a:gd name="connsiteY7595" fmla="*/ 2137690 h 4503132"/>
              <a:gd name="connsiteX7596" fmla="*/ 4374171 w 4493400"/>
              <a:gd name="connsiteY7596" fmla="*/ 2145726 h 4503132"/>
              <a:gd name="connsiteX7597" fmla="*/ 4382538 w 4493400"/>
              <a:gd name="connsiteY7597" fmla="*/ 2156216 h 4503132"/>
              <a:gd name="connsiteX7598" fmla="*/ 4404129 w 4493400"/>
              <a:gd name="connsiteY7598" fmla="*/ 2206743 h 4503132"/>
              <a:gd name="connsiteX7599" fmla="*/ 4408986 w 4493400"/>
              <a:gd name="connsiteY7599" fmla="*/ 2227627 h 4503132"/>
              <a:gd name="connsiteX7600" fmla="*/ 4407014 w 4493400"/>
              <a:gd name="connsiteY7600" fmla="*/ 2219494 h 4503132"/>
              <a:gd name="connsiteX7601" fmla="*/ 4396339 w 4493400"/>
              <a:gd name="connsiteY7601" fmla="*/ 2190574 h 4503132"/>
              <a:gd name="connsiteX7602" fmla="*/ 4376961 w 4493400"/>
              <a:gd name="connsiteY7602" fmla="*/ 2164974 h 4503132"/>
              <a:gd name="connsiteX7603" fmla="*/ 4361044 w 4493400"/>
              <a:gd name="connsiteY7603" fmla="*/ 2157708 h 4503132"/>
              <a:gd name="connsiteX7604" fmla="*/ 4343445 w 4493400"/>
              <a:gd name="connsiteY7604" fmla="*/ 2159970 h 4503132"/>
              <a:gd name="connsiteX7605" fmla="*/ 4317575 w 4493400"/>
              <a:gd name="connsiteY7605" fmla="*/ 2179073 h 4503132"/>
              <a:gd name="connsiteX7606" fmla="*/ 4283385 w 4493400"/>
              <a:gd name="connsiteY7606" fmla="*/ 2230754 h 4503132"/>
              <a:gd name="connsiteX7607" fmla="*/ 4260208 w 4493400"/>
              <a:gd name="connsiteY7607" fmla="*/ 2287488 h 4503132"/>
              <a:gd name="connsiteX7608" fmla="*/ 4244821 w 4493400"/>
              <a:gd name="connsiteY7608" fmla="*/ 2346435 h 4503132"/>
              <a:gd name="connsiteX7609" fmla="*/ 4234482 w 4493400"/>
              <a:gd name="connsiteY7609" fmla="*/ 2465773 h 4503132"/>
              <a:gd name="connsiteX7610" fmla="*/ 4227125 w 4493400"/>
              <a:gd name="connsiteY7610" fmla="*/ 2523325 h 4503132"/>
              <a:gd name="connsiteX7611" fmla="*/ 4206304 w 4493400"/>
              <a:gd name="connsiteY7611" fmla="*/ 2576450 h 4503132"/>
              <a:gd name="connsiteX7612" fmla="*/ 4141292 w 4493400"/>
              <a:gd name="connsiteY7612" fmla="*/ 2670861 h 4503132"/>
              <a:gd name="connsiteX7613" fmla="*/ 4107680 w 4493400"/>
              <a:gd name="connsiteY7613" fmla="*/ 2717153 h 4503132"/>
              <a:gd name="connsiteX7614" fmla="*/ 4074741 w 4493400"/>
              <a:gd name="connsiteY7614" fmla="*/ 2762963 h 4503132"/>
              <a:gd name="connsiteX7615" fmla="*/ 4040167 w 4493400"/>
              <a:gd name="connsiteY7615" fmla="*/ 2806464 h 4503132"/>
              <a:gd name="connsiteX7616" fmla="*/ 4001314 w 4493400"/>
              <a:gd name="connsiteY7616" fmla="*/ 2844383 h 4503132"/>
              <a:gd name="connsiteX7617" fmla="*/ 3901488 w 4493400"/>
              <a:gd name="connsiteY7617" fmla="*/ 2873399 h 4503132"/>
              <a:gd name="connsiteX7618" fmla="*/ 3848305 w 4493400"/>
              <a:gd name="connsiteY7618" fmla="*/ 2873014 h 4503132"/>
              <a:gd name="connsiteX7619" fmla="*/ 3795507 w 4493400"/>
              <a:gd name="connsiteY7619" fmla="*/ 2870223 h 4503132"/>
              <a:gd name="connsiteX7620" fmla="*/ 3589844 w 4493400"/>
              <a:gd name="connsiteY7620" fmla="*/ 2870849 h 4503132"/>
              <a:gd name="connsiteX7621" fmla="*/ 3493624 w 4493400"/>
              <a:gd name="connsiteY7621" fmla="*/ 2894716 h 4503132"/>
              <a:gd name="connsiteX7622" fmla="*/ 3410772 w 4493400"/>
              <a:gd name="connsiteY7622" fmla="*/ 2943655 h 4503132"/>
              <a:gd name="connsiteX7623" fmla="*/ 3401732 w 4493400"/>
              <a:gd name="connsiteY7623" fmla="*/ 2951354 h 4503132"/>
              <a:gd name="connsiteX7624" fmla="*/ 3393269 w 4493400"/>
              <a:gd name="connsiteY7624" fmla="*/ 2959582 h 4503132"/>
              <a:gd name="connsiteX7625" fmla="*/ 3384950 w 4493400"/>
              <a:gd name="connsiteY7625" fmla="*/ 2967859 h 4503132"/>
              <a:gd name="connsiteX7626" fmla="*/ 3377304 w 4493400"/>
              <a:gd name="connsiteY7626" fmla="*/ 2976809 h 4503132"/>
              <a:gd name="connsiteX7627" fmla="*/ 3369947 w 4493400"/>
              <a:gd name="connsiteY7627" fmla="*/ 2985952 h 4503132"/>
              <a:gd name="connsiteX7628" fmla="*/ 3363360 w 4493400"/>
              <a:gd name="connsiteY7628" fmla="*/ 2995528 h 4503132"/>
              <a:gd name="connsiteX7629" fmla="*/ 3351386 w 4493400"/>
              <a:gd name="connsiteY7629" fmla="*/ 3015209 h 4503132"/>
              <a:gd name="connsiteX7630" fmla="*/ 3317101 w 4493400"/>
              <a:gd name="connsiteY7630" fmla="*/ 3097735 h 4503132"/>
              <a:gd name="connsiteX7631" fmla="*/ 3277574 w 4493400"/>
              <a:gd name="connsiteY7631" fmla="*/ 3260093 h 4503132"/>
              <a:gd name="connsiteX7632" fmla="*/ 3248002 w 4493400"/>
              <a:gd name="connsiteY7632" fmla="*/ 3408688 h 4503132"/>
              <a:gd name="connsiteX7633" fmla="*/ 3217996 w 4493400"/>
              <a:gd name="connsiteY7633" fmla="*/ 3540441 h 4503132"/>
              <a:gd name="connsiteX7634" fmla="*/ 3193376 w 4493400"/>
              <a:gd name="connsiteY7634" fmla="*/ 3655544 h 4503132"/>
              <a:gd name="connsiteX7635" fmla="*/ 3181884 w 4493400"/>
              <a:gd name="connsiteY7635" fmla="*/ 3753998 h 4503132"/>
              <a:gd name="connsiteX7636" fmla="*/ 3196838 w 4493400"/>
              <a:gd name="connsiteY7636" fmla="*/ 3831520 h 4503132"/>
              <a:gd name="connsiteX7637" fmla="*/ 3218814 w 4493400"/>
              <a:gd name="connsiteY7637" fmla="*/ 3854762 h 4503132"/>
              <a:gd name="connsiteX7638" fmla="*/ 3243385 w 4493400"/>
              <a:gd name="connsiteY7638" fmla="*/ 3864675 h 4503132"/>
              <a:gd name="connsiteX7639" fmla="*/ 3278969 w 4493400"/>
              <a:gd name="connsiteY7639" fmla="*/ 3866888 h 4503132"/>
              <a:gd name="connsiteX7640" fmla="*/ 3288009 w 4493400"/>
              <a:gd name="connsiteY7640" fmla="*/ 3865974 h 4503132"/>
              <a:gd name="connsiteX7641" fmla="*/ 3291038 w 4493400"/>
              <a:gd name="connsiteY7641" fmla="*/ 3865444 h 4503132"/>
              <a:gd name="connsiteX7642" fmla="*/ 3278921 w 4493400"/>
              <a:gd name="connsiteY7642" fmla="*/ 3865781 h 4503132"/>
              <a:gd name="connsiteX7643" fmla="*/ 3243866 w 4493400"/>
              <a:gd name="connsiteY7643" fmla="*/ 3862557 h 4503132"/>
              <a:gd name="connsiteX7644" fmla="*/ 3220256 w 4493400"/>
              <a:gd name="connsiteY7644" fmla="*/ 3852500 h 4503132"/>
              <a:gd name="connsiteX7645" fmla="*/ 3199579 w 4493400"/>
              <a:gd name="connsiteY7645" fmla="*/ 3829884 h 4503132"/>
              <a:gd name="connsiteX7646" fmla="*/ 3186019 w 4493400"/>
              <a:gd name="connsiteY7646" fmla="*/ 3753998 h 4503132"/>
              <a:gd name="connsiteX7647" fmla="*/ 3198329 w 4493400"/>
              <a:gd name="connsiteY7647" fmla="*/ 3656363 h 4503132"/>
              <a:gd name="connsiteX7648" fmla="*/ 3223718 w 4493400"/>
              <a:gd name="connsiteY7648" fmla="*/ 3541644 h 4503132"/>
              <a:gd name="connsiteX7649" fmla="*/ 3254590 w 4493400"/>
              <a:gd name="connsiteY7649" fmla="*/ 3409987 h 4503132"/>
              <a:gd name="connsiteX7650" fmla="*/ 3284932 w 4493400"/>
              <a:gd name="connsiteY7650" fmla="*/ 3261440 h 4503132"/>
              <a:gd name="connsiteX7651" fmla="*/ 3324891 w 4493400"/>
              <a:gd name="connsiteY7651" fmla="*/ 3100141 h 4503132"/>
              <a:gd name="connsiteX7652" fmla="*/ 3358840 w 4493400"/>
              <a:gd name="connsiteY7652" fmla="*/ 3019251 h 4503132"/>
              <a:gd name="connsiteX7653" fmla="*/ 3370476 w 4493400"/>
              <a:gd name="connsiteY7653" fmla="*/ 3000196 h 4503132"/>
              <a:gd name="connsiteX7654" fmla="*/ 3376872 w 4493400"/>
              <a:gd name="connsiteY7654" fmla="*/ 2990957 h 4503132"/>
              <a:gd name="connsiteX7655" fmla="*/ 3383940 w 4493400"/>
              <a:gd name="connsiteY7655" fmla="*/ 2982247 h 4503132"/>
              <a:gd name="connsiteX7656" fmla="*/ 3391298 w 4493400"/>
              <a:gd name="connsiteY7656" fmla="*/ 2973682 h 4503132"/>
              <a:gd name="connsiteX7657" fmla="*/ 3399424 w 4493400"/>
              <a:gd name="connsiteY7657" fmla="*/ 2965646 h 4503132"/>
              <a:gd name="connsiteX7658" fmla="*/ 3407647 w 4493400"/>
              <a:gd name="connsiteY7658" fmla="*/ 2957706 h 4503132"/>
              <a:gd name="connsiteX7659" fmla="*/ 3416446 w 4493400"/>
              <a:gd name="connsiteY7659" fmla="*/ 2950295 h 4503132"/>
              <a:gd name="connsiteX7660" fmla="*/ 3496990 w 4493400"/>
              <a:gd name="connsiteY7660" fmla="*/ 2903089 h 4503132"/>
              <a:gd name="connsiteX7661" fmla="*/ 3591094 w 4493400"/>
              <a:gd name="connsiteY7661" fmla="*/ 2879992 h 4503132"/>
              <a:gd name="connsiteX7662" fmla="*/ 3794978 w 4493400"/>
              <a:gd name="connsiteY7662" fmla="*/ 2879895 h 4503132"/>
              <a:gd name="connsiteX7663" fmla="*/ 3847968 w 4493400"/>
              <a:gd name="connsiteY7663" fmla="*/ 2882783 h 4503132"/>
              <a:gd name="connsiteX7664" fmla="*/ 3901921 w 4493400"/>
              <a:gd name="connsiteY7664" fmla="*/ 2883264 h 4503132"/>
              <a:gd name="connsiteX7665" fmla="*/ 3956642 w 4493400"/>
              <a:gd name="connsiteY7665" fmla="*/ 2876671 h 4503132"/>
              <a:gd name="connsiteX7666" fmla="*/ 3970202 w 4493400"/>
              <a:gd name="connsiteY7666" fmla="*/ 2872774 h 4503132"/>
              <a:gd name="connsiteX7667" fmla="*/ 3976886 w 4493400"/>
              <a:gd name="connsiteY7667" fmla="*/ 2870271 h 4503132"/>
              <a:gd name="connsiteX7668" fmla="*/ 3983426 w 4493400"/>
              <a:gd name="connsiteY7668" fmla="*/ 2867432 h 4503132"/>
              <a:gd name="connsiteX7669" fmla="*/ 3989870 w 4493400"/>
              <a:gd name="connsiteY7669" fmla="*/ 2864208 h 4503132"/>
              <a:gd name="connsiteX7670" fmla="*/ 3995928 w 4493400"/>
              <a:gd name="connsiteY7670" fmla="*/ 2860455 h 4503132"/>
              <a:gd name="connsiteX7671" fmla="*/ 4007565 w 4493400"/>
              <a:gd name="connsiteY7671" fmla="*/ 2852323 h 4503132"/>
              <a:gd name="connsiteX7672" fmla="*/ 4047957 w 4493400"/>
              <a:gd name="connsiteY7672" fmla="*/ 2813057 h 4503132"/>
              <a:gd name="connsiteX7673" fmla="*/ 4083060 w 4493400"/>
              <a:gd name="connsiteY7673" fmla="*/ 2768978 h 4503132"/>
              <a:gd name="connsiteX7674" fmla="*/ 4116191 w 4493400"/>
              <a:gd name="connsiteY7674" fmla="*/ 2723024 h 4503132"/>
              <a:gd name="connsiteX7675" fmla="*/ 4149659 w 4493400"/>
              <a:gd name="connsiteY7675" fmla="*/ 2677021 h 4503132"/>
              <a:gd name="connsiteX7676" fmla="*/ 4215633 w 4493400"/>
              <a:gd name="connsiteY7676" fmla="*/ 2581214 h 4503132"/>
              <a:gd name="connsiteX7677" fmla="*/ 4237415 w 4493400"/>
              <a:gd name="connsiteY7677" fmla="*/ 2525635 h 4503132"/>
              <a:gd name="connsiteX7678" fmla="*/ 4245061 w 4493400"/>
              <a:gd name="connsiteY7678" fmla="*/ 2466303 h 4503132"/>
              <a:gd name="connsiteX7679" fmla="*/ 4255303 w 4493400"/>
              <a:gd name="connsiteY7679" fmla="*/ 2348216 h 4503132"/>
              <a:gd name="connsiteX7680" fmla="*/ 4270354 w 4493400"/>
              <a:gd name="connsiteY7680" fmla="*/ 2290712 h 4503132"/>
              <a:gd name="connsiteX7681" fmla="*/ 4292955 w 4493400"/>
              <a:gd name="connsiteY7681" fmla="*/ 2235374 h 4503132"/>
              <a:gd name="connsiteX7682" fmla="*/ 4325316 w 4493400"/>
              <a:gd name="connsiteY7682" fmla="*/ 2186243 h 4503132"/>
              <a:gd name="connsiteX7683" fmla="*/ 4347532 w 4493400"/>
              <a:gd name="connsiteY7683" fmla="*/ 2169642 h 4503132"/>
              <a:gd name="connsiteX7684" fmla="*/ 4370373 w 4493400"/>
              <a:gd name="connsiteY7684" fmla="*/ 2173251 h 4503132"/>
              <a:gd name="connsiteX7685" fmla="*/ 4386722 w 4493400"/>
              <a:gd name="connsiteY7685" fmla="*/ 2195146 h 4503132"/>
              <a:gd name="connsiteX7686" fmla="*/ 4396724 w 4493400"/>
              <a:gd name="connsiteY7686" fmla="*/ 2222189 h 4503132"/>
              <a:gd name="connsiteX7687" fmla="*/ 4405908 w 4493400"/>
              <a:gd name="connsiteY7687" fmla="*/ 2279741 h 4503132"/>
              <a:gd name="connsiteX7688" fmla="*/ 4406052 w 4493400"/>
              <a:gd name="connsiteY7688" fmla="*/ 2338014 h 4503132"/>
              <a:gd name="connsiteX7689" fmla="*/ 4398214 w 4493400"/>
              <a:gd name="connsiteY7689" fmla="*/ 2395085 h 4503132"/>
              <a:gd name="connsiteX7690" fmla="*/ 4379124 w 4493400"/>
              <a:gd name="connsiteY7690" fmla="*/ 2448258 h 4503132"/>
              <a:gd name="connsiteX7691" fmla="*/ 4363881 w 4493400"/>
              <a:gd name="connsiteY7691" fmla="*/ 2471500 h 4503132"/>
              <a:gd name="connsiteX7692" fmla="*/ 4359457 w 4493400"/>
              <a:gd name="connsiteY7692" fmla="*/ 2476745 h 4503132"/>
              <a:gd name="connsiteX7693" fmla="*/ 4354745 w 4493400"/>
              <a:gd name="connsiteY7693" fmla="*/ 2481412 h 4503132"/>
              <a:gd name="connsiteX7694" fmla="*/ 4349552 w 4493400"/>
              <a:gd name="connsiteY7694" fmla="*/ 2485743 h 4503132"/>
              <a:gd name="connsiteX7695" fmla="*/ 4343974 w 4493400"/>
              <a:gd name="connsiteY7695" fmla="*/ 2489737 h 4503132"/>
              <a:gd name="connsiteX7696" fmla="*/ 4296561 w 4493400"/>
              <a:gd name="connsiteY7696" fmla="*/ 2522844 h 4503132"/>
              <a:gd name="connsiteX7697" fmla="*/ 4267758 w 4493400"/>
              <a:gd name="connsiteY7697" fmla="*/ 2573755 h 4503132"/>
              <a:gd name="connsiteX7698" fmla="*/ 4256698 w 4493400"/>
              <a:gd name="connsiteY7698" fmla="*/ 2629286 h 4503132"/>
              <a:gd name="connsiteX7699" fmla="*/ 4249389 w 4493400"/>
              <a:gd name="connsiteY7699" fmla="*/ 2684383 h 4503132"/>
              <a:gd name="connsiteX7700" fmla="*/ 4242032 w 4493400"/>
              <a:gd name="connsiteY7700" fmla="*/ 2748479 h 4503132"/>
              <a:gd name="connsiteX7701" fmla="*/ 4243907 w 4493400"/>
              <a:gd name="connsiteY7701" fmla="*/ 2713352 h 4503132"/>
              <a:gd name="connsiteX7702" fmla="*/ 4241503 w 4493400"/>
              <a:gd name="connsiteY7702" fmla="*/ 2677117 h 4503132"/>
              <a:gd name="connsiteX7703" fmla="*/ 4235684 w 4493400"/>
              <a:gd name="connsiteY7703" fmla="*/ 2658687 h 4503132"/>
              <a:gd name="connsiteX7704" fmla="*/ 4229049 w 4493400"/>
              <a:gd name="connsiteY7704" fmla="*/ 2650170 h 4503132"/>
              <a:gd name="connsiteX7705" fmla="*/ 4218133 w 4493400"/>
              <a:gd name="connsiteY7705" fmla="*/ 2645839 h 4503132"/>
              <a:gd name="connsiteX7706" fmla="*/ 4207314 w 4493400"/>
              <a:gd name="connsiteY7706" fmla="*/ 2647716 h 4503132"/>
              <a:gd name="connsiteX7707" fmla="*/ 4198514 w 4493400"/>
              <a:gd name="connsiteY7707" fmla="*/ 2651998 h 4503132"/>
              <a:gd name="connsiteX7708" fmla="*/ 4190388 w 4493400"/>
              <a:gd name="connsiteY7708" fmla="*/ 2657099 h 4503132"/>
              <a:gd name="connsiteX7709" fmla="*/ 4182742 w 4493400"/>
              <a:gd name="connsiteY7709" fmla="*/ 2662874 h 4503132"/>
              <a:gd name="connsiteX7710" fmla="*/ 4133117 w 4493400"/>
              <a:gd name="connsiteY7710" fmla="*/ 2720377 h 4503132"/>
              <a:gd name="connsiteX7711" fmla="*/ 4090898 w 4493400"/>
              <a:gd name="connsiteY7711" fmla="*/ 2784858 h 4503132"/>
              <a:gd name="connsiteX7712" fmla="*/ 4046034 w 4493400"/>
              <a:gd name="connsiteY7712" fmla="*/ 2849147 h 4503132"/>
              <a:gd name="connsiteX7713" fmla="*/ 3991168 w 4493400"/>
              <a:gd name="connsiteY7713" fmla="*/ 2906410 h 4503132"/>
              <a:gd name="connsiteX7714" fmla="*/ 3957845 w 4493400"/>
              <a:gd name="connsiteY7714" fmla="*/ 2928449 h 4503132"/>
              <a:gd name="connsiteX7715" fmla="*/ 3939668 w 4493400"/>
              <a:gd name="connsiteY7715" fmla="*/ 2936870 h 4503132"/>
              <a:gd name="connsiteX7716" fmla="*/ 3920578 w 4493400"/>
              <a:gd name="connsiteY7716" fmla="*/ 2942259 h 4503132"/>
              <a:gd name="connsiteX7717" fmla="*/ 3900719 w 4493400"/>
              <a:gd name="connsiteY7717" fmla="*/ 2944906 h 4503132"/>
              <a:gd name="connsiteX7718" fmla="*/ 3880378 w 4493400"/>
              <a:gd name="connsiteY7718" fmla="*/ 2944617 h 4503132"/>
              <a:gd name="connsiteX7719" fmla="*/ 3839265 w 4493400"/>
              <a:gd name="connsiteY7719" fmla="*/ 2939035 h 4503132"/>
              <a:gd name="connsiteX7720" fmla="*/ 3754826 w 4493400"/>
              <a:gd name="connsiteY7720" fmla="*/ 2923733 h 4503132"/>
              <a:gd name="connsiteX7721" fmla="*/ 3732995 w 4493400"/>
              <a:gd name="connsiteY7721" fmla="*/ 2921904 h 4503132"/>
              <a:gd name="connsiteX7722" fmla="*/ 3721983 w 4493400"/>
              <a:gd name="connsiteY7722" fmla="*/ 2921664 h 4503132"/>
              <a:gd name="connsiteX7723" fmla="*/ 3716454 w 4493400"/>
              <a:gd name="connsiteY7723" fmla="*/ 2921568 h 4503132"/>
              <a:gd name="connsiteX7724" fmla="*/ 3710924 w 4493400"/>
              <a:gd name="connsiteY7724" fmla="*/ 2921808 h 4503132"/>
              <a:gd name="connsiteX7725" fmla="*/ 3699816 w 4493400"/>
              <a:gd name="connsiteY7725" fmla="*/ 2922289 h 4503132"/>
              <a:gd name="connsiteX7726" fmla="*/ 3688900 w 4493400"/>
              <a:gd name="connsiteY7726" fmla="*/ 2923204 h 4503132"/>
              <a:gd name="connsiteX7727" fmla="*/ 3667070 w 4493400"/>
              <a:gd name="connsiteY7727" fmla="*/ 2925321 h 4503132"/>
              <a:gd name="connsiteX7728" fmla="*/ 3579505 w 4493400"/>
              <a:gd name="connsiteY7728" fmla="*/ 2939757 h 4503132"/>
              <a:gd name="connsiteX7729" fmla="*/ 3557771 w 4493400"/>
              <a:gd name="connsiteY7729" fmla="*/ 2945483 h 4503132"/>
              <a:gd name="connsiteX7730" fmla="*/ 3546951 w 4493400"/>
              <a:gd name="connsiteY7730" fmla="*/ 2948707 h 4503132"/>
              <a:gd name="connsiteX7731" fmla="*/ 3536228 w 4493400"/>
              <a:gd name="connsiteY7731" fmla="*/ 2952412 h 4503132"/>
              <a:gd name="connsiteX7732" fmla="*/ 3515070 w 4493400"/>
              <a:gd name="connsiteY7732" fmla="*/ 2960641 h 4503132"/>
              <a:gd name="connsiteX7733" fmla="*/ 3504732 w 4493400"/>
              <a:gd name="connsiteY7733" fmla="*/ 2965501 h 4503132"/>
              <a:gd name="connsiteX7734" fmla="*/ 3499587 w 4493400"/>
              <a:gd name="connsiteY7734" fmla="*/ 2967956 h 4503132"/>
              <a:gd name="connsiteX7735" fmla="*/ 3494538 w 4493400"/>
              <a:gd name="connsiteY7735" fmla="*/ 2970698 h 4503132"/>
              <a:gd name="connsiteX7736" fmla="*/ 3456357 w 4493400"/>
              <a:gd name="connsiteY7736" fmla="*/ 2995913 h 4503132"/>
              <a:gd name="connsiteX7737" fmla="*/ 3423900 w 4493400"/>
              <a:gd name="connsiteY7737" fmla="*/ 3027769 h 4503132"/>
              <a:gd name="connsiteX7738" fmla="*/ 3377545 w 4493400"/>
              <a:gd name="connsiteY7738" fmla="*/ 3104184 h 4503132"/>
              <a:gd name="connsiteX7739" fmla="*/ 3347684 w 4493400"/>
              <a:gd name="connsiteY7739" fmla="*/ 3186469 h 4503132"/>
              <a:gd name="connsiteX7740" fmla="*/ 3325757 w 4493400"/>
              <a:gd name="connsiteY7740" fmla="*/ 3269428 h 4503132"/>
              <a:gd name="connsiteX7741" fmla="*/ 3307388 w 4493400"/>
              <a:gd name="connsiteY7741" fmla="*/ 3351521 h 4503132"/>
              <a:gd name="connsiteX7742" fmla="*/ 3288730 w 4493400"/>
              <a:gd name="connsiteY7742" fmla="*/ 3431641 h 4503132"/>
              <a:gd name="connsiteX7743" fmla="*/ 3250646 w 4493400"/>
              <a:gd name="connsiteY7743" fmla="*/ 3586684 h 4503132"/>
              <a:gd name="connsiteX7744" fmla="*/ 3235451 w 4493400"/>
              <a:gd name="connsiteY7744" fmla="*/ 3662425 h 4503132"/>
              <a:gd name="connsiteX7745" fmla="*/ 3228671 w 4493400"/>
              <a:gd name="connsiteY7745" fmla="*/ 3737734 h 4503132"/>
              <a:gd name="connsiteX7746" fmla="*/ 3232951 w 4493400"/>
              <a:gd name="connsiteY7746" fmla="*/ 3775075 h 4503132"/>
              <a:gd name="connsiteX7747" fmla="*/ 3249396 w 4493400"/>
              <a:gd name="connsiteY7747" fmla="*/ 3809192 h 4503132"/>
              <a:gd name="connsiteX7748" fmla="*/ 3281710 w 4493400"/>
              <a:gd name="connsiteY7748" fmla="*/ 3828488 h 4503132"/>
              <a:gd name="connsiteX7749" fmla="*/ 3317870 w 4493400"/>
              <a:gd name="connsiteY7749" fmla="*/ 3830557 h 4503132"/>
              <a:gd name="connsiteX7750" fmla="*/ 3384998 w 4493400"/>
              <a:gd name="connsiteY7750" fmla="*/ 3814485 h 4503132"/>
              <a:gd name="connsiteX7751" fmla="*/ 3444432 w 4493400"/>
              <a:gd name="connsiteY7751" fmla="*/ 3785132 h 4503132"/>
              <a:gd name="connsiteX7752" fmla="*/ 3496076 w 4493400"/>
              <a:gd name="connsiteY7752" fmla="*/ 3748224 h 4503132"/>
              <a:gd name="connsiteX7753" fmla="*/ 3541181 w 4493400"/>
              <a:gd name="connsiteY7753" fmla="*/ 3707707 h 4503132"/>
              <a:gd name="connsiteX7754" fmla="*/ 3686112 w 4493400"/>
              <a:gd name="connsiteY7754" fmla="*/ 3552904 h 4503132"/>
              <a:gd name="connsiteX7755" fmla="*/ 3750835 w 4493400"/>
              <a:gd name="connsiteY7755" fmla="*/ 3495641 h 4503132"/>
              <a:gd name="connsiteX7756" fmla="*/ 3783004 w 4493400"/>
              <a:gd name="connsiteY7756" fmla="*/ 3475431 h 4503132"/>
              <a:gd name="connsiteX7757" fmla="*/ 3798873 w 4493400"/>
              <a:gd name="connsiteY7757" fmla="*/ 3467683 h 4503132"/>
              <a:gd name="connsiteX7758" fmla="*/ 3814453 w 4493400"/>
              <a:gd name="connsiteY7758" fmla="*/ 3461668 h 4503132"/>
              <a:gd name="connsiteX7759" fmla="*/ 3822098 w 4493400"/>
              <a:gd name="connsiteY7759" fmla="*/ 3459214 h 4503132"/>
              <a:gd name="connsiteX7760" fmla="*/ 3829696 w 4493400"/>
              <a:gd name="connsiteY7760" fmla="*/ 3457530 h 4503132"/>
              <a:gd name="connsiteX7761" fmla="*/ 3844362 w 4493400"/>
              <a:gd name="connsiteY7761" fmla="*/ 3455220 h 4503132"/>
              <a:gd name="connsiteX7762" fmla="*/ 3871290 w 4493400"/>
              <a:gd name="connsiteY7762" fmla="*/ 3455557 h 4503132"/>
              <a:gd name="connsiteX7763" fmla="*/ 3894660 w 4493400"/>
              <a:gd name="connsiteY7763" fmla="*/ 3457530 h 4503132"/>
              <a:gd name="connsiteX7764" fmla="*/ 3899949 w 4493400"/>
              <a:gd name="connsiteY7764" fmla="*/ 3457674 h 4503132"/>
              <a:gd name="connsiteX7765" fmla="*/ 3904998 w 4493400"/>
              <a:gd name="connsiteY7765" fmla="*/ 3457385 h 4503132"/>
              <a:gd name="connsiteX7766" fmla="*/ 3914231 w 4493400"/>
              <a:gd name="connsiteY7766" fmla="*/ 3456182 h 4503132"/>
              <a:gd name="connsiteX7767" fmla="*/ 3938803 w 4493400"/>
              <a:gd name="connsiteY7767" fmla="*/ 3446462 h 4503132"/>
              <a:gd name="connsiteX7768" fmla="*/ 3946208 w 4493400"/>
              <a:gd name="connsiteY7768" fmla="*/ 3441361 h 4503132"/>
              <a:gd name="connsiteX7769" fmla="*/ 3938274 w 4493400"/>
              <a:gd name="connsiteY7769" fmla="*/ 3445500 h 4503132"/>
              <a:gd name="connsiteX7770" fmla="*/ 3913846 w 4493400"/>
              <a:gd name="connsiteY7770" fmla="*/ 3454065 h 4503132"/>
              <a:gd name="connsiteX7771" fmla="*/ 3904854 w 4493400"/>
              <a:gd name="connsiteY7771" fmla="*/ 3454979 h 4503132"/>
              <a:gd name="connsiteX7772" fmla="*/ 3899949 w 4493400"/>
              <a:gd name="connsiteY7772" fmla="*/ 3455124 h 4503132"/>
              <a:gd name="connsiteX7773" fmla="*/ 3894804 w 4493400"/>
              <a:gd name="connsiteY7773" fmla="*/ 3454835 h 4503132"/>
              <a:gd name="connsiteX7774" fmla="*/ 3871626 w 4493400"/>
              <a:gd name="connsiteY7774" fmla="*/ 3452333 h 4503132"/>
              <a:gd name="connsiteX7775" fmla="*/ 3844073 w 4493400"/>
              <a:gd name="connsiteY7775" fmla="*/ 3451515 h 4503132"/>
              <a:gd name="connsiteX7776" fmla="*/ 3828927 w 4493400"/>
              <a:gd name="connsiteY7776" fmla="*/ 3453632 h 4503132"/>
              <a:gd name="connsiteX7777" fmla="*/ 3821089 w 4493400"/>
              <a:gd name="connsiteY7777" fmla="*/ 3455268 h 4503132"/>
              <a:gd name="connsiteX7778" fmla="*/ 3813202 w 4493400"/>
              <a:gd name="connsiteY7778" fmla="*/ 3457674 h 4503132"/>
              <a:gd name="connsiteX7779" fmla="*/ 3797142 w 4493400"/>
              <a:gd name="connsiteY7779" fmla="*/ 3463593 h 4503132"/>
              <a:gd name="connsiteX7780" fmla="*/ 3780841 w 4493400"/>
              <a:gd name="connsiteY7780" fmla="*/ 3471292 h 4503132"/>
              <a:gd name="connsiteX7781" fmla="*/ 3747854 w 4493400"/>
              <a:gd name="connsiteY7781" fmla="*/ 3491455 h 4503132"/>
              <a:gd name="connsiteX7782" fmla="*/ 3681880 w 4493400"/>
              <a:gd name="connsiteY7782" fmla="*/ 3548621 h 4503132"/>
              <a:gd name="connsiteX7783" fmla="*/ 3535939 w 4493400"/>
              <a:gd name="connsiteY7783" fmla="*/ 3702221 h 4503132"/>
              <a:gd name="connsiteX7784" fmla="*/ 3491124 w 4493400"/>
              <a:gd name="connsiteY7784" fmla="*/ 3742016 h 4503132"/>
              <a:gd name="connsiteX7785" fmla="*/ 3440153 w 4493400"/>
              <a:gd name="connsiteY7785" fmla="*/ 3778010 h 4503132"/>
              <a:gd name="connsiteX7786" fmla="*/ 3382017 w 4493400"/>
              <a:gd name="connsiteY7786" fmla="*/ 3806353 h 4503132"/>
              <a:gd name="connsiteX7787" fmla="*/ 3317101 w 4493400"/>
              <a:gd name="connsiteY7787" fmla="*/ 3821655 h 4503132"/>
              <a:gd name="connsiteX7788" fmla="*/ 3283874 w 4493400"/>
              <a:gd name="connsiteY7788" fmla="*/ 3819682 h 4503132"/>
              <a:gd name="connsiteX7789" fmla="*/ 3256224 w 4493400"/>
              <a:gd name="connsiteY7789" fmla="*/ 3803129 h 4503132"/>
              <a:gd name="connsiteX7790" fmla="*/ 3241847 w 4493400"/>
              <a:gd name="connsiteY7790" fmla="*/ 3772813 h 4503132"/>
              <a:gd name="connsiteX7791" fmla="*/ 3237952 w 4493400"/>
              <a:gd name="connsiteY7791" fmla="*/ 3737493 h 4503132"/>
              <a:gd name="connsiteX7792" fmla="*/ 3244828 w 4493400"/>
              <a:gd name="connsiteY7792" fmla="*/ 3663869 h 4503132"/>
              <a:gd name="connsiteX7793" fmla="*/ 3260119 w 4493400"/>
              <a:gd name="connsiteY7793" fmla="*/ 3588802 h 4503132"/>
              <a:gd name="connsiteX7794" fmla="*/ 3298492 w 4493400"/>
              <a:gd name="connsiteY7794" fmla="*/ 3433999 h 4503132"/>
              <a:gd name="connsiteX7795" fmla="*/ 3317341 w 4493400"/>
              <a:gd name="connsiteY7795" fmla="*/ 3353638 h 4503132"/>
              <a:gd name="connsiteX7796" fmla="*/ 3335758 w 4493400"/>
              <a:gd name="connsiteY7796" fmla="*/ 3271786 h 4503132"/>
              <a:gd name="connsiteX7797" fmla="*/ 3357637 w 4493400"/>
              <a:gd name="connsiteY7797" fmla="*/ 3189452 h 4503132"/>
              <a:gd name="connsiteX7798" fmla="*/ 3387066 w 4493400"/>
              <a:gd name="connsiteY7798" fmla="*/ 3108466 h 4503132"/>
              <a:gd name="connsiteX7799" fmla="*/ 3431930 w 4493400"/>
              <a:gd name="connsiteY7799" fmla="*/ 3034554 h 4503132"/>
              <a:gd name="connsiteX7800" fmla="*/ 3462945 w 4493400"/>
              <a:gd name="connsiteY7800" fmla="*/ 3004142 h 4503132"/>
              <a:gd name="connsiteX7801" fmla="*/ 3499442 w 4493400"/>
              <a:gd name="connsiteY7801" fmla="*/ 2980033 h 4503132"/>
              <a:gd name="connsiteX7802" fmla="*/ 3504251 w 4493400"/>
              <a:gd name="connsiteY7802" fmla="*/ 2977387 h 4503132"/>
              <a:gd name="connsiteX7803" fmla="*/ 3509204 w 4493400"/>
              <a:gd name="connsiteY7803" fmla="*/ 2975029 h 4503132"/>
              <a:gd name="connsiteX7804" fmla="*/ 3519158 w 4493400"/>
              <a:gd name="connsiteY7804" fmla="*/ 2970362 h 4503132"/>
              <a:gd name="connsiteX7805" fmla="*/ 3539642 w 4493400"/>
              <a:gd name="connsiteY7805" fmla="*/ 2962373 h 4503132"/>
              <a:gd name="connsiteX7806" fmla="*/ 3550029 w 4493400"/>
              <a:gd name="connsiteY7806" fmla="*/ 2958813 h 4503132"/>
              <a:gd name="connsiteX7807" fmla="*/ 3560560 w 4493400"/>
              <a:gd name="connsiteY7807" fmla="*/ 2955685 h 4503132"/>
              <a:gd name="connsiteX7808" fmla="*/ 3581765 w 4493400"/>
              <a:gd name="connsiteY7808" fmla="*/ 2950055 h 4503132"/>
              <a:gd name="connsiteX7809" fmla="*/ 3668031 w 4493400"/>
              <a:gd name="connsiteY7809" fmla="*/ 2935811 h 4503132"/>
              <a:gd name="connsiteX7810" fmla="*/ 3689670 w 4493400"/>
              <a:gd name="connsiteY7810" fmla="*/ 2933694 h 4503132"/>
              <a:gd name="connsiteX7811" fmla="*/ 3700441 w 4493400"/>
              <a:gd name="connsiteY7811" fmla="*/ 2932779 h 4503132"/>
              <a:gd name="connsiteX7812" fmla="*/ 3711068 w 4493400"/>
              <a:gd name="connsiteY7812" fmla="*/ 2932298 h 4503132"/>
              <a:gd name="connsiteX7813" fmla="*/ 3716357 w 4493400"/>
              <a:gd name="connsiteY7813" fmla="*/ 2932058 h 4503132"/>
              <a:gd name="connsiteX7814" fmla="*/ 3721695 w 4493400"/>
              <a:gd name="connsiteY7814" fmla="*/ 2932154 h 4503132"/>
              <a:gd name="connsiteX7815" fmla="*/ 3732322 w 4493400"/>
              <a:gd name="connsiteY7815" fmla="*/ 2932395 h 4503132"/>
              <a:gd name="connsiteX7816" fmla="*/ 3753480 w 4493400"/>
              <a:gd name="connsiteY7816" fmla="*/ 2934175 h 4503132"/>
              <a:gd name="connsiteX7817" fmla="*/ 3837197 w 4493400"/>
              <a:gd name="connsiteY7817" fmla="*/ 2949285 h 4503132"/>
              <a:gd name="connsiteX7818" fmla="*/ 3879609 w 4493400"/>
              <a:gd name="connsiteY7818" fmla="*/ 2955011 h 4503132"/>
              <a:gd name="connsiteX7819" fmla="*/ 3901151 w 4493400"/>
              <a:gd name="connsiteY7819" fmla="*/ 2955252 h 4503132"/>
              <a:gd name="connsiteX7820" fmla="*/ 3922549 w 4493400"/>
              <a:gd name="connsiteY7820" fmla="*/ 2952364 h 4503132"/>
              <a:gd name="connsiteX7821" fmla="*/ 3943323 w 4493400"/>
              <a:gd name="connsiteY7821" fmla="*/ 2946446 h 4503132"/>
              <a:gd name="connsiteX7822" fmla="*/ 3962557 w 4493400"/>
              <a:gd name="connsiteY7822" fmla="*/ 2937495 h 4503132"/>
              <a:gd name="connsiteX7823" fmla="*/ 3997467 w 4493400"/>
              <a:gd name="connsiteY7823" fmla="*/ 2914350 h 4503132"/>
              <a:gd name="connsiteX7824" fmla="*/ 4053872 w 4493400"/>
              <a:gd name="connsiteY7824" fmla="*/ 2855306 h 4503132"/>
              <a:gd name="connsiteX7825" fmla="*/ 4099073 w 4493400"/>
              <a:gd name="connsiteY7825" fmla="*/ 2790200 h 4503132"/>
              <a:gd name="connsiteX7826" fmla="*/ 4140955 w 4493400"/>
              <a:gd name="connsiteY7826" fmla="*/ 2725863 h 4503132"/>
              <a:gd name="connsiteX7827" fmla="*/ 4188608 w 4493400"/>
              <a:gd name="connsiteY7827" fmla="*/ 2670140 h 4503132"/>
              <a:gd name="connsiteX7828" fmla="*/ 4195677 w 4493400"/>
              <a:gd name="connsiteY7828" fmla="*/ 2664799 h 4503132"/>
              <a:gd name="connsiteX7829" fmla="*/ 4203082 w 4493400"/>
              <a:gd name="connsiteY7829" fmla="*/ 2660131 h 4503132"/>
              <a:gd name="connsiteX7830" fmla="*/ 4217556 w 4493400"/>
              <a:gd name="connsiteY7830" fmla="*/ 2655078 h 4503132"/>
              <a:gd name="connsiteX7831" fmla="*/ 4227606 w 4493400"/>
              <a:gd name="connsiteY7831" fmla="*/ 2662970 h 4503132"/>
              <a:gd name="connsiteX7832" fmla="*/ 4232559 w 4493400"/>
              <a:gd name="connsiteY7832" fmla="*/ 2678705 h 4503132"/>
              <a:gd name="connsiteX7833" fmla="*/ 4234963 w 4493400"/>
              <a:gd name="connsiteY7833" fmla="*/ 2713255 h 4503132"/>
              <a:gd name="connsiteX7834" fmla="*/ 4233280 w 4493400"/>
              <a:gd name="connsiteY7834" fmla="*/ 2747806 h 4503132"/>
              <a:gd name="connsiteX7835" fmla="*/ 4231886 w 4493400"/>
              <a:gd name="connsiteY7835" fmla="*/ 2762194 h 4503132"/>
              <a:gd name="connsiteX7836" fmla="*/ 4229097 w 4493400"/>
              <a:gd name="connsiteY7836" fmla="*/ 2742897 h 4503132"/>
              <a:gd name="connsiteX7837" fmla="*/ 4220297 w 4493400"/>
              <a:gd name="connsiteY7837" fmla="*/ 2722398 h 4503132"/>
              <a:gd name="connsiteX7838" fmla="*/ 4210632 w 4493400"/>
              <a:gd name="connsiteY7838" fmla="*/ 2714362 h 4503132"/>
              <a:gd name="connsiteX7839" fmla="*/ 4198033 w 4493400"/>
              <a:gd name="connsiteY7839" fmla="*/ 2712437 h 4503132"/>
              <a:gd name="connsiteX7840" fmla="*/ 4176971 w 4493400"/>
              <a:gd name="connsiteY7840" fmla="*/ 2720618 h 4503132"/>
              <a:gd name="connsiteX7841" fmla="*/ 4144946 w 4493400"/>
              <a:gd name="connsiteY7841" fmla="*/ 2747902 h 4503132"/>
              <a:gd name="connsiteX7842" fmla="*/ 4095081 w 4493400"/>
              <a:gd name="connsiteY7842" fmla="*/ 2813153 h 4503132"/>
              <a:gd name="connsiteX7843" fmla="*/ 4050121 w 4493400"/>
              <a:gd name="connsiteY7843" fmla="*/ 2879607 h 4503132"/>
              <a:gd name="connsiteX7844" fmla="*/ 4001458 w 4493400"/>
              <a:gd name="connsiteY7844" fmla="*/ 2941056 h 4503132"/>
              <a:gd name="connsiteX7845" fmla="*/ 3973665 w 4493400"/>
              <a:gd name="connsiteY7845" fmla="*/ 2967570 h 4503132"/>
              <a:gd name="connsiteX7846" fmla="*/ 3942697 w 4493400"/>
              <a:gd name="connsiteY7846" fmla="*/ 2989225 h 4503132"/>
              <a:gd name="connsiteX7847" fmla="*/ 3872252 w 4493400"/>
              <a:gd name="connsiteY7847" fmla="*/ 3009387 h 4503132"/>
              <a:gd name="connsiteX7848" fmla="*/ 3835514 w 4493400"/>
              <a:gd name="connsiteY7848" fmla="*/ 3007558 h 4503132"/>
              <a:gd name="connsiteX7849" fmla="*/ 3799209 w 4493400"/>
              <a:gd name="connsiteY7849" fmla="*/ 3001110 h 4503132"/>
              <a:gd name="connsiteX7850" fmla="*/ 3727417 w 4493400"/>
              <a:gd name="connsiteY7850" fmla="*/ 2985086 h 4503132"/>
              <a:gd name="connsiteX7851" fmla="*/ 3655048 w 4493400"/>
              <a:gd name="connsiteY7851" fmla="*/ 2978109 h 4503132"/>
              <a:gd name="connsiteX7852" fmla="*/ 3584939 w 4493400"/>
              <a:gd name="connsiteY7852" fmla="*/ 2990476 h 4503132"/>
              <a:gd name="connsiteX7853" fmla="*/ 3522908 w 4493400"/>
              <a:gd name="connsiteY7853" fmla="*/ 3021032 h 4503132"/>
              <a:gd name="connsiteX7854" fmla="*/ 3515744 w 4493400"/>
              <a:gd name="connsiteY7854" fmla="*/ 3025652 h 4503132"/>
              <a:gd name="connsiteX7855" fmla="*/ 3508915 w 4493400"/>
              <a:gd name="connsiteY7855" fmla="*/ 3030656 h 4503132"/>
              <a:gd name="connsiteX7856" fmla="*/ 3495451 w 4493400"/>
              <a:gd name="connsiteY7856" fmla="*/ 3040857 h 4503132"/>
              <a:gd name="connsiteX7857" fmla="*/ 3471264 w 4493400"/>
              <a:gd name="connsiteY7857" fmla="*/ 3064099 h 4503132"/>
              <a:gd name="connsiteX7858" fmla="*/ 3433132 w 4493400"/>
              <a:gd name="connsiteY7858" fmla="*/ 3116695 h 4503132"/>
              <a:gd name="connsiteX7859" fmla="*/ 3381488 w 4493400"/>
              <a:gd name="connsiteY7859" fmla="*/ 3227660 h 4503132"/>
              <a:gd name="connsiteX7860" fmla="*/ 3347972 w 4493400"/>
              <a:gd name="connsiteY7860" fmla="*/ 3335256 h 4503132"/>
              <a:gd name="connsiteX7861" fmla="*/ 3310225 w 4493400"/>
              <a:gd name="connsiteY7861" fmla="*/ 3524994 h 4503132"/>
              <a:gd name="connsiteX7862" fmla="*/ 3300463 w 4493400"/>
              <a:gd name="connsiteY7862" fmla="*/ 3670799 h 4503132"/>
              <a:gd name="connsiteX7863" fmla="*/ 3320034 w 4493400"/>
              <a:gd name="connsiteY7863" fmla="*/ 3760639 h 4503132"/>
              <a:gd name="connsiteX7864" fmla="*/ 3329603 w 4493400"/>
              <a:gd name="connsiteY7864" fmla="*/ 3771081 h 4503132"/>
              <a:gd name="connsiteX7865" fmla="*/ 3338788 w 4493400"/>
              <a:gd name="connsiteY7865" fmla="*/ 3775604 h 4503132"/>
              <a:gd name="connsiteX7866" fmla="*/ 3342298 w 4493400"/>
              <a:gd name="connsiteY7866" fmla="*/ 3776422 h 4503132"/>
              <a:gd name="connsiteX7867" fmla="*/ 3344895 w 4493400"/>
              <a:gd name="connsiteY7867" fmla="*/ 3776567 h 4503132"/>
              <a:gd name="connsiteX7868" fmla="*/ 3346962 w 4493400"/>
              <a:gd name="connsiteY7868" fmla="*/ 3776518 h 4503132"/>
              <a:gd name="connsiteX7869" fmla="*/ 3344943 w 4493400"/>
              <a:gd name="connsiteY7869" fmla="*/ 3776037 h 4503132"/>
              <a:gd name="connsiteX7870" fmla="*/ 3342442 w 4493400"/>
              <a:gd name="connsiteY7870" fmla="*/ 3775652 h 4503132"/>
              <a:gd name="connsiteX7871" fmla="*/ 3339124 w 4493400"/>
              <a:gd name="connsiteY7871" fmla="*/ 3774642 h 4503132"/>
              <a:gd name="connsiteX7872" fmla="*/ 3330613 w 4493400"/>
              <a:gd name="connsiteY7872" fmla="*/ 3769878 h 4503132"/>
              <a:gd name="connsiteX7873" fmla="*/ 3321862 w 4493400"/>
              <a:gd name="connsiteY7873" fmla="*/ 3759580 h 4503132"/>
              <a:gd name="connsiteX7874" fmla="*/ 3304647 w 4493400"/>
              <a:gd name="connsiteY7874" fmla="*/ 3670799 h 4503132"/>
              <a:gd name="connsiteX7875" fmla="*/ 3316139 w 4493400"/>
              <a:gd name="connsiteY7875" fmla="*/ 3525957 h 4503132"/>
              <a:gd name="connsiteX7876" fmla="*/ 3355281 w 4493400"/>
              <a:gd name="connsiteY7876" fmla="*/ 3337278 h 4503132"/>
              <a:gd name="connsiteX7877" fmla="*/ 3389182 w 4493400"/>
              <a:gd name="connsiteY7877" fmla="*/ 3230643 h 4503132"/>
              <a:gd name="connsiteX7878" fmla="*/ 3440681 w 4493400"/>
              <a:gd name="connsiteY7878" fmla="*/ 3121362 h 4503132"/>
              <a:gd name="connsiteX7879" fmla="*/ 3477996 w 4493400"/>
              <a:gd name="connsiteY7879" fmla="*/ 3070355 h 4503132"/>
              <a:gd name="connsiteX7880" fmla="*/ 3501270 w 4493400"/>
              <a:gd name="connsiteY7880" fmla="*/ 3048220 h 4503132"/>
              <a:gd name="connsiteX7881" fmla="*/ 3514349 w 4493400"/>
              <a:gd name="connsiteY7881" fmla="*/ 3038403 h 4503132"/>
              <a:gd name="connsiteX7882" fmla="*/ 3521033 w 4493400"/>
              <a:gd name="connsiteY7882" fmla="*/ 3033591 h 4503132"/>
              <a:gd name="connsiteX7883" fmla="*/ 3528005 w 4493400"/>
              <a:gd name="connsiteY7883" fmla="*/ 3029116 h 4503132"/>
              <a:gd name="connsiteX7884" fmla="*/ 3588016 w 4493400"/>
              <a:gd name="connsiteY7884" fmla="*/ 2999811 h 4503132"/>
              <a:gd name="connsiteX7885" fmla="*/ 3655337 w 4493400"/>
              <a:gd name="connsiteY7885" fmla="*/ 2988166 h 4503132"/>
              <a:gd name="connsiteX7886" fmla="*/ 3725590 w 4493400"/>
              <a:gd name="connsiteY7886" fmla="*/ 2995143 h 4503132"/>
              <a:gd name="connsiteX7887" fmla="*/ 3797142 w 4493400"/>
              <a:gd name="connsiteY7887" fmla="*/ 3011312 h 4503132"/>
              <a:gd name="connsiteX7888" fmla="*/ 3834312 w 4493400"/>
              <a:gd name="connsiteY7888" fmla="*/ 3018000 h 4503132"/>
              <a:gd name="connsiteX7889" fmla="*/ 3872781 w 4493400"/>
              <a:gd name="connsiteY7889" fmla="*/ 3019973 h 4503132"/>
              <a:gd name="connsiteX7890" fmla="*/ 3947939 w 4493400"/>
              <a:gd name="connsiteY7890" fmla="*/ 2998560 h 4503132"/>
              <a:gd name="connsiteX7891" fmla="*/ 3980445 w 4493400"/>
              <a:gd name="connsiteY7891" fmla="*/ 2975895 h 4503132"/>
              <a:gd name="connsiteX7892" fmla="*/ 4009248 w 4493400"/>
              <a:gd name="connsiteY7892" fmla="*/ 2948467 h 4503132"/>
              <a:gd name="connsiteX7893" fmla="*/ 4058873 w 4493400"/>
              <a:gd name="connsiteY7893" fmla="*/ 2885959 h 4503132"/>
              <a:gd name="connsiteX7894" fmla="*/ 4103977 w 4493400"/>
              <a:gd name="connsiteY7894" fmla="*/ 2819408 h 4503132"/>
              <a:gd name="connsiteX7895" fmla="*/ 4152833 w 4493400"/>
              <a:gd name="connsiteY7895" fmla="*/ 2755457 h 4503132"/>
              <a:gd name="connsiteX7896" fmla="*/ 4182694 w 4493400"/>
              <a:gd name="connsiteY7896" fmla="*/ 2729905 h 4503132"/>
              <a:gd name="connsiteX7897" fmla="*/ 4199043 w 4493400"/>
              <a:gd name="connsiteY7897" fmla="*/ 2723312 h 4503132"/>
              <a:gd name="connsiteX7898" fmla="*/ 4211930 w 4493400"/>
              <a:gd name="connsiteY7898" fmla="*/ 2729135 h 4503132"/>
              <a:gd name="connsiteX7899" fmla="*/ 4218806 w 4493400"/>
              <a:gd name="connsiteY7899" fmla="*/ 2745544 h 4503132"/>
              <a:gd name="connsiteX7900" fmla="*/ 4221499 w 4493400"/>
              <a:gd name="connsiteY7900" fmla="*/ 2764600 h 4503132"/>
              <a:gd name="connsiteX7901" fmla="*/ 4221018 w 4493400"/>
              <a:gd name="connsiteY7901" fmla="*/ 2803817 h 4503132"/>
              <a:gd name="connsiteX7902" fmla="*/ 4190820 w 4493400"/>
              <a:gd name="connsiteY7902" fmla="*/ 2956599 h 4503132"/>
              <a:gd name="connsiteX7903" fmla="*/ 4182213 w 4493400"/>
              <a:gd name="connsiteY7903" fmla="*/ 2985182 h 4503132"/>
              <a:gd name="connsiteX7904" fmla="*/ 4193080 w 4493400"/>
              <a:gd name="connsiteY7904" fmla="*/ 2944040 h 4503132"/>
              <a:gd name="connsiteX7905" fmla="*/ 4205150 w 4493400"/>
              <a:gd name="connsiteY7905" fmla="*/ 2886873 h 4503132"/>
              <a:gd name="connsiteX7906" fmla="*/ 4212411 w 4493400"/>
              <a:gd name="connsiteY7906" fmla="*/ 2826723 h 4503132"/>
              <a:gd name="connsiteX7907" fmla="*/ 4211353 w 4493400"/>
              <a:gd name="connsiteY7907" fmla="*/ 2795252 h 4503132"/>
              <a:gd name="connsiteX7908" fmla="*/ 4207218 w 4493400"/>
              <a:gd name="connsiteY7908" fmla="*/ 2779084 h 4503132"/>
              <a:gd name="connsiteX7909" fmla="*/ 4202746 w 4493400"/>
              <a:gd name="connsiteY7909" fmla="*/ 2771192 h 4503132"/>
              <a:gd name="connsiteX7910" fmla="*/ 4195052 w 4493400"/>
              <a:gd name="connsiteY7910" fmla="*/ 2764888 h 4503132"/>
              <a:gd name="connsiteX7911" fmla="*/ 4176106 w 4493400"/>
              <a:gd name="connsiteY7911" fmla="*/ 2764840 h 4503132"/>
              <a:gd name="connsiteX7912" fmla="*/ 4168172 w 4493400"/>
              <a:gd name="connsiteY7912" fmla="*/ 2768449 h 4503132"/>
              <a:gd name="connsiteX7913" fmla="*/ 4161055 w 4493400"/>
              <a:gd name="connsiteY7913" fmla="*/ 2772924 h 4503132"/>
              <a:gd name="connsiteX7914" fmla="*/ 4136628 w 4493400"/>
              <a:gd name="connsiteY7914" fmla="*/ 2795108 h 4503132"/>
              <a:gd name="connsiteX7915" fmla="*/ 4097534 w 4493400"/>
              <a:gd name="connsiteY7915" fmla="*/ 2847944 h 4503132"/>
              <a:gd name="connsiteX7916" fmla="*/ 4061325 w 4493400"/>
              <a:gd name="connsiteY7916" fmla="*/ 2903811 h 4503132"/>
              <a:gd name="connsiteX7917" fmla="*/ 3975684 w 4493400"/>
              <a:gd name="connsiteY7917" fmla="*/ 3008954 h 4503132"/>
              <a:gd name="connsiteX7918" fmla="*/ 3962605 w 4493400"/>
              <a:gd name="connsiteY7918" fmla="*/ 3020118 h 4503132"/>
              <a:gd name="connsiteX7919" fmla="*/ 3948756 w 4493400"/>
              <a:gd name="connsiteY7919" fmla="*/ 3030415 h 4503132"/>
              <a:gd name="connsiteX7920" fmla="*/ 3919087 w 4493400"/>
              <a:gd name="connsiteY7920" fmla="*/ 3048075 h 4503132"/>
              <a:gd name="connsiteX7921" fmla="*/ 3886630 w 4493400"/>
              <a:gd name="connsiteY7921" fmla="*/ 3059528 h 4503132"/>
              <a:gd name="connsiteX7922" fmla="*/ 3852200 w 4493400"/>
              <a:gd name="connsiteY7922" fmla="*/ 3062752 h 4503132"/>
              <a:gd name="connsiteX7923" fmla="*/ 3781850 w 4493400"/>
              <a:gd name="connsiteY7923" fmla="*/ 3050530 h 4503132"/>
              <a:gd name="connsiteX7924" fmla="*/ 3708664 w 4493400"/>
              <a:gd name="connsiteY7924" fmla="*/ 3036767 h 4503132"/>
              <a:gd name="connsiteX7925" fmla="*/ 3670868 w 4493400"/>
              <a:gd name="connsiteY7925" fmla="*/ 3036863 h 4503132"/>
              <a:gd name="connsiteX7926" fmla="*/ 3633842 w 4493400"/>
              <a:gd name="connsiteY7926" fmla="*/ 3043167 h 4503132"/>
              <a:gd name="connsiteX7927" fmla="*/ 3565176 w 4493400"/>
              <a:gd name="connsiteY7927" fmla="*/ 3070355 h 4503132"/>
              <a:gd name="connsiteX7928" fmla="*/ 3549307 w 4493400"/>
              <a:gd name="connsiteY7928" fmla="*/ 3079354 h 4503132"/>
              <a:gd name="connsiteX7929" fmla="*/ 3541421 w 4493400"/>
              <a:gd name="connsiteY7929" fmla="*/ 3084214 h 4503132"/>
              <a:gd name="connsiteX7930" fmla="*/ 3533824 w 4493400"/>
              <a:gd name="connsiteY7930" fmla="*/ 3089651 h 4503132"/>
              <a:gd name="connsiteX7931" fmla="*/ 3507232 w 4493400"/>
              <a:gd name="connsiteY7931" fmla="*/ 3114866 h 4503132"/>
              <a:gd name="connsiteX7932" fmla="*/ 3485017 w 4493400"/>
              <a:gd name="connsiteY7932" fmla="*/ 3143209 h 4503132"/>
              <a:gd name="connsiteX7933" fmla="*/ 3465782 w 4493400"/>
              <a:gd name="connsiteY7933" fmla="*/ 3173044 h 4503132"/>
              <a:gd name="connsiteX7934" fmla="*/ 3407118 w 4493400"/>
              <a:gd name="connsiteY7934" fmla="*/ 3298012 h 4503132"/>
              <a:gd name="connsiteX7935" fmla="*/ 3368024 w 4493400"/>
              <a:gd name="connsiteY7935" fmla="*/ 3424279 h 4503132"/>
              <a:gd name="connsiteX7936" fmla="*/ 3346145 w 4493400"/>
              <a:gd name="connsiteY7936" fmla="*/ 3548188 h 4503132"/>
              <a:gd name="connsiteX7937" fmla="*/ 3343596 w 4493400"/>
              <a:gd name="connsiteY7937" fmla="*/ 3608675 h 4503132"/>
              <a:gd name="connsiteX7938" fmla="*/ 3351146 w 4493400"/>
              <a:gd name="connsiteY7938" fmla="*/ 3667286 h 4503132"/>
              <a:gd name="connsiteX7939" fmla="*/ 3362350 w 4493400"/>
              <a:gd name="connsiteY7939" fmla="*/ 3694522 h 4503132"/>
              <a:gd name="connsiteX7940" fmla="*/ 3383411 w 4493400"/>
              <a:gd name="connsiteY7940" fmla="*/ 3715502 h 4503132"/>
              <a:gd name="connsiteX7941" fmla="*/ 3412118 w 4493400"/>
              <a:gd name="connsiteY7941" fmla="*/ 3721228 h 4503132"/>
              <a:gd name="connsiteX7942" fmla="*/ 3439191 w 4493400"/>
              <a:gd name="connsiteY7942" fmla="*/ 3715165 h 4503132"/>
              <a:gd name="connsiteX7943" fmla="*/ 3486892 w 4493400"/>
              <a:gd name="connsiteY7943" fmla="*/ 3692597 h 4503132"/>
              <a:gd name="connsiteX7944" fmla="*/ 3527524 w 4493400"/>
              <a:gd name="connsiteY7944" fmla="*/ 3663051 h 4503132"/>
              <a:gd name="connsiteX7945" fmla="*/ 3594172 w 4493400"/>
              <a:gd name="connsiteY7945" fmla="*/ 3598377 h 4503132"/>
              <a:gd name="connsiteX7946" fmla="*/ 3649662 w 4493400"/>
              <a:gd name="connsiteY7946" fmla="*/ 3537313 h 4503132"/>
              <a:gd name="connsiteX7947" fmla="*/ 3743430 w 4493400"/>
              <a:gd name="connsiteY7947" fmla="*/ 3445019 h 4503132"/>
              <a:gd name="connsiteX7948" fmla="*/ 3782187 w 4493400"/>
              <a:gd name="connsiteY7948" fmla="*/ 3416868 h 4503132"/>
              <a:gd name="connsiteX7949" fmla="*/ 3812914 w 4493400"/>
              <a:gd name="connsiteY7949" fmla="*/ 3399834 h 4503132"/>
              <a:gd name="connsiteX7950" fmla="*/ 3824310 w 4493400"/>
              <a:gd name="connsiteY7950" fmla="*/ 3394541 h 4503132"/>
              <a:gd name="connsiteX7951" fmla="*/ 3832773 w 4493400"/>
              <a:gd name="connsiteY7951" fmla="*/ 3391172 h 4503132"/>
              <a:gd name="connsiteX7952" fmla="*/ 3839553 w 4493400"/>
              <a:gd name="connsiteY7952" fmla="*/ 3388140 h 4503132"/>
              <a:gd name="connsiteX7953" fmla="*/ 3832437 w 4493400"/>
              <a:gd name="connsiteY7953" fmla="*/ 3390162 h 4503132"/>
              <a:gd name="connsiteX7954" fmla="*/ 3823733 w 4493400"/>
              <a:gd name="connsiteY7954" fmla="*/ 3393049 h 4503132"/>
              <a:gd name="connsiteX7955" fmla="*/ 3812048 w 4493400"/>
              <a:gd name="connsiteY7955" fmla="*/ 3397909 h 4503132"/>
              <a:gd name="connsiteX7956" fmla="*/ 3780600 w 4493400"/>
              <a:gd name="connsiteY7956" fmla="*/ 3414174 h 4503132"/>
              <a:gd name="connsiteX7957" fmla="*/ 3740881 w 4493400"/>
              <a:gd name="connsiteY7957" fmla="*/ 3441795 h 4503132"/>
              <a:gd name="connsiteX7958" fmla="*/ 3645335 w 4493400"/>
              <a:gd name="connsiteY7958" fmla="*/ 3533319 h 4503132"/>
              <a:gd name="connsiteX7959" fmla="*/ 3589315 w 4493400"/>
              <a:gd name="connsiteY7959" fmla="*/ 3593758 h 4503132"/>
              <a:gd name="connsiteX7960" fmla="*/ 3522812 w 4493400"/>
              <a:gd name="connsiteY7960" fmla="*/ 3657277 h 4503132"/>
              <a:gd name="connsiteX7961" fmla="*/ 3482853 w 4493400"/>
              <a:gd name="connsiteY7961" fmla="*/ 3685908 h 4503132"/>
              <a:gd name="connsiteX7962" fmla="*/ 3436691 w 4493400"/>
              <a:gd name="connsiteY7962" fmla="*/ 3707370 h 4503132"/>
              <a:gd name="connsiteX7963" fmla="*/ 3411590 w 4493400"/>
              <a:gd name="connsiteY7963" fmla="*/ 3712904 h 4503132"/>
              <a:gd name="connsiteX7964" fmla="*/ 3387547 w 4493400"/>
              <a:gd name="connsiteY7964" fmla="*/ 3708044 h 4503132"/>
              <a:gd name="connsiteX7965" fmla="*/ 3369803 w 4493400"/>
              <a:gd name="connsiteY7965" fmla="*/ 3690094 h 4503132"/>
              <a:gd name="connsiteX7966" fmla="*/ 3359705 w 4493400"/>
              <a:gd name="connsiteY7966" fmla="*/ 3665024 h 4503132"/>
              <a:gd name="connsiteX7967" fmla="*/ 3352781 w 4493400"/>
              <a:gd name="connsiteY7967" fmla="*/ 3608579 h 4503132"/>
              <a:gd name="connsiteX7968" fmla="*/ 3355522 w 4493400"/>
              <a:gd name="connsiteY7968" fmla="*/ 3549247 h 4503132"/>
              <a:gd name="connsiteX7969" fmla="*/ 3377641 w 4493400"/>
              <a:gd name="connsiteY7969" fmla="*/ 3426733 h 4503132"/>
              <a:gd name="connsiteX7970" fmla="*/ 3416735 w 4493400"/>
              <a:gd name="connsiteY7970" fmla="*/ 3301717 h 4503132"/>
              <a:gd name="connsiteX7971" fmla="*/ 3474871 w 4493400"/>
              <a:gd name="connsiteY7971" fmla="*/ 3178481 h 4503132"/>
              <a:gd name="connsiteX7972" fmla="*/ 3493720 w 4493400"/>
              <a:gd name="connsiteY7972" fmla="*/ 3149320 h 4503132"/>
              <a:gd name="connsiteX7973" fmla="*/ 3515214 w 4493400"/>
              <a:gd name="connsiteY7973" fmla="*/ 3121940 h 4503132"/>
              <a:gd name="connsiteX7974" fmla="*/ 3540364 w 4493400"/>
              <a:gd name="connsiteY7974" fmla="*/ 3098072 h 4503132"/>
              <a:gd name="connsiteX7975" fmla="*/ 3570273 w 4493400"/>
              <a:gd name="connsiteY7975" fmla="*/ 3079739 h 4503132"/>
              <a:gd name="connsiteX7976" fmla="*/ 3636535 w 4493400"/>
              <a:gd name="connsiteY7976" fmla="*/ 3053513 h 4503132"/>
              <a:gd name="connsiteX7977" fmla="*/ 3707942 w 4493400"/>
              <a:gd name="connsiteY7977" fmla="*/ 3047402 h 4503132"/>
              <a:gd name="connsiteX7978" fmla="*/ 3779398 w 4493400"/>
              <a:gd name="connsiteY7978" fmla="*/ 3060876 h 4503132"/>
              <a:gd name="connsiteX7979" fmla="*/ 3852056 w 4493400"/>
              <a:gd name="connsiteY7979" fmla="*/ 3073387 h 4503132"/>
              <a:gd name="connsiteX7980" fmla="*/ 3889034 w 4493400"/>
              <a:gd name="connsiteY7980" fmla="*/ 3069874 h 4503132"/>
              <a:gd name="connsiteX7981" fmla="*/ 3923752 w 4493400"/>
              <a:gd name="connsiteY7981" fmla="*/ 3057603 h 4503132"/>
              <a:gd name="connsiteX7982" fmla="*/ 3954863 w 4493400"/>
              <a:gd name="connsiteY7982" fmla="*/ 3039029 h 4503132"/>
              <a:gd name="connsiteX7983" fmla="*/ 3969241 w 4493400"/>
              <a:gd name="connsiteY7983" fmla="*/ 3028298 h 4503132"/>
              <a:gd name="connsiteX7984" fmla="*/ 3982753 w 4493400"/>
              <a:gd name="connsiteY7984" fmla="*/ 3016701 h 4503132"/>
              <a:gd name="connsiteX7985" fmla="*/ 4069933 w 4493400"/>
              <a:gd name="connsiteY7985" fmla="*/ 2909393 h 4503132"/>
              <a:gd name="connsiteX7986" fmla="*/ 4105997 w 4493400"/>
              <a:gd name="connsiteY7986" fmla="*/ 2853429 h 4503132"/>
              <a:gd name="connsiteX7987" fmla="*/ 4144033 w 4493400"/>
              <a:gd name="connsiteY7987" fmla="*/ 2801652 h 4503132"/>
              <a:gd name="connsiteX7988" fmla="*/ 4166681 w 4493400"/>
              <a:gd name="connsiteY7988" fmla="*/ 2780912 h 4503132"/>
              <a:gd name="connsiteX7989" fmla="*/ 4172980 w 4493400"/>
              <a:gd name="connsiteY7989" fmla="*/ 2776918 h 4503132"/>
              <a:gd name="connsiteX7990" fmla="*/ 4179376 w 4493400"/>
              <a:gd name="connsiteY7990" fmla="*/ 2773983 h 4503132"/>
              <a:gd name="connsiteX7991" fmla="*/ 4191013 w 4493400"/>
              <a:gd name="connsiteY7991" fmla="*/ 2773646 h 4503132"/>
              <a:gd name="connsiteX7992" fmla="*/ 4198466 w 4493400"/>
              <a:gd name="connsiteY7992" fmla="*/ 2782789 h 4503132"/>
              <a:gd name="connsiteX7993" fmla="*/ 4201976 w 4493400"/>
              <a:gd name="connsiteY7993" fmla="*/ 2796599 h 4503132"/>
              <a:gd name="connsiteX7994" fmla="*/ 4203034 w 4493400"/>
              <a:gd name="connsiteY7994" fmla="*/ 2826338 h 4503132"/>
              <a:gd name="connsiteX7995" fmla="*/ 4196158 w 4493400"/>
              <a:gd name="connsiteY7995" fmla="*/ 2885285 h 4503132"/>
              <a:gd name="connsiteX7996" fmla="*/ 4184473 w 4493400"/>
              <a:gd name="connsiteY7996" fmla="*/ 2941922 h 4503132"/>
              <a:gd name="connsiteX7997" fmla="*/ 4177308 w 4493400"/>
              <a:gd name="connsiteY7997" fmla="*/ 2970313 h 4503132"/>
              <a:gd name="connsiteX7998" fmla="*/ 4189570 w 4493400"/>
              <a:gd name="connsiteY7998" fmla="*/ 2912328 h 4503132"/>
              <a:gd name="connsiteX7999" fmla="*/ 4193224 w 4493400"/>
              <a:gd name="connsiteY7999" fmla="*/ 2880906 h 4503132"/>
              <a:gd name="connsiteX8000" fmla="*/ 4190916 w 4493400"/>
              <a:gd name="connsiteY8000" fmla="*/ 2847992 h 4503132"/>
              <a:gd name="connsiteX8001" fmla="*/ 4187310 w 4493400"/>
              <a:gd name="connsiteY8001" fmla="*/ 2839475 h 4503132"/>
              <a:gd name="connsiteX8002" fmla="*/ 4180001 w 4493400"/>
              <a:gd name="connsiteY8002" fmla="*/ 2832112 h 4503132"/>
              <a:gd name="connsiteX8003" fmla="*/ 4169759 w 4493400"/>
              <a:gd name="connsiteY8003" fmla="*/ 2829466 h 4503132"/>
              <a:gd name="connsiteX8004" fmla="*/ 4160430 w 4493400"/>
              <a:gd name="connsiteY8004" fmla="*/ 2831054 h 4503132"/>
              <a:gd name="connsiteX8005" fmla="*/ 4145043 w 4493400"/>
              <a:gd name="connsiteY8005" fmla="*/ 2838608 h 4503132"/>
              <a:gd name="connsiteX8006" fmla="*/ 4131531 w 4493400"/>
              <a:gd name="connsiteY8006" fmla="*/ 2848184 h 4503132"/>
              <a:gd name="connsiteX8007" fmla="*/ 4088782 w 4493400"/>
              <a:gd name="connsiteY8007" fmla="*/ 2896545 h 4503132"/>
              <a:gd name="connsiteX8008" fmla="*/ 4055555 w 4493400"/>
              <a:gd name="connsiteY8008" fmla="*/ 2949862 h 4503132"/>
              <a:gd name="connsiteX8009" fmla="*/ 3991553 w 4493400"/>
              <a:gd name="connsiteY8009" fmla="*/ 3053032 h 4503132"/>
              <a:gd name="connsiteX8010" fmla="*/ 3906489 w 4493400"/>
              <a:gd name="connsiteY8010" fmla="*/ 3129158 h 4503132"/>
              <a:gd name="connsiteX8011" fmla="*/ 3853546 w 4493400"/>
              <a:gd name="connsiteY8011" fmla="*/ 3142247 h 4503132"/>
              <a:gd name="connsiteX8012" fmla="*/ 3799931 w 4493400"/>
              <a:gd name="connsiteY8012" fmla="*/ 3134692 h 4503132"/>
              <a:gd name="connsiteX8013" fmla="*/ 3747710 w 4493400"/>
              <a:gd name="connsiteY8013" fmla="*/ 3119390 h 4503132"/>
              <a:gd name="connsiteX8014" fmla="*/ 3694430 w 4493400"/>
              <a:gd name="connsiteY8014" fmla="*/ 3110824 h 4503132"/>
              <a:gd name="connsiteX8015" fmla="*/ 3642306 w 4493400"/>
              <a:gd name="connsiteY8015" fmla="*/ 3118908 h 4503132"/>
              <a:gd name="connsiteX8016" fmla="*/ 3596816 w 4493400"/>
              <a:gd name="connsiteY8016" fmla="*/ 3141621 h 4503132"/>
              <a:gd name="connsiteX8017" fmla="*/ 3586574 w 4493400"/>
              <a:gd name="connsiteY8017" fmla="*/ 3148647 h 4503132"/>
              <a:gd name="connsiteX8018" fmla="*/ 3576860 w 4493400"/>
              <a:gd name="connsiteY8018" fmla="*/ 3156153 h 4503132"/>
              <a:gd name="connsiteX8019" fmla="*/ 3558828 w 4493400"/>
              <a:gd name="connsiteY8019" fmla="*/ 3172610 h 4503132"/>
              <a:gd name="connsiteX8020" fmla="*/ 3529640 w 4493400"/>
              <a:gd name="connsiteY8020" fmla="*/ 3209567 h 4503132"/>
              <a:gd name="connsiteX8021" fmla="*/ 3488094 w 4493400"/>
              <a:gd name="connsiteY8021" fmla="*/ 3286992 h 4503132"/>
              <a:gd name="connsiteX8022" fmla="*/ 3442461 w 4493400"/>
              <a:gd name="connsiteY8022" fmla="*/ 3430438 h 4503132"/>
              <a:gd name="connsiteX8023" fmla="*/ 3430968 w 4493400"/>
              <a:gd name="connsiteY8023" fmla="*/ 3543521 h 4503132"/>
              <a:gd name="connsiteX8024" fmla="*/ 3437604 w 4493400"/>
              <a:gd name="connsiteY8024" fmla="*/ 3584663 h 4503132"/>
              <a:gd name="connsiteX8025" fmla="*/ 3453857 w 4493400"/>
              <a:gd name="connsiteY8025" fmla="*/ 3610600 h 4503132"/>
              <a:gd name="connsiteX8026" fmla="*/ 3471601 w 4493400"/>
              <a:gd name="connsiteY8026" fmla="*/ 3616808 h 4503132"/>
              <a:gd name="connsiteX8027" fmla="*/ 3476409 w 4493400"/>
              <a:gd name="connsiteY8027" fmla="*/ 3616519 h 4503132"/>
              <a:gd name="connsiteX8028" fmla="*/ 3477996 w 4493400"/>
              <a:gd name="connsiteY8028" fmla="*/ 3616182 h 4503132"/>
              <a:gd name="connsiteX8029" fmla="*/ 3471697 w 4493400"/>
              <a:gd name="connsiteY8029" fmla="*/ 3615749 h 4503132"/>
              <a:gd name="connsiteX8030" fmla="*/ 3455203 w 4493400"/>
              <a:gd name="connsiteY8030" fmla="*/ 3608964 h 4503132"/>
              <a:gd name="connsiteX8031" fmla="*/ 3440634 w 4493400"/>
              <a:gd name="connsiteY8031" fmla="*/ 3583749 h 4503132"/>
              <a:gd name="connsiteX8032" fmla="*/ 3435104 w 4493400"/>
              <a:gd name="connsiteY8032" fmla="*/ 3543376 h 4503132"/>
              <a:gd name="connsiteX8033" fmla="*/ 3448279 w 4493400"/>
              <a:gd name="connsiteY8033" fmla="*/ 3431689 h 4503132"/>
              <a:gd name="connsiteX8034" fmla="*/ 3494971 w 4493400"/>
              <a:gd name="connsiteY8034" fmla="*/ 3290024 h 4503132"/>
              <a:gd name="connsiteX8035" fmla="*/ 3536420 w 4493400"/>
              <a:gd name="connsiteY8035" fmla="*/ 3214138 h 4503132"/>
              <a:gd name="connsiteX8036" fmla="*/ 3564935 w 4493400"/>
              <a:gd name="connsiteY8036" fmla="*/ 3178529 h 4503132"/>
              <a:gd name="connsiteX8037" fmla="*/ 3582246 w 4493400"/>
              <a:gd name="connsiteY8037" fmla="*/ 3162986 h 4503132"/>
              <a:gd name="connsiteX8038" fmla="*/ 3591719 w 4493400"/>
              <a:gd name="connsiteY8038" fmla="*/ 3155768 h 4503132"/>
              <a:gd name="connsiteX8039" fmla="*/ 3601625 w 4493400"/>
              <a:gd name="connsiteY8039" fmla="*/ 3149031 h 4503132"/>
              <a:gd name="connsiteX8040" fmla="*/ 3645142 w 4493400"/>
              <a:gd name="connsiteY8040" fmla="*/ 3127570 h 4503132"/>
              <a:gd name="connsiteX8041" fmla="*/ 3694190 w 4493400"/>
              <a:gd name="connsiteY8041" fmla="*/ 3120207 h 4503132"/>
              <a:gd name="connsiteX8042" fmla="*/ 3745161 w 4493400"/>
              <a:gd name="connsiteY8042" fmla="*/ 3128677 h 4503132"/>
              <a:gd name="connsiteX8043" fmla="*/ 3797334 w 4493400"/>
              <a:gd name="connsiteY8043" fmla="*/ 3144172 h 4503132"/>
              <a:gd name="connsiteX8044" fmla="*/ 3853787 w 4493400"/>
              <a:gd name="connsiteY8044" fmla="*/ 3152256 h 4503132"/>
              <a:gd name="connsiteX8045" fmla="*/ 3910865 w 4493400"/>
              <a:gd name="connsiteY8045" fmla="*/ 3138349 h 4503132"/>
              <a:gd name="connsiteX8046" fmla="*/ 3999920 w 4493400"/>
              <a:gd name="connsiteY8046" fmla="*/ 3059287 h 4503132"/>
              <a:gd name="connsiteX8047" fmla="*/ 4064691 w 4493400"/>
              <a:gd name="connsiteY8047" fmla="*/ 2955252 h 4503132"/>
              <a:gd name="connsiteX8048" fmla="*/ 4097486 w 4493400"/>
              <a:gd name="connsiteY8048" fmla="*/ 2902656 h 4503132"/>
              <a:gd name="connsiteX8049" fmla="*/ 4116335 w 4493400"/>
              <a:gd name="connsiteY8049" fmla="*/ 2878115 h 4503132"/>
              <a:gd name="connsiteX8050" fmla="*/ 4138214 w 4493400"/>
              <a:gd name="connsiteY8050" fmla="*/ 2856509 h 4503132"/>
              <a:gd name="connsiteX8051" fmla="*/ 4150572 w 4493400"/>
              <a:gd name="connsiteY8051" fmla="*/ 2847703 h 4503132"/>
              <a:gd name="connsiteX8052" fmla="*/ 4163507 w 4493400"/>
              <a:gd name="connsiteY8052" fmla="*/ 2841303 h 4503132"/>
              <a:gd name="connsiteX8053" fmla="*/ 4169663 w 4493400"/>
              <a:gd name="connsiteY8053" fmla="*/ 2840196 h 4503132"/>
              <a:gd name="connsiteX8054" fmla="*/ 4174519 w 4493400"/>
              <a:gd name="connsiteY8054" fmla="*/ 2841399 h 4503132"/>
              <a:gd name="connsiteX8055" fmla="*/ 4180578 w 4493400"/>
              <a:gd name="connsiteY8055" fmla="*/ 2851071 h 4503132"/>
              <a:gd name="connsiteX8056" fmla="*/ 4182501 w 4493400"/>
              <a:gd name="connsiteY8056" fmla="*/ 2880377 h 4503132"/>
              <a:gd name="connsiteX8057" fmla="*/ 4178991 w 4493400"/>
              <a:gd name="connsiteY8057" fmla="*/ 2910741 h 4503132"/>
              <a:gd name="connsiteX8058" fmla="*/ 4166345 w 4493400"/>
              <a:gd name="connsiteY8058" fmla="*/ 2970458 h 4503132"/>
              <a:gd name="connsiteX8059" fmla="*/ 4158699 w 4493400"/>
              <a:gd name="connsiteY8059" fmla="*/ 2999763 h 4503132"/>
              <a:gd name="connsiteX8060" fmla="*/ 4150140 w 4493400"/>
              <a:gd name="connsiteY8060" fmla="*/ 3028346 h 4503132"/>
              <a:gd name="connsiteX8061" fmla="*/ 4106285 w 4493400"/>
              <a:gd name="connsiteY8061" fmla="*/ 3137001 h 4503132"/>
              <a:gd name="connsiteX8062" fmla="*/ 4055026 w 4493400"/>
              <a:gd name="connsiteY8062" fmla="*/ 3237043 h 4503132"/>
              <a:gd name="connsiteX8063" fmla="*/ 4026271 w 4493400"/>
              <a:gd name="connsiteY8063" fmla="*/ 3282758 h 4503132"/>
              <a:gd name="connsiteX8064" fmla="*/ 3993236 w 4493400"/>
              <a:gd name="connsiteY8064" fmla="*/ 3322794 h 4503132"/>
              <a:gd name="connsiteX8065" fmla="*/ 3973280 w 4493400"/>
              <a:gd name="connsiteY8065" fmla="*/ 3337230 h 4503132"/>
              <a:gd name="connsiteX8066" fmla="*/ 3951641 w 4493400"/>
              <a:gd name="connsiteY8066" fmla="*/ 3343389 h 4503132"/>
              <a:gd name="connsiteX8067" fmla="*/ 3932840 w 4493400"/>
              <a:gd name="connsiteY8067" fmla="*/ 3332562 h 4503132"/>
              <a:gd name="connsiteX8068" fmla="*/ 3912452 w 4493400"/>
              <a:gd name="connsiteY8068" fmla="*/ 3316682 h 4503132"/>
              <a:gd name="connsiteX8069" fmla="*/ 3899853 w 4493400"/>
              <a:gd name="connsiteY8069" fmla="*/ 3312255 h 4503132"/>
              <a:gd name="connsiteX8070" fmla="*/ 3886870 w 4493400"/>
              <a:gd name="connsiteY8070" fmla="*/ 3311196 h 4503132"/>
              <a:gd name="connsiteX8071" fmla="*/ 3862346 w 4493400"/>
              <a:gd name="connsiteY8071" fmla="*/ 3315527 h 4503132"/>
              <a:gd name="connsiteX8072" fmla="*/ 3818828 w 4493400"/>
              <a:gd name="connsiteY8072" fmla="*/ 3333813 h 4503132"/>
              <a:gd name="connsiteX8073" fmla="*/ 3747469 w 4493400"/>
              <a:gd name="connsiteY8073" fmla="*/ 3385253 h 4503132"/>
              <a:gd name="connsiteX8074" fmla="*/ 3690391 w 4493400"/>
              <a:gd name="connsiteY8074" fmla="*/ 3440736 h 4503132"/>
              <a:gd name="connsiteX8075" fmla="*/ 3642065 w 4493400"/>
              <a:gd name="connsiteY8075" fmla="*/ 3492465 h 4503132"/>
              <a:gd name="connsiteX8076" fmla="*/ 3561714 w 4493400"/>
              <a:gd name="connsiteY8076" fmla="*/ 3571815 h 4503132"/>
              <a:gd name="connsiteX8077" fmla="*/ 3501750 w 4493400"/>
              <a:gd name="connsiteY8077" fmla="*/ 3609397 h 4503132"/>
              <a:gd name="connsiteX8078" fmla="*/ 3484055 w 4493400"/>
              <a:gd name="connsiteY8078" fmla="*/ 3614642 h 4503132"/>
              <a:gd name="connsiteX8079" fmla="*/ 3477900 w 4493400"/>
              <a:gd name="connsiteY8079" fmla="*/ 3616230 h 4503132"/>
              <a:gd name="connsiteX8080" fmla="*/ 3484247 w 4493400"/>
              <a:gd name="connsiteY8080" fmla="*/ 3615701 h 4503132"/>
              <a:gd name="connsiteX8081" fmla="*/ 3502472 w 4493400"/>
              <a:gd name="connsiteY8081" fmla="*/ 3611418 h 4503132"/>
              <a:gd name="connsiteX8082" fmla="*/ 3564310 w 4493400"/>
              <a:gd name="connsiteY8082" fmla="*/ 3575039 h 4503132"/>
              <a:gd name="connsiteX8083" fmla="*/ 3646345 w 4493400"/>
              <a:gd name="connsiteY8083" fmla="*/ 3496555 h 4503132"/>
              <a:gd name="connsiteX8084" fmla="*/ 3695200 w 4493400"/>
              <a:gd name="connsiteY8084" fmla="*/ 3445452 h 4503132"/>
              <a:gd name="connsiteX8085" fmla="*/ 3752326 w 4493400"/>
              <a:gd name="connsiteY8085" fmla="*/ 3390932 h 4503132"/>
              <a:gd name="connsiteX8086" fmla="*/ 3822627 w 4493400"/>
              <a:gd name="connsiteY8086" fmla="*/ 3341079 h 4503132"/>
              <a:gd name="connsiteX8087" fmla="*/ 3864606 w 4493400"/>
              <a:gd name="connsiteY8087" fmla="*/ 3323756 h 4503132"/>
              <a:gd name="connsiteX8088" fmla="*/ 3908316 w 4493400"/>
              <a:gd name="connsiteY8088" fmla="*/ 3324574 h 4503132"/>
              <a:gd name="connsiteX8089" fmla="*/ 3926637 w 4493400"/>
              <a:gd name="connsiteY8089" fmla="*/ 3339154 h 4503132"/>
              <a:gd name="connsiteX8090" fmla="*/ 3936927 w 4493400"/>
              <a:gd name="connsiteY8090" fmla="*/ 3347623 h 4503132"/>
              <a:gd name="connsiteX8091" fmla="*/ 3950680 w 4493400"/>
              <a:gd name="connsiteY8091" fmla="*/ 3352532 h 4503132"/>
              <a:gd name="connsiteX8092" fmla="*/ 3977560 w 4493400"/>
              <a:gd name="connsiteY8092" fmla="*/ 3345458 h 4503132"/>
              <a:gd name="connsiteX8093" fmla="*/ 3999535 w 4493400"/>
              <a:gd name="connsiteY8093" fmla="*/ 3329675 h 4503132"/>
              <a:gd name="connsiteX8094" fmla="*/ 4034060 w 4493400"/>
              <a:gd name="connsiteY8094" fmla="*/ 3288291 h 4503132"/>
              <a:gd name="connsiteX8095" fmla="*/ 4063441 w 4493400"/>
              <a:gd name="connsiteY8095" fmla="*/ 3242000 h 4503132"/>
              <a:gd name="connsiteX8096" fmla="*/ 4115470 w 4493400"/>
              <a:gd name="connsiteY8096" fmla="*/ 3141284 h 4503132"/>
              <a:gd name="connsiteX8097" fmla="*/ 4155525 w 4493400"/>
              <a:gd name="connsiteY8097" fmla="*/ 3044081 h 4503132"/>
              <a:gd name="connsiteX8098" fmla="*/ 4118018 w 4493400"/>
              <a:gd name="connsiteY8098" fmla="*/ 3142391 h 4503132"/>
              <a:gd name="connsiteX8099" fmla="*/ 4036801 w 4493400"/>
              <a:gd name="connsiteY8099" fmla="*/ 3296568 h 4503132"/>
              <a:gd name="connsiteX8100" fmla="*/ 3994774 w 4493400"/>
              <a:gd name="connsiteY8100" fmla="*/ 3354168 h 4503132"/>
              <a:gd name="connsiteX8101" fmla="*/ 3983859 w 4493400"/>
              <a:gd name="connsiteY8101" fmla="*/ 3365861 h 4503132"/>
              <a:gd name="connsiteX8102" fmla="*/ 3978233 w 4493400"/>
              <a:gd name="connsiteY8102" fmla="*/ 3371154 h 4503132"/>
              <a:gd name="connsiteX8103" fmla="*/ 3975492 w 4493400"/>
              <a:gd name="connsiteY8103" fmla="*/ 3373753 h 4503132"/>
              <a:gd name="connsiteX8104" fmla="*/ 3972559 w 4493400"/>
              <a:gd name="connsiteY8104" fmla="*/ 3376014 h 4503132"/>
              <a:gd name="connsiteX8105" fmla="*/ 3966788 w 4493400"/>
              <a:gd name="connsiteY8105" fmla="*/ 3380490 h 4503132"/>
              <a:gd name="connsiteX8106" fmla="*/ 3960730 w 4493400"/>
              <a:gd name="connsiteY8106" fmla="*/ 3384195 h 4503132"/>
              <a:gd name="connsiteX8107" fmla="*/ 3954671 w 4493400"/>
              <a:gd name="connsiteY8107" fmla="*/ 3387467 h 4503132"/>
              <a:gd name="connsiteX8108" fmla="*/ 3948564 w 4493400"/>
              <a:gd name="connsiteY8108" fmla="*/ 3390210 h 4503132"/>
              <a:gd name="connsiteX8109" fmla="*/ 3924329 w 4493400"/>
              <a:gd name="connsiteY8109" fmla="*/ 3392856 h 4503132"/>
              <a:gd name="connsiteX8110" fmla="*/ 3902882 w 4493400"/>
              <a:gd name="connsiteY8110" fmla="*/ 3387082 h 4503132"/>
              <a:gd name="connsiteX8111" fmla="*/ 3867732 w 4493400"/>
              <a:gd name="connsiteY8111" fmla="*/ 3381789 h 4503132"/>
              <a:gd name="connsiteX8112" fmla="*/ 3860952 w 4493400"/>
              <a:gd name="connsiteY8112" fmla="*/ 3382318 h 4503132"/>
              <a:gd name="connsiteX8113" fmla="*/ 3855133 w 4493400"/>
              <a:gd name="connsiteY8113" fmla="*/ 3383425 h 4503132"/>
              <a:gd name="connsiteX8114" fmla="*/ 3846237 w 4493400"/>
              <a:gd name="connsiteY8114" fmla="*/ 3385638 h 4503132"/>
              <a:gd name="connsiteX8115" fmla="*/ 3839217 w 4493400"/>
              <a:gd name="connsiteY8115" fmla="*/ 3388093 h 4503132"/>
              <a:gd name="connsiteX8116" fmla="*/ 3846478 w 4493400"/>
              <a:gd name="connsiteY8116" fmla="*/ 3386697 h 4503132"/>
              <a:gd name="connsiteX8117" fmla="*/ 3855374 w 4493400"/>
              <a:gd name="connsiteY8117" fmla="*/ 3385013 h 4503132"/>
              <a:gd name="connsiteX8118" fmla="*/ 3861144 w 4493400"/>
              <a:gd name="connsiteY8118" fmla="*/ 3384195 h 4503132"/>
              <a:gd name="connsiteX8119" fmla="*/ 3867780 w 4493400"/>
              <a:gd name="connsiteY8119" fmla="*/ 3383906 h 4503132"/>
              <a:gd name="connsiteX8120" fmla="*/ 3901825 w 4493400"/>
              <a:gd name="connsiteY8120" fmla="*/ 3390065 h 4503132"/>
              <a:gd name="connsiteX8121" fmla="*/ 3923703 w 4493400"/>
              <a:gd name="connsiteY8121" fmla="*/ 3396417 h 4503132"/>
              <a:gd name="connsiteX8122" fmla="*/ 3949910 w 4493400"/>
              <a:gd name="connsiteY8122" fmla="*/ 3394011 h 4503132"/>
              <a:gd name="connsiteX8123" fmla="*/ 3956402 w 4493400"/>
              <a:gd name="connsiteY8123" fmla="*/ 3391220 h 4503132"/>
              <a:gd name="connsiteX8124" fmla="*/ 3962797 w 4493400"/>
              <a:gd name="connsiteY8124" fmla="*/ 3387852 h 4503132"/>
              <a:gd name="connsiteX8125" fmla="*/ 3969193 w 4493400"/>
              <a:gd name="connsiteY8125" fmla="*/ 3384099 h 4503132"/>
              <a:gd name="connsiteX8126" fmla="*/ 3975300 w 4493400"/>
              <a:gd name="connsiteY8126" fmla="*/ 3379527 h 4503132"/>
              <a:gd name="connsiteX8127" fmla="*/ 3978425 w 4493400"/>
              <a:gd name="connsiteY8127" fmla="*/ 3377169 h 4503132"/>
              <a:gd name="connsiteX8128" fmla="*/ 3981310 w 4493400"/>
              <a:gd name="connsiteY8128" fmla="*/ 3374523 h 4503132"/>
              <a:gd name="connsiteX8129" fmla="*/ 3987177 w 4493400"/>
              <a:gd name="connsiteY8129" fmla="*/ 3369181 h 4503132"/>
              <a:gd name="connsiteX8130" fmla="*/ 3998477 w 4493400"/>
              <a:gd name="connsiteY8130" fmla="*/ 3357392 h 4503132"/>
              <a:gd name="connsiteX8131" fmla="*/ 4039206 w 4493400"/>
              <a:gd name="connsiteY8131" fmla="*/ 3303353 h 4503132"/>
              <a:gd name="connsiteX8132" fmla="*/ 4009441 w 4493400"/>
              <a:gd name="connsiteY8132" fmla="*/ 3348441 h 4503132"/>
              <a:gd name="connsiteX8133" fmla="*/ 3967269 w 4493400"/>
              <a:gd name="connsiteY8133" fmla="*/ 3398101 h 4503132"/>
              <a:gd name="connsiteX8134" fmla="*/ 3961355 w 4493400"/>
              <a:gd name="connsiteY8134" fmla="*/ 3403298 h 4503132"/>
              <a:gd name="connsiteX8135" fmla="*/ 3955152 w 4493400"/>
              <a:gd name="connsiteY8135" fmla="*/ 3407966 h 4503132"/>
              <a:gd name="connsiteX8136" fmla="*/ 3948564 w 4493400"/>
              <a:gd name="connsiteY8136" fmla="*/ 3412056 h 4503132"/>
              <a:gd name="connsiteX8137" fmla="*/ 3941880 w 4493400"/>
              <a:gd name="connsiteY8137" fmla="*/ 3415858 h 4503132"/>
              <a:gd name="connsiteX8138" fmla="*/ 3913221 w 4493400"/>
              <a:gd name="connsiteY8138" fmla="*/ 3424327 h 4503132"/>
              <a:gd name="connsiteX8139" fmla="*/ 3852585 w 4493400"/>
              <a:gd name="connsiteY8139" fmla="*/ 3416724 h 4503132"/>
              <a:gd name="connsiteX8140" fmla="*/ 3821329 w 4493400"/>
              <a:gd name="connsiteY8140" fmla="*/ 3419804 h 4503132"/>
              <a:gd name="connsiteX8141" fmla="*/ 3813972 w 4493400"/>
              <a:gd name="connsiteY8141" fmla="*/ 3422258 h 4503132"/>
              <a:gd name="connsiteX8142" fmla="*/ 3806807 w 4493400"/>
              <a:gd name="connsiteY8142" fmla="*/ 3425049 h 4503132"/>
              <a:gd name="connsiteX8143" fmla="*/ 3793343 w 4493400"/>
              <a:gd name="connsiteY8143" fmla="*/ 3431641 h 4503132"/>
              <a:gd name="connsiteX8144" fmla="*/ 3703422 w 4493400"/>
              <a:gd name="connsiteY8144" fmla="*/ 3500164 h 4503132"/>
              <a:gd name="connsiteX8145" fmla="*/ 3632352 w 4493400"/>
              <a:gd name="connsiteY8145" fmla="*/ 3573740 h 4503132"/>
              <a:gd name="connsiteX8146" fmla="*/ 3570513 w 4493400"/>
              <a:gd name="connsiteY8146" fmla="*/ 3640483 h 4503132"/>
              <a:gd name="connsiteX8147" fmla="*/ 3461839 w 4493400"/>
              <a:gd name="connsiteY8147" fmla="*/ 3736386 h 4503132"/>
              <a:gd name="connsiteX8148" fmla="*/ 3378555 w 4493400"/>
              <a:gd name="connsiteY8148" fmla="*/ 3772861 h 4503132"/>
              <a:gd name="connsiteX8149" fmla="*/ 3364898 w 4493400"/>
              <a:gd name="connsiteY8149" fmla="*/ 3774930 h 4503132"/>
              <a:gd name="connsiteX8150" fmla="*/ 3354945 w 4493400"/>
              <a:gd name="connsiteY8150" fmla="*/ 3775700 h 4503132"/>
              <a:gd name="connsiteX8151" fmla="*/ 3346818 w 4493400"/>
              <a:gd name="connsiteY8151" fmla="*/ 3776518 h 4503132"/>
              <a:gd name="connsiteX8152" fmla="*/ 3354993 w 4493400"/>
              <a:gd name="connsiteY8152" fmla="*/ 3776807 h 4503132"/>
              <a:gd name="connsiteX8153" fmla="*/ 3365091 w 4493400"/>
              <a:gd name="connsiteY8153" fmla="*/ 3776567 h 4503132"/>
              <a:gd name="connsiteX8154" fmla="*/ 3378988 w 4493400"/>
              <a:gd name="connsiteY8154" fmla="*/ 3775027 h 4503132"/>
              <a:gd name="connsiteX8155" fmla="*/ 3464147 w 4493400"/>
              <a:gd name="connsiteY8155" fmla="*/ 3739947 h 4503132"/>
              <a:gd name="connsiteX8156" fmla="*/ 3574889 w 4493400"/>
              <a:gd name="connsiteY8156" fmla="*/ 3644717 h 4503132"/>
              <a:gd name="connsiteX8157" fmla="*/ 3637401 w 4493400"/>
              <a:gd name="connsiteY8157" fmla="*/ 3578456 h 4503132"/>
              <a:gd name="connsiteX8158" fmla="*/ 3708664 w 4493400"/>
              <a:gd name="connsiteY8158" fmla="*/ 3505746 h 4503132"/>
              <a:gd name="connsiteX8159" fmla="*/ 3797238 w 4493400"/>
              <a:gd name="connsiteY8159" fmla="*/ 3439004 h 4503132"/>
              <a:gd name="connsiteX8160" fmla="*/ 3810221 w 4493400"/>
              <a:gd name="connsiteY8160" fmla="*/ 3432700 h 4503132"/>
              <a:gd name="connsiteX8161" fmla="*/ 3816857 w 4493400"/>
              <a:gd name="connsiteY8161" fmla="*/ 3430150 h 4503132"/>
              <a:gd name="connsiteX8162" fmla="*/ 3823589 w 4493400"/>
              <a:gd name="connsiteY8162" fmla="*/ 3427936 h 4503132"/>
              <a:gd name="connsiteX8163" fmla="*/ 3852008 w 4493400"/>
              <a:gd name="connsiteY8163" fmla="*/ 3425289 h 4503132"/>
              <a:gd name="connsiteX8164" fmla="*/ 3881725 w 4493400"/>
              <a:gd name="connsiteY8164" fmla="*/ 3430390 h 4503132"/>
              <a:gd name="connsiteX8165" fmla="*/ 3913990 w 4493400"/>
              <a:gd name="connsiteY8165" fmla="*/ 3433181 h 4503132"/>
              <a:gd name="connsiteX8166" fmla="*/ 3945967 w 4493400"/>
              <a:gd name="connsiteY8166" fmla="*/ 3423894 h 4503132"/>
              <a:gd name="connsiteX8167" fmla="*/ 3953228 w 4493400"/>
              <a:gd name="connsiteY8167" fmla="*/ 3419804 h 4503132"/>
              <a:gd name="connsiteX8168" fmla="*/ 3960345 w 4493400"/>
              <a:gd name="connsiteY8168" fmla="*/ 3415377 h 4503132"/>
              <a:gd name="connsiteX8169" fmla="*/ 3967125 w 4493400"/>
              <a:gd name="connsiteY8169" fmla="*/ 3410324 h 4503132"/>
              <a:gd name="connsiteX8170" fmla="*/ 3973424 w 4493400"/>
              <a:gd name="connsiteY8170" fmla="*/ 3404790 h 4503132"/>
              <a:gd name="connsiteX8171" fmla="*/ 3985350 w 4493400"/>
              <a:gd name="connsiteY8171" fmla="*/ 3393049 h 4503132"/>
              <a:gd name="connsiteX8172" fmla="*/ 3996409 w 4493400"/>
              <a:gd name="connsiteY8172" fmla="*/ 3380490 h 4503132"/>
              <a:gd name="connsiteX8173" fmla="*/ 4006940 w 4493400"/>
              <a:gd name="connsiteY8173" fmla="*/ 3367401 h 4503132"/>
              <a:gd name="connsiteX8174" fmla="*/ 4017038 w 4493400"/>
              <a:gd name="connsiteY8174" fmla="*/ 3353879 h 4503132"/>
              <a:gd name="connsiteX8175" fmla="*/ 4068201 w 4493400"/>
              <a:gd name="connsiteY8175" fmla="*/ 3272989 h 4503132"/>
              <a:gd name="connsiteX8176" fmla="*/ 4031368 w 4493400"/>
              <a:gd name="connsiteY8176" fmla="*/ 3336459 h 4503132"/>
              <a:gd name="connsiteX8177" fmla="*/ 3971645 w 4493400"/>
              <a:gd name="connsiteY8177" fmla="*/ 3417590 h 4503132"/>
              <a:gd name="connsiteX8178" fmla="*/ 3960970 w 4493400"/>
              <a:gd name="connsiteY8178" fmla="*/ 3428417 h 4503132"/>
              <a:gd name="connsiteX8179" fmla="*/ 3952699 w 4493400"/>
              <a:gd name="connsiteY8179" fmla="*/ 3435635 h 4503132"/>
              <a:gd name="connsiteX8180" fmla="*/ 3945967 w 4493400"/>
              <a:gd name="connsiteY8180" fmla="*/ 3441602 h 4503132"/>
              <a:gd name="connsiteX8181" fmla="*/ 3953325 w 4493400"/>
              <a:gd name="connsiteY8181" fmla="*/ 3436501 h 4503132"/>
              <a:gd name="connsiteX8182" fmla="*/ 3962028 w 4493400"/>
              <a:gd name="connsiteY8182" fmla="*/ 3429620 h 4503132"/>
              <a:gd name="connsiteX8183" fmla="*/ 3973184 w 4493400"/>
              <a:gd name="connsiteY8183" fmla="*/ 3419082 h 4503132"/>
              <a:gd name="connsiteX8184" fmla="*/ 4034878 w 4493400"/>
              <a:gd name="connsiteY8184" fmla="*/ 3338721 h 4503132"/>
              <a:gd name="connsiteX8185" fmla="*/ 4112729 w 4493400"/>
              <a:gd name="connsiteY8185" fmla="*/ 3198547 h 4503132"/>
              <a:gd name="connsiteX8186" fmla="*/ 4132396 w 4493400"/>
              <a:gd name="connsiteY8186" fmla="*/ 3156731 h 4503132"/>
              <a:gd name="connsiteX8187" fmla="*/ 4078107 w 4493400"/>
              <a:gd name="connsiteY8187" fmla="*/ 3267696 h 4503132"/>
              <a:gd name="connsiteX8188" fmla="*/ 4031897 w 4493400"/>
              <a:gd name="connsiteY8188" fmla="*/ 3346950 h 4503132"/>
              <a:gd name="connsiteX8189" fmla="*/ 3981166 w 4493400"/>
              <a:gd name="connsiteY8189" fmla="*/ 3419034 h 4503132"/>
              <a:gd name="connsiteX8190" fmla="*/ 3919712 w 4493400"/>
              <a:gd name="connsiteY8190" fmla="*/ 3474998 h 4503132"/>
              <a:gd name="connsiteX8191" fmla="*/ 3882638 w 4493400"/>
              <a:gd name="connsiteY8191" fmla="*/ 3486931 h 4503132"/>
              <a:gd name="connsiteX8192" fmla="*/ 3843304 w 4493400"/>
              <a:gd name="connsiteY8192" fmla="*/ 3481638 h 4503132"/>
              <a:gd name="connsiteX8193" fmla="*/ 3803056 w 4493400"/>
              <a:gd name="connsiteY8193" fmla="*/ 3486835 h 4503132"/>
              <a:gd name="connsiteX8194" fmla="*/ 3793776 w 4493400"/>
              <a:gd name="connsiteY8194" fmla="*/ 3490348 h 4503132"/>
              <a:gd name="connsiteX8195" fmla="*/ 3784736 w 4493400"/>
              <a:gd name="connsiteY8195" fmla="*/ 3494246 h 4503132"/>
              <a:gd name="connsiteX8196" fmla="*/ 3767617 w 4493400"/>
              <a:gd name="connsiteY8196" fmla="*/ 3503244 h 4503132"/>
              <a:gd name="connsiteX8197" fmla="*/ 3708279 w 4493400"/>
              <a:gd name="connsiteY8197" fmla="*/ 3548092 h 4503132"/>
              <a:gd name="connsiteX8198" fmla="*/ 3614416 w 4493400"/>
              <a:gd name="connsiteY8198" fmla="*/ 3645632 h 4503132"/>
              <a:gd name="connsiteX8199" fmla="*/ 3533391 w 4493400"/>
              <a:gd name="connsiteY8199" fmla="*/ 3730612 h 4503132"/>
              <a:gd name="connsiteX8200" fmla="*/ 3458473 w 4493400"/>
              <a:gd name="connsiteY8200" fmla="*/ 3794419 h 4503132"/>
              <a:gd name="connsiteX8201" fmla="*/ 3337489 w 4493400"/>
              <a:gd name="connsiteY8201" fmla="*/ 3855291 h 4503132"/>
              <a:gd name="connsiteX8202" fmla="*/ 3317534 w 4493400"/>
              <a:gd name="connsiteY8202" fmla="*/ 3860295 h 4503132"/>
              <a:gd name="connsiteX8203" fmla="*/ 3302916 w 4493400"/>
              <a:gd name="connsiteY8203" fmla="*/ 3863087 h 4503132"/>
              <a:gd name="connsiteX8204" fmla="*/ 3294020 w 4493400"/>
              <a:gd name="connsiteY8204" fmla="*/ 3864626 h 4503132"/>
              <a:gd name="connsiteX8205" fmla="*/ 3291038 w 4493400"/>
              <a:gd name="connsiteY8205" fmla="*/ 3865348 h 4503132"/>
              <a:gd name="connsiteX8206" fmla="*/ 3294116 w 4493400"/>
              <a:gd name="connsiteY8206" fmla="*/ 3865204 h 4503132"/>
              <a:gd name="connsiteX8207" fmla="*/ 3303156 w 4493400"/>
              <a:gd name="connsiteY8207" fmla="*/ 3864193 h 4503132"/>
              <a:gd name="connsiteX8208" fmla="*/ 3317919 w 4493400"/>
              <a:gd name="connsiteY8208" fmla="*/ 3861884 h 4503132"/>
              <a:gd name="connsiteX8209" fmla="*/ 3338115 w 4493400"/>
              <a:gd name="connsiteY8209" fmla="*/ 3857360 h 4503132"/>
              <a:gd name="connsiteX8210" fmla="*/ 3460974 w 4493400"/>
              <a:gd name="connsiteY8210" fmla="*/ 3797787 h 4503132"/>
              <a:gd name="connsiteX8211" fmla="*/ 3536997 w 4493400"/>
              <a:gd name="connsiteY8211" fmla="*/ 3734269 h 4503132"/>
              <a:gd name="connsiteX8212" fmla="*/ 3618887 w 4493400"/>
              <a:gd name="connsiteY8212" fmla="*/ 3649674 h 4503132"/>
              <a:gd name="connsiteX8213" fmla="*/ 3712895 w 4493400"/>
              <a:gd name="connsiteY8213" fmla="*/ 3553097 h 4503132"/>
              <a:gd name="connsiteX8214" fmla="*/ 3771271 w 4493400"/>
              <a:gd name="connsiteY8214" fmla="*/ 3509452 h 4503132"/>
              <a:gd name="connsiteX8215" fmla="*/ 3787909 w 4493400"/>
              <a:gd name="connsiteY8215" fmla="*/ 3500790 h 4503132"/>
              <a:gd name="connsiteX8216" fmla="*/ 3796565 w 4493400"/>
              <a:gd name="connsiteY8216" fmla="*/ 3497133 h 4503132"/>
              <a:gd name="connsiteX8217" fmla="*/ 3805413 w 4493400"/>
              <a:gd name="connsiteY8217" fmla="*/ 3493812 h 4503132"/>
              <a:gd name="connsiteX8218" fmla="*/ 3842583 w 4493400"/>
              <a:gd name="connsiteY8218" fmla="*/ 3489145 h 4503132"/>
              <a:gd name="connsiteX8219" fmla="*/ 3882927 w 4493400"/>
              <a:gd name="connsiteY8219" fmla="*/ 3494630 h 4503132"/>
              <a:gd name="connsiteX8220" fmla="*/ 3923655 w 4493400"/>
              <a:gd name="connsiteY8220" fmla="*/ 3481879 h 4503132"/>
              <a:gd name="connsiteX8221" fmla="*/ 3958229 w 4493400"/>
              <a:gd name="connsiteY8221" fmla="*/ 3456327 h 4503132"/>
              <a:gd name="connsiteX8222" fmla="*/ 3973424 w 4493400"/>
              <a:gd name="connsiteY8222" fmla="*/ 3440832 h 4503132"/>
              <a:gd name="connsiteX8223" fmla="*/ 3987610 w 4493400"/>
              <a:gd name="connsiteY8223" fmla="*/ 3424231 h 4503132"/>
              <a:gd name="connsiteX8224" fmla="*/ 4032425 w 4493400"/>
              <a:gd name="connsiteY8224" fmla="*/ 3361867 h 4503132"/>
              <a:gd name="connsiteX8225" fmla="*/ 4015980 w 4493400"/>
              <a:gd name="connsiteY8225" fmla="*/ 3388429 h 4503132"/>
              <a:gd name="connsiteX8226" fmla="*/ 3954527 w 4493400"/>
              <a:gd name="connsiteY8226" fmla="*/ 3472688 h 4503132"/>
              <a:gd name="connsiteX8227" fmla="*/ 3938803 w 4493400"/>
              <a:gd name="connsiteY8227" fmla="*/ 3489145 h 4503132"/>
              <a:gd name="connsiteX8228" fmla="*/ 3930580 w 4493400"/>
              <a:gd name="connsiteY8228" fmla="*/ 3496170 h 4503132"/>
              <a:gd name="connsiteX8229" fmla="*/ 3922357 w 4493400"/>
              <a:gd name="connsiteY8229" fmla="*/ 3502619 h 4503132"/>
              <a:gd name="connsiteX8230" fmla="*/ 3886870 w 4493400"/>
              <a:gd name="connsiteY8230" fmla="*/ 3515900 h 4503132"/>
              <a:gd name="connsiteX8231" fmla="*/ 3853594 w 4493400"/>
              <a:gd name="connsiteY8231" fmla="*/ 3517103 h 4503132"/>
              <a:gd name="connsiteX8232" fmla="*/ 3825753 w 4493400"/>
              <a:gd name="connsiteY8232" fmla="*/ 3518498 h 4503132"/>
              <a:gd name="connsiteX8233" fmla="*/ 3789304 w 4493400"/>
              <a:gd name="connsiteY8233" fmla="*/ 3528411 h 4503132"/>
              <a:gd name="connsiteX8234" fmla="*/ 3780696 w 4493400"/>
              <a:gd name="connsiteY8234" fmla="*/ 3532790 h 4503132"/>
              <a:gd name="connsiteX8235" fmla="*/ 3777907 w 4493400"/>
              <a:gd name="connsiteY8235" fmla="*/ 3534426 h 4503132"/>
              <a:gd name="connsiteX8236" fmla="*/ 3780937 w 4493400"/>
              <a:gd name="connsiteY8236" fmla="*/ 3533271 h 4503132"/>
              <a:gd name="connsiteX8237" fmla="*/ 3789688 w 4493400"/>
              <a:gd name="connsiteY8237" fmla="*/ 3529422 h 4503132"/>
              <a:gd name="connsiteX8238" fmla="*/ 3825945 w 4493400"/>
              <a:gd name="connsiteY8238" fmla="*/ 3520664 h 4503132"/>
              <a:gd name="connsiteX8239" fmla="*/ 3853546 w 4493400"/>
              <a:gd name="connsiteY8239" fmla="*/ 3519797 h 4503132"/>
              <a:gd name="connsiteX8240" fmla="*/ 3887207 w 4493400"/>
              <a:gd name="connsiteY8240" fmla="*/ 3519076 h 4503132"/>
              <a:gd name="connsiteX8241" fmla="*/ 3924329 w 4493400"/>
              <a:gd name="connsiteY8241" fmla="*/ 3505650 h 4503132"/>
              <a:gd name="connsiteX8242" fmla="*/ 3932888 w 4493400"/>
              <a:gd name="connsiteY8242" fmla="*/ 3499106 h 4503132"/>
              <a:gd name="connsiteX8243" fmla="*/ 3941447 w 4493400"/>
              <a:gd name="connsiteY8243" fmla="*/ 3491984 h 4503132"/>
              <a:gd name="connsiteX8244" fmla="*/ 3957604 w 4493400"/>
              <a:gd name="connsiteY8244" fmla="*/ 3475431 h 4503132"/>
              <a:gd name="connsiteX8245" fmla="*/ 4020212 w 4493400"/>
              <a:gd name="connsiteY8245" fmla="*/ 3391124 h 4503132"/>
              <a:gd name="connsiteX8246" fmla="*/ 4027184 w 4493400"/>
              <a:gd name="connsiteY8246" fmla="*/ 3380201 h 4503132"/>
              <a:gd name="connsiteX8247" fmla="*/ 3976406 w 4493400"/>
              <a:gd name="connsiteY8247" fmla="*/ 3459984 h 4503132"/>
              <a:gd name="connsiteX8248" fmla="*/ 3943226 w 4493400"/>
              <a:gd name="connsiteY8248" fmla="*/ 3501367 h 4503132"/>
              <a:gd name="connsiteX8249" fmla="*/ 3902834 w 4493400"/>
              <a:gd name="connsiteY8249" fmla="*/ 3534089 h 4503132"/>
              <a:gd name="connsiteX8250" fmla="*/ 3853017 w 4493400"/>
              <a:gd name="connsiteY8250" fmla="*/ 3545061 h 4503132"/>
              <a:gd name="connsiteX8251" fmla="*/ 3826474 w 4493400"/>
              <a:gd name="connsiteY8251" fmla="*/ 3546552 h 4503132"/>
              <a:gd name="connsiteX8252" fmla="*/ 3800364 w 4493400"/>
              <a:gd name="connsiteY8252" fmla="*/ 3552326 h 4503132"/>
              <a:gd name="connsiteX8253" fmla="*/ 3752951 w 4493400"/>
              <a:gd name="connsiteY8253" fmla="*/ 3575905 h 4503132"/>
              <a:gd name="connsiteX8254" fmla="*/ 3712222 w 4493400"/>
              <a:gd name="connsiteY8254" fmla="*/ 3608964 h 4503132"/>
              <a:gd name="connsiteX8255" fmla="*/ 3640574 w 4493400"/>
              <a:gd name="connsiteY8255" fmla="*/ 3683791 h 4503132"/>
              <a:gd name="connsiteX8256" fmla="*/ 3570658 w 4493400"/>
              <a:gd name="connsiteY8256" fmla="*/ 3758233 h 4503132"/>
              <a:gd name="connsiteX8257" fmla="*/ 3492374 w 4493400"/>
              <a:gd name="connsiteY8257" fmla="*/ 3821607 h 4503132"/>
              <a:gd name="connsiteX8258" fmla="*/ 3410436 w 4493400"/>
              <a:gd name="connsiteY8258" fmla="*/ 3879255 h 4503132"/>
              <a:gd name="connsiteX8259" fmla="*/ 3371678 w 4493400"/>
              <a:gd name="connsiteY8259" fmla="*/ 3910726 h 4503132"/>
              <a:gd name="connsiteX8260" fmla="*/ 3339509 w 4493400"/>
              <a:gd name="connsiteY8260" fmla="*/ 3949077 h 4503132"/>
              <a:gd name="connsiteX8261" fmla="*/ 3332008 w 4493400"/>
              <a:gd name="connsiteY8261" fmla="*/ 3973571 h 4503132"/>
              <a:gd name="connsiteX8262" fmla="*/ 3334749 w 4493400"/>
              <a:gd name="connsiteY8262" fmla="*/ 3986611 h 4503132"/>
              <a:gd name="connsiteX8263" fmla="*/ 3342442 w 4493400"/>
              <a:gd name="connsiteY8263" fmla="*/ 3997197 h 4503132"/>
              <a:gd name="connsiteX8264" fmla="*/ 3361965 w 4493400"/>
              <a:gd name="connsiteY8264" fmla="*/ 4012355 h 4503132"/>
              <a:gd name="connsiteX8265" fmla="*/ 3373025 w 4493400"/>
              <a:gd name="connsiteY8265" fmla="*/ 4030304 h 4503132"/>
              <a:gd name="connsiteX8266" fmla="*/ 3370091 w 4493400"/>
              <a:gd name="connsiteY8266" fmla="*/ 4040891 h 4503132"/>
              <a:gd name="connsiteX8267" fmla="*/ 3363889 w 4493400"/>
              <a:gd name="connsiteY8267" fmla="*/ 4050851 h 4503132"/>
              <a:gd name="connsiteX8268" fmla="*/ 3348693 w 4493400"/>
              <a:gd name="connsiteY8268" fmla="*/ 4069185 h 4503132"/>
              <a:gd name="connsiteX8269" fmla="*/ 3312437 w 4493400"/>
              <a:gd name="connsiteY8269" fmla="*/ 4100367 h 4503132"/>
              <a:gd name="connsiteX8270" fmla="*/ 3231749 w 4493400"/>
              <a:gd name="connsiteY8270" fmla="*/ 4151182 h 4503132"/>
              <a:gd name="connsiteX8271" fmla="*/ 3148320 w 4493400"/>
              <a:gd name="connsiteY8271" fmla="*/ 4195645 h 4503132"/>
              <a:gd name="connsiteX8272" fmla="*/ 3065756 w 4493400"/>
              <a:gd name="connsiteY8272" fmla="*/ 4239771 h 4503132"/>
              <a:gd name="connsiteX8273" fmla="*/ 3026038 w 4493400"/>
              <a:gd name="connsiteY8273" fmla="*/ 4263976 h 4503132"/>
              <a:gd name="connsiteX8274" fmla="*/ 2989492 w 4493400"/>
              <a:gd name="connsiteY8274" fmla="*/ 4292704 h 4503132"/>
              <a:gd name="connsiteX8275" fmla="*/ 2976221 w 4493400"/>
              <a:gd name="connsiteY8275" fmla="*/ 4312721 h 4503132"/>
              <a:gd name="connsiteX8276" fmla="*/ 2975836 w 4493400"/>
              <a:gd name="connsiteY8276" fmla="*/ 4316042 h 4503132"/>
              <a:gd name="connsiteX8277" fmla="*/ 2976317 w 4493400"/>
              <a:gd name="connsiteY8277" fmla="*/ 4319458 h 4503132"/>
              <a:gd name="connsiteX8278" fmla="*/ 2979635 w 4493400"/>
              <a:gd name="connsiteY8278" fmla="*/ 4325377 h 4503132"/>
              <a:gd name="connsiteX8279" fmla="*/ 2989877 w 4493400"/>
              <a:gd name="connsiteY8279" fmla="*/ 4332258 h 4503132"/>
              <a:gd name="connsiteX8280" fmla="*/ 3011179 w 4493400"/>
              <a:gd name="connsiteY8280" fmla="*/ 4340246 h 4503132"/>
              <a:gd name="connsiteX8281" fmla="*/ 3015315 w 4493400"/>
              <a:gd name="connsiteY8281" fmla="*/ 4342748 h 4503132"/>
              <a:gd name="connsiteX8282" fmla="*/ 3016180 w 4493400"/>
              <a:gd name="connsiteY8282" fmla="*/ 4345588 h 4503132"/>
              <a:gd name="connsiteX8283" fmla="*/ 3013631 w 4493400"/>
              <a:gd name="connsiteY8283" fmla="*/ 4349100 h 4503132"/>
              <a:gd name="connsiteX8284" fmla="*/ 3009544 w 4493400"/>
              <a:gd name="connsiteY8284" fmla="*/ 4352517 h 4503132"/>
              <a:gd name="connsiteX8285" fmla="*/ 2988531 w 4493400"/>
              <a:gd name="connsiteY8285" fmla="*/ 4364643 h 4503132"/>
              <a:gd name="connsiteX8286" fmla="*/ 2998388 w 4493400"/>
              <a:gd name="connsiteY8286" fmla="*/ 4356896 h 4503132"/>
              <a:gd name="connsiteX8287" fmla="*/ 3001754 w 4493400"/>
              <a:gd name="connsiteY8287" fmla="*/ 4352517 h 4503132"/>
              <a:gd name="connsiteX8288" fmla="*/ 3001754 w 4493400"/>
              <a:gd name="connsiteY8288" fmla="*/ 4346742 h 4503132"/>
              <a:gd name="connsiteX8289" fmla="*/ 2997378 w 4493400"/>
              <a:gd name="connsiteY8289" fmla="*/ 4343326 h 4503132"/>
              <a:gd name="connsiteX8290" fmla="*/ 2992858 w 4493400"/>
              <a:gd name="connsiteY8290" fmla="*/ 4341690 h 4503132"/>
              <a:gd name="connsiteX8291" fmla="*/ 2961891 w 4493400"/>
              <a:gd name="connsiteY8291" fmla="*/ 4334712 h 4503132"/>
              <a:gd name="connsiteX8292" fmla="*/ 2951649 w 4493400"/>
              <a:gd name="connsiteY8292" fmla="*/ 4328505 h 4503132"/>
              <a:gd name="connsiteX8293" fmla="*/ 2950110 w 4493400"/>
              <a:gd name="connsiteY8293" fmla="*/ 4319314 h 4503132"/>
              <a:gd name="connsiteX8294" fmla="*/ 2956842 w 4493400"/>
              <a:gd name="connsiteY8294" fmla="*/ 4307332 h 4503132"/>
              <a:gd name="connsiteX8295" fmla="*/ 2959679 w 4493400"/>
              <a:gd name="connsiteY8295" fmla="*/ 4303531 h 4503132"/>
              <a:gd name="connsiteX8296" fmla="*/ 2956313 w 4493400"/>
              <a:gd name="connsiteY8296" fmla="*/ 4306899 h 4503132"/>
              <a:gd name="connsiteX8297" fmla="*/ 2948812 w 4493400"/>
              <a:gd name="connsiteY8297" fmla="*/ 4318977 h 4503132"/>
              <a:gd name="connsiteX8298" fmla="*/ 2950302 w 4493400"/>
              <a:gd name="connsiteY8298" fmla="*/ 4329564 h 4503132"/>
              <a:gd name="connsiteX8299" fmla="*/ 2961170 w 4493400"/>
              <a:gd name="connsiteY8299" fmla="*/ 4336637 h 4503132"/>
              <a:gd name="connsiteX8300" fmla="*/ 2992089 w 4493400"/>
              <a:gd name="connsiteY8300" fmla="*/ 4344240 h 4503132"/>
              <a:gd name="connsiteX8301" fmla="*/ 2999158 w 4493400"/>
              <a:gd name="connsiteY8301" fmla="*/ 4347994 h 4503132"/>
              <a:gd name="connsiteX8302" fmla="*/ 2996272 w 4493400"/>
              <a:gd name="connsiteY8302" fmla="*/ 4354778 h 4503132"/>
              <a:gd name="connsiteX8303" fmla="*/ 2979154 w 4493400"/>
              <a:gd name="connsiteY8303" fmla="*/ 4366376 h 4503132"/>
              <a:gd name="connsiteX8304" fmla="*/ 2956890 w 4493400"/>
              <a:gd name="connsiteY8304" fmla="*/ 4376818 h 4503132"/>
              <a:gd name="connsiteX8305" fmla="*/ 2960064 w 4493400"/>
              <a:gd name="connsiteY8305" fmla="*/ 4375181 h 4503132"/>
              <a:gd name="connsiteX8306" fmla="*/ 2966027 w 4493400"/>
              <a:gd name="connsiteY8306" fmla="*/ 4371620 h 4503132"/>
              <a:gd name="connsiteX8307" fmla="*/ 2968912 w 4493400"/>
              <a:gd name="connsiteY8307" fmla="*/ 4369311 h 4503132"/>
              <a:gd name="connsiteX8308" fmla="*/ 2971845 w 4493400"/>
              <a:gd name="connsiteY8308" fmla="*/ 4365894 h 4503132"/>
              <a:gd name="connsiteX8309" fmla="*/ 2972999 w 4493400"/>
              <a:gd name="connsiteY8309" fmla="*/ 4361034 h 4503132"/>
              <a:gd name="connsiteX8310" fmla="*/ 2970450 w 4493400"/>
              <a:gd name="connsiteY8310" fmla="*/ 4356655 h 4503132"/>
              <a:gd name="connsiteX8311" fmla="*/ 2966604 w 4493400"/>
              <a:gd name="connsiteY8311" fmla="*/ 4354201 h 4503132"/>
              <a:gd name="connsiteX8312" fmla="*/ 2963093 w 4493400"/>
              <a:gd name="connsiteY8312" fmla="*/ 4352757 h 4503132"/>
              <a:gd name="connsiteX8313" fmla="*/ 2934723 w 4493400"/>
              <a:gd name="connsiteY8313" fmla="*/ 4345154 h 4503132"/>
              <a:gd name="connsiteX8314" fmla="*/ 2921018 w 4493400"/>
              <a:gd name="connsiteY8314" fmla="*/ 4340005 h 4503132"/>
              <a:gd name="connsiteX8315" fmla="*/ 2912267 w 4493400"/>
              <a:gd name="connsiteY8315" fmla="*/ 4331103 h 4503132"/>
              <a:gd name="connsiteX8316" fmla="*/ 2916258 w 4493400"/>
              <a:gd name="connsiteY8316" fmla="*/ 4318736 h 4503132"/>
              <a:gd name="connsiteX8317" fmla="*/ 2926981 w 4493400"/>
              <a:gd name="connsiteY8317" fmla="*/ 4306995 h 4503132"/>
              <a:gd name="connsiteX8318" fmla="*/ 2954390 w 4493400"/>
              <a:gd name="connsiteY8318" fmla="*/ 4287073 h 4503132"/>
              <a:gd name="connsiteX8319" fmla="*/ 3019642 w 4493400"/>
              <a:gd name="connsiteY8319" fmla="*/ 4252234 h 4503132"/>
              <a:gd name="connsiteX8320" fmla="*/ 3091819 w 4493400"/>
              <a:gd name="connsiteY8320" fmla="*/ 4216289 h 4503132"/>
              <a:gd name="connsiteX8321" fmla="*/ 3129662 w 4493400"/>
              <a:gd name="connsiteY8321" fmla="*/ 4197041 h 4503132"/>
              <a:gd name="connsiteX8322" fmla="*/ 3168852 w 4493400"/>
              <a:gd name="connsiteY8322" fmla="*/ 4177119 h 4503132"/>
              <a:gd name="connsiteX8323" fmla="*/ 3247377 w 4493400"/>
              <a:gd name="connsiteY8323" fmla="*/ 4128662 h 4503132"/>
              <a:gd name="connsiteX8324" fmla="*/ 3281229 w 4493400"/>
              <a:gd name="connsiteY8324" fmla="*/ 4093005 h 4503132"/>
              <a:gd name="connsiteX8325" fmla="*/ 3284210 w 4493400"/>
              <a:gd name="connsiteY8325" fmla="*/ 4087134 h 4503132"/>
              <a:gd name="connsiteX8326" fmla="*/ 3286518 w 4493400"/>
              <a:gd name="connsiteY8326" fmla="*/ 4080830 h 4503132"/>
              <a:gd name="connsiteX8327" fmla="*/ 3287336 w 4493400"/>
              <a:gd name="connsiteY8327" fmla="*/ 4077269 h 4503132"/>
              <a:gd name="connsiteX8328" fmla="*/ 3287625 w 4493400"/>
              <a:gd name="connsiteY8328" fmla="*/ 4073324 h 4503132"/>
              <a:gd name="connsiteX8329" fmla="*/ 3286903 w 4493400"/>
              <a:gd name="connsiteY8329" fmla="*/ 4068993 h 4503132"/>
              <a:gd name="connsiteX8330" fmla="*/ 3286086 w 4493400"/>
              <a:gd name="connsiteY8330" fmla="*/ 4066827 h 4503132"/>
              <a:gd name="connsiteX8331" fmla="*/ 3284787 w 4493400"/>
              <a:gd name="connsiteY8331" fmla="*/ 4064854 h 4503132"/>
              <a:gd name="connsiteX8332" fmla="*/ 3277911 w 4493400"/>
              <a:gd name="connsiteY8332" fmla="*/ 4059609 h 4503132"/>
              <a:gd name="connsiteX8333" fmla="*/ 3270794 w 4493400"/>
              <a:gd name="connsiteY8333" fmla="*/ 4057733 h 4503132"/>
              <a:gd name="connsiteX8334" fmla="*/ 3257475 w 4493400"/>
              <a:gd name="connsiteY8334" fmla="*/ 4057348 h 4503132"/>
              <a:gd name="connsiteX8335" fmla="*/ 3207754 w 4493400"/>
              <a:gd name="connsiteY8335" fmla="*/ 4067020 h 4503132"/>
              <a:gd name="connsiteX8336" fmla="*/ 3159043 w 4493400"/>
              <a:gd name="connsiteY8336" fmla="*/ 4081696 h 4503132"/>
              <a:gd name="connsiteX8337" fmla="*/ 3110044 w 4493400"/>
              <a:gd name="connsiteY8337" fmla="*/ 4097624 h 4503132"/>
              <a:gd name="connsiteX8338" fmla="*/ 3060082 w 4493400"/>
              <a:gd name="connsiteY8338" fmla="*/ 4113360 h 4503132"/>
              <a:gd name="connsiteX8339" fmla="*/ 2957515 w 4493400"/>
              <a:gd name="connsiteY8339" fmla="*/ 4142569 h 4503132"/>
              <a:gd name="connsiteX8340" fmla="*/ 2749544 w 4493400"/>
              <a:gd name="connsiteY8340" fmla="*/ 4174280 h 4503132"/>
              <a:gd name="connsiteX8341" fmla="*/ 2699294 w 4493400"/>
              <a:gd name="connsiteY8341" fmla="*/ 4182749 h 4503132"/>
              <a:gd name="connsiteX8342" fmla="*/ 2650680 w 4493400"/>
              <a:gd name="connsiteY8342" fmla="*/ 4195356 h 4503132"/>
              <a:gd name="connsiteX8343" fmla="*/ 2638850 w 4493400"/>
              <a:gd name="connsiteY8343" fmla="*/ 4199399 h 4503132"/>
              <a:gd name="connsiteX8344" fmla="*/ 2627358 w 4493400"/>
              <a:gd name="connsiteY8344" fmla="*/ 4204162 h 4503132"/>
              <a:gd name="connsiteX8345" fmla="*/ 2605143 w 4493400"/>
              <a:gd name="connsiteY8345" fmla="*/ 4214845 h 4503132"/>
              <a:gd name="connsiteX8346" fmla="*/ 2565135 w 4493400"/>
              <a:gd name="connsiteY8346" fmla="*/ 4242081 h 4503132"/>
              <a:gd name="connsiteX8347" fmla="*/ 2531715 w 4493400"/>
              <a:gd name="connsiteY8347" fmla="*/ 4275332 h 4503132"/>
              <a:gd name="connsiteX8348" fmla="*/ 2504258 w 4493400"/>
              <a:gd name="connsiteY8348" fmla="*/ 4311759 h 4503132"/>
              <a:gd name="connsiteX8349" fmla="*/ 2478869 w 4493400"/>
              <a:gd name="connsiteY8349" fmla="*/ 4346983 h 4503132"/>
              <a:gd name="connsiteX8350" fmla="*/ 2451412 w 4493400"/>
              <a:gd name="connsiteY8350" fmla="*/ 4379512 h 4503132"/>
              <a:gd name="connsiteX8351" fmla="*/ 2427850 w 4493400"/>
              <a:gd name="connsiteY8351" fmla="*/ 4414207 h 4503132"/>
              <a:gd name="connsiteX8352" fmla="*/ 2422128 w 4493400"/>
              <a:gd name="connsiteY8352" fmla="*/ 4435332 h 4503132"/>
              <a:gd name="connsiteX8353" fmla="*/ 2426648 w 4493400"/>
              <a:gd name="connsiteY8353" fmla="*/ 4446880 h 4503132"/>
              <a:gd name="connsiteX8354" fmla="*/ 2436554 w 4493400"/>
              <a:gd name="connsiteY8354" fmla="*/ 4453088 h 4503132"/>
              <a:gd name="connsiteX8355" fmla="*/ 2446844 w 4493400"/>
              <a:gd name="connsiteY8355" fmla="*/ 4455205 h 4503132"/>
              <a:gd name="connsiteX8356" fmla="*/ 2456702 w 4493400"/>
              <a:gd name="connsiteY8356" fmla="*/ 4455879 h 4503132"/>
              <a:gd name="connsiteX8357" fmla="*/ 2475792 w 4493400"/>
              <a:gd name="connsiteY8357" fmla="*/ 4455590 h 4503132"/>
              <a:gd name="connsiteX8358" fmla="*/ 2512241 w 4493400"/>
              <a:gd name="connsiteY8358" fmla="*/ 4452895 h 4503132"/>
              <a:gd name="connsiteX8359" fmla="*/ 2734734 w 4493400"/>
              <a:gd name="connsiteY8359" fmla="*/ 4434514 h 4503132"/>
              <a:gd name="connsiteX8360" fmla="*/ 2763730 w 4493400"/>
              <a:gd name="connsiteY8360" fmla="*/ 4434658 h 4503132"/>
              <a:gd name="connsiteX8361" fmla="*/ 2750939 w 4493400"/>
              <a:gd name="connsiteY8361" fmla="*/ 4437593 h 4503132"/>
              <a:gd name="connsiteX8362" fmla="*/ 4414371 w 4493400"/>
              <a:gd name="connsiteY8362" fmla="*/ 2360487 h 4503132"/>
              <a:gd name="connsiteX8363" fmla="*/ 4413698 w 4493400"/>
              <a:gd name="connsiteY8363" fmla="*/ 2369966 h 4503132"/>
              <a:gd name="connsiteX8364" fmla="*/ 4410044 w 4493400"/>
              <a:gd name="connsiteY8364" fmla="*/ 2396480 h 4503132"/>
              <a:gd name="connsiteX8365" fmla="*/ 4404514 w 4493400"/>
              <a:gd name="connsiteY8365" fmla="*/ 2422369 h 4503132"/>
              <a:gd name="connsiteX8366" fmla="*/ 4400571 w 4493400"/>
              <a:gd name="connsiteY8366" fmla="*/ 2434832 h 4503132"/>
              <a:gd name="connsiteX8367" fmla="*/ 4398503 w 4493400"/>
              <a:gd name="connsiteY8367" fmla="*/ 2441040 h 4503132"/>
              <a:gd name="connsiteX8368" fmla="*/ 4397493 w 4493400"/>
              <a:gd name="connsiteY8368" fmla="*/ 2444119 h 4503132"/>
              <a:gd name="connsiteX8369" fmla="*/ 4396147 w 4493400"/>
              <a:gd name="connsiteY8369" fmla="*/ 2447055 h 4503132"/>
              <a:gd name="connsiteX8370" fmla="*/ 4390761 w 4493400"/>
              <a:gd name="connsiteY8370" fmla="*/ 2458796 h 4503132"/>
              <a:gd name="connsiteX8371" fmla="*/ 4384318 w 4493400"/>
              <a:gd name="connsiteY8371" fmla="*/ 2469912 h 4503132"/>
              <a:gd name="connsiteX8372" fmla="*/ 4351331 w 4493400"/>
              <a:gd name="connsiteY8372" fmla="*/ 2509226 h 4503132"/>
              <a:gd name="connsiteX8373" fmla="*/ 4317142 w 4493400"/>
              <a:gd name="connsiteY8373" fmla="*/ 2548973 h 4503132"/>
              <a:gd name="connsiteX8374" fmla="*/ 4310025 w 4493400"/>
              <a:gd name="connsiteY8374" fmla="*/ 2559993 h 4503132"/>
              <a:gd name="connsiteX8375" fmla="*/ 4303966 w 4493400"/>
              <a:gd name="connsiteY8375" fmla="*/ 2571542 h 4503132"/>
              <a:gd name="connsiteX8376" fmla="*/ 4293676 w 4493400"/>
              <a:gd name="connsiteY8376" fmla="*/ 2595217 h 4503132"/>
              <a:gd name="connsiteX8377" fmla="*/ 4285886 w 4493400"/>
              <a:gd name="connsiteY8377" fmla="*/ 2619469 h 4503132"/>
              <a:gd name="connsiteX8378" fmla="*/ 4279539 w 4493400"/>
              <a:gd name="connsiteY8378" fmla="*/ 2643722 h 4503132"/>
              <a:gd name="connsiteX8379" fmla="*/ 4247225 w 4493400"/>
              <a:gd name="connsiteY8379" fmla="*/ 2788275 h 4503132"/>
              <a:gd name="connsiteX8380" fmla="*/ 4259198 w 4493400"/>
              <a:gd name="connsiteY8380" fmla="*/ 2685538 h 4503132"/>
              <a:gd name="connsiteX8381" fmla="*/ 4266508 w 4493400"/>
              <a:gd name="connsiteY8381" fmla="*/ 2630778 h 4503132"/>
              <a:gd name="connsiteX8382" fmla="*/ 4277327 w 4493400"/>
              <a:gd name="connsiteY8382" fmla="*/ 2576546 h 4503132"/>
              <a:gd name="connsiteX8383" fmla="*/ 4281558 w 4493400"/>
              <a:gd name="connsiteY8383" fmla="*/ 2563650 h 4503132"/>
              <a:gd name="connsiteX8384" fmla="*/ 4284299 w 4493400"/>
              <a:gd name="connsiteY8384" fmla="*/ 2557490 h 4503132"/>
              <a:gd name="connsiteX8385" fmla="*/ 4287329 w 4493400"/>
              <a:gd name="connsiteY8385" fmla="*/ 2551523 h 4503132"/>
              <a:gd name="connsiteX8386" fmla="*/ 4303486 w 4493400"/>
              <a:gd name="connsiteY8386" fmla="*/ 2530254 h 4503132"/>
              <a:gd name="connsiteX8387" fmla="*/ 4325124 w 4493400"/>
              <a:gd name="connsiteY8387" fmla="*/ 2513557 h 4503132"/>
              <a:gd name="connsiteX8388" fmla="*/ 4349503 w 4493400"/>
              <a:gd name="connsiteY8388" fmla="*/ 2498351 h 4503132"/>
              <a:gd name="connsiteX8389" fmla="*/ 4355562 w 4493400"/>
              <a:gd name="connsiteY8389" fmla="*/ 2493972 h 4503132"/>
              <a:gd name="connsiteX8390" fmla="*/ 4361429 w 4493400"/>
              <a:gd name="connsiteY8390" fmla="*/ 2489160 h 4503132"/>
              <a:gd name="connsiteX8391" fmla="*/ 4366910 w 4493400"/>
              <a:gd name="connsiteY8391" fmla="*/ 2483722 h 4503132"/>
              <a:gd name="connsiteX8392" fmla="*/ 4371767 w 4493400"/>
              <a:gd name="connsiteY8392" fmla="*/ 2477996 h 4503132"/>
              <a:gd name="connsiteX8393" fmla="*/ 4388116 w 4493400"/>
              <a:gd name="connsiteY8393" fmla="*/ 2453118 h 4503132"/>
              <a:gd name="connsiteX8394" fmla="*/ 4408216 w 4493400"/>
              <a:gd name="connsiteY8394" fmla="*/ 2397347 h 4503132"/>
              <a:gd name="connsiteX8395" fmla="*/ 4414371 w 4493400"/>
              <a:gd name="connsiteY8395" fmla="*/ 2360487 h 4503132"/>
              <a:gd name="connsiteX8396" fmla="*/ 4236646 w 4493400"/>
              <a:gd name="connsiteY8396" fmla="*/ 2792654 h 4503132"/>
              <a:gd name="connsiteX8397" fmla="*/ 4219480 w 4493400"/>
              <a:gd name="connsiteY8397" fmla="*/ 2897315 h 4503132"/>
              <a:gd name="connsiteX8398" fmla="*/ 4188849 w 4493400"/>
              <a:gd name="connsiteY8398" fmla="*/ 3006307 h 4503132"/>
              <a:gd name="connsiteX8399" fmla="*/ 4190484 w 4493400"/>
              <a:gd name="connsiteY8399" fmla="*/ 3000918 h 4503132"/>
              <a:gd name="connsiteX8400" fmla="*/ 4220489 w 4493400"/>
              <a:gd name="connsiteY8400" fmla="*/ 2881002 h 4503132"/>
              <a:gd name="connsiteX8401" fmla="*/ 4237368 w 4493400"/>
              <a:gd name="connsiteY8401" fmla="*/ 2786109 h 4503132"/>
              <a:gd name="connsiteX8402" fmla="*/ 4236598 w 4493400"/>
              <a:gd name="connsiteY8402" fmla="*/ 2792654 h 4503132"/>
              <a:gd name="connsiteX8403" fmla="*/ 4202169 w 4493400"/>
              <a:gd name="connsiteY8403" fmla="*/ 3003949 h 4503132"/>
              <a:gd name="connsiteX8404" fmla="*/ 4245830 w 4493400"/>
              <a:gd name="connsiteY8404" fmla="*/ 2832545 h 4503132"/>
              <a:gd name="connsiteX8405" fmla="*/ 4288146 w 4493400"/>
              <a:gd name="connsiteY8405" fmla="*/ 2645839 h 4503132"/>
              <a:gd name="connsiteX8406" fmla="*/ 4294445 w 4493400"/>
              <a:gd name="connsiteY8406" fmla="*/ 2621923 h 4503132"/>
              <a:gd name="connsiteX8407" fmla="*/ 4302091 w 4493400"/>
              <a:gd name="connsiteY8407" fmla="*/ 2598392 h 4503132"/>
              <a:gd name="connsiteX8408" fmla="*/ 4312045 w 4493400"/>
              <a:gd name="connsiteY8408" fmla="*/ 2575632 h 4503132"/>
              <a:gd name="connsiteX8409" fmla="*/ 4317863 w 4493400"/>
              <a:gd name="connsiteY8409" fmla="*/ 2564612 h 4503132"/>
              <a:gd name="connsiteX8410" fmla="*/ 4324691 w 4493400"/>
              <a:gd name="connsiteY8410" fmla="*/ 2554170 h 4503132"/>
              <a:gd name="connsiteX8411" fmla="*/ 4357918 w 4493400"/>
              <a:gd name="connsiteY8411" fmla="*/ 2515818 h 4503132"/>
              <a:gd name="connsiteX8412" fmla="*/ 4392252 w 4493400"/>
              <a:gd name="connsiteY8412" fmla="*/ 2474964 h 4503132"/>
              <a:gd name="connsiteX8413" fmla="*/ 4399128 w 4493400"/>
              <a:gd name="connsiteY8413" fmla="*/ 2463175 h 4503132"/>
              <a:gd name="connsiteX8414" fmla="*/ 4404850 w 4493400"/>
              <a:gd name="connsiteY8414" fmla="*/ 2450760 h 4503132"/>
              <a:gd name="connsiteX8415" fmla="*/ 4405860 w 4493400"/>
              <a:gd name="connsiteY8415" fmla="*/ 2448595 h 4503132"/>
              <a:gd name="connsiteX8416" fmla="*/ 4386770 w 4493400"/>
              <a:gd name="connsiteY8416" fmla="*/ 2488197 h 4503132"/>
              <a:gd name="connsiteX8417" fmla="*/ 4353447 w 4493400"/>
              <a:gd name="connsiteY8417" fmla="*/ 2535644 h 4503132"/>
              <a:gd name="connsiteX8418" fmla="*/ 4320075 w 4493400"/>
              <a:gd name="connsiteY8418" fmla="*/ 2583620 h 4503132"/>
              <a:gd name="connsiteX8419" fmla="*/ 4295888 w 4493400"/>
              <a:gd name="connsiteY8419" fmla="*/ 2636793 h 4503132"/>
              <a:gd name="connsiteX8420" fmla="*/ 4281029 w 4493400"/>
              <a:gd name="connsiteY8420" fmla="*/ 2692708 h 4503132"/>
              <a:gd name="connsiteX8421" fmla="*/ 4268671 w 4493400"/>
              <a:gd name="connsiteY8421" fmla="*/ 2748768 h 4503132"/>
              <a:gd name="connsiteX8422" fmla="*/ 4244099 w 4493400"/>
              <a:gd name="connsiteY8422" fmla="*/ 2859974 h 4503132"/>
              <a:gd name="connsiteX8423" fmla="*/ 4214431 w 4493400"/>
              <a:gd name="connsiteY8423" fmla="*/ 2968725 h 4503132"/>
              <a:gd name="connsiteX8424" fmla="*/ 4189906 w 4493400"/>
              <a:gd name="connsiteY8424" fmla="*/ 3044418 h 4503132"/>
              <a:gd name="connsiteX8425" fmla="*/ 4202313 w 4493400"/>
              <a:gd name="connsiteY8425" fmla="*/ 3003997 h 4503132"/>
              <a:gd name="connsiteX8426" fmla="*/ 4407351 w 4493400"/>
              <a:gd name="connsiteY8426" fmla="*/ 2444360 h 4503132"/>
              <a:gd name="connsiteX8427" fmla="*/ 4409515 w 4493400"/>
              <a:gd name="connsiteY8427" fmla="*/ 2437864 h 4503132"/>
              <a:gd name="connsiteX8428" fmla="*/ 4413121 w 4493400"/>
              <a:gd name="connsiteY8428" fmla="*/ 2426652 h 4503132"/>
              <a:gd name="connsiteX8429" fmla="*/ 4410621 w 4493400"/>
              <a:gd name="connsiteY8429" fmla="*/ 2435458 h 4503132"/>
              <a:gd name="connsiteX8430" fmla="*/ 4407255 w 4493400"/>
              <a:gd name="connsiteY8430" fmla="*/ 2444649 h 4503132"/>
              <a:gd name="connsiteX8431" fmla="*/ 4407351 w 4493400"/>
              <a:gd name="connsiteY8431" fmla="*/ 2444312 h 4503132"/>
              <a:gd name="connsiteX8432" fmla="*/ 3767376 w 4493400"/>
              <a:gd name="connsiteY8432" fmla="*/ 3841529 h 4503132"/>
              <a:gd name="connsiteX8433" fmla="*/ 3758481 w 4493400"/>
              <a:gd name="connsiteY8433" fmla="*/ 3830942 h 4503132"/>
              <a:gd name="connsiteX8434" fmla="*/ 3747228 w 4493400"/>
              <a:gd name="connsiteY8434" fmla="*/ 3826708 h 4503132"/>
              <a:gd name="connsiteX8435" fmla="*/ 3725301 w 4493400"/>
              <a:gd name="connsiteY8435" fmla="*/ 3825457 h 4503132"/>
              <a:gd name="connsiteX8436" fmla="*/ 3704336 w 4493400"/>
              <a:gd name="connsiteY8436" fmla="*/ 3828536 h 4503132"/>
              <a:gd name="connsiteX8437" fmla="*/ 3630332 w 4493400"/>
              <a:gd name="connsiteY8437" fmla="*/ 3862990 h 4503132"/>
              <a:gd name="connsiteX8438" fmla="*/ 3572533 w 4493400"/>
              <a:gd name="connsiteY8438" fmla="*/ 3915634 h 4503132"/>
              <a:gd name="connsiteX8439" fmla="*/ 3523870 w 4493400"/>
              <a:gd name="connsiteY8439" fmla="*/ 3971790 h 4503132"/>
              <a:gd name="connsiteX8440" fmla="*/ 3486027 w 4493400"/>
              <a:gd name="connsiteY8440" fmla="*/ 4013510 h 4503132"/>
              <a:gd name="connsiteX8441" fmla="*/ 3539017 w 4493400"/>
              <a:gd name="connsiteY8441" fmla="*/ 3945228 h 4503132"/>
              <a:gd name="connsiteX8442" fmla="*/ 3588065 w 4493400"/>
              <a:gd name="connsiteY8442" fmla="*/ 3876801 h 4503132"/>
              <a:gd name="connsiteX8443" fmla="*/ 3645142 w 4493400"/>
              <a:gd name="connsiteY8443" fmla="*/ 3822858 h 4503132"/>
              <a:gd name="connsiteX8444" fmla="*/ 3676398 w 4493400"/>
              <a:gd name="connsiteY8444" fmla="*/ 3802022 h 4503132"/>
              <a:gd name="connsiteX8445" fmla="*/ 3692074 w 4493400"/>
              <a:gd name="connsiteY8445" fmla="*/ 3792975 h 4503132"/>
              <a:gd name="connsiteX8446" fmla="*/ 3708231 w 4493400"/>
              <a:gd name="connsiteY8446" fmla="*/ 3786383 h 4503132"/>
              <a:gd name="connsiteX8447" fmla="*/ 3772522 w 4493400"/>
              <a:gd name="connsiteY8447" fmla="*/ 3788548 h 4503132"/>
              <a:gd name="connsiteX8448" fmla="*/ 3793583 w 4493400"/>
              <a:gd name="connsiteY8448" fmla="*/ 3807989 h 4503132"/>
              <a:gd name="connsiteX8449" fmla="*/ 3794208 w 4493400"/>
              <a:gd name="connsiteY8449" fmla="*/ 3820741 h 4503132"/>
              <a:gd name="connsiteX8450" fmla="*/ 3791372 w 4493400"/>
              <a:gd name="connsiteY8450" fmla="*/ 3827093 h 4503132"/>
              <a:gd name="connsiteX8451" fmla="*/ 3787909 w 4493400"/>
              <a:gd name="connsiteY8451" fmla="*/ 3833445 h 4503132"/>
              <a:gd name="connsiteX8452" fmla="*/ 3755980 w 4493400"/>
              <a:gd name="connsiteY8452" fmla="*/ 3878533 h 4503132"/>
              <a:gd name="connsiteX8453" fmla="*/ 3736602 w 4493400"/>
              <a:gd name="connsiteY8453" fmla="*/ 3901968 h 4503132"/>
              <a:gd name="connsiteX8454" fmla="*/ 3738044 w 4493400"/>
              <a:gd name="connsiteY8454" fmla="*/ 3900187 h 4503132"/>
              <a:gd name="connsiteX8455" fmla="*/ 3762087 w 4493400"/>
              <a:gd name="connsiteY8455" fmla="*/ 3865348 h 4503132"/>
              <a:gd name="connsiteX8456" fmla="*/ 3764684 w 4493400"/>
              <a:gd name="connsiteY8456" fmla="*/ 3860488 h 4503132"/>
              <a:gd name="connsiteX8457" fmla="*/ 3766896 w 4493400"/>
              <a:gd name="connsiteY8457" fmla="*/ 3855051 h 4503132"/>
              <a:gd name="connsiteX8458" fmla="*/ 3767425 w 4493400"/>
              <a:gd name="connsiteY8458" fmla="*/ 3841481 h 4503132"/>
              <a:gd name="connsiteX8459" fmla="*/ 3090232 w 4493400"/>
              <a:gd name="connsiteY8459" fmla="*/ 4296986 h 4503132"/>
              <a:gd name="connsiteX8460" fmla="*/ 3100234 w 4493400"/>
              <a:gd name="connsiteY8460" fmla="*/ 4303434 h 4503132"/>
              <a:gd name="connsiteX8461" fmla="*/ 3109466 w 4493400"/>
              <a:gd name="connsiteY8461" fmla="*/ 4306033 h 4503132"/>
              <a:gd name="connsiteX8462" fmla="*/ 3113650 w 4493400"/>
              <a:gd name="connsiteY8462" fmla="*/ 4307140 h 4503132"/>
              <a:gd name="connsiteX8463" fmla="*/ 3115477 w 4493400"/>
              <a:gd name="connsiteY8463" fmla="*/ 4307717 h 4503132"/>
              <a:gd name="connsiteX8464" fmla="*/ 3116198 w 4493400"/>
              <a:gd name="connsiteY8464" fmla="*/ 4307958 h 4503132"/>
              <a:gd name="connsiteX8465" fmla="*/ 3116198 w 4493400"/>
              <a:gd name="connsiteY8465" fmla="*/ 4308150 h 4503132"/>
              <a:gd name="connsiteX8466" fmla="*/ 3110957 w 4493400"/>
              <a:gd name="connsiteY8466" fmla="*/ 4312818 h 4503132"/>
              <a:gd name="connsiteX8467" fmla="*/ 3096627 w 4493400"/>
              <a:gd name="connsiteY8467" fmla="*/ 4322201 h 4503132"/>
              <a:gd name="connsiteX8468" fmla="*/ 3096339 w 4493400"/>
              <a:gd name="connsiteY8468" fmla="*/ 4322345 h 4503132"/>
              <a:gd name="connsiteX8469" fmla="*/ 3096964 w 4493400"/>
              <a:gd name="connsiteY8469" fmla="*/ 4321383 h 4503132"/>
              <a:gd name="connsiteX8470" fmla="*/ 3098311 w 4493400"/>
              <a:gd name="connsiteY8470" fmla="*/ 4316523 h 4503132"/>
              <a:gd name="connsiteX8471" fmla="*/ 3097012 w 4493400"/>
              <a:gd name="connsiteY8471" fmla="*/ 4311422 h 4503132"/>
              <a:gd name="connsiteX8472" fmla="*/ 3095377 w 4493400"/>
              <a:gd name="connsiteY8472" fmla="*/ 4309353 h 4503132"/>
              <a:gd name="connsiteX8473" fmla="*/ 3093646 w 4493400"/>
              <a:gd name="connsiteY8473" fmla="*/ 4307813 h 4503132"/>
              <a:gd name="connsiteX8474" fmla="*/ 3090569 w 4493400"/>
              <a:gd name="connsiteY8474" fmla="*/ 4305937 h 4503132"/>
              <a:gd name="connsiteX8475" fmla="*/ 3079990 w 4493400"/>
              <a:gd name="connsiteY8475" fmla="*/ 4301461 h 4503132"/>
              <a:gd name="connsiteX8476" fmla="*/ 3073258 w 4493400"/>
              <a:gd name="connsiteY8476" fmla="*/ 4296890 h 4503132"/>
              <a:gd name="connsiteX8477" fmla="*/ 3072729 w 4493400"/>
              <a:gd name="connsiteY8477" fmla="*/ 4294532 h 4503132"/>
              <a:gd name="connsiteX8478" fmla="*/ 3073017 w 4493400"/>
              <a:gd name="connsiteY8478" fmla="*/ 4292896 h 4503132"/>
              <a:gd name="connsiteX8479" fmla="*/ 3073787 w 4493400"/>
              <a:gd name="connsiteY8479" fmla="*/ 4290971 h 4503132"/>
              <a:gd name="connsiteX8480" fmla="*/ 3087107 w 4493400"/>
              <a:gd name="connsiteY8480" fmla="*/ 4275284 h 4503132"/>
              <a:gd name="connsiteX8481" fmla="*/ 3095185 w 4493400"/>
              <a:gd name="connsiteY8481" fmla="*/ 4267922 h 4503132"/>
              <a:gd name="connsiteX8482" fmla="*/ 3104033 w 4493400"/>
              <a:gd name="connsiteY8482" fmla="*/ 4261185 h 4503132"/>
              <a:gd name="connsiteX8483" fmla="*/ 3112977 w 4493400"/>
              <a:gd name="connsiteY8483" fmla="*/ 4254544 h 4503132"/>
              <a:gd name="connsiteX8484" fmla="*/ 3114708 w 4493400"/>
              <a:gd name="connsiteY8484" fmla="*/ 4253389 h 4503132"/>
              <a:gd name="connsiteX8485" fmla="*/ 3114275 w 4493400"/>
              <a:gd name="connsiteY8485" fmla="*/ 4253726 h 4503132"/>
              <a:gd name="connsiteX8486" fmla="*/ 3100234 w 4493400"/>
              <a:gd name="connsiteY8486" fmla="*/ 4266670 h 4503132"/>
              <a:gd name="connsiteX8487" fmla="*/ 3088549 w 4493400"/>
              <a:gd name="connsiteY8487" fmla="*/ 4283464 h 4503132"/>
              <a:gd name="connsiteX8488" fmla="*/ 3087732 w 4493400"/>
              <a:gd name="connsiteY8488" fmla="*/ 4286496 h 4503132"/>
              <a:gd name="connsiteX8489" fmla="*/ 3087539 w 4493400"/>
              <a:gd name="connsiteY8489" fmla="*/ 4290009 h 4503132"/>
              <a:gd name="connsiteX8490" fmla="*/ 3090280 w 4493400"/>
              <a:gd name="connsiteY8490" fmla="*/ 4297034 h 4503132"/>
              <a:gd name="connsiteX8491" fmla="*/ 2905390 w 4493400"/>
              <a:gd name="connsiteY8491" fmla="*/ 4332740 h 4503132"/>
              <a:gd name="connsiteX8492" fmla="*/ 2910487 w 4493400"/>
              <a:gd name="connsiteY8492" fmla="*/ 4341064 h 4503132"/>
              <a:gd name="connsiteX8493" fmla="*/ 2917748 w 4493400"/>
              <a:gd name="connsiteY8493" fmla="*/ 4345924 h 4503132"/>
              <a:gd name="connsiteX8494" fmla="*/ 2932703 w 4493400"/>
              <a:gd name="connsiteY8494" fmla="*/ 4351362 h 4503132"/>
              <a:gd name="connsiteX8495" fmla="*/ 2960833 w 4493400"/>
              <a:gd name="connsiteY8495" fmla="*/ 4358436 h 4503132"/>
              <a:gd name="connsiteX8496" fmla="*/ 2966315 w 4493400"/>
              <a:gd name="connsiteY8496" fmla="*/ 4363488 h 4503132"/>
              <a:gd name="connsiteX8497" fmla="*/ 2964776 w 4493400"/>
              <a:gd name="connsiteY8497" fmla="*/ 4365173 h 4503132"/>
              <a:gd name="connsiteX8498" fmla="*/ 2962420 w 4493400"/>
              <a:gd name="connsiteY8498" fmla="*/ 4367097 h 4503132"/>
              <a:gd name="connsiteX8499" fmla="*/ 2957083 w 4493400"/>
              <a:gd name="connsiteY8499" fmla="*/ 4370417 h 4503132"/>
              <a:gd name="connsiteX8500" fmla="*/ 2939675 w 4493400"/>
              <a:gd name="connsiteY8500" fmla="*/ 4379079 h 4503132"/>
              <a:gd name="connsiteX8501" fmla="*/ 2940877 w 4493400"/>
              <a:gd name="connsiteY8501" fmla="*/ 4377924 h 4503132"/>
              <a:gd name="connsiteX8502" fmla="*/ 2943667 w 4493400"/>
              <a:gd name="connsiteY8502" fmla="*/ 4372054 h 4503132"/>
              <a:gd name="connsiteX8503" fmla="*/ 2934386 w 4493400"/>
              <a:gd name="connsiteY8503" fmla="*/ 4364066 h 4503132"/>
              <a:gd name="connsiteX8504" fmla="*/ 2929626 w 4493400"/>
              <a:gd name="connsiteY8504" fmla="*/ 4363344 h 4503132"/>
              <a:gd name="connsiteX8505" fmla="*/ 2925298 w 4493400"/>
              <a:gd name="connsiteY8505" fmla="*/ 4363007 h 4503132"/>
              <a:gd name="connsiteX8506" fmla="*/ 2916883 w 4493400"/>
              <a:gd name="connsiteY8506" fmla="*/ 4362670 h 4503132"/>
              <a:gd name="connsiteX8507" fmla="*/ 2900582 w 4493400"/>
              <a:gd name="connsiteY8507" fmla="*/ 4362478 h 4503132"/>
              <a:gd name="connsiteX8508" fmla="*/ 2870192 w 4493400"/>
              <a:gd name="connsiteY8508" fmla="*/ 4360361 h 4503132"/>
              <a:gd name="connsiteX8509" fmla="*/ 2865142 w 4493400"/>
              <a:gd name="connsiteY8509" fmla="*/ 4358243 h 4503132"/>
              <a:gd name="connsiteX8510" fmla="*/ 2864806 w 4493400"/>
              <a:gd name="connsiteY8510" fmla="*/ 4357666 h 4503132"/>
              <a:gd name="connsiteX8511" fmla="*/ 2864325 w 4493400"/>
              <a:gd name="connsiteY8511" fmla="*/ 4356318 h 4503132"/>
              <a:gd name="connsiteX8512" fmla="*/ 2863700 w 4493400"/>
              <a:gd name="connsiteY8512" fmla="*/ 4353431 h 4503132"/>
              <a:gd name="connsiteX8513" fmla="*/ 2866633 w 4493400"/>
              <a:gd name="connsiteY8513" fmla="*/ 4341257 h 4503132"/>
              <a:gd name="connsiteX8514" fmla="*/ 2883800 w 4493400"/>
              <a:gd name="connsiteY8514" fmla="*/ 4320276 h 4503132"/>
              <a:gd name="connsiteX8515" fmla="*/ 2924625 w 4493400"/>
              <a:gd name="connsiteY8515" fmla="*/ 4288902 h 4503132"/>
              <a:gd name="connsiteX8516" fmla="*/ 2995888 w 4493400"/>
              <a:gd name="connsiteY8516" fmla="*/ 4245979 h 4503132"/>
              <a:gd name="connsiteX8517" fmla="*/ 3041954 w 4493400"/>
              <a:gd name="connsiteY8517" fmla="*/ 4220427 h 4503132"/>
              <a:gd name="connsiteX8518" fmla="*/ 3057774 w 4493400"/>
              <a:gd name="connsiteY8518" fmla="*/ 4211044 h 4503132"/>
              <a:gd name="connsiteX8519" fmla="*/ 3053350 w 4493400"/>
              <a:gd name="connsiteY8519" fmla="*/ 4212680 h 4503132"/>
              <a:gd name="connsiteX8520" fmla="*/ 3040944 w 4493400"/>
              <a:gd name="connsiteY8520" fmla="*/ 4218502 h 4503132"/>
              <a:gd name="connsiteX8521" fmla="*/ 2993868 w 4493400"/>
              <a:gd name="connsiteY8521" fmla="*/ 4242322 h 4503132"/>
              <a:gd name="connsiteX8522" fmla="*/ 2921307 w 4493400"/>
              <a:gd name="connsiteY8522" fmla="*/ 4283898 h 4503132"/>
              <a:gd name="connsiteX8523" fmla="*/ 2879135 w 4493400"/>
              <a:gd name="connsiteY8523" fmla="*/ 4315272 h 4503132"/>
              <a:gd name="connsiteX8524" fmla="*/ 2860238 w 4493400"/>
              <a:gd name="connsiteY8524" fmla="*/ 4337936 h 4503132"/>
              <a:gd name="connsiteX8525" fmla="*/ 2856343 w 4493400"/>
              <a:gd name="connsiteY8525" fmla="*/ 4354105 h 4503132"/>
              <a:gd name="connsiteX8526" fmla="*/ 2857208 w 4493400"/>
              <a:gd name="connsiteY8526" fmla="*/ 4358532 h 4503132"/>
              <a:gd name="connsiteX8527" fmla="*/ 2857978 w 4493400"/>
              <a:gd name="connsiteY8527" fmla="*/ 4360745 h 4503132"/>
              <a:gd name="connsiteX8528" fmla="*/ 2859661 w 4493400"/>
              <a:gd name="connsiteY8528" fmla="*/ 4363344 h 4503132"/>
              <a:gd name="connsiteX8529" fmla="*/ 2868268 w 4493400"/>
              <a:gd name="connsiteY8529" fmla="*/ 4367675 h 4503132"/>
              <a:gd name="connsiteX8530" fmla="*/ 2900389 w 4493400"/>
              <a:gd name="connsiteY8530" fmla="*/ 4370369 h 4503132"/>
              <a:gd name="connsiteX8531" fmla="*/ 2916594 w 4493400"/>
              <a:gd name="connsiteY8531" fmla="*/ 4370706 h 4503132"/>
              <a:gd name="connsiteX8532" fmla="*/ 2924673 w 4493400"/>
              <a:gd name="connsiteY8532" fmla="*/ 4371091 h 4503132"/>
              <a:gd name="connsiteX8533" fmla="*/ 2928616 w 4493400"/>
              <a:gd name="connsiteY8533" fmla="*/ 4371476 h 4503132"/>
              <a:gd name="connsiteX8534" fmla="*/ 2932078 w 4493400"/>
              <a:gd name="connsiteY8534" fmla="*/ 4372006 h 4503132"/>
              <a:gd name="connsiteX8535" fmla="*/ 2933520 w 4493400"/>
              <a:gd name="connsiteY8535" fmla="*/ 4373016 h 4503132"/>
              <a:gd name="connsiteX8536" fmla="*/ 2932992 w 4493400"/>
              <a:gd name="connsiteY8536" fmla="*/ 4373738 h 4503132"/>
              <a:gd name="connsiteX8537" fmla="*/ 2932655 w 4493400"/>
              <a:gd name="connsiteY8537" fmla="*/ 4374026 h 4503132"/>
              <a:gd name="connsiteX8538" fmla="*/ 2931260 w 4493400"/>
              <a:gd name="connsiteY8538" fmla="*/ 4375037 h 4503132"/>
              <a:gd name="connsiteX8539" fmla="*/ 2916835 w 4493400"/>
              <a:gd name="connsiteY8539" fmla="*/ 4382977 h 4503132"/>
              <a:gd name="connsiteX8540" fmla="*/ 2884136 w 4493400"/>
              <a:gd name="connsiteY8540" fmla="*/ 4395536 h 4503132"/>
              <a:gd name="connsiteX8541" fmla="*/ 2812969 w 4493400"/>
              <a:gd name="connsiteY8541" fmla="*/ 4414784 h 4503132"/>
              <a:gd name="connsiteX8542" fmla="*/ 2794889 w 4493400"/>
              <a:gd name="connsiteY8542" fmla="*/ 4416036 h 4503132"/>
              <a:gd name="connsiteX8543" fmla="*/ 2787147 w 4493400"/>
              <a:gd name="connsiteY8543" fmla="*/ 4413918 h 4503132"/>
              <a:gd name="connsiteX8544" fmla="*/ 2778492 w 4493400"/>
              <a:gd name="connsiteY8544" fmla="*/ 4409154 h 4503132"/>
              <a:gd name="connsiteX8545" fmla="*/ 2757382 w 4493400"/>
              <a:gd name="connsiteY8545" fmla="*/ 4404487 h 4503132"/>
              <a:gd name="connsiteX8546" fmla="*/ 2746948 w 4493400"/>
              <a:gd name="connsiteY8546" fmla="*/ 4404294 h 4503132"/>
              <a:gd name="connsiteX8547" fmla="*/ 2736705 w 4493400"/>
              <a:gd name="connsiteY8547" fmla="*/ 4404679 h 4503132"/>
              <a:gd name="connsiteX8548" fmla="*/ 2653709 w 4493400"/>
              <a:gd name="connsiteY8548" fmla="*/ 4413100 h 4503132"/>
              <a:gd name="connsiteX8549" fmla="*/ 2567924 w 4493400"/>
              <a:gd name="connsiteY8549" fmla="*/ 4420848 h 4503132"/>
              <a:gd name="connsiteX8550" fmla="*/ 2525705 w 4493400"/>
              <a:gd name="connsiteY8550" fmla="*/ 4415795 h 4503132"/>
              <a:gd name="connsiteX8551" fmla="*/ 2508778 w 4493400"/>
              <a:gd name="connsiteY8551" fmla="*/ 4405641 h 4503132"/>
              <a:gd name="connsiteX8552" fmla="*/ 2502047 w 4493400"/>
              <a:gd name="connsiteY8552" fmla="*/ 4388414 h 4503132"/>
              <a:gd name="connsiteX8553" fmla="*/ 2506182 w 4493400"/>
              <a:gd name="connsiteY8553" fmla="*/ 4368204 h 4503132"/>
              <a:gd name="connsiteX8554" fmla="*/ 2516280 w 4493400"/>
              <a:gd name="connsiteY8554" fmla="*/ 4348715 h 4503132"/>
              <a:gd name="connsiteX8555" fmla="*/ 2544843 w 4493400"/>
              <a:gd name="connsiteY8555" fmla="*/ 4313443 h 4503132"/>
              <a:gd name="connsiteX8556" fmla="*/ 2616010 w 4493400"/>
              <a:gd name="connsiteY8556" fmla="*/ 4256613 h 4503132"/>
              <a:gd name="connsiteX8557" fmla="*/ 2695592 w 4493400"/>
              <a:gd name="connsiteY8557" fmla="*/ 4218262 h 4503132"/>
              <a:gd name="connsiteX8558" fmla="*/ 2779454 w 4493400"/>
              <a:gd name="connsiteY8558" fmla="*/ 4200265 h 4503132"/>
              <a:gd name="connsiteX8559" fmla="*/ 2861584 w 4493400"/>
              <a:gd name="connsiteY8559" fmla="*/ 4187465 h 4503132"/>
              <a:gd name="connsiteX8560" fmla="*/ 3012477 w 4493400"/>
              <a:gd name="connsiteY8560" fmla="*/ 4156427 h 4503132"/>
              <a:gd name="connsiteX8561" fmla="*/ 3141203 w 4493400"/>
              <a:gd name="connsiteY8561" fmla="*/ 4119375 h 4503132"/>
              <a:gd name="connsiteX8562" fmla="*/ 3170055 w 4493400"/>
              <a:gd name="connsiteY8562" fmla="*/ 4112012 h 4503132"/>
              <a:gd name="connsiteX8563" fmla="*/ 3197464 w 4493400"/>
              <a:gd name="connsiteY8563" fmla="*/ 4107633 h 4503132"/>
              <a:gd name="connsiteX8564" fmla="*/ 3208620 w 4493400"/>
              <a:gd name="connsiteY8564" fmla="*/ 4109221 h 4503132"/>
              <a:gd name="connsiteX8565" fmla="*/ 3209581 w 4493400"/>
              <a:gd name="connsiteY8565" fmla="*/ 4112012 h 4503132"/>
              <a:gd name="connsiteX8566" fmla="*/ 3207754 w 4493400"/>
              <a:gd name="connsiteY8566" fmla="*/ 4116920 h 4503132"/>
              <a:gd name="connsiteX8567" fmla="*/ 3200252 w 4493400"/>
              <a:gd name="connsiteY8567" fmla="*/ 4126159 h 4503132"/>
              <a:gd name="connsiteX8568" fmla="*/ 3191164 w 4493400"/>
              <a:gd name="connsiteY8568" fmla="*/ 4134099 h 4503132"/>
              <a:gd name="connsiteX8569" fmla="*/ 3153753 w 4493400"/>
              <a:gd name="connsiteY8569" fmla="*/ 4158881 h 4503132"/>
              <a:gd name="connsiteX8570" fmla="*/ 3120574 w 4493400"/>
              <a:gd name="connsiteY8570" fmla="*/ 4177359 h 4503132"/>
              <a:gd name="connsiteX8571" fmla="*/ 3073883 w 4493400"/>
              <a:gd name="connsiteY8571" fmla="*/ 4201756 h 4503132"/>
              <a:gd name="connsiteX8572" fmla="*/ 3061813 w 4493400"/>
              <a:gd name="connsiteY8572" fmla="*/ 4208301 h 4503132"/>
              <a:gd name="connsiteX8573" fmla="*/ 3057918 w 4493400"/>
              <a:gd name="connsiteY8573" fmla="*/ 4210899 h 4503132"/>
              <a:gd name="connsiteX8574" fmla="*/ 3074845 w 4493400"/>
              <a:gd name="connsiteY8574" fmla="*/ 4203681 h 4503132"/>
              <a:gd name="connsiteX8575" fmla="*/ 3122498 w 4493400"/>
              <a:gd name="connsiteY8575" fmla="*/ 4181065 h 4503132"/>
              <a:gd name="connsiteX8576" fmla="*/ 3156302 w 4493400"/>
              <a:gd name="connsiteY8576" fmla="*/ 4163308 h 4503132"/>
              <a:gd name="connsiteX8577" fmla="*/ 3194867 w 4493400"/>
              <a:gd name="connsiteY8577" fmla="*/ 4138815 h 4503132"/>
              <a:gd name="connsiteX8578" fmla="*/ 3204580 w 4493400"/>
              <a:gd name="connsiteY8578" fmla="*/ 4130587 h 4503132"/>
              <a:gd name="connsiteX8579" fmla="*/ 3213332 w 4493400"/>
              <a:gd name="connsiteY8579" fmla="*/ 4120096 h 4503132"/>
              <a:gd name="connsiteX8580" fmla="*/ 3216073 w 4493400"/>
              <a:gd name="connsiteY8580" fmla="*/ 4112830 h 4503132"/>
              <a:gd name="connsiteX8581" fmla="*/ 3212562 w 4493400"/>
              <a:gd name="connsiteY8581" fmla="*/ 4103880 h 4503132"/>
              <a:gd name="connsiteX8582" fmla="*/ 3204676 w 4493400"/>
              <a:gd name="connsiteY8582" fmla="*/ 4101137 h 4503132"/>
              <a:gd name="connsiteX8583" fmla="*/ 3197271 w 4493400"/>
              <a:gd name="connsiteY8583" fmla="*/ 4100848 h 4503132"/>
              <a:gd name="connsiteX8584" fmla="*/ 3168564 w 4493400"/>
              <a:gd name="connsiteY8584" fmla="*/ 4104987 h 4503132"/>
              <a:gd name="connsiteX8585" fmla="*/ 3139280 w 4493400"/>
              <a:gd name="connsiteY8585" fmla="*/ 4112060 h 4503132"/>
              <a:gd name="connsiteX8586" fmla="*/ 3010313 w 4493400"/>
              <a:gd name="connsiteY8586" fmla="*/ 4147813 h 4503132"/>
              <a:gd name="connsiteX8587" fmla="*/ 2860093 w 4493400"/>
              <a:gd name="connsiteY8587" fmla="*/ 4177744 h 4503132"/>
              <a:gd name="connsiteX8588" fmla="*/ 2777915 w 4493400"/>
              <a:gd name="connsiteY8588" fmla="*/ 4190159 h 4503132"/>
              <a:gd name="connsiteX8589" fmla="*/ 2692370 w 4493400"/>
              <a:gd name="connsiteY8589" fmla="*/ 4208301 h 4503132"/>
              <a:gd name="connsiteX8590" fmla="*/ 2610432 w 4493400"/>
              <a:gd name="connsiteY8590" fmla="*/ 4247567 h 4503132"/>
              <a:gd name="connsiteX8591" fmla="*/ 2537293 w 4493400"/>
              <a:gd name="connsiteY8591" fmla="*/ 4305937 h 4503132"/>
              <a:gd name="connsiteX8592" fmla="*/ 2507336 w 4493400"/>
              <a:gd name="connsiteY8592" fmla="*/ 4342941 h 4503132"/>
              <a:gd name="connsiteX8593" fmla="*/ 2496276 w 4493400"/>
              <a:gd name="connsiteY8593" fmla="*/ 4364306 h 4503132"/>
              <a:gd name="connsiteX8594" fmla="*/ 2491468 w 4493400"/>
              <a:gd name="connsiteY8594" fmla="*/ 4388703 h 4503132"/>
              <a:gd name="connsiteX8595" fmla="*/ 2501085 w 4493400"/>
              <a:gd name="connsiteY8595" fmla="*/ 4412811 h 4503132"/>
              <a:gd name="connsiteX8596" fmla="*/ 2522387 w 4493400"/>
              <a:gd name="connsiteY8596" fmla="*/ 4425756 h 4503132"/>
              <a:gd name="connsiteX8597" fmla="*/ 2568212 w 4493400"/>
              <a:gd name="connsiteY8597" fmla="*/ 4431290 h 4503132"/>
              <a:gd name="connsiteX8598" fmla="*/ 2655008 w 4493400"/>
              <a:gd name="connsiteY8598" fmla="*/ 4423205 h 4503132"/>
              <a:gd name="connsiteX8599" fmla="*/ 2737330 w 4493400"/>
              <a:gd name="connsiteY8599" fmla="*/ 4414496 h 4503132"/>
              <a:gd name="connsiteX8600" fmla="*/ 2747284 w 4493400"/>
              <a:gd name="connsiteY8600" fmla="*/ 4414062 h 4503132"/>
              <a:gd name="connsiteX8601" fmla="*/ 2756949 w 4493400"/>
              <a:gd name="connsiteY8601" fmla="*/ 4414159 h 4503132"/>
              <a:gd name="connsiteX8602" fmla="*/ 2774501 w 4493400"/>
              <a:gd name="connsiteY8602" fmla="*/ 4417768 h 4503132"/>
              <a:gd name="connsiteX8603" fmla="*/ 2783108 w 4493400"/>
              <a:gd name="connsiteY8603" fmla="*/ 4422435 h 4503132"/>
              <a:gd name="connsiteX8604" fmla="*/ 2794168 w 4493400"/>
              <a:gd name="connsiteY8604" fmla="*/ 4425419 h 4503132"/>
              <a:gd name="connsiteX8605" fmla="*/ 2801573 w 4493400"/>
              <a:gd name="connsiteY8605" fmla="*/ 4425419 h 4503132"/>
              <a:gd name="connsiteX8606" fmla="*/ 2792629 w 4493400"/>
              <a:gd name="connsiteY8606" fmla="*/ 4427632 h 4503132"/>
              <a:gd name="connsiteX8607" fmla="*/ 2735022 w 4493400"/>
              <a:gd name="connsiteY8607" fmla="*/ 4430279 h 4503132"/>
              <a:gd name="connsiteX8608" fmla="*/ 2714153 w 4493400"/>
              <a:gd name="connsiteY8608" fmla="*/ 4427873 h 4503132"/>
              <a:gd name="connsiteX8609" fmla="*/ 2690831 w 4493400"/>
              <a:gd name="connsiteY8609" fmla="*/ 4426959 h 4503132"/>
              <a:gd name="connsiteX8610" fmla="*/ 2638273 w 4493400"/>
              <a:gd name="connsiteY8610" fmla="*/ 4430760 h 4503132"/>
              <a:gd name="connsiteX8611" fmla="*/ 2511375 w 4493400"/>
              <a:gd name="connsiteY8611" fmla="*/ 4445245 h 4503132"/>
              <a:gd name="connsiteX8612" fmla="*/ 2475311 w 4493400"/>
              <a:gd name="connsiteY8612" fmla="*/ 4447554 h 4503132"/>
              <a:gd name="connsiteX8613" fmla="*/ 2456798 w 4493400"/>
              <a:gd name="connsiteY8613" fmla="*/ 4447651 h 4503132"/>
              <a:gd name="connsiteX8614" fmla="*/ 2447613 w 4493400"/>
              <a:gd name="connsiteY8614" fmla="*/ 4446929 h 4503132"/>
              <a:gd name="connsiteX8615" fmla="*/ 2439054 w 4493400"/>
              <a:gd name="connsiteY8615" fmla="*/ 4445100 h 4503132"/>
              <a:gd name="connsiteX8616" fmla="*/ 2430254 w 4493400"/>
              <a:gd name="connsiteY8616" fmla="*/ 4434754 h 4503132"/>
              <a:gd name="connsiteX8617" fmla="*/ 2435255 w 4493400"/>
              <a:gd name="connsiteY8617" fmla="*/ 4417816 h 4503132"/>
              <a:gd name="connsiteX8618" fmla="*/ 2458048 w 4493400"/>
              <a:gd name="connsiteY8618" fmla="*/ 4384902 h 4503132"/>
              <a:gd name="connsiteX8619" fmla="*/ 2485601 w 4493400"/>
              <a:gd name="connsiteY8619" fmla="*/ 4352661 h 4503132"/>
              <a:gd name="connsiteX8620" fmla="*/ 2511712 w 4493400"/>
              <a:gd name="connsiteY8620" fmla="*/ 4316956 h 4503132"/>
              <a:gd name="connsiteX8621" fmla="*/ 2538784 w 4493400"/>
              <a:gd name="connsiteY8621" fmla="*/ 4281443 h 4503132"/>
              <a:gd name="connsiteX8622" fmla="*/ 2571194 w 4493400"/>
              <a:gd name="connsiteY8622" fmla="*/ 4249540 h 4503132"/>
              <a:gd name="connsiteX8623" fmla="*/ 2609710 w 4493400"/>
              <a:gd name="connsiteY8623" fmla="*/ 4223507 h 4503132"/>
              <a:gd name="connsiteX8624" fmla="*/ 2631109 w 4493400"/>
              <a:gd name="connsiteY8624" fmla="*/ 4213305 h 4503132"/>
              <a:gd name="connsiteX8625" fmla="*/ 2642168 w 4493400"/>
              <a:gd name="connsiteY8625" fmla="*/ 4208734 h 4503132"/>
              <a:gd name="connsiteX8626" fmla="*/ 2653565 w 4493400"/>
              <a:gd name="connsiteY8626" fmla="*/ 4204884 h 4503132"/>
              <a:gd name="connsiteX8627" fmla="*/ 2701074 w 4493400"/>
              <a:gd name="connsiteY8627" fmla="*/ 4192710 h 4503132"/>
              <a:gd name="connsiteX8628" fmla="*/ 2750698 w 4493400"/>
              <a:gd name="connsiteY8628" fmla="*/ 4184481 h 4503132"/>
              <a:gd name="connsiteX8629" fmla="*/ 2959631 w 4493400"/>
              <a:gd name="connsiteY8629" fmla="*/ 4152818 h 4503132"/>
              <a:gd name="connsiteX8630" fmla="*/ 3062919 w 4493400"/>
              <a:gd name="connsiteY8630" fmla="*/ 4123369 h 4503132"/>
              <a:gd name="connsiteX8631" fmla="*/ 3112881 w 4493400"/>
              <a:gd name="connsiteY8631" fmla="*/ 4107537 h 4503132"/>
              <a:gd name="connsiteX8632" fmla="*/ 3161880 w 4493400"/>
              <a:gd name="connsiteY8632" fmla="*/ 4091513 h 4503132"/>
              <a:gd name="connsiteX8633" fmla="*/ 3210110 w 4493400"/>
              <a:gd name="connsiteY8633" fmla="*/ 4076836 h 4503132"/>
              <a:gd name="connsiteX8634" fmla="*/ 3257715 w 4493400"/>
              <a:gd name="connsiteY8634" fmla="*/ 4067357 h 4503132"/>
              <a:gd name="connsiteX8635" fmla="*/ 3268871 w 4493400"/>
              <a:gd name="connsiteY8635" fmla="*/ 4067597 h 4503132"/>
              <a:gd name="connsiteX8636" fmla="*/ 3276276 w 4493400"/>
              <a:gd name="connsiteY8636" fmla="*/ 4070725 h 4503132"/>
              <a:gd name="connsiteX8637" fmla="*/ 3272141 w 4493400"/>
              <a:gd name="connsiteY8637" fmla="*/ 4087856 h 4503132"/>
              <a:gd name="connsiteX8638" fmla="*/ 3240885 w 4493400"/>
              <a:gd name="connsiteY8638" fmla="*/ 4120770 h 4503132"/>
              <a:gd name="connsiteX8639" fmla="*/ 3164044 w 4493400"/>
              <a:gd name="connsiteY8639" fmla="*/ 4168698 h 4503132"/>
              <a:gd name="connsiteX8640" fmla="*/ 3125190 w 4493400"/>
              <a:gd name="connsiteY8640" fmla="*/ 4188764 h 4503132"/>
              <a:gd name="connsiteX8641" fmla="*/ 3087443 w 4493400"/>
              <a:gd name="connsiteY8641" fmla="*/ 4208301 h 4503132"/>
              <a:gd name="connsiteX8642" fmla="*/ 3015603 w 4493400"/>
              <a:gd name="connsiteY8642" fmla="*/ 4244728 h 4503132"/>
              <a:gd name="connsiteX8643" fmla="*/ 2950062 w 4493400"/>
              <a:gd name="connsiteY8643" fmla="*/ 4280529 h 4503132"/>
              <a:gd name="connsiteX8644" fmla="*/ 2921739 w 4493400"/>
              <a:gd name="connsiteY8644" fmla="*/ 4301654 h 4503132"/>
              <a:gd name="connsiteX8645" fmla="*/ 2910151 w 4493400"/>
              <a:gd name="connsiteY8645" fmla="*/ 4314646 h 4503132"/>
              <a:gd name="connsiteX8646" fmla="*/ 2905967 w 4493400"/>
              <a:gd name="connsiteY8646" fmla="*/ 4322731 h 4503132"/>
              <a:gd name="connsiteX8647" fmla="*/ 2905294 w 4493400"/>
              <a:gd name="connsiteY8647" fmla="*/ 4332547 h 4503132"/>
              <a:gd name="connsiteX8648" fmla="*/ 3641776 w 4493400"/>
              <a:gd name="connsiteY8648" fmla="*/ 3984734 h 4503132"/>
              <a:gd name="connsiteX8649" fmla="*/ 3657789 w 4493400"/>
              <a:gd name="connsiteY8649" fmla="*/ 3965535 h 4503132"/>
              <a:gd name="connsiteX8650" fmla="*/ 3665002 w 4493400"/>
              <a:gd name="connsiteY8650" fmla="*/ 3954274 h 4503132"/>
              <a:gd name="connsiteX8651" fmla="*/ 3667887 w 4493400"/>
              <a:gd name="connsiteY8651" fmla="*/ 3947634 h 4503132"/>
              <a:gd name="connsiteX8652" fmla="*/ 3668849 w 4493400"/>
              <a:gd name="connsiteY8652" fmla="*/ 3943592 h 4503132"/>
              <a:gd name="connsiteX8653" fmla="*/ 3668416 w 4493400"/>
              <a:gd name="connsiteY8653" fmla="*/ 3938202 h 4503132"/>
              <a:gd name="connsiteX8654" fmla="*/ 3668031 w 4493400"/>
              <a:gd name="connsiteY8654" fmla="*/ 3936662 h 4503132"/>
              <a:gd name="connsiteX8655" fmla="*/ 3667262 w 4493400"/>
              <a:gd name="connsiteY8655" fmla="*/ 3935315 h 4503132"/>
              <a:gd name="connsiteX8656" fmla="*/ 3665194 w 4493400"/>
              <a:gd name="connsiteY8656" fmla="*/ 3933005 h 4503132"/>
              <a:gd name="connsiteX8657" fmla="*/ 3659760 w 4493400"/>
              <a:gd name="connsiteY8657" fmla="*/ 3930695 h 4503132"/>
              <a:gd name="connsiteX8658" fmla="*/ 3651586 w 4493400"/>
              <a:gd name="connsiteY8658" fmla="*/ 3931032 h 4503132"/>
              <a:gd name="connsiteX8659" fmla="*/ 3638555 w 4493400"/>
              <a:gd name="connsiteY8659" fmla="*/ 3935219 h 4503132"/>
              <a:gd name="connsiteX8660" fmla="*/ 3615666 w 4493400"/>
              <a:gd name="connsiteY8660" fmla="*/ 3946816 h 4503132"/>
              <a:gd name="connsiteX8661" fmla="*/ 3574312 w 4493400"/>
              <a:gd name="connsiteY8661" fmla="*/ 3973907 h 4503132"/>
              <a:gd name="connsiteX8662" fmla="*/ 3501077 w 4493400"/>
              <a:gd name="connsiteY8662" fmla="*/ 4030737 h 4503132"/>
              <a:gd name="connsiteX8663" fmla="*/ 3487758 w 4493400"/>
              <a:gd name="connsiteY8663" fmla="*/ 4041179 h 4503132"/>
              <a:gd name="connsiteX8664" fmla="*/ 3517715 w 4493400"/>
              <a:gd name="connsiteY8664" fmla="*/ 4014039 h 4503132"/>
              <a:gd name="connsiteX8665" fmla="*/ 3603356 w 4493400"/>
              <a:gd name="connsiteY8665" fmla="*/ 3939790 h 4503132"/>
              <a:gd name="connsiteX8666" fmla="*/ 3645383 w 4493400"/>
              <a:gd name="connsiteY8666" fmla="*/ 3910774 h 4503132"/>
              <a:gd name="connsiteX8667" fmla="*/ 3687169 w 4493400"/>
              <a:gd name="connsiteY8667" fmla="*/ 3890852 h 4503132"/>
              <a:gd name="connsiteX8668" fmla="*/ 3702797 w 4493400"/>
              <a:gd name="connsiteY8668" fmla="*/ 3892777 h 4503132"/>
              <a:gd name="connsiteX8669" fmla="*/ 3702797 w 4493400"/>
              <a:gd name="connsiteY8669" fmla="*/ 3901102 h 4503132"/>
              <a:gd name="connsiteX8670" fmla="*/ 3699624 w 4493400"/>
              <a:gd name="connsiteY8670" fmla="*/ 3910244 h 4503132"/>
              <a:gd name="connsiteX8671" fmla="*/ 3679524 w 4493400"/>
              <a:gd name="connsiteY8671" fmla="*/ 3942148 h 4503132"/>
              <a:gd name="connsiteX8672" fmla="*/ 3641824 w 4493400"/>
              <a:gd name="connsiteY8672" fmla="*/ 3984686 h 4503132"/>
              <a:gd name="connsiteX8673" fmla="*/ 3264784 w 4493400"/>
              <a:gd name="connsiteY8673" fmla="*/ 4215278 h 4503132"/>
              <a:gd name="connsiteX8674" fmla="*/ 3265601 w 4493400"/>
              <a:gd name="connsiteY8674" fmla="*/ 4215374 h 4503132"/>
              <a:gd name="connsiteX8675" fmla="*/ 3265264 w 4493400"/>
              <a:gd name="connsiteY8675" fmla="*/ 4214989 h 4503132"/>
              <a:gd name="connsiteX8676" fmla="*/ 3266178 w 4493400"/>
              <a:gd name="connsiteY8676" fmla="*/ 4213786 h 4503132"/>
              <a:gd name="connsiteX8677" fmla="*/ 3271756 w 4493400"/>
              <a:gd name="connsiteY8677" fmla="*/ 4209023 h 4503132"/>
              <a:gd name="connsiteX8678" fmla="*/ 3294645 w 4493400"/>
              <a:gd name="connsiteY8678" fmla="*/ 4191844 h 4503132"/>
              <a:gd name="connsiteX8679" fmla="*/ 3380478 w 4493400"/>
              <a:gd name="connsiteY8679" fmla="*/ 4130538 h 4503132"/>
              <a:gd name="connsiteX8680" fmla="*/ 3439864 w 4493400"/>
              <a:gd name="connsiteY8680" fmla="*/ 4088241 h 4503132"/>
              <a:gd name="connsiteX8681" fmla="*/ 3507280 w 4493400"/>
              <a:gd name="connsiteY8681" fmla="*/ 4038388 h 4503132"/>
              <a:gd name="connsiteX8682" fmla="*/ 3580467 w 4493400"/>
              <a:gd name="connsiteY8682" fmla="*/ 3982377 h 4503132"/>
              <a:gd name="connsiteX8683" fmla="*/ 3620955 w 4493400"/>
              <a:gd name="connsiteY8683" fmla="*/ 3956055 h 4503132"/>
              <a:gd name="connsiteX8684" fmla="*/ 3642642 w 4493400"/>
              <a:gd name="connsiteY8684" fmla="*/ 3945083 h 4503132"/>
              <a:gd name="connsiteX8685" fmla="*/ 3653606 w 4493400"/>
              <a:gd name="connsiteY8685" fmla="*/ 3941522 h 4503132"/>
              <a:gd name="connsiteX8686" fmla="*/ 3656106 w 4493400"/>
              <a:gd name="connsiteY8686" fmla="*/ 3941186 h 4503132"/>
              <a:gd name="connsiteX8687" fmla="*/ 3658078 w 4493400"/>
              <a:gd name="connsiteY8687" fmla="*/ 3941186 h 4503132"/>
              <a:gd name="connsiteX8688" fmla="*/ 3658414 w 4493400"/>
              <a:gd name="connsiteY8688" fmla="*/ 3941282 h 4503132"/>
              <a:gd name="connsiteX8689" fmla="*/ 3658414 w 4493400"/>
              <a:gd name="connsiteY8689" fmla="*/ 3942196 h 4503132"/>
              <a:gd name="connsiteX8690" fmla="*/ 3657837 w 4493400"/>
              <a:gd name="connsiteY8690" fmla="*/ 3944362 h 4503132"/>
              <a:gd name="connsiteX8691" fmla="*/ 3655673 w 4493400"/>
              <a:gd name="connsiteY8691" fmla="*/ 3949318 h 4503132"/>
              <a:gd name="connsiteX8692" fmla="*/ 3649278 w 4493400"/>
              <a:gd name="connsiteY8692" fmla="*/ 3959327 h 4503132"/>
              <a:gd name="connsiteX8693" fmla="*/ 3633698 w 4493400"/>
              <a:gd name="connsiteY8693" fmla="*/ 3978046 h 4503132"/>
              <a:gd name="connsiteX8694" fmla="*/ 3599028 w 4493400"/>
              <a:gd name="connsiteY8694" fmla="*/ 4011682 h 4503132"/>
              <a:gd name="connsiteX8695" fmla="*/ 3526082 w 4493400"/>
              <a:gd name="connsiteY8695" fmla="*/ 4067309 h 4503132"/>
              <a:gd name="connsiteX8696" fmla="*/ 3393606 w 4493400"/>
              <a:gd name="connsiteY8696" fmla="*/ 4149642 h 4503132"/>
              <a:gd name="connsiteX8697" fmla="*/ 3300848 w 4493400"/>
              <a:gd name="connsiteY8697" fmla="*/ 4199591 h 4503132"/>
              <a:gd name="connsiteX8698" fmla="*/ 3275074 w 4493400"/>
              <a:gd name="connsiteY8698" fmla="*/ 4211862 h 4503132"/>
              <a:gd name="connsiteX8699" fmla="*/ 3265793 w 4493400"/>
              <a:gd name="connsiteY8699" fmla="*/ 4215374 h 4503132"/>
              <a:gd name="connsiteX8700" fmla="*/ 3275795 w 4493400"/>
              <a:gd name="connsiteY8700" fmla="*/ 4213883 h 4503132"/>
              <a:gd name="connsiteX8701" fmla="*/ 3302627 w 4493400"/>
              <a:gd name="connsiteY8701" fmla="*/ 4203344 h 4503132"/>
              <a:gd name="connsiteX8702" fmla="*/ 3353838 w 4493400"/>
              <a:gd name="connsiteY8702" fmla="*/ 4178803 h 4503132"/>
              <a:gd name="connsiteX8703" fmla="*/ 3350857 w 4493400"/>
              <a:gd name="connsiteY8703" fmla="*/ 4180487 h 4503132"/>
              <a:gd name="connsiteX8704" fmla="*/ 3251079 w 4493400"/>
              <a:gd name="connsiteY8704" fmla="*/ 4234815 h 4503132"/>
              <a:gd name="connsiteX8705" fmla="*/ 3224007 w 4493400"/>
              <a:gd name="connsiteY8705" fmla="*/ 4248096 h 4503132"/>
              <a:gd name="connsiteX8706" fmla="*/ 3195540 w 4493400"/>
              <a:gd name="connsiteY8706" fmla="*/ 4258153 h 4503132"/>
              <a:gd name="connsiteX8707" fmla="*/ 3180970 w 4493400"/>
              <a:gd name="connsiteY8707" fmla="*/ 4260655 h 4503132"/>
              <a:gd name="connsiteX8708" fmla="*/ 3174719 w 4493400"/>
              <a:gd name="connsiteY8708" fmla="*/ 4260271 h 4503132"/>
              <a:gd name="connsiteX8709" fmla="*/ 3174334 w 4493400"/>
              <a:gd name="connsiteY8709" fmla="*/ 4260126 h 4503132"/>
              <a:gd name="connsiteX8710" fmla="*/ 3174334 w 4493400"/>
              <a:gd name="connsiteY8710" fmla="*/ 4259982 h 4503132"/>
              <a:gd name="connsiteX8711" fmla="*/ 3175055 w 4493400"/>
              <a:gd name="connsiteY8711" fmla="*/ 4258490 h 4503132"/>
              <a:gd name="connsiteX8712" fmla="*/ 3176931 w 4493400"/>
              <a:gd name="connsiteY8712" fmla="*/ 4255843 h 4503132"/>
              <a:gd name="connsiteX8713" fmla="*/ 3182076 w 4493400"/>
              <a:gd name="connsiteY8713" fmla="*/ 4250550 h 4503132"/>
              <a:gd name="connsiteX8714" fmla="*/ 3187895 w 4493400"/>
              <a:gd name="connsiteY8714" fmla="*/ 4245498 h 4503132"/>
              <a:gd name="connsiteX8715" fmla="*/ 3194194 w 4493400"/>
              <a:gd name="connsiteY8715" fmla="*/ 4240686 h 4503132"/>
              <a:gd name="connsiteX8716" fmla="*/ 3249637 w 4493400"/>
              <a:gd name="connsiteY8716" fmla="*/ 4204932 h 4503132"/>
              <a:gd name="connsiteX8717" fmla="*/ 3308398 w 4493400"/>
              <a:gd name="connsiteY8717" fmla="*/ 4169757 h 4503132"/>
              <a:gd name="connsiteX8718" fmla="*/ 3348213 w 4493400"/>
              <a:gd name="connsiteY8718" fmla="*/ 4145407 h 4503132"/>
              <a:gd name="connsiteX8719" fmla="*/ 3292337 w 4493400"/>
              <a:gd name="connsiteY8719" fmla="*/ 4188620 h 4503132"/>
              <a:gd name="connsiteX8720" fmla="*/ 3270554 w 4493400"/>
              <a:gd name="connsiteY8720" fmla="*/ 4207483 h 4503132"/>
              <a:gd name="connsiteX8721" fmla="*/ 3265553 w 4493400"/>
              <a:gd name="connsiteY8721" fmla="*/ 4213209 h 4503132"/>
              <a:gd name="connsiteX8722" fmla="*/ 3265024 w 4493400"/>
              <a:gd name="connsiteY8722" fmla="*/ 4215374 h 4503132"/>
              <a:gd name="connsiteX8723" fmla="*/ 3793680 w 4493400"/>
              <a:gd name="connsiteY8723" fmla="*/ 3836957 h 4503132"/>
              <a:gd name="connsiteX8724" fmla="*/ 3797430 w 4493400"/>
              <a:gd name="connsiteY8724" fmla="*/ 3830269 h 4503132"/>
              <a:gd name="connsiteX8725" fmla="*/ 3800796 w 4493400"/>
              <a:gd name="connsiteY8725" fmla="*/ 3822906 h 4503132"/>
              <a:gd name="connsiteX8726" fmla="*/ 3800171 w 4493400"/>
              <a:gd name="connsiteY8726" fmla="*/ 3805439 h 4503132"/>
              <a:gd name="connsiteX8727" fmla="*/ 3775696 w 4493400"/>
              <a:gd name="connsiteY8727" fmla="*/ 3781812 h 4503132"/>
              <a:gd name="connsiteX8728" fmla="*/ 3705683 w 4493400"/>
              <a:gd name="connsiteY8728" fmla="*/ 3778588 h 4503132"/>
              <a:gd name="connsiteX8729" fmla="*/ 3688276 w 4493400"/>
              <a:gd name="connsiteY8729" fmla="*/ 3785517 h 4503132"/>
              <a:gd name="connsiteX8730" fmla="*/ 3671926 w 4493400"/>
              <a:gd name="connsiteY8730" fmla="*/ 3794804 h 4503132"/>
              <a:gd name="connsiteX8731" fmla="*/ 3639853 w 4493400"/>
              <a:gd name="connsiteY8731" fmla="*/ 3815832 h 4503132"/>
              <a:gd name="connsiteX8732" fmla="*/ 3580804 w 4493400"/>
              <a:gd name="connsiteY8732" fmla="*/ 3870882 h 4503132"/>
              <a:gd name="connsiteX8733" fmla="*/ 3530842 w 4493400"/>
              <a:gd name="connsiteY8733" fmla="*/ 3939742 h 4503132"/>
              <a:gd name="connsiteX8734" fmla="*/ 3476361 w 4493400"/>
              <a:gd name="connsiteY8734" fmla="*/ 4009083 h 4503132"/>
              <a:gd name="connsiteX8735" fmla="*/ 3444673 w 4493400"/>
              <a:gd name="connsiteY8735" fmla="*/ 4039736 h 4503132"/>
              <a:gd name="connsiteX8736" fmla="*/ 3451212 w 4493400"/>
              <a:gd name="connsiteY8736" fmla="*/ 4032903 h 4503132"/>
              <a:gd name="connsiteX8737" fmla="*/ 3466408 w 4493400"/>
              <a:gd name="connsiteY8737" fmla="*/ 4014136 h 4503132"/>
              <a:gd name="connsiteX8738" fmla="*/ 3490114 w 4493400"/>
              <a:gd name="connsiteY8738" fmla="*/ 3972079 h 4503132"/>
              <a:gd name="connsiteX8739" fmla="*/ 3510647 w 4493400"/>
              <a:gd name="connsiteY8739" fmla="*/ 3929685 h 4503132"/>
              <a:gd name="connsiteX8740" fmla="*/ 3536661 w 4493400"/>
              <a:gd name="connsiteY8740" fmla="*/ 3890756 h 4503132"/>
              <a:gd name="connsiteX8741" fmla="*/ 3568494 w 4493400"/>
              <a:gd name="connsiteY8741" fmla="*/ 3855772 h 4503132"/>
              <a:gd name="connsiteX8742" fmla="*/ 3639949 w 4493400"/>
              <a:gd name="connsiteY8742" fmla="*/ 3792061 h 4503132"/>
              <a:gd name="connsiteX8743" fmla="*/ 3717367 w 4493400"/>
              <a:gd name="connsiteY8743" fmla="*/ 3734510 h 4503132"/>
              <a:gd name="connsiteX8744" fmla="*/ 3737804 w 4493400"/>
              <a:gd name="connsiteY8744" fmla="*/ 3722480 h 4503132"/>
              <a:gd name="connsiteX8745" fmla="*/ 3759346 w 4493400"/>
              <a:gd name="connsiteY8745" fmla="*/ 3714251 h 4503132"/>
              <a:gd name="connsiteX8746" fmla="*/ 3780841 w 4493400"/>
              <a:gd name="connsiteY8746" fmla="*/ 3714107 h 4503132"/>
              <a:gd name="connsiteX8747" fmla="*/ 3799113 w 4493400"/>
              <a:gd name="connsiteY8747" fmla="*/ 3725800 h 4503132"/>
              <a:gd name="connsiteX8748" fmla="*/ 3815991 w 4493400"/>
              <a:gd name="connsiteY8748" fmla="*/ 3743508 h 4503132"/>
              <a:gd name="connsiteX8749" fmla="*/ 3834697 w 4493400"/>
              <a:gd name="connsiteY8749" fmla="*/ 3759147 h 4503132"/>
              <a:gd name="connsiteX8750" fmla="*/ 3838496 w 4493400"/>
              <a:gd name="connsiteY8750" fmla="*/ 3776663 h 4503132"/>
              <a:gd name="connsiteX8751" fmla="*/ 3836572 w 4493400"/>
              <a:gd name="connsiteY8751" fmla="*/ 3781715 h 4503132"/>
              <a:gd name="connsiteX8752" fmla="*/ 3833927 w 4493400"/>
              <a:gd name="connsiteY8752" fmla="*/ 3786720 h 4503132"/>
              <a:gd name="connsiteX8753" fmla="*/ 3827436 w 4493400"/>
              <a:gd name="connsiteY8753" fmla="*/ 3796777 h 4503132"/>
              <a:gd name="connsiteX8754" fmla="*/ 3782043 w 4493400"/>
              <a:gd name="connsiteY8754" fmla="*/ 3854329 h 4503132"/>
              <a:gd name="connsiteX8755" fmla="*/ 3793583 w 4493400"/>
              <a:gd name="connsiteY8755" fmla="*/ 3836957 h 4503132"/>
              <a:gd name="connsiteX8756" fmla="*/ 3116631 w 4493400"/>
              <a:gd name="connsiteY8756" fmla="*/ 4239867 h 4503132"/>
              <a:gd name="connsiteX8757" fmla="*/ 3107110 w 4493400"/>
              <a:gd name="connsiteY8757" fmla="*/ 4246268 h 4503132"/>
              <a:gd name="connsiteX8758" fmla="*/ 3097878 w 4493400"/>
              <a:gd name="connsiteY8758" fmla="*/ 4253149 h 4503132"/>
              <a:gd name="connsiteX8759" fmla="*/ 3088741 w 4493400"/>
              <a:gd name="connsiteY8759" fmla="*/ 4260126 h 4503132"/>
              <a:gd name="connsiteX8760" fmla="*/ 3080134 w 4493400"/>
              <a:gd name="connsiteY8760" fmla="*/ 4267970 h 4503132"/>
              <a:gd name="connsiteX8761" fmla="*/ 3064651 w 4493400"/>
              <a:gd name="connsiteY8761" fmla="*/ 4286640 h 4503132"/>
              <a:gd name="connsiteX8762" fmla="*/ 3063352 w 4493400"/>
              <a:gd name="connsiteY8762" fmla="*/ 4289961 h 4503132"/>
              <a:gd name="connsiteX8763" fmla="*/ 3062631 w 4493400"/>
              <a:gd name="connsiteY8763" fmla="*/ 4293810 h 4503132"/>
              <a:gd name="connsiteX8764" fmla="*/ 3064651 w 4493400"/>
              <a:gd name="connsiteY8764" fmla="*/ 4302231 h 4503132"/>
              <a:gd name="connsiteX8765" fmla="*/ 3075854 w 4493400"/>
              <a:gd name="connsiteY8765" fmla="*/ 4310700 h 4503132"/>
              <a:gd name="connsiteX8766" fmla="*/ 3085953 w 4493400"/>
              <a:gd name="connsiteY8766" fmla="*/ 4314983 h 4503132"/>
              <a:gd name="connsiteX8767" fmla="*/ 3087684 w 4493400"/>
              <a:gd name="connsiteY8767" fmla="*/ 4315994 h 4503132"/>
              <a:gd name="connsiteX8768" fmla="*/ 3088164 w 4493400"/>
              <a:gd name="connsiteY8768" fmla="*/ 4316379 h 4503132"/>
              <a:gd name="connsiteX8769" fmla="*/ 3088164 w 4493400"/>
              <a:gd name="connsiteY8769" fmla="*/ 4316523 h 4503132"/>
              <a:gd name="connsiteX8770" fmla="*/ 3088020 w 4493400"/>
              <a:gd name="connsiteY8770" fmla="*/ 4316956 h 4503132"/>
              <a:gd name="connsiteX8771" fmla="*/ 3081721 w 4493400"/>
              <a:gd name="connsiteY8771" fmla="*/ 4323356 h 4503132"/>
              <a:gd name="connsiteX8772" fmla="*/ 3073066 w 4493400"/>
              <a:gd name="connsiteY8772" fmla="*/ 4329467 h 4503132"/>
              <a:gd name="connsiteX8773" fmla="*/ 3069026 w 4493400"/>
              <a:gd name="connsiteY8773" fmla="*/ 4331873 h 4503132"/>
              <a:gd name="connsiteX8774" fmla="*/ 3069700 w 4493400"/>
              <a:gd name="connsiteY8774" fmla="*/ 4326436 h 4503132"/>
              <a:gd name="connsiteX8775" fmla="*/ 3065179 w 4493400"/>
              <a:gd name="connsiteY8775" fmla="*/ 4319699 h 4503132"/>
              <a:gd name="connsiteX8776" fmla="*/ 3060323 w 4493400"/>
              <a:gd name="connsiteY8776" fmla="*/ 4316860 h 4503132"/>
              <a:gd name="connsiteX8777" fmla="*/ 3043829 w 4493400"/>
              <a:gd name="connsiteY8777" fmla="*/ 4309546 h 4503132"/>
              <a:gd name="connsiteX8778" fmla="*/ 3039406 w 4493400"/>
              <a:gd name="connsiteY8778" fmla="*/ 4305311 h 4503132"/>
              <a:gd name="connsiteX8779" fmla="*/ 3039742 w 4493400"/>
              <a:gd name="connsiteY8779" fmla="*/ 4300114 h 4503132"/>
              <a:gd name="connsiteX8780" fmla="*/ 3049600 w 4493400"/>
              <a:gd name="connsiteY8780" fmla="*/ 4287073 h 4503132"/>
              <a:gd name="connsiteX8781" fmla="*/ 3107255 w 4493400"/>
              <a:gd name="connsiteY8781" fmla="*/ 4244150 h 4503132"/>
              <a:gd name="connsiteX8782" fmla="*/ 3134087 w 4493400"/>
              <a:gd name="connsiteY8782" fmla="*/ 4228752 h 4503132"/>
              <a:gd name="connsiteX8783" fmla="*/ 3116679 w 4493400"/>
              <a:gd name="connsiteY8783" fmla="*/ 4239916 h 4503132"/>
              <a:gd name="connsiteX8784" fmla="*/ 3042531 w 4493400"/>
              <a:gd name="connsiteY8784" fmla="*/ 4280192 h 4503132"/>
              <a:gd name="connsiteX8785" fmla="*/ 3030558 w 4493400"/>
              <a:gd name="connsiteY8785" fmla="*/ 4296553 h 4503132"/>
              <a:gd name="connsiteX8786" fmla="*/ 3030365 w 4493400"/>
              <a:gd name="connsiteY8786" fmla="*/ 4309257 h 4503132"/>
              <a:gd name="connsiteX8787" fmla="*/ 3038684 w 4493400"/>
              <a:gd name="connsiteY8787" fmla="*/ 4318015 h 4503132"/>
              <a:gd name="connsiteX8788" fmla="*/ 3056043 w 4493400"/>
              <a:gd name="connsiteY8788" fmla="*/ 4325810 h 4503132"/>
              <a:gd name="connsiteX8789" fmla="*/ 3059169 w 4493400"/>
              <a:gd name="connsiteY8789" fmla="*/ 4327591 h 4503132"/>
              <a:gd name="connsiteX8790" fmla="*/ 3059842 w 4493400"/>
              <a:gd name="connsiteY8790" fmla="*/ 4328264 h 4503132"/>
              <a:gd name="connsiteX8791" fmla="*/ 3059409 w 4493400"/>
              <a:gd name="connsiteY8791" fmla="*/ 4329082 h 4503132"/>
              <a:gd name="connsiteX8792" fmla="*/ 3057149 w 4493400"/>
              <a:gd name="connsiteY8792" fmla="*/ 4331633 h 4503132"/>
              <a:gd name="connsiteX8793" fmla="*/ 3045176 w 4493400"/>
              <a:gd name="connsiteY8793" fmla="*/ 4340198 h 4503132"/>
              <a:gd name="connsiteX8794" fmla="*/ 3045320 w 4493400"/>
              <a:gd name="connsiteY8794" fmla="*/ 4339909 h 4503132"/>
              <a:gd name="connsiteX8795" fmla="*/ 3046282 w 4493400"/>
              <a:gd name="connsiteY8795" fmla="*/ 4336782 h 4503132"/>
              <a:gd name="connsiteX8796" fmla="*/ 3043926 w 4493400"/>
              <a:gd name="connsiteY8796" fmla="*/ 4330815 h 4503132"/>
              <a:gd name="connsiteX8797" fmla="*/ 3035126 w 4493400"/>
              <a:gd name="connsiteY8797" fmla="*/ 4325425 h 4503132"/>
              <a:gd name="connsiteX8798" fmla="*/ 3026566 w 4493400"/>
              <a:gd name="connsiteY8798" fmla="*/ 4321528 h 4503132"/>
              <a:gd name="connsiteX8799" fmla="*/ 3014882 w 4493400"/>
              <a:gd name="connsiteY8799" fmla="*/ 4310412 h 4503132"/>
              <a:gd name="connsiteX8800" fmla="*/ 3016324 w 4493400"/>
              <a:gd name="connsiteY8800" fmla="*/ 4302616 h 4503132"/>
              <a:gd name="connsiteX8801" fmla="*/ 3021085 w 4493400"/>
              <a:gd name="connsiteY8801" fmla="*/ 4295158 h 4503132"/>
              <a:gd name="connsiteX8802" fmla="*/ 3048494 w 4493400"/>
              <a:gd name="connsiteY8802" fmla="*/ 4270472 h 4503132"/>
              <a:gd name="connsiteX8803" fmla="*/ 3099945 w 4493400"/>
              <a:gd name="connsiteY8803" fmla="*/ 4237221 h 4503132"/>
              <a:gd name="connsiteX8804" fmla="*/ 3042531 w 4493400"/>
              <a:gd name="connsiteY8804" fmla="*/ 4280192 h 4503132"/>
              <a:gd name="connsiteX8805" fmla="*/ 3201455 w 4493400"/>
              <a:gd name="connsiteY8805" fmla="*/ 4279759 h 4503132"/>
              <a:gd name="connsiteX8806" fmla="*/ 3195107 w 4493400"/>
              <a:gd name="connsiteY8806" fmla="*/ 4282695 h 4503132"/>
              <a:gd name="connsiteX8807" fmla="*/ 3124902 w 4493400"/>
              <a:gd name="connsiteY8807" fmla="*/ 4313828 h 4503132"/>
              <a:gd name="connsiteX8808" fmla="*/ 3124998 w 4493400"/>
              <a:gd name="connsiteY8808" fmla="*/ 4313684 h 4503132"/>
              <a:gd name="connsiteX8809" fmla="*/ 3127306 w 4493400"/>
              <a:gd name="connsiteY8809" fmla="*/ 4305840 h 4503132"/>
              <a:gd name="connsiteX8810" fmla="*/ 3122305 w 4493400"/>
              <a:gd name="connsiteY8810" fmla="*/ 4299537 h 4503132"/>
              <a:gd name="connsiteX8811" fmla="*/ 3120334 w 4493400"/>
              <a:gd name="connsiteY8811" fmla="*/ 4298526 h 4503132"/>
              <a:gd name="connsiteX8812" fmla="*/ 3118939 w 4493400"/>
              <a:gd name="connsiteY8812" fmla="*/ 4297997 h 4503132"/>
              <a:gd name="connsiteX8813" fmla="*/ 3116487 w 4493400"/>
              <a:gd name="connsiteY8813" fmla="*/ 4297227 h 4503132"/>
              <a:gd name="connsiteX8814" fmla="*/ 3111919 w 4493400"/>
              <a:gd name="connsiteY8814" fmla="*/ 4296024 h 4503132"/>
              <a:gd name="connsiteX8815" fmla="*/ 3103696 w 4493400"/>
              <a:gd name="connsiteY8815" fmla="*/ 4293714 h 4503132"/>
              <a:gd name="connsiteX8816" fmla="*/ 3098455 w 4493400"/>
              <a:gd name="connsiteY8816" fmla="*/ 4290682 h 4503132"/>
              <a:gd name="connsiteX8817" fmla="*/ 3097926 w 4493400"/>
              <a:gd name="connsiteY8817" fmla="*/ 4289383 h 4503132"/>
              <a:gd name="connsiteX8818" fmla="*/ 3097926 w 4493400"/>
              <a:gd name="connsiteY8818" fmla="*/ 4288324 h 4503132"/>
              <a:gd name="connsiteX8819" fmla="*/ 3098407 w 4493400"/>
              <a:gd name="connsiteY8819" fmla="*/ 4286929 h 4503132"/>
              <a:gd name="connsiteX8820" fmla="*/ 3107783 w 4493400"/>
              <a:gd name="connsiteY8820" fmla="*/ 4273985 h 4503132"/>
              <a:gd name="connsiteX8821" fmla="*/ 3120911 w 4493400"/>
              <a:gd name="connsiteY8821" fmla="*/ 4261955 h 4503132"/>
              <a:gd name="connsiteX8822" fmla="*/ 3182749 w 4493400"/>
              <a:gd name="connsiteY8822" fmla="*/ 4221197 h 4503132"/>
              <a:gd name="connsiteX8823" fmla="*/ 3215303 w 4493400"/>
              <a:gd name="connsiteY8823" fmla="*/ 4202863 h 4503132"/>
              <a:gd name="connsiteX8824" fmla="*/ 3181066 w 4493400"/>
              <a:gd name="connsiteY8824" fmla="*/ 4223988 h 4503132"/>
              <a:gd name="connsiteX8825" fmla="*/ 3142598 w 4493400"/>
              <a:gd name="connsiteY8825" fmla="*/ 4251224 h 4503132"/>
              <a:gd name="connsiteX8826" fmla="*/ 3133557 w 4493400"/>
              <a:gd name="connsiteY8826" fmla="*/ 4259597 h 4503132"/>
              <a:gd name="connsiteX8827" fmla="*/ 3130865 w 4493400"/>
              <a:gd name="connsiteY8827" fmla="*/ 4262773 h 4503132"/>
              <a:gd name="connsiteX8828" fmla="*/ 3134327 w 4493400"/>
              <a:gd name="connsiteY8828" fmla="*/ 4260367 h 4503132"/>
              <a:gd name="connsiteX8829" fmla="*/ 3143896 w 4493400"/>
              <a:gd name="connsiteY8829" fmla="*/ 4252908 h 4503132"/>
              <a:gd name="connsiteX8830" fmla="*/ 3183230 w 4493400"/>
              <a:gd name="connsiteY8830" fmla="*/ 4227501 h 4503132"/>
              <a:gd name="connsiteX8831" fmla="*/ 3247665 w 4493400"/>
              <a:gd name="connsiteY8831" fmla="*/ 4190448 h 4503132"/>
              <a:gd name="connsiteX8832" fmla="*/ 3332873 w 4493400"/>
              <a:gd name="connsiteY8832" fmla="*/ 4140884 h 4503132"/>
              <a:gd name="connsiteX8833" fmla="*/ 3432266 w 4493400"/>
              <a:gd name="connsiteY8833" fmla="*/ 4074045 h 4503132"/>
              <a:gd name="connsiteX8834" fmla="*/ 3482805 w 4493400"/>
              <a:gd name="connsiteY8834" fmla="*/ 4030112 h 4503132"/>
              <a:gd name="connsiteX8835" fmla="*/ 3531179 w 4493400"/>
              <a:gd name="connsiteY8835" fmla="*/ 3978286 h 4503132"/>
              <a:gd name="connsiteX8836" fmla="*/ 3636343 w 4493400"/>
              <a:gd name="connsiteY8836" fmla="*/ 3871508 h 4503132"/>
              <a:gd name="connsiteX8837" fmla="*/ 3706500 w 4493400"/>
              <a:gd name="connsiteY8837" fmla="*/ 3838978 h 4503132"/>
              <a:gd name="connsiteX8838" fmla="*/ 3744824 w 4493400"/>
              <a:gd name="connsiteY8838" fmla="*/ 3837198 h 4503132"/>
              <a:gd name="connsiteX8839" fmla="*/ 3757134 w 4493400"/>
              <a:gd name="connsiteY8839" fmla="*/ 3844945 h 4503132"/>
              <a:gd name="connsiteX8840" fmla="*/ 3756653 w 4493400"/>
              <a:gd name="connsiteY8840" fmla="*/ 3851730 h 4503132"/>
              <a:gd name="connsiteX8841" fmla="*/ 3754922 w 4493400"/>
              <a:gd name="connsiteY8841" fmla="*/ 3855965 h 4503132"/>
              <a:gd name="connsiteX8842" fmla="*/ 3752614 w 4493400"/>
              <a:gd name="connsiteY8842" fmla="*/ 3860295 h 4503132"/>
              <a:gd name="connsiteX8843" fmla="*/ 3729533 w 4493400"/>
              <a:gd name="connsiteY8843" fmla="*/ 3893691 h 4503132"/>
              <a:gd name="connsiteX8844" fmla="*/ 3703519 w 4493400"/>
              <a:gd name="connsiteY8844" fmla="*/ 3924969 h 4503132"/>
              <a:gd name="connsiteX8845" fmla="*/ 3681832 w 4493400"/>
              <a:gd name="connsiteY8845" fmla="*/ 3948740 h 4503132"/>
              <a:gd name="connsiteX8846" fmla="*/ 3684188 w 4493400"/>
              <a:gd name="connsiteY8846" fmla="*/ 3945901 h 4503132"/>
              <a:gd name="connsiteX8847" fmla="*/ 3705779 w 4493400"/>
              <a:gd name="connsiteY8847" fmla="*/ 3913083 h 4503132"/>
              <a:gd name="connsiteX8848" fmla="*/ 3709578 w 4493400"/>
              <a:gd name="connsiteY8848" fmla="*/ 3902737 h 4503132"/>
              <a:gd name="connsiteX8849" fmla="*/ 3709433 w 4493400"/>
              <a:gd name="connsiteY8849" fmla="*/ 3890034 h 4503132"/>
              <a:gd name="connsiteX8850" fmla="*/ 3704384 w 4493400"/>
              <a:gd name="connsiteY8850" fmla="*/ 3884211 h 4503132"/>
              <a:gd name="connsiteX8851" fmla="*/ 3697652 w 4493400"/>
              <a:gd name="connsiteY8851" fmla="*/ 3882239 h 4503132"/>
              <a:gd name="connsiteX8852" fmla="*/ 3685294 w 4493400"/>
              <a:gd name="connsiteY8852" fmla="*/ 3883489 h 4503132"/>
              <a:gd name="connsiteX8853" fmla="*/ 3641151 w 4493400"/>
              <a:gd name="connsiteY8853" fmla="*/ 3903652 h 4503132"/>
              <a:gd name="connsiteX8854" fmla="*/ 3598018 w 4493400"/>
              <a:gd name="connsiteY8854" fmla="*/ 3932668 h 4503132"/>
              <a:gd name="connsiteX8855" fmla="*/ 3511127 w 4493400"/>
              <a:gd name="connsiteY8855" fmla="*/ 4006677 h 4503132"/>
              <a:gd name="connsiteX8856" fmla="*/ 3415436 w 4493400"/>
              <a:gd name="connsiteY8856" fmla="*/ 4087375 h 4503132"/>
              <a:gd name="connsiteX8857" fmla="*/ 3302675 w 4493400"/>
              <a:gd name="connsiteY8857" fmla="*/ 4160517 h 4503132"/>
              <a:gd name="connsiteX8858" fmla="*/ 3243914 w 4493400"/>
              <a:gd name="connsiteY8858" fmla="*/ 4195741 h 4503132"/>
              <a:gd name="connsiteX8859" fmla="*/ 3187750 w 4493400"/>
              <a:gd name="connsiteY8859" fmla="*/ 4232217 h 4503132"/>
              <a:gd name="connsiteX8860" fmla="*/ 3181114 w 4493400"/>
              <a:gd name="connsiteY8860" fmla="*/ 4237317 h 4503132"/>
              <a:gd name="connsiteX8861" fmla="*/ 3174719 w 4493400"/>
              <a:gd name="connsiteY8861" fmla="*/ 4242947 h 4503132"/>
              <a:gd name="connsiteX8862" fmla="*/ 3168660 w 4493400"/>
              <a:gd name="connsiteY8862" fmla="*/ 4249251 h 4503132"/>
              <a:gd name="connsiteX8863" fmla="*/ 3165919 w 4493400"/>
              <a:gd name="connsiteY8863" fmla="*/ 4253149 h 4503132"/>
              <a:gd name="connsiteX8864" fmla="*/ 3163707 w 4493400"/>
              <a:gd name="connsiteY8864" fmla="*/ 4259068 h 4503132"/>
              <a:gd name="connsiteX8865" fmla="*/ 3165583 w 4493400"/>
              <a:gd name="connsiteY8865" fmla="*/ 4266286 h 4503132"/>
              <a:gd name="connsiteX8866" fmla="*/ 3171834 w 4493400"/>
              <a:gd name="connsiteY8866" fmla="*/ 4270135 h 4503132"/>
              <a:gd name="connsiteX8867" fmla="*/ 3181403 w 4493400"/>
              <a:gd name="connsiteY8867" fmla="*/ 4270809 h 4503132"/>
              <a:gd name="connsiteX8868" fmla="*/ 3197896 w 4493400"/>
              <a:gd name="connsiteY8868" fmla="*/ 4267922 h 4503132"/>
              <a:gd name="connsiteX8869" fmla="*/ 3227998 w 4493400"/>
              <a:gd name="connsiteY8869" fmla="*/ 4257143 h 4503132"/>
              <a:gd name="connsiteX8870" fmla="*/ 3241606 w 4493400"/>
              <a:gd name="connsiteY8870" fmla="*/ 4250598 h 4503132"/>
              <a:gd name="connsiteX8871" fmla="*/ 3226940 w 4493400"/>
              <a:gd name="connsiteY8871" fmla="*/ 4258731 h 4503132"/>
              <a:gd name="connsiteX8872" fmla="*/ 3191212 w 4493400"/>
              <a:gd name="connsiteY8872" fmla="*/ 4277209 h 4503132"/>
              <a:gd name="connsiteX8873" fmla="*/ 3159860 w 4493400"/>
              <a:gd name="connsiteY8873" fmla="*/ 4288613 h 4503132"/>
              <a:gd name="connsiteX8874" fmla="*/ 3133846 w 4493400"/>
              <a:gd name="connsiteY8874" fmla="*/ 4289143 h 4503132"/>
              <a:gd name="connsiteX8875" fmla="*/ 3125383 w 4493400"/>
              <a:gd name="connsiteY8875" fmla="*/ 4284234 h 4503132"/>
              <a:gd name="connsiteX8876" fmla="*/ 3123604 w 4493400"/>
              <a:gd name="connsiteY8876" fmla="*/ 4276679 h 4503132"/>
              <a:gd name="connsiteX8877" fmla="*/ 3128605 w 4493400"/>
              <a:gd name="connsiteY8877" fmla="*/ 4266093 h 4503132"/>
              <a:gd name="connsiteX8878" fmla="*/ 3130913 w 4493400"/>
              <a:gd name="connsiteY8878" fmla="*/ 4262628 h 4503132"/>
              <a:gd name="connsiteX8879" fmla="*/ 3127739 w 4493400"/>
              <a:gd name="connsiteY8879" fmla="*/ 4265419 h 4503132"/>
              <a:gd name="connsiteX8880" fmla="*/ 3121488 w 4493400"/>
              <a:gd name="connsiteY8880" fmla="*/ 4276294 h 4503132"/>
              <a:gd name="connsiteX8881" fmla="*/ 3123267 w 4493400"/>
              <a:gd name="connsiteY8881" fmla="*/ 4285822 h 4503132"/>
              <a:gd name="connsiteX8882" fmla="*/ 3132980 w 4493400"/>
              <a:gd name="connsiteY8882" fmla="*/ 4292174 h 4503132"/>
              <a:gd name="connsiteX8883" fmla="*/ 3160726 w 4493400"/>
              <a:gd name="connsiteY8883" fmla="*/ 4292704 h 4503132"/>
              <a:gd name="connsiteX8884" fmla="*/ 3193376 w 4493400"/>
              <a:gd name="connsiteY8884" fmla="*/ 4281877 h 4503132"/>
              <a:gd name="connsiteX8885" fmla="*/ 3207033 w 4493400"/>
              <a:gd name="connsiteY8885" fmla="*/ 4275476 h 4503132"/>
              <a:gd name="connsiteX8886" fmla="*/ 3201503 w 4493400"/>
              <a:gd name="connsiteY8886" fmla="*/ 4279663 h 4503132"/>
              <a:gd name="connsiteX8887" fmla="*/ 3992370 w 4493400"/>
              <a:gd name="connsiteY8887" fmla="*/ 3609830 h 4503132"/>
              <a:gd name="connsiteX8888" fmla="*/ 3992370 w 4493400"/>
              <a:gd name="connsiteY8888" fmla="*/ 3609830 h 4503132"/>
              <a:gd name="connsiteX8889" fmla="*/ 3992755 w 4493400"/>
              <a:gd name="connsiteY8889" fmla="*/ 3610215 h 4503132"/>
              <a:gd name="connsiteX8890" fmla="*/ 3992947 w 4493400"/>
              <a:gd name="connsiteY8890" fmla="*/ 3610456 h 4503132"/>
              <a:gd name="connsiteX8891" fmla="*/ 3992322 w 4493400"/>
              <a:gd name="connsiteY8891" fmla="*/ 3609830 h 4503132"/>
              <a:gd name="connsiteX8892" fmla="*/ 3992322 w 4493400"/>
              <a:gd name="connsiteY8892" fmla="*/ 3609830 h 4503132"/>
              <a:gd name="connsiteX8893" fmla="*/ 3992322 w 4493400"/>
              <a:gd name="connsiteY8893" fmla="*/ 3609830 h 4503132"/>
              <a:gd name="connsiteX8894" fmla="*/ 3999679 w 4493400"/>
              <a:gd name="connsiteY8894" fmla="*/ 3616615 h 4503132"/>
              <a:gd name="connsiteX8895" fmla="*/ 3999679 w 4493400"/>
              <a:gd name="connsiteY8895" fmla="*/ 3616615 h 4503132"/>
              <a:gd name="connsiteX8896" fmla="*/ 3999679 w 4493400"/>
              <a:gd name="connsiteY8896" fmla="*/ 3616615 h 4503132"/>
              <a:gd name="connsiteX8897" fmla="*/ 3998958 w 4493400"/>
              <a:gd name="connsiteY8897" fmla="*/ 3616711 h 4503132"/>
              <a:gd name="connsiteX8898" fmla="*/ 3996409 w 4493400"/>
              <a:gd name="connsiteY8898" fmla="*/ 3614065 h 4503132"/>
              <a:gd name="connsiteX8899" fmla="*/ 3997948 w 4493400"/>
              <a:gd name="connsiteY8899" fmla="*/ 3615268 h 4503132"/>
              <a:gd name="connsiteX8900" fmla="*/ 3999198 w 4493400"/>
              <a:gd name="connsiteY8900" fmla="*/ 3616278 h 4503132"/>
              <a:gd name="connsiteX8901" fmla="*/ 3998910 w 4493400"/>
              <a:gd name="connsiteY8901" fmla="*/ 3616711 h 4503132"/>
              <a:gd name="connsiteX8902" fmla="*/ 4005930 w 4493400"/>
              <a:gd name="connsiteY8902" fmla="*/ 3629704 h 4503132"/>
              <a:gd name="connsiteX8903" fmla="*/ 3999198 w 4493400"/>
              <a:gd name="connsiteY8903" fmla="*/ 3640868 h 4503132"/>
              <a:gd name="connsiteX8904" fmla="*/ 3997611 w 4493400"/>
              <a:gd name="connsiteY8904" fmla="*/ 3644188 h 4503132"/>
              <a:gd name="connsiteX8905" fmla="*/ 3996842 w 4493400"/>
              <a:gd name="connsiteY8905" fmla="*/ 3646498 h 4503132"/>
              <a:gd name="connsiteX8906" fmla="*/ 3996698 w 4493400"/>
              <a:gd name="connsiteY8906" fmla="*/ 3649048 h 4503132"/>
              <a:gd name="connsiteX8907" fmla="*/ 3996794 w 4493400"/>
              <a:gd name="connsiteY8907" fmla="*/ 3649192 h 4503132"/>
              <a:gd name="connsiteX8908" fmla="*/ 3996986 w 4493400"/>
              <a:gd name="connsiteY8908" fmla="*/ 3649096 h 4503132"/>
              <a:gd name="connsiteX8909" fmla="*/ 3996842 w 4493400"/>
              <a:gd name="connsiteY8909" fmla="*/ 3649289 h 4503132"/>
              <a:gd name="connsiteX8910" fmla="*/ 3978617 w 4493400"/>
              <a:gd name="connsiteY8910" fmla="*/ 3671953 h 4503132"/>
              <a:gd name="connsiteX8911" fmla="*/ 3978473 w 4493400"/>
              <a:gd name="connsiteY8911" fmla="*/ 3671953 h 4503132"/>
              <a:gd name="connsiteX8912" fmla="*/ 3976598 w 4493400"/>
              <a:gd name="connsiteY8912" fmla="*/ 3672098 h 4503132"/>
              <a:gd name="connsiteX8913" fmla="*/ 3976358 w 4493400"/>
              <a:gd name="connsiteY8913" fmla="*/ 3672098 h 4503132"/>
              <a:gd name="connsiteX8914" fmla="*/ 3976117 w 4493400"/>
              <a:gd name="connsiteY8914" fmla="*/ 3671809 h 4503132"/>
              <a:gd name="connsiteX8915" fmla="*/ 3978473 w 4493400"/>
              <a:gd name="connsiteY8915" fmla="*/ 3665746 h 4503132"/>
              <a:gd name="connsiteX8916" fmla="*/ 3988812 w 4493400"/>
              <a:gd name="connsiteY8916" fmla="*/ 3648374 h 4503132"/>
              <a:gd name="connsiteX8917" fmla="*/ 4013095 w 4493400"/>
              <a:gd name="connsiteY8917" fmla="*/ 3613969 h 4503132"/>
              <a:gd name="connsiteX8918" fmla="*/ 4025261 w 4493400"/>
              <a:gd name="connsiteY8918" fmla="*/ 3596549 h 4503132"/>
              <a:gd name="connsiteX8919" fmla="*/ 4031271 w 4493400"/>
              <a:gd name="connsiteY8919" fmla="*/ 3587599 h 4503132"/>
              <a:gd name="connsiteX8920" fmla="*/ 4032762 w 4493400"/>
              <a:gd name="connsiteY8920" fmla="*/ 3585193 h 4503132"/>
              <a:gd name="connsiteX8921" fmla="*/ 4033532 w 4493400"/>
              <a:gd name="connsiteY8921" fmla="*/ 3583845 h 4503132"/>
              <a:gd name="connsiteX8922" fmla="*/ 4034012 w 4493400"/>
              <a:gd name="connsiteY8922" fmla="*/ 3582835 h 4503132"/>
              <a:gd name="connsiteX8923" fmla="*/ 4034301 w 4493400"/>
              <a:gd name="connsiteY8923" fmla="*/ 3582161 h 4503132"/>
              <a:gd name="connsiteX8924" fmla="*/ 4034301 w 4493400"/>
              <a:gd name="connsiteY8924" fmla="*/ 3578841 h 4503132"/>
              <a:gd name="connsiteX8925" fmla="*/ 4033387 w 4493400"/>
              <a:gd name="connsiteY8925" fmla="*/ 3577157 h 4503132"/>
              <a:gd name="connsiteX8926" fmla="*/ 4032089 w 4493400"/>
              <a:gd name="connsiteY8926" fmla="*/ 3576002 h 4503132"/>
              <a:gd name="connsiteX8927" fmla="*/ 4030262 w 4493400"/>
              <a:gd name="connsiteY8927" fmla="*/ 3575328 h 4503132"/>
              <a:gd name="connsiteX8928" fmla="*/ 4029300 w 4493400"/>
              <a:gd name="connsiteY8928" fmla="*/ 3575232 h 4503132"/>
              <a:gd name="connsiteX8929" fmla="*/ 4028386 w 4493400"/>
              <a:gd name="connsiteY8929" fmla="*/ 3575328 h 4503132"/>
              <a:gd name="connsiteX8930" fmla="*/ 4027954 w 4493400"/>
              <a:gd name="connsiteY8930" fmla="*/ 3575424 h 4503132"/>
              <a:gd name="connsiteX8931" fmla="*/ 4026751 w 4493400"/>
              <a:gd name="connsiteY8931" fmla="*/ 3575857 h 4503132"/>
              <a:gd name="connsiteX8932" fmla="*/ 4025597 w 4493400"/>
              <a:gd name="connsiteY8932" fmla="*/ 3576483 h 4503132"/>
              <a:gd name="connsiteX8933" fmla="*/ 4024155 w 4493400"/>
              <a:gd name="connsiteY8933" fmla="*/ 3577542 h 4503132"/>
              <a:gd name="connsiteX8934" fmla="*/ 4021895 w 4493400"/>
              <a:gd name="connsiteY8934" fmla="*/ 3579466 h 4503132"/>
              <a:gd name="connsiteX8935" fmla="*/ 4006459 w 4493400"/>
              <a:gd name="connsiteY8935" fmla="*/ 3594721 h 4503132"/>
              <a:gd name="connsiteX8936" fmla="*/ 3999054 w 4493400"/>
              <a:gd name="connsiteY8936" fmla="*/ 3602516 h 4503132"/>
              <a:gd name="connsiteX8937" fmla="*/ 3995400 w 4493400"/>
              <a:gd name="connsiteY8937" fmla="*/ 3606462 h 4503132"/>
              <a:gd name="connsiteX8938" fmla="*/ 3993572 w 4493400"/>
              <a:gd name="connsiteY8938" fmla="*/ 3608483 h 4503132"/>
              <a:gd name="connsiteX8939" fmla="*/ 3992659 w 4493400"/>
              <a:gd name="connsiteY8939" fmla="*/ 3609493 h 4503132"/>
              <a:gd name="connsiteX8940" fmla="*/ 3992178 w 4493400"/>
              <a:gd name="connsiteY8940" fmla="*/ 3610071 h 4503132"/>
              <a:gd name="connsiteX8941" fmla="*/ 3991841 w 4493400"/>
              <a:gd name="connsiteY8941" fmla="*/ 3610456 h 4503132"/>
              <a:gd name="connsiteX8942" fmla="*/ 3991216 w 4493400"/>
              <a:gd name="connsiteY8942" fmla="*/ 3611033 h 4503132"/>
              <a:gd name="connsiteX8943" fmla="*/ 3990206 w 4493400"/>
              <a:gd name="connsiteY8943" fmla="*/ 3611996 h 4503132"/>
              <a:gd name="connsiteX8944" fmla="*/ 3970828 w 4493400"/>
              <a:gd name="connsiteY8944" fmla="*/ 3631003 h 4503132"/>
              <a:gd name="connsiteX8945" fmla="*/ 3950151 w 4493400"/>
              <a:gd name="connsiteY8945" fmla="*/ 3653860 h 4503132"/>
              <a:gd name="connsiteX8946" fmla="*/ 3942313 w 4493400"/>
              <a:gd name="connsiteY8946" fmla="*/ 3668393 h 4503132"/>
              <a:gd name="connsiteX8947" fmla="*/ 3936542 w 4493400"/>
              <a:gd name="connsiteY8947" fmla="*/ 3681626 h 4503132"/>
              <a:gd name="connsiteX8948" fmla="*/ 3920241 w 4493400"/>
              <a:gd name="connsiteY8948" fmla="*/ 3706311 h 4503132"/>
              <a:gd name="connsiteX8949" fmla="*/ 3881917 w 4493400"/>
              <a:gd name="connsiteY8949" fmla="*/ 3753469 h 4503132"/>
              <a:gd name="connsiteX8950" fmla="*/ 3841862 w 4493400"/>
              <a:gd name="connsiteY8950" fmla="*/ 3799953 h 4503132"/>
              <a:gd name="connsiteX8951" fmla="*/ 3823348 w 4493400"/>
              <a:gd name="connsiteY8951" fmla="*/ 3820596 h 4503132"/>
              <a:gd name="connsiteX8952" fmla="*/ 3836380 w 4493400"/>
              <a:gd name="connsiteY8952" fmla="*/ 3802792 h 4503132"/>
              <a:gd name="connsiteX8953" fmla="*/ 3843256 w 4493400"/>
              <a:gd name="connsiteY8953" fmla="*/ 3792109 h 4503132"/>
              <a:gd name="connsiteX8954" fmla="*/ 3846334 w 4493400"/>
              <a:gd name="connsiteY8954" fmla="*/ 3786191 h 4503132"/>
              <a:gd name="connsiteX8955" fmla="*/ 3848786 w 4493400"/>
              <a:gd name="connsiteY8955" fmla="*/ 3779742 h 4503132"/>
              <a:gd name="connsiteX8956" fmla="*/ 3849747 w 4493400"/>
              <a:gd name="connsiteY8956" fmla="*/ 3764969 h 4503132"/>
              <a:gd name="connsiteX8957" fmla="*/ 3842486 w 4493400"/>
              <a:gd name="connsiteY8957" fmla="*/ 3751833 h 4503132"/>
              <a:gd name="connsiteX8958" fmla="*/ 3823541 w 4493400"/>
              <a:gd name="connsiteY8958" fmla="*/ 3735953 h 4503132"/>
              <a:gd name="connsiteX8959" fmla="*/ 3806567 w 4493400"/>
              <a:gd name="connsiteY8959" fmla="*/ 3718149 h 4503132"/>
              <a:gd name="connsiteX8960" fmla="*/ 3783870 w 4493400"/>
              <a:gd name="connsiteY8960" fmla="*/ 3703953 h 4503132"/>
              <a:gd name="connsiteX8961" fmla="*/ 3757038 w 4493400"/>
              <a:gd name="connsiteY8961" fmla="*/ 3703953 h 4503132"/>
              <a:gd name="connsiteX8962" fmla="*/ 3733139 w 4493400"/>
              <a:gd name="connsiteY8962" fmla="*/ 3713048 h 4503132"/>
              <a:gd name="connsiteX8963" fmla="*/ 3711597 w 4493400"/>
              <a:gd name="connsiteY8963" fmla="*/ 3725704 h 4503132"/>
              <a:gd name="connsiteX8964" fmla="*/ 3633361 w 4493400"/>
              <a:gd name="connsiteY8964" fmla="*/ 3783881 h 4503132"/>
              <a:gd name="connsiteX8965" fmla="*/ 3561088 w 4493400"/>
              <a:gd name="connsiteY8965" fmla="*/ 3848362 h 4503132"/>
              <a:gd name="connsiteX8966" fmla="*/ 3528486 w 4493400"/>
              <a:gd name="connsiteY8966" fmla="*/ 3884211 h 4503132"/>
              <a:gd name="connsiteX8967" fmla="*/ 3501510 w 4493400"/>
              <a:gd name="connsiteY8967" fmla="*/ 3924584 h 4503132"/>
              <a:gd name="connsiteX8968" fmla="*/ 3480641 w 4493400"/>
              <a:gd name="connsiteY8968" fmla="*/ 3967748 h 4503132"/>
              <a:gd name="connsiteX8969" fmla="*/ 3457993 w 4493400"/>
              <a:gd name="connsiteY8969" fmla="*/ 4008073 h 4503132"/>
              <a:gd name="connsiteX8970" fmla="*/ 3443519 w 4493400"/>
              <a:gd name="connsiteY8970" fmla="*/ 4025973 h 4503132"/>
              <a:gd name="connsiteX8971" fmla="*/ 3427314 w 4493400"/>
              <a:gd name="connsiteY8971" fmla="*/ 4042527 h 4503132"/>
              <a:gd name="connsiteX8972" fmla="*/ 3410147 w 4493400"/>
              <a:gd name="connsiteY8972" fmla="*/ 4058070 h 4503132"/>
              <a:gd name="connsiteX8973" fmla="*/ 3401395 w 4493400"/>
              <a:gd name="connsiteY8973" fmla="*/ 4065673 h 4503132"/>
              <a:gd name="connsiteX8974" fmla="*/ 3397212 w 4493400"/>
              <a:gd name="connsiteY8974" fmla="*/ 4068897 h 4503132"/>
              <a:gd name="connsiteX8975" fmla="*/ 3409426 w 4493400"/>
              <a:gd name="connsiteY8975" fmla="*/ 4057107 h 4503132"/>
              <a:gd name="connsiteX8976" fmla="*/ 3421351 w 4493400"/>
              <a:gd name="connsiteY8976" fmla="*/ 4044259 h 4503132"/>
              <a:gd name="connsiteX8977" fmla="*/ 3432363 w 4493400"/>
              <a:gd name="connsiteY8977" fmla="*/ 4030593 h 4503132"/>
              <a:gd name="connsiteX8978" fmla="*/ 3449626 w 4493400"/>
              <a:gd name="connsiteY8978" fmla="*/ 3999555 h 4503132"/>
              <a:gd name="connsiteX8979" fmla="*/ 3457223 w 4493400"/>
              <a:gd name="connsiteY8979" fmla="*/ 3965535 h 4503132"/>
              <a:gd name="connsiteX8980" fmla="*/ 3466071 w 4493400"/>
              <a:gd name="connsiteY8980" fmla="*/ 3934112 h 4503132"/>
              <a:gd name="connsiteX8981" fmla="*/ 3469629 w 4493400"/>
              <a:gd name="connsiteY8981" fmla="*/ 3926798 h 4503132"/>
              <a:gd name="connsiteX8982" fmla="*/ 3473620 w 4493400"/>
              <a:gd name="connsiteY8982" fmla="*/ 3919724 h 4503132"/>
              <a:gd name="connsiteX8983" fmla="*/ 3482997 w 4493400"/>
              <a:gd name="connsiteY8983" fmla="*/ 3906299 h 4503132"/>
              <a:gd name="connsiteX8984" fmla="*/ 3493335 w 4493400"/>
              <a:gd name="connsiteY8984" fmla="*/ 3893402 h 4503132"/>
              <a:gd name="connsiteX8985" fmla="*/ 3504203 w 4493400"/>
              <a:gd name="connsiteY8985" fmla="*/ 3880891 h 4503132"/>
              <a:gd name="connsiteX8986" fmla="*/ 3549740 w 4493400"/>
              <a:gd name="connsiteY8986" fmla="*/ 3833156 h 4503132"/>
              <a:gd name="connsiteX8987" fmla="*/ 3644710 w 4493400"/>
              <a:gd name="connsiteY8987" fmla="*/ 3745000 h 4503132"/>
              <a:gd name="connsiteX8988" fmla="*/ 3742853 w 4493400"/>
              <a:gd name="connsiteY8988" fmla="*/ 3666468 h 4503132"/>
              <a:gd name="connsiteX8989" fmla="*/ 3755692 w 4493400"/>
              <a:gd name="connsiteY8989" fmla="*/ 3658287 h 4503132"/>
              <a:gd name="connsiteX8990" fmla="*/ 3769012 w 4493400"/>
              <a:gd name="connsiteY8990" fmla="*/ 3651406 h 4503132"/>
              <a:gd name="connsiteX8991" fmla="*/ 3797334 w 4493400"/>
              <a:gd name="connsiteY8991" fmla="*/ 3643659 h 4503132"/>
              <a:gd name="connsiteX8992" fmla="*/ 3826474 w 4493400"/>
              <a:gd name="connsiteY8992" fmla="*/ 3645150 h 4503132"/>
              <a:gd name="connsiteX8993" fmla="*/ 3856720 w 4493400"/>
              <a:gd name="connsiteY8993" fmla="*/ 3650540 h 4503132"/>
              <a:gd name="connsiteX8994" fmla="*/ 3887832 w 4493400"/>
              <a:gd name="connsiteY8994" fmla="*/ 3642985 h 4503132"/>
              <a:gd name="connsiteX8995" fmla="*/ 3894275 w 4493400"/>
              <a:gd name="connsiteY8995" fmla="*/ 3638365 h 4503132"/>
              <a:gd name="connsiteX8996" fmla="*/ 3900189 w 4493400"/>
              <a:gd name="connsiteY8996" fmla="*/ 3633120 h 4503132"/>
              <a:gd name="connsiteX8997" fmla="*/ 3902979 w 4493400"/>
              <a:gd name="connsiteY8997" fmla="*/ 3630281 h 4503132"/>
              <a:gd name="connsiteX8998" fmla="*/ 3905431 w 4493400"/>
              <a:gd name="connsiteY8998" fmla="*/ 3627346 h 4503132"/>
              <a:gd name="connsiteX8999" fmla="*/ 3910240 w 4493400"/>
              <a:gd name="connsiteY8999" fmla="*/ 3621427 h 4503132"/>
              <a:gd name="connsiteX9000" fmla="*/ 3942890 w 4493400"/>
              <a:gd name="connsiteY9000" fmla="*/ 3571911 h 4503132"/>
              <a:gd name="connsiteX9001" fmla="*/ 3999823 w 4493400"/>
              <a:gd name="connsiteY9001" fmla="*/ 3472014 h 4503132"/>
              <a:gd name="connsiteX9002" fmla="*/ 4006315 w 4493400"/>
              <a:gd name="connsiteY9002" fmla="*/ 3460225 h 4503132"/>
              <a:gd name="connsiteX9003" fmla="*/ 4005353 w 4493400"/>
              <a:gd name="connsiteY9003" fmla="*/ 3462246 h 4503132"/>
              <a:gd name="connsiteX9004" fmla="*/ 3996265 w 4493400"/>
              <a:gd name="connsiteY9004" fmla="*/ 3481831 h 4503132"/>
              <a:gd name="connsiteX9005" fmla="*/ 3987610 w 4493400"/>
              <a:gd name="connsiteY9005" fmla="*/ 3501752 h 4503132"/>
              <a:gd name="connsiteX9006" fmla="*/ 3974242 w 4493400"/>
              <a:gd name="connsiteY9006" fmla="*/ 3544339 h 4503132"/>
              <a:gd name="connsiteX9007" fmla="*/ 3974434 w 4493400"/>
              <a:gd name="connsiteY9007" fmla="*/ 3556513 h 4503132"/>
              <a:gd name="connsiteX9008" fmla="*/ 3981599 w 4493400"/>
              <a:gd name="connsiteY9008" fmla="*/ 3568591 h 4503132"/>
              <a:gd name="connsiteX9009" fmla="*/ 3995351 w 4493400"/>
              <a:gd name="connsiteY9009" fmla="*/ 3570805 h 4503132"/>
              <a:gd name="connsiteX9010" fmla="*/ 4006892 w 4493400"/>
              <a:gd name="connsiteY9010" fmla="*/ 3566859 h 4503132"/>
              <a:gd name="connsiteX9011" fmla="*/ 4043389 w 4493400"/>
              <a:gd name="connsiteY9011" fmla="*/ 3539478 h 4503132"/>
              <a:gd name="connsiteX9012" fmla="*/ 4071279 w 4493400"/>
              <a:gd name="connsiteY9012" fmla="*/ 3509259 h 4503132"/>
              <a:gd name="connsiteX9013" fmla="*/ 4057238 w 4493400"/>
              <a:gd name="connsiteY9013" fmla="*/ 3530288 h 4503132"/>
              <a:gd name="connsiteX9014" fmla="*/ 4042187 w 4493400"/>
              <a:gd name="connsiteY9014" fmla="*/ 3553337 h 4503132"/>
              <a:gd name="connsiteX9015" fmla="*/ 4038388 w 4493400"/>
              <a:gd name="connsiteY9015" fmla="*/ 3559400 h 4503132"/>
              <a:gd name="connsiteX9016" fmla="*/ 4036513 w 4493400"/>
              <a:gd name="connsiteY9016" fmla="*/ 3562528 h 4503132"/>
              <a:gd name="connsiteX9017" fmla="*/ 4035551 w 4493400"/>
              <a:gd name="connsiteY9017" fmla="*/ 3564212 h 4503132"/>
              <a:gd name="connsiteX9018" fmla="*/ 4035070 w 4493400"/>
              <a:gd name="connsiteY9018" fmla="*/ 3565127 h 4503132"/>
              <a:gd name="connsiteX9019" fmla="*/ 4034830 w 4493400"/>
              <a:gd name="connsiteY9019" fmla="*/ 3565608 h 4503132"/>
              <a:gd name="connsiteX9020" fmla="*/ 4034301 w 4493400"/>
              <a:gd name="connsiteY9020" fmla="*/ 3567196 h 4503132"/>
              <a:gd name="connsiteX9021" fmla="*/ 4034060 w 4493400"/>
              <a:gd name="connsiteY9021" fmla="*/ 3568928 h 4503132"/>
              <a:gd name="connsiteX9022" fmla="*/ 4034878 w 4493400"/>
              <a:gd name="connsiteY9022" fmla="*/ 3571575 h 4503132"/>
              <a:gd name="connsiteX9023" fmla="*/ 4035743 w 4493400"/>
              <a:gd name="connsiteY9023" fmla="*/ 3572681 h 4503132"/>
              <a:gd name="connsiteX9024" fmla="*/ 4037330 w 4493400"/>
              <a:gd name="connsiteY9024" fmla="*/ 3573740 h 4503132"/>
              <a:gd name="connsiteX9025" fmla="*/ 4040263 w 4493400"/>
              <a:gd name="connsiteY9025" fmla="*/ 3574173 h 4503132"/>
              <a:gd name="connsiteX9026" fmla="*/ 4041466 w 4493400"/>
              <a:gd name="connsiteY9026" fmla="*/ 3573884 h 4503132"/>
              <a:gd name="connsiteX9027" fmla="*/ 4042764 w 4493400"/>
              <a:gd name="connsiteY9027" fmla="*/ 3573307 h 4503132"/>
              <a:gd name="connsiteX9028" fmla="*/ 4045024 w 4493400"/>
              <a:gd name="connsiteY9028" fmla="*/ 3571671 h 4503132"/>
              <a:gd name="connsiteX9029" fmla="*/ 4048005 w 4493400"/>
              <a:gd name="connsiteY9029" fmla="*/ 3568928 h 4503132"/>
              <a:gd name="connsiteX9030" fmla="*/ 4049448 w 4493400"/>
              <a:gd name="connsiteY9030" fmla="*/ 3567436 h 4503132"/>
              <a:gd name="connsiteX9031" fmla="*/ 4049448 w 4493400"/>
              <a:gd name="connsiteY9031" fmla="*/ 3567484 h 4503132"/>
              <a:gd name="connsiteX9032" fmla="*/ 4020308 w 4493400"/>
              <a:gd name="connsiteY9032" fmla="*/ 3608435 h 4503132"/>
              <a:gd name="connsiteX9033" fmla="*/ 4006075 w 4493400"/>
              <a:gd name="connsiteY9033" fmla="*/ 3629415 h 4503132"/>
              <a:gd name="connsiteX9034" fmla="*/ 4411486 w 4493400"/>
              <a:gd name="connsiteY9034" fmla="*/ 2762819 h 4503132"/>
              <a:gd name="connsiteX9035" fmla="*/ 4404273 w 4493400"/>
              <a:gd name="connsiteY9035" fmla="*/ 2808004 h 4503132"/>
              <a:gd name="connsiteX9036" fmla="*/ 4405043 w 4493400"/>
              <a:gd name="connsiteY9036" fmla="*/ 2801845 h 4503132"/>
              <a:gd name="connsiteX9037" fmla="*/ 4406197 w 4493400"/>
              <a:gd name="connsiteY9037" fmla="*/ 2788900 h 4503132"/>
              <a:gd name="connsiteX9038" fmla="*/ 4406101 w 4493400"/>
              <a:gd name="connsiteY9038" fmla="*/ 2784473 h 4503132"/>
              <a:gd name="connsiteX9039" fmla="*/ 4402927 w 4493400"/>
              <a:gd name="connsiteY9039" fmla="*/ 2801556 h 4503132"/>
              <a:gd name="connsiteX9040" fmla="*/ 4393310 w 4493400"/>
              <a:gd name="connsiteY9040" fmla="*/ 2850302 h 4503132"/>
              <a:gd name="connsiteX9041" fmla="*/ 4391483 w 4493400"/>
              <a:gd name="connsiteY9041" fmla="*/ 2858578 h 4503132"/>
              <a:gd name="connsiteX9042" fmla="*/ 4394993 w 4493400"/>
              <a:gd name="connsiteY9042" fmla="*/ 2837887 h 4503132"/>
              <a:gd name="connsiteX9043" fmla="*/ 4396147 w 4493400"/>
              <a:gd name="connsiteY9043" fmla="*/ 2808870 h 4503132"/>
              <a:gd name="connsiteX9044" fmla="*/ 4388357 w 4493400"/>
              <a:gd name="connsiteY9044" fmla="*/ 2778891 h 4503132"/>
              <a:gd name="connsiteX9045" fmla="*/ 4375374 w 4493400"/>
              <a:gd name="connsiteY9045" fmla="*/ 2766717 h 4503132"/>
              <a:gd name="connsiteX9046" fmla="*/ 4365612 w 4493400"/>
              <a:gd name="connsiteY9046" fmla="*/ 2765803 h 4503132"/>
              <a:gd name="connsiteX9047" fmla="*/ 4356957 w 4493400"/>
              <a:gd name="connsiteY9047" fmla="*/ 2768930 h 4503132"/>
              <a:gd name="connsiteX9048" fmla="*/ 4343926 w 4493400"/>
              <a:gd name="connsiteY9048" fmla="*/ 2779806 h 4503132"/>
              <a:gd name="connsiteX9049" fmla="*/ 4334020 w 4493400"/>
              <a:gd name="connsiteY9049" fmla="*/ 2792798 h 4503132"/>
              <a:gd name="connsiteX9050" fmla="*/ 4303389 w 4493400"/>
              <a:gd name="connsiteY9050" fmla="*/ 2851456 h 4503132"/>
              <a:gd name="connsiteX9051" fmla="*/ 4289204 w 4493400"/>
              <a:gd name="connsiteY9051" fmla="*/ 2886536 h 4503132"/>
              <a:gd name="connsiteX9052" fmla="*/ 4302668 w 4493400"/>
              <a:gd name="connsiteY9052" fmla="*/ 2847270 h 4503132"/>
              <a:gd name="connsiteX9053" fmla="*/ 4344454 w 4493400"/>
              <a:gd name="connsiteY9053" fmla="*/ 2752714 h 4503132"/>
              <a:gd name="connsiteX9054" fmla="*/ 4350417 w 4493400"/>
              <a:gd name="connsiteY9054" fmla="*/ 2743282 h 4503132"/>
              <a:gd name="connsiteX9055" fmla="*/ 4356909 w 4493400"/>
              <a:gd name="connsiteY9055" fmla="*/ 2734765 h 4503132"/>
              <a:gd name="connsiteX9056" fmla="*/ 4370469 w 4493400"/>
              <a:gd name="connsiteY9056" fmla="*/ 2720040 h 4503132"/>
              <a:gd name="connsiteX9057" fmla="*/ 4385616 w 4493400"/>
              <a:gd name="connsiteY9057" fmla="*/ 2712245 h 4503132"/>
              <a:gd name="connsiteX9058" fmla="*/ 4397397 w 4493400"/>
              <a:gd name="connsiteY9058" fmla="*/ 2719559 h 4503132"/>
              <a:gd name="connsiteX9059" fmla="*/ 4402590 w 4493400"/>
              <a:gd name="connsiteY9059" fmla="*/ 2733177 h 4503132"/>
              <a:gd name="connsiteX9060" fmla="*/ 4404802 w 4493400"/>
              <a:gd name="connsiteY9060" fmla="*/ 2746170 h 4503132"/>
              <a:gd name="connsiteX9061" fmla="*/ 4405956 w 4493400"/>
              <a:gd name="connsiteY9061" fmla="*/ 2767006 h 4503132"/>
              <a:gd name="connsiteX9062" fmla="*/ 4406004 w 4493400"/>
              <a:gd name="connsiteY9062" fmla="*/ 2784329 h 4503132"/>
              <a:gd name="connsiteX9063" fmla="*/ 4406918 w 4493400"/>
              <a:gd name="connsiteY9063" fmla="*/ 2779998 h 4503132"/>
              <a:gd name="connsiteX9064" fmla="*/ 4408120 w 4493400"/>
              <a:gd name="connsiteY9064" fmla="*/ 2767054 h 4503132"/>
              <a:gd name="connsiteX9065" fmla="*/ 4407976 w 4493400"/>
              <a:gd name="connsiteY9065" fmla="*/ 2745881 h 4503132"/>
              <a:gd name="connsiteX9066" fmla="*/ 4406149 w 4493400"/>
              <a:gd name="connsiteY9066" fmla="*/ 2732359 h 4503132"/>
              <a:gd name="connsiteX9067" fmla="*/ 4400907 w 4493400"/>
              <a:gd name="connsiteY9067" fmla="*/ 2717394 h 4503132"/>
              <a:gd name="connsiteX9068" fmla="*/ 4394945 w 4493400"/>
              <a:gd name="connsiteY9068" fmla="*/ 2710464 h 4503132"/>
              <a:gd name="connsiteX9069" fmla="*/ 4385327 w 4493400"/>
              <a:gd name="connsiteY9069" fmla="*/ 2707625 h 4503132"/>
              <a:gd name="connsiteX9070" fmla="*/ 4367199 w 4493400"/>
              <a:gd name="connsiteY9070" fmla="*/ 2716094 h 4503132"/>
              <a:gd name="connsiteX9071" fmla="*/ 4352629 w 4493400"/>
              <a:gd name="connsiteY9071" fmla="*/ 2731204 h 4503132"/>
              <a:gd name="connsiteX9072" fmla="*/ 4345705 w 4493400"/>
              <a:gd name="connsiteY9072" fmla="*/ 2739914 h 4503132"/>
              <a:gd name="connsiteX9073" fmla="*/ 4339406 w 4493400"/>
              <a:gd name="connsiteY9073" fmla="*/ 2749490 h 4503132"/>
              <a:gd name="connsiteX9074" fmla="*/ 4295551 w 4493400"/>
              <a:gd name="connsiteY9074" fmla="*/ 2844624 h 4503132"/>
              <a:gd name="connsiteX9075" fmla="*/ 4279395 w 4493400"/>
              <a:gd name="connsiteY9075" fmla="*/ 2890097 h 4503132"/>
              <a:gd name="connsiteX9076" fmla="*/ 4295311 w 4493400"/>
              <a:gd name="connsiteY9076" fmla="*/ 2842169 h 4503132"/>
              <a:gd name="connsiteX9077" fmla="*/ 4325124 w 4493400"/>
              <a:gd name="connsiteY9077" fmla="*/ 2761183 h 4503132"/>
              <a:gd name="connsiteX9078" fmla="*/ 4364266 w 4493400"/>
              <a:gd name="connsiteY9078" fmla="*/ 2688522 h 4503132"/>
              <a:gd name="connsiteX9079" fmla="*/ 4377345 w 4493400"/>
              <a:gd name="connsiteY9079" fmla="*/ 2673556 h 4503132"/>
              <a:gd name="connsiteX9080" fmla="*/ 4384558 w 4493400"/>
              <a:gd name="connsiteY9080" fmla="*/ 2667108 h 4503132"/>
              <a:gd name="connsiteX9081" fmla="*/ 4391771 w 4493400"/>
              <a:gd name="connsiteY9081" fmla="*/ 2663403 h 4503132"/>
              <a:gd name="connsiteX9082" fmla="*/ 4404177 w 4493400"/>
              <a:gd name="connsiteY9082" fmla="*/ 2669755 h 4503132"/>
              <a:gd name="connsiteX9083" fmla="*/ 4411101 w 4493400"/>
              <a:gd name="connsiteY9083" fmla="*/ 2686693 h 4503132"/>
              <a:gd name="connsiteX9084" fmla="*/ 4414612 w 4493400"/>
              <a:gd name="connsiteY9084" fmla="*/ 2724756 h 4503132"/>
              <a:gd name="connsiteX9085" fmla="*/ 4411438 w 4493400"/>
              <a:gd name="connsiteY9085" fmla="*/ 2762819 h 4503132"/>
              <a:gd name="connsiteX9086" fmla="*/ 4045890 w 4493400"/>
              <a:gd name="connsiteY9086" fmla="*/ 3460850 h 4503132"/>
              <a:gd name="connsiteX9087" fmla="*/ 4049640 w 4493400"/>
              <a:gd name="connsiteY9087" fmla="*/ 3468164 h 4503132"/>
              <a:gd name="connsiteX9088" fmla="*/ 4054112 w 4493400"/>
              <a:gd name="connsiteY9088" fmla="*/ 3470811 h 4503132"/>
              <a:gd name="connsiteX9089" fmla="*/ 4056613 w 4493400"/>
              <a:gd name="connsiteY9089" fmla="*/ 3471340 h 4503132"/>
              <a:gd name="connsiteX9090" fmla="*/ 4058825 w 4493400"/>
              <a:gd name="connsiteY9090" fmla="*/ 3471244 h 4503132"/>
              <a:gd name="connsiteX9091" fmla="*/ 4065797 w 4493400"/>
              <a:gd name="connsiteY9091" fmla="*/ 3469079 h 4503132"/>
              <a:gd name="connsiteX9092" fmla="*/ 4075703 w 4493400"/>
              <a:gd name="connsiteY9092" fmla="*/ 3462342 h 4503132"/>
              <a:gd name="connsiteX9093" fmla="*/ 4082194 w 4493400"/>
              <a:gd name="connsiteY9093" fmla="*/ 3456423 h 4503132"/>
              <a:gd name="connsiteX9094" fmla="*/ 4065557 w 4493400"/>
              <a:gd name="connsiteY9094" fmla="*/ 3474949 h 4503132"/>
              <a:gd name="connsiteX9095" fmla="*/ 4061133 w 4493400"/>
              <a:gd name="connsiteY9095" fmla="*/ 3479425 h 4503132"/>
              <a:gd name="connsiteX9096" fmla="*/ 4056468 w 4493400"/>
              <a:gd name="connsiteY9096" fmla="*/ 3483467 h 4503132"/>
              <a:gd name="connsiteX9097" fmla="*/ 4051804 w 4493400"/>
              <a:gd name="connsiteY9097" fmla="*/ 3487461 h 4503132"/>
              <a:gd name="connsiteX9098" fmla="*/ 4046803 w 4493400"/>
              <a:gd name="connsiteY9098" fmla="*/ 3491118 h 4503132"/>
              <a:gd name="connsiteX9099" fmla="*/ 4036513 w 4493400"/>
              <a:gd name="connsiteY9099" fmla="*/ 3497325 h 4503132"/>
              <a:gd name="connsiteX9100" fmla="*/ 4033964 w 4493400"/>
              <a:gd name="connsiteY9100" fmla="*/ 3498432 h 4503132"/>
              <a:gd name="connsiteX9101" fmla="*/ 4031560 w 4493400"/>
              <a:gd name="connsiteY9101" fmla="*/ 3499250 h 4503132"/>
              <a:gd name="connsiteX9102" fmla="*/ 4028579 w 4493400"/>
              <a:gd name="connsiteY9102" fmla="*/ 3499491 h 4503132"/>
              <a:gd name="connsiteX9103" fmla="*/ 4027905 w 4493400"/>
              <a:gd name="connsiteY9103" fmla="*/ 3498191 h 4503132"/>
              <a:gd name="connsiteX9104" fmla="*/ 4027521 w 4493400"/>
              <a:gd name="connsiteY9104" fmla="*/ 3493476 h 4503132"/>
              <a:gd name="connsiteX9105" fmla="*/ 4029396 w 4493400"/>
              <a:gd name="connsiteY9105" fmla="*/ 3481879 h 4503132"/>
              <a:gd name="connsiteX9106" fmla="*/ 4036898 w 4493400"/>
              <a:gd name="connsiteY9106" fmla="*/ 3458156 h 4503132"/>
              <a:gd name="connsiteX9107" fmla="*/ 4055747 w 4493400"/>
              <a:gd name="connsiteY9107" fmla="*/ 3412971 h 4503132"/>
              <a:gd name="connsiteX9108" fmla="*/ 4046707 w 4493400"/>
              <a:gd name="connsiteY9108" fmla="*/ 3442276 h 4503132"/>
              <a:gd name="connsiteX9109" fmla="*/ 4045697 w 4493400"/>
              <a:gd name="connsiteY9109" fmla="*/ 3448050 h 4503132"/>
              <a:gd name="connsiteX9110" fmla="*/ 4045313 w 4493400"/>
              <a:gd name="connsiteY9110" fmla="*/ 3450985 h 4503132"/>
              <a:gd name="connsiteX9111" fmla="*/ 4045216 w 4493400"/>
              <a:gd name="connsiteY9111" fmla="*/ 3454113 h 4503132"/>
              <a:gd name="connsiteX9112" fmla="*/ 4045842 w 4493400"/>
              <a:gd name="connsiteY9112" fmla="*/ 3460802 h 4503132"/>
              <a:gd name="connsiteX9113" fmla="*/ 4017663 w 4493400"/>
              <a:gd name="connsiteY9113" fmla="*/ 3501127 h 4503132"/>
              <a:gd name="connsiteX9114" fmla="*/ 4018433 w 4493400"/>
              <a:gd name="connsiteY9114" fmla="*/ 3503388 h 4503132"/>
              <a:gd name="connsiteX9115" fmla="*/ 4019827 w 4493400"/>
              <a:gd name="connsiteY9115" fmla="*/ 3505794 h 4503132"/>
              <a:gd name="connsiteX9116" fmla="*/ 4024588 w 4493400"/>
              <a:gd name="connsiteY9116" fmla="*/ 3509500 h 4503132"/>
              <a:gd name="connsiteX9117" fmla="*/ 4034205 w 4493400"/>
              <a:gd name="connsiteY9117" fmla="*/ 3509740 h 4503132"/>
              <a:gd name="connsiteX9118" fmla="*/ 4037907 w 4493400"/>
              <a:gd name="connsiteY9118" fmla="*/ 3508537 h 4503132"/>
              <a:gd name="connsiteX9119" fmla="*/ 4041225 w 4493400"/>
              <a:gd name="connsiteY9119" fmla="*/ 3507094 h 4503132"/>
              <a:gd name="connsiteX9120" fmla="*/ 4052958 w 4493400"/>
              <a:gd name="connsiteY9120" fmla="*/ 3500020 h 4503132"/>
              <a:gd name="connsiteX9121" fmla="*/ 4057815 w 4493400"/>
              <a:gd name="connsiteY9121" fmla="*/ 3496459 h 4503132"/>
              <a:gd name="connsiteX9122" fmla="*/ 4053343 w 4493400"/>
              <a:gd name="connsiteY9122" fmla="*/ 3500982 h 4503132"/>
              <a:gd name="connsiteX9123" fmla="*/ 4027473 w 4493400"/>
              <a:gd name="connsiteY9123" fmla="*/ 3522348 h 4503132"/>
              <a:gd name="connsiteX9124" fmla="*/ 4014009 w 4493400"/>
              <a:gd name="connsiteY9124" fmla="*/ 3528411 h 4503132"/>
              <a:gd name="connsiteX9125" fmla="*/ 4010354 w 4493400"/>
              <a:gd name="connsiteY9125" fmla="*/ 3527497 h 4503132"/>
              <a:gd name="connsiteX9126" fmla="*/ 4008719 w 4493400"/>
              <a:gd name="connsiteY9126" fmla="*/ 3522348 h 4503132"/>
              <a:gd name="connsiteX9127" fmla="*/ 4010306 w 4493400"/>
              <a:gd name="connsiteY9127" fmla="*/ 3507046 h 4503132"/>
              <a:gd name="connsiteX9128" fmla="*/ 4014826 w 4493400"/>
              <a:gd name="connsiteY9128" fmla="*/ 3491406 h 4503132"/>
              <a:gd name="connsiteX9129" fmla="*/ 4019154 w 4493400"/>
              <a:gd name="connsiteY9129" fmla="*/ 3479521 h 4503132"/>
              <a:gd name="connsiteX9130" fmla="*/ 4016990 w 4493400"/>
              <a:gd name="connsiteY9130" fmla="*/ 3493139 h 4503132"/>
              <a:gd name="connsiteX9131" fmla="*/ 4017759 w 4493400"/>
              <a:gd name="connsiteY9131" fmla="*/ 3501175 h 4503132"/>
              <a:gd name="connsiteX9132" fmla="*/ 4023963 w 4493400"/>
              <a:gd name="connsiteY9132" fmla="*/ 3443720 h 4503132"/>
              <a:gd name="connsiteX9133" fmla="*/ 4018048 w 4493400"/>
              <a:gd name="connsiteY9133" fmla="*/ 3457049 h 4503132"/>
              <a:gd name="connsiteX9134" fmla="*/ 4011749 w 4493400"/>
              <a:gd name="connsiteY9134" fmla="*/ 3472543 h 4503132"/>
              <a:gd name="connsiteX9135" fmla="*/ 4005930 w 4493400"/>
              <a:gd name="connsiteY9135" fmla="*/ 3488375 h 4503132"/>
              <a:gd name="connsiteX9136" fmla="*/ 4001122 w 4493400"/>
              <a:gd name="connsiteY9136" fmla="*/ 3504976 h 4503132"/>
              <a:gd name="connsiteX9137" fmla="*/ 3999295 w 4493400"/>
              <a:gd name="connsiteY9137" fmla="*/ 3523214 h 4503132"/>
              <a:gd name="connsiteX9138" fmla="*/ 4003189 w 4493400"/>
              <a:gd name="connsiteY9138" fmla="*/ 3533800 h 4503132"/>
              <a:gd name="connsiteX9139" fmla="*/ 4008960 w 4493400"/>
              <a:gd name="connsiteY9139" fmla="*/ 3537457 h 4503132"/>
              <a:gd name="connsiteX9140" fmla="*/ 4015018 w 4493400"/>
              <a:gd name="connsiteY9140" fmla="*/ 3537890 h 4503132"/>
              <a:gd name="connsiteX9141" fmla="*/ 4032666 w 4493400"/>
              <a:gd name="connsiteY9141" fmla="*/ 3530432 h 4503132"/>
              <a:gd name="connsiteX9142" fmla="*/ 4060027 w 4493400"/>
              <a:gd name="connsiteY9142" fmla="*/ 3508056 h 4503132"/>
              <a:gd name="connsiteX9143" fmla="*/ 4067913 w 4493400"/>
              <a:gd name="connsiteY9143" fmla="*/ 3500068 h 4503132"/>
              <a:gd name="connsiteX9144" fmla="*/ 4037378 w 4493400"/>
              <a:gd name="connsiteY9144" fmla="*/ 3533560 h 4503132"/>
              <a:gd name="connsiteX9145" fmla="*/ 4003238 w 4493400"/>
              <a:gd name="connsiteY9145" fmla="*/ 3559400 h 4503132"/>
              <a:gd name="connsiteX9146" fmla="*/ 3993957 w 4493400"/>
              <a:gd name="connsiteY9146" fmla="*/ 3562624 h 4503132"/>
              <a:gd name="connsiteX9147" fmla="*/ 3986455 w 4493400"/>
              <a:gd name="connsiteY9147" fmla="*/ 3561710 h 4503132"/>
              <a:gd name="connsiteX9148" fmla="*/ 3982945 w 4493400"/>
              <a:gd name="connsiteY9148" fmla="*/ 3555262 h 4503132"/>
              <a:gd name="connsiteX9149" fmla="*/ 3982849 w 4493400"/>
              <a:gd name="connsiteY9149" fmla="*/ 3545590 h 4503132"/>
              <a:gd name="connsiteX9150" fmla="*/ 3987706 w 4493400"/>
              <a:gd name="connsiteY9150" fmla="*/ 3525283 h 4503132"/>
              <a:gd name="connsiteX9151" fmla="*/ 3995544 w 4493400"/>
              <a:gd name="connsiteY9151" fmla="*/ 3505361 h 4503132"/>
              <a:gd name="connsiteX9152" fmla="*/ 4004055 w 4493400"/>
              <a:gd name="connsiteY9152" fmla="*/ 3485632 h 4503132"/>
              <a:gd name="connsiteX9153" fmla="*/ 4013047 w 4493400"/>
              <a:gd name="connsiteY9153" fmla="*/ 3466192 h 4503132"/>
              <a:gd name="connsiteX9154" fmla="*/ 4024010 w 4493400"/>
              <a:gd name="connsiteY9154" fmla="*/ 3443767 h 4503132"/>
              <a:gd name="connsiteX9155" fmla="*/ 4097534 w 4493400"/>
              <a:gd name="connsiteY9155" fmla="*/ 3423894 h 4503132"/>
              <a:gd name="connsiteX9156" fmla="*/ 4069019 w 4493400"/>
              <a:gd name="connsiteY9156" fmla="*/ 3454210 h 4503132"/>
              <a:gd name="connsiteX9157" fmla="*/ 4061181 w 4493400"/>
              <a:gd name="connsiteY9157" fmla="*/ 3459599 h 4503132"/>
              <a:gd name="connsiteX9158" fmla="*/ 4057959 w 4493400"/>
              <a:gd name="connsiteY9158" fmla="*/ 3460706 h 4503132"/>
              <a:gd name="connsiteX9159" fmla="*/ 4057478 w 4493400"/>
              <a:gd name="connsiteY9159" fmla="*/ 3460706 h 4503132"/>
              <a:gd name="connsiteX9160" fmla="*/ 4057334 w 4493400"/>
              <a:gd name="connsiteY9160" fmla="*/ 3460706 h 4503132"/>
              <a:gd name="connsiteX9161" fmla="*/ 4057190 w 4493400"/>
              <a:gd name="connsiteY9161" fmla="*/ 3460706 h 4503132"/>
              <a:gd name="connsiteX9162" fmla="*/ 4056228 w 4493400"/>
              <a:gd name="connsiteY9162" fmla="*/ 3458348 h 4503132"/>
              <a:gd name="connsiteX9163" fmla="*/ 4055939 w 4493400"/>
              <a:gd name="connsiteY9163" fmla="*/ 3454258 h 4503132"/>
              <a:gd name="connsiteX9164" fmla="*/ 4055939 w 4493400"/>
              <a:gd name="connsiteY9164" fmla="*/ 3451948 h 4503132"/>
              <a:gd name="connsiteX9165" fmla="*/ 4056324 w 4493400"/>
              <a:gd name="connsiteY9165" fmla="*/ 3449494 h 4503132"/>
              <a:gd name="connsiteX9166" fmla="*/ 4057190 w 4493400"/>
              <a:gd name="connsiteY9166" fmla="*/ 3444489 h 4503132"/>
              <a:gd name="connsiteX9167" fmla="*/ 4070606 w 4493400"/>
              <a:gd name="connsiteY9167" fmla="*/ 3404405 h 4503132"/>
              <a:gd name="connsiteX9168" fmla="*/ 4067528 w 4493400"/>
              <a:gd name="connsiteY9168" fmla="*/ 3420237 h 4503132"/>
              <a:gd name="connsiteX9169" fmla="*/ 4067672 w 4493400"/>
              <a:gd name="connsiteY9169" fmla="*/ 3425241 h 4503132"/>
              <a:gd name="connsiteX9170" fmla="*/ 4068346 w 4493400"/>
              <a:gd name="connsiteY9170" fmla="*/ 3428225 h 4503132"/>
              <a:gd name="connsiteX9171" fmla="*/ 4070221 w 4493400"/>
              <a:gd name="connsiteY9171" fmla="*/ 3431497 h 4503132"/>
              <a:gd name="connsiteX9172" fmla="*/ 4076568 w 4493400"/>
              <a:gd name="connsiteY9172" fmla="*/ 3434865 h 4503132"/>
              <a:gd name="connsiteX9173" fmla="*/ 4083012 w 4493400"/>
              <a:gd name="connsiteY9173" fmla="*/ 3433422 h 4503132"/>
              <a:gd name="connsiteX9174" fmla="*/ 4096812 w 4493400"/>
              <a:gd name="connsiteY9174" fmla="*/ 3422595 h 4503132"/>
              <a:gd name="connsiteX9175" fmla="*/ 4111719 w 4493400"/>
              <a:gd name="connsiteY9175" fmla="*/ 3405753 h 4503132"/>
              <a:gd name="connsiteX9176" fmla="*/ 4097486 w 4493400"/>
              <a:gd name="connsiteY9176" fmla="*/ 3423846 h 4503132"/>
              <a:gd name="connsiteX9177" fmla="*/ 4037667 w 4493400"/>
              <a:gd name="connsiteY9177" fmla="*/ 3564645 h 4503132"/>
              <a:gd name="connsiteX9178" fmla="*/ 4037667 w 4493400"/>
              <a:gd name="connsiteY9178" fmla="*/ 3564645 h 4503132"/>
              <a:gd name="connsiteX9179" fmla="*/ 4037667 w 4493400"/>
              <a:gd name="connsiteY9179" fmla="*/ 3564645 h 4503132"/>
              <a:gd name="connsiteX9180" fmla="*/ 4037667 w 4493400"/>
              <a:gd name="connsiteY9180" fmla="*/ 3564645 h 4503132"/>
              <a:gd name="connsiteX9181" fmla="*/ 4026751 w 4493400"/>
              <a:gd name="connsiteY9181" fmla="*/ 3622197 h 4503132"/>
              <a:gd name="connsiteX9182" fmla="*/ 4026751 w 4493400"/>
              <a:gd name="connsiteY9182" fmla="*/ 3622197 h 4503132"/>
              <a:gd name="connsiteX9183" fmla="*/ 4026751 w 4493400"/>
              <a:gd name="connsiteY9183" fmla="*/ 3622197 h 4503132"/>
              <a:gd name="connsiteX9184" fmla="*/ 4226067 w 4493400"/>
              <a:gd name="connsiteY9184" fmla="*/ 3292141 h 4503132"/>
              <a:gd name="connsiteX9185" fmla="*/ 4225731 w 4493400"/>
              <a:gd name="connsiteY9185" fmla="*/ 3293633 h 4503132"/>
              <a:gd name="connsiteX9186" fmla="*/ 4224048 w 4493400"/>
              <a:gd name="connsiteY9186" fmla="*/ 3297867 h 4503132"/>
              <a:gd name="connsiteX9187" fmla="*/ 4221740 w 4493400"/>
              <a:gd name="connsiteY9187" fmla="*/ 3303209 h 4503132"/>
              <a:gd name="connsiteX9188" fmla="*/ 4211449 w 4493400"/>
              <a:gd name="connsiteY9188" fmla="*/ 3324333 h 4503132"/>
              <a:gd name="connsiteX9189" fmla="*/ 4210151 w 4493400"/>
              <a:gd name="connsiteY9189" fmla="*/ 3322986 h 4503132"/>
              <a:gd name="connsiteX9190" fmla="*/ 4206208 w 4493400"/>
              <a:gd name="connsiteY9190" fmla="*/ 3323323 h 4503132"/>
              <a:gd name="connsiteX9191" fmla="*/ 4197841 w 4493400"/>
              <a:gd name="connsiteY9191" fmla="*/ 3329915 h 4503132"/>
              <a:gd name="connsiteX9192" fmla="*/ 4193513 w 4493400"/>
              <a:gd name="connsiteY9192" fmla="*/ 3334968 h 4503132"/>
              <a:gd name="connsiteX9193" fmla="*/ 4190436 w 4493400"/>
              <a:gd name="connsiteY9193" fmla="*/ 3338865 h 4503132"/>
              <a:gd name="connsiteX9194" fmla="*/ 4174423 w 4493400"/>
              <a:gd name="connsiteY9194" fmla="*/ 3361338 h 4503132"/>
              <a:gd name="connsiteX9195" fmla="*/ 4162402 w 4493400"/>
              <a:gd name="connsiteY9195" fmla="*/ 3381644 h 4503132"/>
              <a:gd name="connsiteX9196" fmla="*/ 4177741 w 4493400"/>
              <a:gd name="connsiteY9196" fmla="*/ 3363888 h 4503132"/>
              <a:gd name="connsiteX9197" fmla="*/ 4195148 w 4493400"/>
              <a:gd name="connsiteY9197" fmla="*/ 3342619 h 4503132"/>
              <a:gd name="connsiteX9198" fmla="*/ 4198418 w 4493400"/>
              <a:gd name="connsiteY9198" fmla="*/ 3338962 h 4503132"/>
              <a:gd name="connsiteX9199" fmla="*/ 4200678 w 4493400"/>
              <a:gd name="connsiteY9199" fmla="*/ 3336941 h 4503132"/>
              <a:gd name="connsiteX9200" fmla="*/ 4201976 w 4493400"/>
              <a:gd name="connsiteY9200" fmla="*/ 3336508 h 4503132"/>
              <a:gd name="connsiteX9201" fmla="*/ 4201976 w 4493400"/>
              <a:gd name="connsiteY9201" fmla="*/ 3338240 h 4503132"/>
              <a:gd name="connsiteX9202" fmla="*/ 4200678 w 4493400"/>
              <a:gd name="connsiteY9202" fmla="*/ 3341368 h 4503132"/>
              <a:gd name="connsiteX9203" fmla="*/ 4197649 w 4493400"/>
              <a:gd name="connsiteY9203" fmla="*/ 3347431 h 4503132"/>
              <a:gd name="connsiteX9204" fmla="*/ 4192647 w 4493400"/>
              <a:gd name="connsiteY9204" fmla="*/ 3356911 h 4503132"/>
              <a:gd name="connsiteX9205" fmla="*/ 4191686 w 4493400"/>
              <a:gd name="connsiteY9205" fmla="*/ 3358595 h 4503132"/>
              <a:gd name="connsiteX9206" fmla="*/ 4190676 w 4493400"/>
              <a:gd name="connsiteY9206" fmla="*/ 3357729 h 4503132"/>
              <a:gd name="connsiteX9207" fmla="*/ 4189282 w 4493400"/>
              <a:gd name="connsiteY9207" fmla="*/ 3357247 h 4503132"/>
              <a:gd name="connsiteX9208" fmla="*/ 4188512 w 4493400"/>
              <a:gd name="connsiteY9208" fmla="*/ 3357247 h 4503132"/>
              <a:gd name="connsiteX9209" fmla="*/ 4187310 w 4493400"/>
              <a:gd name="connsiteY9209" fmla="*/ 3357488 h 4503132"/>
              <a:gd name="connsiteX9210" fmla="*/ 4186396 w 4493400"/>
              <a:gd name="connsiteY9210" fmla="*/ 3357921 h 4503132"/>
              <a:gd name="connsiteX9211" fmla="*/ 4185579 w 4493400"/>
              <a:gd name="connsiteY9211" fmla="*/ 3358547 h 4503132"/>
              <a:gd name="connsiteX9212" fmla="*/ 4183896 w 4493400"/>
              <a:gd name="connsiteY9212" fmla="*/ 3360327 h 4503132"/>
              <a:gd name="connsiteX9213" fmla="*/ 4181491 w 4493400"/>
              <a:gd name="connsiteY9213" fmla="*/ 3363455 h 4503132"/>
              <a:gd name="connsiteX9214" fmla="*/ 4177549 w 4493400"/>
              <a:gd name="connsiteY9214" fmla="*/ 3369181 h 4503132"/>
              <a:gd name="connsiteX9215" fmla="*/ 4171778 w 4493400"/>
              <a:gd name="connsiteY9215" fmla="*/ 3378516 h 4503132"/>
              <a:gd name="connsiteX9216" fmla="*/ 4168027 w 4493400"/>
              <a:gd name="connsiteY9216" fmla="*/ 3387274 h 4503132"/>
              <a:gd name="connsiteX9217" fmla="*/ 4170191 w 4493400"/>
              <a:gd name="connsiteY9217" fmla="*/ 3386023 h 4503132"/>
              <a:gd name="connsiteX9218" fmla="*/ 4166537 w 4493400"/>
              <a:gd name="connsiteY9218" fmla="*/ 3391894 h 4503132"/>
              <a:gd name="connsiteX9219" fmla="*/ 4168027 w 4493400"/>
              <a:gd name="connsiteY9219" fmla="*/ 3387274 h 4503132"/>
              <a:gd name="connsiteX9220" fmla="*/ 4145091 w 4493400"/>
              <a:gd name="connsiteY9220" fmla="*/ 3413596 h 4503132"/>
              <a:gd name="connsiteX9221" fmla="*/ 4125039 w 4493400"/>
              <a:gd name="connsiteY9221" fmla="*/ 3446173 h 4503132"/>
              <a:gd name="connsiteX9222" fmla="*/ 4122731 w 4493400"/>
              <a:gd name="connsiteY9222" fmla="*/ 3451274 h 4503132"/>
              <a:gd name="connsiteX9223" fmla="*/ 4120615 w 4493400"/>
              <a:gd name="connsiteY9223" fmla="*/ 3457241 h 4503132"/>
              <a:gd name="connsiteX9224" fmla="*/ 4120423 w 4493400"/>
              <a:gd name="connsiteY9224" fmla="*/ 3458540 h 4503132"/>
              <a:gd name="connsiteX9225" fmla="*/ 4120423 w 4493400"/>
              <a:gd name="connsiteY9225" fmla="*/ 3459551 h 4503132"/>
              <a:gd name="connsiteX9226" fmla="*/ 4120423 w 4493400"/>
              <a:gd name="connsiteY9226" fmla="*/ 3460225 h 4503132"/>
              <a:gd name="connsiteX9227" fmla="*/ 4120711 w 4493400"/>
              <a:gd name="connsiteY9227" fmla="*/ 3461331 h 4503132"/>
              <a:gd name="connsiteX9228" fmla="*/ 4121673 w 4493400"/>
              <a:gd name="connsiteY9228" fmla="*/ 3463112 h 4503132"/>
              <a:gd name="connsiteX9229" fmla="*/ 4121048 w 4493400"/>
              <a:gd name="connsiteY9229" fmla="*/ 3463882 h 4503132"/>
              <a:gd name="connsiteX9230" fmla="*/ 4083685 w 4493400"/>
              <a:gd name="connsiteY9230" fmla="*/ 3510895 h 4503132"/>
              <a:gd name="connsiteX9231" fmla="*/ 4074020 w 4493400"/>
              <a:gd name="connsiteY9231" fmla="*/ 3522829 h 4503132"/>
              <a:gd name="connsiteX9232" fmla="*/ 4116816 w 4493400"/>
              <a:gd name="connsiteY9232" fmla="*/ 3456423 h 4503132"/>
              <a:gd name="connsiteX9233" fmla="*/ 4151005 w 4493400"/>
              <a:gd name="connsiteY9233" fmla="*/ 3402336 h 4503132"/>
              <a:gd name="connsiteX9234" fmla="*/ 4162402 w 4493400"/>
              <a:gd name="connsiteY9234" fmla="*/ 3381741 h 4503132"/>
              <a:gd name="connsiteX9235" fmla="*/ 4157930 w 4493400"/>
              <a:gd name="connsiteY9235" fmla="*/ 3386360 h 4503132"/>
              <a:gd name="connsiteX9236" fmla="*/ 4205102 w 4493400"/>
              <a:gd name="connsiteY9236" fmla="*/ 3317115 h 4503132"/>
              <a:gd name="connsiteX9237" fmla="*/ 4226067 w 4493400"/>
              <a:gd name="connsiteY9237" fmla="*/ 3292189 h 4503132"/>
              <a:gd name="connsiteX9238" fmla="*/ 4224865 w 4493400"/>
              <a:gd name="connsiteY9238" fmla="*/ 3280015 h 4503132"/>
              <a:gd name="connsiteX9239" fmla="*/ 4229914 w 4493400"/>
              <a:gd name="connsiteY9239" fmla="*/ 3273422 h 4503132"/>
              <a:gd name="connsiteX9240" fmla="*/ 4235877 w 4493400"/>
              <a:gd name="connsiteY9240" fmla="*/ 3266445 h 4503132"/>
              <a:gd name="connsiteX9241" fmla="*/ 4238954 w 4493400"/>
              <a:gd name="connsiteY9241" fmla="*/ 3263124 h 4503132"/>
              <a:gd name="connsiteX9242" fmla="*/ 4241647 w 4493400"/>
              <a:gd name="connsiteY9242" fmla="*/ 3260478 h 4503132"/>
              <a:gd name="connsiteX9243" fmla="*/ 4242176 w 4493400"/>
              <a:gd name="connsiteY9243" fmla="*/ 3260382 h 4503132"/>
              <a:gd name="connsiteX9244" fmla="*/ 4241984 w 4493400"/>
              <a:gd name="connsiteY9244" fmla="*/ 3261055 h 4503132"/>
              <a:gd name="connsiteX9245" fmla="*/ 4241455 w 4493400"/>
              <a:gd name="connsiteY9245" fmla="*/ 3262788 h 4503132"/>
              <a:gd name="connsiteX9246" fmla="*/ 4239964 w 4493400"/>
              <a:gd name="connsiteY9246" fmla="*/ 3267022 h 4503132"/>
              <a:gd name="connsiteX9247" fmla="*/ 4236454 w 4493400"/>
              <a:gd name="connsiteY9247" fmla="*/ 3275588 h 4503132"/>
              <a:gd name="connsiteX9248" fmla="*/ 4235396 w 4493400"/>
              <a:gd name="connsiteY9248" fmla="*/ 3277946 h 4503132"/>
              <a:gd name="connsiteX9249" fmla="*/ 4233136 w 4493400"/>
              <a:gd name="connsiteY9249" fmla="*/ 3276935 h 4503132"/>
              <a:gd name="connsiteX9250" fmla="*/ 4230203 w 4493400"/>
              <a:gd name="connsiteY9250" fmla="*/ 3277079 h 4503132"/>
              <a:gd name="connsiteX9251" fmla="*/ 4226837 w 4493400"/>
              <a:gd name="connsiteY9251" fmla="*/ 3278571 h 4503132"/>
              <a:gd name="connsiteX9252" fmla="*/ 4224913 w 4493400"/>
              <a:gd name="connsiteY9252" fmla="*/ 3279966 h 4503132"/>
              <a:gd name="connsiteX9253" fmla="*/ 4254101 w 4493400"/>
              <a:gd name="connsiteY9253" fmla="*/ 3233675 h 4503132"/>
              <a:gd name="connsiteX9254" fmla="*/ 4256265 w 4493400"/>
              <a:gd name="connsiteY9254" fmla="*/ 3231654 h 4503132"/>
              <a:gd name="connsiteX9255" fmla="*/ 4258044 w 4493400"/>
              <a:gd name="connsiteY9255" fmla="*/ 3230066 h 4503132"/>
              <a:gd name="connsiteX9256" fmla="*/ 4258140 w 4493400"/>
              <a:gd name="connsiteY9256" fmla="*/ 3230066 h 4503132"/>
              <a:gd name="connsiteX9257" fmla="*/ 4258237 w 4493400"/>
              <a:gd name="connsiteY9257" fmla="*/ 3230066 h 4503132"/>
              <a:gd name="connsiteX9258" fmla="*/ 4257612 w 4493400"/>
              <a:gd name="connsiteY9258" fmla="*/ 3231846 h 4503132"/>
              <a:gd name="connsiteX9259" fmla="*/ 4255448 w 4493400"/>
              <a:gd name="connsiteY9259" fmla="*/ 3237524 h 4503132"/>
              <a:gd name="connsiteX9260" fmla="*/ 4251024 w 4493400"/>
              <a:gd name="connsiteY9260" fmla="*/ 3248015 h 4503132"/>
              <a:gd name="connsiteX9261" fmla="*/ 4249004 w 4493400"/>
              <a:gd name="connsiteY9261" fmla="*/ 3246763 h 4503132"/>
              <a:gd name="connsiteX9262" fmla="*/ 4242561 w 4493400"/>
              <a:gd name="connsiteY9262" fmla="*/ 3247245 h 4503132"/>
              <a:gd name="connsiteX9263" fmla="*/ 4241503 w 4493400"/>
              <a:gd name="connsiteY9263" fmla="*/ 3247870 h 4503132"/>
              <a:gd name="connsiteX9264" fmla="*/ 4254149 w 4493400"/>
              <a:gd name="connsiteY9264" fmla="*/ 3233675 h 4503132"/>
              <a:gd name="connsiteX9265" fmla="*/ 4298821 w 4493400"/>
              <a:gd name="connsiteY9265" fmla="*/ 3143353 h 4503132"/>
              <a:gd name="connsiteX9266" fmla="*/ 4281222 w 4493400"/>
              <a:gd name="connsiteY9266" fmla="*/ 3172081 h 4503132"/>
              <a:gd name="connsiteX9267" fmla="*/ 4269729 w 4493400"/>
              <a:gd name="connsiteY9267" fmla="*/ 3184689 h 4503132"/>
              <a:gd name="connsiteX9268" fmla="*/ 4256458 w 4493400"/>
              <a:gd name="connsiteY9268" fmla="*/ 3196767 h 4503132"/>
              <a:gd name="connsiteX9269" fmla="*/ 4243763 w 4493400"/>
              <a:gd name="connsiteY9269" fmla="*/ 3210962 h 4503132"/>
              <a:gd name="connsiteX9270" fmla="*/ 4232943 w 4493400"/>
              <a:gd name="connsiteY9270" fmla="*/ 3225976 h 4503132"/>
              <a:gd name="connsiteX9271" fmla="*/ 4246311 w 4493400"/>
              <a:gd name="connsiteY9271" fmla="*/ 3204803 h 4503132"/>
              <a:gd name="connsiteX9272" fmla="*/ 4287280 w 4493400"/>
              <a:gd name="connsiteY9272" fmla="*/ 3149801 h 4503132"/>
              <a:gd name="connsiteX9273" fmla="*/ 4310458 w 4493400"/>
              <a:gd name="connsiteY9273" fmla="*/ 3112653 h 4503132"/>
              <a:gd name="connsiteX9274" fmla="*/ 4314978 w 4493400"/>
              <a:gd name="connsiteY9274" fmla="*/ 3102211 h 4503132"/>
              <a:gd name="connsiteX9275" fmla="*/ 4316132 w 4493400"/>
              <a:gd name="connsiteY9275" fmla="*/ 3098505 h 4503132"/>
              <a:gd name="connsiteX9276" fmla="*/ 4308583 w 4493400"/>
              <a:gd name="connsiteY9276" fmla="*/ 3111690 h 4503132"/>
              <a:gd name="connsiteX9277" fmla="*/ 4284059 w 4493400"/>
              <a:gd name="connsiteY9277" fmla="*/ 3147251 h 4503132"/>
              <a:gd name="connsiteX9278" fmla="*/ 4241358 w 4493400"/>
              <a:gd name="connsiteY9278" fmla="*/ 3201579 h 4503132"/>
              <a:gd name="connsiteX9279" fmla="*/ 4191205 w 4493400"/>
              <a:gd name="connsiteY9279" fmla="*/ 3277849 h 4503132"/>
              <a:gd name="connsiteX9280" fmla="*/ 4128693 w 4493400"/>
              <a:gd name="connsiteY9280" fmla="*/ 3368845 h 4503132"/>
              <a:gd name="connsiteX9281" fmla="*/ 4090225 w 4493400"/>
              <a:gd name="connsiteY9281" fmla="*/ 3415954 h 4503132"/>
              <a:gd name="connsiteX9282" fmla="*/ 4079021 w 4493400"/>
              <a:gd name="connsiteY9282" fmla="*/ 3424856 h 4503132"/>
              <a:gd name="connsiteX9283" fmla="*/ 4078011 w 4493400"/>
              <a:gd name="connsiteY9283" fmla="*/ 3425289 h 4503132"/>
              <a:gd name="connsiteX9284" fmla="*/ 4077771 w 4493400"/>
              <a:gd name="connsiteY9284" fmla="*/ 3425289 h 4503132"/>
              <a:gd name="connsiteX9285" fmla="*/ 4077434 w 4493400"/>
              <a:gd name="connsiteY9285" fmla="*/ 3425097 h 4503132"/>
              <a:gd name="connsiteX9286" fmla="*/ 4077097 w 4493400"/>
              <a:gd name="connsiteY9286" fmla="*/ 3420814 h 4503132"/>
              <a:gd name="connsiteX9287" fmla="*/ 4080271 w 4493400"/>
              <a:gd name="connsiteY9287" fmla="*/ 3405849 h 4503132"/>
              <a:gd name="connsiteX9288" fmla="*/ 4085608 w 4493400"/>
              <a:gd name="connsiteY9288" fmla="*/ 3390450 h 4503132"/>
              <a:gd name="connsiteX9289" fmla="*/ 4113306 w 4493400"/>
              <a:gd name="connsiteY9289" fmla="*/ 3328087 h 4503132"/>
              <a:gd name="connsiteX9290" fmla="*/ 4145091 w 4493400"/>
              <a:gd name="connsiteY9290" fmla="*/ 3263991 h 4503132"/>
              <a:gd name="connsiteX9291" fmla="*/ 4178414 w 4493400"/>
              <a:gd name="connsiteY9291" fmla="*/ 3197633 h 4503132"/>
              <a:gd name="connsiteX9292" fmla="*/ 4210487 w 4493400"/>
              <a:gd name="connsiteY9292" fmla="*/ 3127907 h 4503132"/>
              <a:gd name="connsiteX9293" fmla="*/ 4264055 w 4493400"/>
              <a:gd name="connsiteY9293" fmla="*/ 2986770 h 4503132"/>
              <a:gd name="connsiteX9294" fmla="*/ 4287906 w 4493400"/>
              <a:gd name="connsiteY9294" fmla="*/ 2919258 h 4503132"/>
              <a:gd name="connsiteX9295" fmla="*/ 4312429 w 4493400"/>
              <a:gd name="connsiteY9295" fmla="*/ 2855402 h 4503132"/>
              <a:gd name="connsiteX9296" fmla="*/ 4341762 w 4493400"/>
              <a:gd name="connsiteY9296" fmla="*/ 2798187 h 4503132"/>
              <a:gd name="connsiteX9297" fmla="*/ 4350850 w 4493400"/>
              <a:gd name="connsiteY9297" fmla="*/ 2786061 h 4503132"/>
              <a:gd name="connsiteX9298" fmla="*/ 4361429 w 4493400"/>
              <a:gd name="connsiteY9298" fmla="*/ 2776967 h 4503132"/>
              <a:gd name="connsiteX9299" fmla="*/ 4372296 w 4493400"/>
              <a:gd name="connsiteY9299" fmla="*/ 2775234 h 4503132"/>
              <a:gd name="connsiteX9300" fmla="*/ 4380663 w 4493400"/>
              <a:gd name="connsiteY9300" fmla="*/ 2783318 h 4503132"/>
              <a:gd name="connsiteX9301" fmla="*/ 4387636 w 4493400"/>
              <a:gd name="connsiteY9301" fmla="*/ 2809592 h 4503132"/>
              <a:gd name="connsiteX9302" fmla="*/ 4386866 w 4493400"/>
              <a:gd name="connsiteY9302" fmla="*/ 2836924 h 4503132"/>
              <a:gd name="connsiteX9303" fmla="*/ 4377249 w 4493400"/>
              <a:gd name="connsiteY9303" fmla="*/ 2888701 h 4503132"/>
              <a:gd name="connsiteX9304" fmla="*/ 4335030 w 4493400"/>
              <a:gd name="connsiteY9304" fmla="*/ 3042878 h 4503132"/>
              <a:gd name="connsiteX9305" fmla="*/ 4321037 w 4493400"/>
              <a:gd name="connsiteY9305" fmla="*/ 3084069 h 4503132"/>
              <a:gd name="connsiteX9306" fmla="*/ 4316180 w 4493400"/>
              <a:gd name="connsiteY9306" fmla="*/ 3098457 h 4503132"/>
              <a:gd name="connsiteX9307" fmla="*/ 4322191 w 4493400"/>
              <a:gd name="connsiteY9307" fmla="*/ 3086716 h 4503132"/>
              <a:gd name="connsiteX9308" fmla="*/ 4298773 w 4493400"/>
              <a:gd name="connsiteY9308" fmla="*/ 3143353 h 4503132"/>
              <a:gd name="connsiteX9309" fmla="*/ 4306322 w 4493400"/>
              <a:gd name="connsiteY9309" fmla="*/ 2762627 h 4503132"/>
              <a:gd name="connsiteX9310" fmla="*/ 4328346 w 4493400"/>
              <a:gd name="connsiteY9310" fmla="*/ 2701466 h 4503132"/>
              <a:gd name="connsiteX9311" fmla="*/ 4340848 w 4493400"/>
              <a:gd name="connsiteY9311" fmla="*/ 2672401 h 4503132"/>
              <a:gd name="connsiteX9312" fmla="*/ 4347821 w 4493400"/>
              <a:gd name="connsiteY9312" fmla="*/ 2658494 h 4503132"/>
              <a:gd name="connsiteX9313" fmla="*/ 4355033 w 4493400"/>
              <a:gd name="connsiteY9313" fmla="*/ 2644877 h 4503132"/>
              <a:gd name="connsiteX9314" fmla="*/ 4388453 w 4493400"/>
              <a:gd name="connsiteY9314" fmla="*/ 2594447 h 4503132"/>
              <a:gd name="connsiteX9315" fmla="*/ 4405331 w 4493400"/>
              <a:gd name="connsiteY9315" fmla="*/ 2570435 h 4503132"/>
              <a:gd name="connsiteX9316" fmla="*/ 4414756 w 4493400"/>
              <a:gd name="connsiteY9316" fmla="*/ 2560185 h 4503132"/>
              <a:gd name="connsiteX9317" fmla="*/ 4419757 w 4493400"/>
              <a:gd name="connsiteY9317" fmla="*/ 2557298 h 4503132"/>
              <a:gd name="connsiteX9318" fmla="*/ 4423075 w 4493400"/>
              <a:gd name="connsiteY9318" fmla="*/ 2558982 h 4503132"/>
              <a:gd name="connsiteX9319" fmla="*/ 4427258 w 4493400"/>
              <a:gd name="connsiteY9319" fmla="*/ 2571205 h 4503132"/>
              <a:gd name="connsiteX9320" fmla="*/ 4428941 w 4493400"/>
              <a:gd name="connsiteY9320" fmla="*/ 2584919 h 4503132"/>
              <a:gd name="connsiteX9321" fmla="*/ 4429759 w 4493400"/>
              <a:gd name="connsiteY9321" fmla="*/ 2612492 h 4503132"/>
              <a:gd name="connsiteX9322" fmla="*/ 4427595 w 4493400"/>
              <a:gd name="connsiteY9322" fmla="*/ 2662152 h 4503132"/>
              <a:gd name="connsiteX9323" fmla="*/ 4419901 w 4493400"/>
              <a:gd name="connsiteY9323" fmla="*/ 2626639 h 4503132"/>
              <a:gd name="connsiteX9324" fmla="*/ 4411246 w 4493400"/>
              <a:gd name="connsiteY9324" fmla="*/ 2616053 h 4503132"/>
              <a:gd name="connsiteX9325" fmla="*/ 4401388 w 4493400"/>
              <a:gd name="connsiteY9325" fmla="*/ 2615571 h 4503132"/>
              <a:gd name="connsiteX9326" fmla="*/ 4394800 w 4493400"/>
              <a:gd name="connsiteY9326" fmla="*/ 2619950 h 4503132"/>
              <a:gd name="connsiteX9327" fmla="*/ 4401725 w 4493400"/>
              <a:gd name="connsiteY9327" fmla="*/ 2616534 h 4503132"/>
              <a:gd name="connsiteX9328" fmla="*/ 4410524 w 4493400"/>
              <a:gd name="connsiteY9328" fmla="*/ 2617352 h 4503132"/>
              <a:gd name="connsiteX9329" fmla="*/ 4418122 w 4493400"/>
              <a:gd name="connsiteY9329" fmla="*/ 2627457 h 4503132"/>
              <a:gd name="connsiteX9330" fmla="*/ 4424854 w 4493400"/>
              <a:gd name="connsiteY9330" fmla="*/ 2663788 h 4503132"/>
              <a:gd name="connsiteX9331" fmla="*/ 4424998 w 4493400"/>
              <a:gd name="connsiteY9331" fmla="*/ 2693382 h 4503132"/>
              <a:gd name="connsiteX9332" fmla="*/ 4423171 w 4493400"/>
              <a:gd name="connsiteY9332" fmla="*/ 2711042 h 4503132"/>
              <a:gd name="connsiteX9333" fmla="*/ 4419757 w 4493400"/>
              <a:gd name="connsiteY9333" fmla="*/ 2684672 h 4503132"/>
              <a:gd name="connsiteX9334" fmla="*/ 4411582 w 4493400"/>
              <a:gd name="connsiteY9334" fmla="*/ 2664750 h 4503132"/>
              <a:gd name="connsiteX9335" fmla="*/ 4402783 w 4493400"/>
              <a:gd name="connsiteY9335" fmla="*/ 2656474 h 4503132"/>
              <a:gd name="connsiteX9336" fmla="*/ 4389896 w 4493400"/>
              <a:gd name="connsiteY9336" fmla="*/ 2654693 h 4503132"/>
              <a:gd name="connsiteX9337" fmla="*/ 4379124 w 4493400"/>
              <a:gd name="connsiteY9337" fmla="*/ 2660034 h 4503132"/>
              <a:gd name="connsiteX9338" fmla="*/ 4371094 w 4493400"/>
              <a:gd name="connsiteY9338" fmla="*/ 2667108 h 4503132"/>
              <a:gd name="connsiteX9339" fmla="*/ 4357101 w 4493400"/>
              <a:gd name="connsiteY9339" fmla="*/ 2683036 h 4503132"/>
              <a:gd name="connsiteX9340" fmla="*/ 4316517 w 4493400"/>
              <a:gd name="connsiteY9340" fmla="*/ 2757622 h 4503132"/>
              <a:gd name="connsiteX9341" fmla="*/ 4316084 w 4493400"/>
              <a:gd name="connsiteY9341" fmla="*/ 2758633 h 4503132"/>
              <a:gd name="connsiteX9342" fmla="*/ 4335895 w 4493400"/>
              <a:gd name="connsiteY9342" fmla="*/ 2708540 h 4503132"/>
              <a:gd name="connsiteX9343" fmla="*/ 4375758 w 4493400"/>
              <a:gd name="connsiteY9343" fmla="*/ 2639824 h 4503132"/>
              <a:gd name="connsiteX9344" fmla="*/ 4394800 w 4493400"/>
              <a:gd name="connsiteY9344" fmla="*/ 2619854 h 4503132"/>
              <a:gd name="connsiteX9345" fmla="*/ 4389126 w 4493400"/>
              <a:gd name="connsiteY9345" fmla="*/ 2624089 h 4503132"/>
              <a:gd name="connsiteX9346" fmla="*/ 4382635 w 4493400"/>
              <a:gd name="connsiteY9346" fmla="*/ 2629911 h 4503132"/>
              <a:gd name="connsiteX9347" fmla="*/ 4374316 w 4493400"/>
              <a:gd name="connsiteY9347" fmla="*/ 2638669 h 4503132"/>
              <a:gd name="connsiteX9348" fmla="*/ 4332577 w 4493400"/>
              <a:gd name="connsiteY9348" fmla="*/ 2707096 h 4503132"/>
              <a:gd name="connsiteX9349" fmla="*/ 4287473 w 4493400"/>
              <a:gd name="connsiteY9349" fmla="*/ 2826723 h 4503132"/>
              <a:gd name="connsiteX9350" fmla="*/ 4273528 w 4493400"/>
              <a:gd name="connsiteY9350" fmla="*/ 2868731 h 4503132"/>
              <a:gd name="connsiteX9351" fmla="*/ 4306322 w 4493400"/>
              <a:gd name="connsiteY9351" fmla="*/ 2762627 h 4503132"/>
              <a:gd name="connsiteX9352" fmla="*/ 4046707 w 4493400"/>
              <a:gd name="connsiteY9352" fmla="*/ 3371683 h 4503132"/>
              <a:gd name="connsiteX9353" fmla="*/ 3993188 w 4493400"/>
              <a:gd name="connsiteY9353" fmla="*/ 3468646 h 4503132"/>
              <a:gd name="connsiteX9354" fmla="*/ 3936206 w 4493400"/>
              <a:gd name="connsiteY9354" fmla="*/ 3568110 h 4503132"/>
              <a:gd name="connsiteX9355" fmla="*/ 3903940 w 4493400"/>
              <a:gd name="connsiteY9355" fmla="*/ 3616808 h 4503132"/>
              <a:gd name="connsiteX9356" fmla="*/ 3899372 w 4493400"/>
              <a:gd name="connsiteY9356" fmla="*/ 3622390 h 4503132"/>
              <a:gd name="connsiteX9357" fmla="*/ 3897064 w 4493400"/>
              <a:gd name="connsiteY9357" fmla="*/ 3625180 h 4503132"/>
              <a:gd name="connsiteX9358" fmla="*/ 3894612 w 4493400"/>
              <a:gd name="connsiteY9358" fmla="*/ 3627635 h 4503132"/>
              <a:gd name="connsiteX9359" fmla="*/ 3889370 w 4493400"/>
              <a:gd name="connsiteY9359" fmla="*/ 3632254 h 4503132"/>
              <a:gd name="connsiteX9360" fmla="*/ 3883648 w 4493400"/>
              <a:gd name="connsiteY9360" fmla="*/ 3636344 h 4503132"/>
              <a:gd name="connsiteX9361" fmla="*/ 3857297 w 4493400"/>
              <a:gd name="connsiteY9361" fmla="*/ 3642648 h 4503132"/>
              <a:gd name="connsiteX9362" fmla="*/ 3828013 w 4493400"/>
              <a:gd name="connsiteY9362" fmla="*/ 3637307 h 4503132"/>
              <a:gd name="connsiteX9363" fmla="*/ 3796469 w 4493400"/>
              <a:gd name="connsiteY9363" fmla="*/ 3635623 h 4503132"/>
              <a:gd name="connsiteX9364" fmla="*/ 3765694 w 4493400"/>
              <a:gd name="connsiteY9364" fmla="*/ 3643996 h 4503132"/>
              <a:gd name="connsiteX9365" fmla="*/ 3751556 w 4493400"/>
              <a:gd name="connsiteY9365" fmla="*/ 3651262 h 4503132"/>
              <a:gd name="connsiteX9366" fmla="*/ 3738188 w 4493400"/>
              <a:gd name="connsiteY9366" fmla="*/ 3659731 h 4503132"/>
              <a:gd name="connsiteX9367" fmla="*/ 3639035 w 4493400"/>
              <a:gd name="connsiteY9367" fmla="*/ 3738696 h 4503132"/>
              <a:gd name="connsiteX9368" fmla="*/ 3543489 w 4493400"/>
              <a:gd name="connsiteY9368" fmla="*/ 3827093 h 4503132"/>
              <a:gd name="connsiteX9369" fmla="*/ 3497471 w 4493400"/>
              <a:gd name="connsiteY9369" fmla="*/ 3875165 h 4503132"/>
              <a:gd name="connsiteX9370" fmla="*/ 3486411 w 4493400"/>
              <a:gd name="connsiteY9370" fmla="*/ 3887820 h 4503132"/>
              <a:gd name="connsiteX9371" fmla="*/ 3475784 w 4493400"/>
              <a:gd name="connsiteY9371" fmla="*/ 3901053 h 4503132"/>
              <a:gd name="connsiteX9372" fmla="*/ 3465926 w 4493400"/>
              <a:gd name="connsiteY9372" fmla="*/ 3915201 h 4503132"/>
              <a:gd name="connsiteX9373" fmla="*/ 3461599 w 4493400"/>
              <a:gd name="connsiteY9373" fmla="*/ 3922756 h 4503132"/>
              <a:gd name="connsiteX9374" fmla="*/ 3457752 w 4493400"/>
              <a:gd name="connsiteY9374" fmla="*/ 3930599 h 4503132"/>
              <a:gd name="connsiteX9375" fmla="*/ 3448183 w 4493400"/>
              <a:gd name="connsiteY9375" fmla="*/ 3964187 h 4503132"/>
              <a:gd name="connsiteX9376" fmla="*/ 3440970 w 4493400"/>
              <a:gd name="connsiteY9376" fmla="*/ 3996572 h 4503132"/>
              <a:gd name="connsiteX9377" fmla="*/ 3424958 w 4493400"/>
              <a:gd name="connsiteY9377" fmla="*/ 4025203 h 4503132"/>
              <a:gd name="connsiteX9378" fmla="*/ 3414331 w 4493400"/>
              <a:gd name="connsiteY9378" fmla="*/ 4038292 h 4503132"/>
              <a:gd name="connsiteX9379" fmla="*/ 3402742 w 4493400"/>
              <a:gd name="connsiteY9379" fmla="*/ 4050707 h 4503132"/>
              <a:gd name="connsiteX9380" fmla="*/ 3291808 w 4493400"/>
              <a:gd name="connsiteY9380" fmla="*/ 4133185 h 4503132"/>
              <a:gd name="connsiteX9381" fmla="*/ 3166063 w 4493400"/>
              <a:gd name="connsiteY9381" fmla="*/ 4200650 h 4503132"/>
              <a:gd name="connsiteX9382" fmla="*/ 3134567 w 4493400"/>
              <a:gd name="connsiteY9382" fmla="*/ 4217444 h 4503132"/>
              <a:gd name="connsiteX9383" fmla="*/ 3239106 w 4493400"/>
              <a:gd name="connsiteY9383" fmla="*/ 4159459 h 4503132"/>
              <a:gd name="connsiteX9384" fmla="*/ 3359994 w 4493400"/>
              <a:gd name="connsiteY9384" fmla="*/ 4082611 h 4503132"/>
              <a:gd name="connsiteX9385" fmla="*/ 3386681 w 4493400"/>
              <a:gd name="connsiteY9385" fmla="*/ 4059273 h 4503132"/>
              <a:gd name="connsiteX9386" fmla="*/ 3408705 w 4493400"/>
              <a:gd name="connsiteY9386" fmla="*/ 4031555 h 4503132"/>
              <a:gd name="connsiteX9387" fmla="*/ 3412936 w 4493400"/>
              <a:gd name="connsiteY9387" fmla="*/ 4023712 h 4503132"/>
              <a:gd name="connsiteX9388" fmla="*/ 3416158 w 4493400"/>
              <a:gd name="connsiteY9388" fmla="*/ 4015291 h 4503132"/>
              <a:gd name="connsiteX9389" fmla="*/ 3417745 w 4493400"/>
              <a:gd name="connsiteY9389" fmla="*/ 3997294 h 4503132"/>
              <a:gd name="connsiteX9390" fmla="*/ 3412503 w 4493400"/>
              <a:gd name="connsiteY9390" fmla="*/ 3963706 h 4503132"/>
              <a:gd name="connsiteX9391" fmla="*/ 3423130 w 4493400"/>
              <a:gd name="connsiteY9391" fmla="*/ 3932235 h 4503132"/>
              <a:gd name="connsiteX9392" fmla="*/ 3442605 w 4493400"/>
              <a:gd name="connsiteY9392" fmla="*/ 3904759 h 4503132"/>
              <a:gd name="connsiteX9393" fmla="*/ 3490499 w 4493400"/>
              <a:gd name="connsiteY9393" fmla="*/ 3857649 h 4503132"/>
              <a:gd name="connsiteX9394" fmla="*/ 3542287 w 4493400"/>
              <a:gd name="connsiteY9394" fmla="*/ 3815784 h 4503132"/>
              <a:gd name="connsiteX9395" fmla="*/ 3593162 w 4493400"/>
              <a:gd name="connsiteY9395" fmla="*/ 3773824 h 4503132"/>
              <a:gd name="connsiteX9396" fmla="*/ 3683900 w 4493400"/>
              <a:gd name="connsiteY9396" fmla="*/ 3682059 h 4503132"/>
              <a:gd name="connsiteX9397" fmla="*/ 3729821 w 4493400"/>
              <a:gd name="connsiteY9397" fmla="*/ 3638943 h 4503132"/>
              <a:gd name="connsiteX9398" fmla="*/ 3754297 w 4493400"/>
              <a:gd name="connsiteY9398" fmla="*/ 3619887 h 4503132"/>
              <a:gd name="connsiteX9399" fmla="*/ 3781225 w 4493400"/>
              <a:gd name="connsiteY9399" fmla="*/ 3605259 h 4503132"/>
              <a:gd name="connsiteX9400" fmla="*/ 3788246 w 4493400"/>
              <a:gd name="connsiteY9400" fmla="*/ 3602275 h 4503132"/>
              <a:gd name="connsiteX9401" fmla="*/ 3795459 w 4493400"/>
              <a:gd name="connsiteY9401" fmla="*/ 3599917 h 4503132"/>
              <a:gd name="connsiteX9402" fmla="*/ 3802768 w 4493400"/>
              <a:gd name="connsiteY9402" fmla="*/ 3597993 h 4503132"/>
              <a:gd name="connsiteX9403" fmla="*/ 3810173 w 4493400"/>
              <a:gd name="connsiteY9403" fmla="*/ 3596597 h 4503132"/>
              <a:gd name="connsiteX9404" fmla="*/ 3840227 w 4493400"/>
              <a:gd name="connsiteY9404" fmla="*/ 3596597 h 4503132"/>
              <a:gd name="connsiteX9405" fmla="*/ 3870905 w 4493400"/>
              <a:gd name="connsiteY9405" fmla="*/ 3594576 h 4503132"/>
              <a:gd name="connsiteX9406" fmla="*/ 3878214 w 4493400"/>
              <a:gd name="connsiteY9406" fmla="*/ 3592026 h 4503132"/>
              <a:gd name="connsiteX9407" fmla="*/ 3885187 w 4493400"/>
              <a:gd name="connsiteY9407" fmla="*/ 3588850 h 4503132"/>
              <a:gd name="connsiteX9408" fmla="*/ 3891919 w 4493400"/>
              <a:gd name="connsiteY9408" fmla="*/ 3585193 h 4503132"/>
              <a:gd name="connsiteX9409" fmla="*/ 3898266 w 4493400"/>
              <a:gd name="connsiteY9409" fmla="*/ 3581006 h 4503132"/>
              <a:gd name="connsiteX9410" fmla="*/ 3920914 w 4493400"/>
              <a:gd name="connsiteY9410" fmla="*/ 3560988 h 4503132"/>
              <a:gd name="connsiteX9411" fmla="*/ 3940101 w 4493400"/>
              <a:gd name="connsiteY9411" fmla="*/ 3538179 h 4503132"/>
              <a:gd name="connsiteX9412" fmla="*/ 3974242 w 4493400"/>
              <a:gd name="connsiteY9412" fmla="*/ 3490348 h 4503132"/>
              <a:gd name="connsiteX9413" fmla="*/ 4034397 w 4493400"/>
              <a:gd name="connsiteY9413" fmla="*/ 3392760 h 4503132"/>
              <a:gd name="connsiteX9414" fmla="*/ 4061181 w 4493400"/>
              <a:gd name="connsiteY9414" fmla="*/ 3345362 h 4503132"/>
              <a:gd name="connsiteX9415" fmla="*/ 4046707 w 4493400"/>
              <a:gd name="connsiteY9415" fmla="*/ 3371732 h 4503132"/>
              <a:gd name="connsiteX9416" fmla="*/ 4449330 w 4493400"/>
              <a:gd name="connsiteY9416" fmla="*/ 2513605 h 4503132"/>
              <a:gd name="connsiteX9417" fmla="*/ 4449859 w 4493400"/>
              <a:gd name="connsiteY9417" fmla="*/ 2452588 h 4503132"/>
              <a:gd name="connsiteX9418" fmla="*/ 4449378 w 4493400"/>
              <a:gd name="connsiteY9418" fmla="*/ 2420540 h 4503132"/>
              <a:gd name="connsiteX9419" fmla="*/ 4449041 w 4493400"/>
              <a:gd name="connsiteY9419" fmla="*/ 2412360 h 4503132"/>
              <a:gd name="connsiteX9420" fmla="*/ 4448753 w 4493400"/>
              <a:gd name="connsiteY9420" fmla="*/ 2407885 h 4503132"/>
              <a:gd name="connsiteX9421" fmla="*/ 4448320 w 4493400"/>
              <a:gd name="connsiteY9421" fmla="*/ 2403121 h 4503132"/>
              <a:gd name="connsiteX9422" fmla="*/ 4446637 w 4493400"/>
              <a:gd name="connsiteY9422" fmla="*/ 2394796 h 4503132"/>
              <a:gd name="connsiteX9423" fmla="*/ 4445723 w 4493400"/>
              <a:gd name="connsiteY9423" fmla="*/ 2393112 h 4503132"/>
              <a:gd name="connsiteX9424" fmla="*/ 4443896 w 4493400"/>
              <a:gd name="connsiteY9424" fmla="*/ 2393256 h 4503132"/>
              <a:gd name="connsiteX9425" fmla="*/ 4441588 w 4493400"/>
              <a:gd name="connsiteY9425" fmla="*/ 2396384 h 4503132"/>
              <a:gd name="connsiteX9426" fmla="*/ 4435048 w 4493400"/>
              <a:gd name="connsiteY9426" fmla="*/ 2413515 h 4503132"/>
              <a:gd name="connsiteX9427" fmla="*/ 4430143 w 4493400"/>
              <a:gd name="connsiteY9427" fmla="*/ 2429924 h 4503132"/>
              <a:gd name="connsiteX9428" fmla="*/ 4419372 w 4493400"/>
              <a:gd name="connsiteY9428" fmla="*/ 2463079 h 4503132"/>
              <a:gd name="connsiteX9429" fmla="*/ 4404177 w 4493400"/>
              <a:gd name="connsiteY9429" fmla="*/ 2495464 h 4503132"/>
              <a:gd name="connsiteX9430" fmla="*/ 4384654 w 4493400"/>
              <a:gd name="connsiteY9430" fmla="*/ 2526645 h 4503132"/>
              <a:gd name="connsiteX9431" fmla="*/ 4340896 w 4493400"/>
              <a:gd name="connsiteY9431" fmla="*/ 2589779 h 4503132"/>
              <a:gd name="connsiteX9432" fmla="*/ 4321470 w 4493400"/>
              <a:gd name="connsiteY9432" fmla="*/ 2624714 h 4503132"/>
              <a:gd name="connsiteX9433" fmla="*/ 4305842 w 4493400"/>
              <a:gd name="connsiteY9433" fmla="*/ 2662537 h 4503132"/>
              <a:gd name="connsiteX9434" fmla="*/ 4282664 w 4493400"/>
              <a:gd name="connsiteY9434" fmla="*/ 2743908 h 4503132"/>
              <a:gd name="connsiteX9435" fmla="*/ 4261555 w 4493400"/>
              <a:gd name="connsiteY9435" fmla="*/ 2829706 h 4503132"/>
              <a:gd name="connsiteX9436" fmla="*/ 4238041 w 4493400"/>
              <a:gd name="connsiteY9436" fmla="*/ 2918777 h 4503132"/>
              <a:gd name="connsiteX9437" fmla="*/ 4209429 w 4493400"/>
              <a:gd name="connsiteY9437" fmla="*/ 3010301 h 4503132"/>
              <a:gd name="connsiteX9438" fmla="*/ 4133646 w 4493400"/>
              <a:gd name="connsiteY9438" fmla="*/ 3198499 h 4503132"/>
              <a:gd name="connsiteX9439" fmla="*/ 4031416 w 4493400"/>
              <a:gd name="connsiteY9439" fmla="*/ 3390932 h 4503132"/>
              <a:gd name="connsiteX9440" fmla="*/ 3971309 w 4493400"/>
              <a:gd name="connsiteY9440" fmla="*/ 3488279 h 4503132"/>
              <a:gd name="connsiteX9441" fmla="*/ 3937264 w 4493400"/>
              <a:gd name="connsiteY9441" fmla="*/ 3535869 h 4503132"/>
              <a:gd name="connsiteX9442" fmla="*/ 3918270 w 4493400"/>
              <a:gd name="connsiteY9442" fmla="*/ 3558438 h 4503132"/>
              <a:gd name="connsiteX9443" fmla="*/ 3896247 w 4493400"/>
              <a:gd name="connsiteY9443" fmla="*/ 3577926 h 4503132"/>
              <a:gd name="connsiteX9444" fmla="*/ 3890092 w 4493400"/>
              <a:gd name="connsiteY9444" fmla="*/ 3582017 h 4503132"/>
              <a:gd name="connsiteX9445" fmla="*/ 3883600 w 4493400"/>
              <a:gd name="connsiteY9445" fmla="*/ 3585529 h 4503132"/>
              <a:gd name="connsiteX9446" fmla="*/ 3876916 w 4493400"/>
              <a:gd name="connsiteY9446" fmla="*/ 3588609 h 4503132"/>
              <a:gd name="connsiteX9447" fmla="*/ 3869992 w 4493400"/>
              <a:gd name="connsiteY9447" fmla="*/ 3591015 h 4503132"/>
              <a:gd name="connsiteX9448" fmla="*/ 3840563 w 4493400"/>
              <a:gd name="connsiteY9448" fmla="*/ 3592892 h 4503132"/>
              <a:gd name="connsiteX9449" fmla="*/ 3809692 w 4493400"/>
              <a:gd name="connsiteY9449" fmla="*/ 3592892 h 4503132"/>
              <a:gd name="connsiteX9450" fmla="*/ 3801998 w 4493400"/>
              <a:gd name="connsiteY9450" fmla="*/ 3594336 h 4503132"/>
              <a:gd name="connsiteX9451" fmla="*/ 3794449 w 4493400"/>
              <a:gd name="connsiteY9451" fmla="*/ 3596308 h 4503132"/>
              <a:gd name="connsiteX9452" fmla="*/ 3786996 w 4493400"/>
              <a:gd name="connsiteY9452" fmla="*/ 3598714 h 4503132"/>
              <a:gd name="connsiteX9453" fmla="*/ 3779783 w 4493400"/>
              <a:gd name="connsiteY9453" fmla="*/ 3601746 h 4503132"/>
              <a:gd name="connsiteX9454" fmla="*/ 3752278 w 4493400"/>
              <a:gd name="connsiteY9454" fmla="*/ 3616663 h 4503132"/>
              <a:gd name="connsiteX9455" fmla="*/ 3727465 w 4493400"/>
              <a:gd name="connsiteY9455" fmla="*/ 3635911 h 4503132"/>
              <a:gd name="connsiteX9456" fmla="*/ 3681303 w 4493400"/>
              <a:gd name="connsiteY9456" fmla="*/ 3679171 h 4503132"/>
              <a:gd name="connsiteX9457" fmla="*/ 3590613 w 4493400"/>
              <a:gd name="connsiteY9457" fmla="*/ 3770744 h 4503132"/>
              <a:gd name="connsiteX9458" fmla="*/ 3539931 w 4493400"/>
              <a:gd name="connsiteY9458" fmla="*/ 3812464 h 4503132"/>
              <a:gd name="connsiteX9459" fmla="*/ 3487950 w 4493400"/>
              <a:gd name="connsiteY9459" fmla="*/ 3854425 h 4503132"/>
              <a:gd name="connsiteX9460" fmla="*/ 3439527 w 4493400"/>
              <a:gd name="connsiteY9460" fmla="*/ 3901968 h 4503132"/>
              <a:gd name="connsiteX9461" fmla="*/ 3419572 w 4493400"/>
              <a:gd name="connsiteY9461" fmla="*/ 3930070 h 4503132"/>
              <a:gd name="connsiteX9462" fmla="*/ 3408416 w 4493400"/>
              <a:gd name="connsiteY9462" fmla="*/ 3963225 h 4503132"/>
              <a:gd name="connsiteX9463" fmla="*/ 3409955 w 4493400"/>
              <a:gd name="connsiteY9463" fmla="*/ 3980933 h 4503132"/>
              <a:gd name="connsiteX9464" fmla="*/ 3413657 w 4493400"/>
              <a:gd name="connsiteY9464" fmla="*/ 3997631 h 4503132"/>
              <a:gd name="connsiteX9465" fmla="*/ 3405146 w 4493400"/>
              <a:gd name="connsiteY9465" fmla="*/ 4029246 h 4503132"/>
              <a:gd name="connsiteX9466" fmla="*/ 3383700 w 4493400"/>
              <a:gd name="connsiteY9466" fmla="*/ 4056145 h 4503132"/>
              <a:gd name="connsiteX9467" fmla="*/ 3357397 w 4493400"/>
              <a:gd name="connsiteY9467" fmla="*/ 4079146 h 4503132"/>
              <a:gd name="connsiteX9468" fmla="*/ 3236990 w 4493400"/>
              <a:gd name="connsiteY9468" fmla="*/ 4155513 h 4503132"/>
              <a:gd name="connsiteX9469" fmla="*/ 3108937 w 4493400"/>
              <a:gd name="connsiteY9469" fmla="*/ 4226683 h 4503132"/>
              <a:gd name="connsiteX9470" fmla="*/ 3045849 w 4493400"/>
              <a:gd name="connsiteY9470" fmla="*/ 4266767 h 4503132"/>
              <a:gd name="connsiteX9471" fmla="*/ 3017526 w 4493400"/>
              <a:gd name="connsiteY9471" fmla="*/ 4292270 h 4503132"/>
              <a:gd name="connsiteX9472" fmla="*/ 3012189 w 4493400"/>
              <a:gd name="connsiteY9472" fmla="*/ 4300691 h 4503132"/>
              <a:gd name="connsiteX9473" fmla="*/ 3010362 w 4493400"/>
              <a:gd name="connsiteY9473" fmla="*/ 4311182 h 4503132"/>
              <a:gd name="connsiteX9474" fmla="*/ 3016036 w 4493400"/>
              <a:gd name="connsiteY9474" fmla="*/ 4320373 h 4503132"/>
              <a:gd name="connsiteX9475" fmla="*/ 3024547 w 4493400"/>
              <a:gd name="connsiteY9475" fmla="*/ 4325666 h 4503132"/>
              <a:gd name="connsiteX9476" fmla="*/ 3033250 w 4493400"/>
              <a:gd name="connsiteY9476" fmla="*/ 4329612 h 4503132"/>
              <a:gd name="connsiteX9477" fmla="*/ 3040656 w 4493400"/>
              <a:gd name="connsiteY9477" fmla="*/ 4333990 h 4503132"/>
              <a:gd name="connsiteX9478" fmla="*/ 3033539 w 4493400"/>
              <a:gd name="connsiteY9478" fmla="*/ 4345203 h 4503132"/>
              <a:gd name="connsiteX9479" fmla="*/ 3021229 w 4493400"/>
              <a:gd name="connsiteY9479" fmla="*/ 4352661 h 4503132"/>
              <a:gd name="connsiteX9480" fmla="*/ 3010121 w 4493400"/>
              <a:gd name="connsiteY9480" fmla="*/ 4357810 h 4503132"/>
              <a:gd name="connsiteX9481" fmla="*/ 3012237 w 4493400"/>
              <a:gd name="connsiteY9481" fmla="*/ 4356366 h 4503132"/>
              <a:gd name="connsiteX9482" fmla="*/ 3016853 w 4493400"/>
              <a:gd name="connsiteY9482" fmla="*/ 4352517 h 4503132"/>
              <a:gd name="connsiteX9483" fmla="*/ 3020700 w 4493400"/>
              <a:gd name="connsiteY9483" fmla="*/ 4346791 h 4503132"/>
              <a:gd name="connsiteX9484" fmla="*/ 3018536 w 4493400"/>
              <a:gd name="connsiteY9484" fmla="*/ 4339428 h 4503132"/>
              <a:gd name="connsiteX9485" fmla="*/ 3013054 w 4493400"/>
              <a:gd name="connsiteY9485" fmla="*/ 4335964 h 4503132"/>
              <a:gd name="connsiteX9486" fmla="*/ 2991704 w 4493400"/>
              <a:gd name="connsiteY9486" fmla="*/ 4327928 h 4503132"/>
              <a:gd name="connsiteX9487" fmla="*/ 2980789 w 4493400"/>
              <a:gd name="connsiteY9487" fmla="*/ 4313732 h 4503132"/>
              <a:gd name="connsiteX9488" fmla="*/ 2992762 w 4493400"/>
              <a:gd name="connsiteY9488" fmla="*/ 4296120 h 4503132"/>
              <a:gd name="connsiteX9489" fmla="*/ 3028586 w 4493400"/>
              <a:gd name="connsiteY9489" fmla="*/ 4268018 h 4503132"/>
              <a:gd name="connsiteX9490" fmla="*/ 3068016 w 4493400"/>
              <a:gd name="connsiteY9490" fmla="*/ 4244054 h 4503132"/>
              <a:gd name="connsiteX9491" fmla="*/ 3150436 w 4493400"/>
              <a:gd name="connsiteY9491" fmla="*/ 4200072 h 4503132"/>
              <a:gd name="connsiteX9492" fmla="*/ 3234057 w 4493400"/>
              <a:gd name="connsiteY9492" fmla="*/ 4155561 h 4503132"/>
              <a:gd name="connsiteX9493" fmla="*/ 3315322 w 4493400"/>
              <a:gd name="connsiteY9493" fmla="*/ 4104409 h 4503132"/>
              <a:gd name="connsiteX9494" fmla="*/ 3352252 w 4493400"/>
              <a:gd name="connsiteY9494" fmla="*/ 4072698 h 4503132"/>
              <a:gd name="connsiteX9495" fmla="*/ 3367976 w 4493400"/>
              <a:gd name="connsiteY9495" fmla="*/ 4053739 h 4503132"/>
              <a:gd name="connsiteX9496" fmla="*/ 3378074 w 4493400"/>
              <a:gd name="connsiteY9496" fmla="*/ 4030400 h 4503132"/>
              <a:gd name="connsiteX9497" fmla="*/ 3374179 w 4493400"/>
              <a:gd name="connsiteY9497" fmla="*/ 4017408 h 4503132"/>
              <a:gd name="connsiteX9498" fmla="*/ 3365091 w 4493400"/>
              <a:gd name="connsiteY9498" fmla="*/ 4008217 h 4503132"/>
              <a:gd name="connsiteX9499" fmla="*/ 3346000 w 4493400"/>
              <a:gd name="connsiteY9499" fmla="*/ 3993396 h 4503132"/>
              <a:gd name="connsiteX9500" fmla="*/ 3337105 w 4493400"/>
              <a:gd name="connsiteY9500" fmla="*/ 3973522 h 4503132"/>
              <a:gd name="connsiteX9501" fmla="*/ 3344029 w 4493400"/>
              <a:gd name="connsiteY9501" fmla="*/ 3951387 h 4503132"/>
              <a:gd name="connsiteX9502" fmla="*/ 3375140 w 4493400"/>
              <a:gd name="connsiteY9502" fmla="*/ 3914431 h 4503132"/>
              <a:gd name="connsiteX9503" fmla="*/ 3413513 w 4493400"/>
              <a:gd name="connsiteY9503" fmla="*/ 3883345 h 4503132"/>
              <a:gd name="connsiteX9504" fmla="*/ 3495403 w 4493400"/>
              <a:gd name="connsiteY9504" fmla="*/ 3825793 h 4503132"/>
              <a:gd name="connsiteX9505" fmla="*/ 3574360 w 4493400"/>
              <a:gd name="connsiteY9505" fmla="*/ 3761938 h 4503132"/>
              <a:gd name="connsiteX9506" fmla="*/ 3644565 w 4493400"/>
              <a:gd name="connsiteY9506" fmla="*/ 3687256 h 4503132"/>
              <a:gd name="connsiteX9507" fmla="*/ 3715925 w 4493400"/>
              <a:gd name="connsiteY9507" fmla="*/ 3612814 h 4503132"/>
              <a:gd name="connsiteX9508" fmla="*/ 3756028 w 4493400"/>
              <a:gd name="connsiteY9508" fmla="*/ 3580285 h 4503132"/>
              <a:gd name="connsiteX9509" fmla="*/ 3802046 w 4493400"/>
              <a:gd name="connsiteY9509" fmla="*/ 3557427 h 4503132"/>
              <a:gd name="connsiteX9510" fmla="*/ 3827147 w 4493400"/>
              <a:gd name="connsiteY9510" fmla="*/ 3551894 h 4503132"/>
              <a:gd name="connsiteX9511" fmla="*/ 3853162 w 4493400"/>
              <a:gd name="connsiteY9511" fmla="*/ 3550450 h 4503132"/>
              <a:gd name="connsiteX9512" fmla="*/ 3905479 w 4493400"/>
              <a:gd name="connsiteY9512" fmla="*/ 3538853 h 4503132"/>
              <a:gd name="connsiteX9513" fmla="*/ 3947362 w 4493400"/>
              <a:gd name="connsiteY9513" fmla="*/ 3505025 h 4503132"/>
              <a:gd name="connsiteX9514" fmla="*/ 3981022 w 4493400"/>
              <a:gd name="connsiteY9514" fmla="*/ 3463112 h 4503132"/>
              <a:gd name="connsiteX9515" fmla="*/ 4038677 w 4493400"/>
              <a:gd name="connsiteY9515" fmla="*/ 3371876 h 4503132"/>
              <a:gd name="connsiteX9516" fmla="*/ 4092533 w 4493400"/>
              <a:gd name="connsiteY9516" fmla="*/ 3277320 h 4503132"/>
              <a:gd name="connsiteX9517" fmla="*/ 4184569 w 4493400"/>
              <a:gd name="connsiteY9517" fmla="*/ 3076515 h 4503132"/>
              <a:gd name="connsiteX9518" fmla="*/ 4220201 w 4493400"/>
              <a:gd name="connsiteY9518" fmla="*/ 2970265 h 4503132"/>
              <a:gd name="connsiteX9519" fmla="*/ 4250014 w 4493400"/>
              <a:gd name="connsiteY9519" fmla="*/ 2861177 h 4503132"/>
              <a:gd name="connsiteX9520" fmla="*/ 4274682 w 4493400"/>
              <a:gd name="connsiteY9520" fmla="*/ 2749827 h 4503132"/>
              <a:gd name="connsiteX9521" fmla="*/ 4287040 w 4493400"/>
              <a:gd name="connsiteY9521" fmla="*/ 2693863 h 4503132"/>
              <a:gd name="connsiteX9522" fmla="*/ 4301802 w 4493400"/>
              <a:gd name="connsiteY9522" fmla="*/ 2638477 h 4503132"/>
              <a:gd name="connsiteX9523" fmla="*/ 4325461 w 4493400"/>
              <a:gd name="connsiteY9523" fmla="*/ 2586507 h 4503132"/>
              <a:gd name="connsiteX9524" fmla="*/ 4358448 w 4493400"/>
              <a:gd name="connsiteY9524" fmla="*/ 2539157 h 4503132"/>
              <a:gd name="connsiteX9525" fmla="*/ 4392204 w 4493400"/>
              <a:gd name="connsiteY9525" fmla="*/ 2491133 h 4503132"/>
              <a:gd name="connsiteX9526" fmla="*/ 4416679 w 4493400"/>
              <a:gd name="connsiteY9526" fmla="*/ 2437238 h 4503132"/>
              <a:gd name="connsiteX9527" fmla="*/ 4433365 w 4493400"/>
              <a:gd name="connsiteY9527" fmla="*/ 2319873 h 4503132"/>
              <a:gd name="connsiteX9528" fmla="*/ 4420815 w 4493400"/>
              <a:gd name="connsiteY9528" fmla="*/ 2201016 h 4503132"/>
              <a:gd name="connsiteX9529" fmla="*/ 4400619 w 4493400"/>
              <a:gd name="connsiteY9529" fmla="*/ 2143994 h 4503132"/>
              <a:gd name="connsiteX9530" fmla="*/ 4383885 w 4493400"/>
              <a:gd name="connsiteY9530" fmla="*/ 2118201 h 4503132"/>
              <a:gd name="connsiteX9531" fmla="*/ 4357967 w 4493400"/>
              <a:gd name="connsiteY9531" fmla="*/ 2100253 h 4503132"/>
              <a:gd name="connsiteX9532" fmla="*/ 4341618 w 4493400"/>
              <a:gd name="connsiteY9532" fmla="*/ 2100060 h 4503132"/>
              <a:gd name="connsiteX9533" fmla="*/ 4337675 w 4493400"/>
              <a:gd name="connsiteY9533" fmla="*/ 2100974 h 4503132"/>
              <a:gd name="connsiteX9534" fmla="*/ 4333924 w 4493400"/>
              <a:gd name="connsiteY9534" fmla="*/ 2102466 h 4503132"/>
              <a:gd name="connsiteX9535" fmla="*/ 4330221 w 4493400"/>
              <a:gd name="connsiteY9535" fmla="*/ 2104054 h 4503132"/>
              <a:gd name="connsiteX9536" fmla="*/ 4326807 w 4493400"/>
              <a:gd name="connsiteY9536" fmla="*/ 2106075 h 4503132"/>
              <a:gd name="connsiteX9537" fmla="*/ 4303149 w 4493400"/>
              <a:gd name="connsiteY9537" fmla="*/ 2126141 h 4503132"/>
              <a:gd name="connsiteX9538" fmla="*/ 4263767 w 4493400"/>
              <a:gd name="connsiteY9538" fmla="*/ 2172385 h 4503132"/>
              <a:gd name="connsiteX9539" fmla="*/ 4220538 w 4493400"/>
              <a:gd name="connsiteY9539" fmla="*/ 2214153 h 4503132"/>
              <a:gd name="connsiteX9540" fmla="*/ 4167883 w 4493400"/>
              <a:gd name="connsiteY9540" fmla="*/ 2243843 h 4503132"/>
              <a:gd name="connsiteX9541" fmla="*/ 4141340 w 4493400"/>
              <a:gd name="connsiteY9541" fmla="*/ 2260541 h 4503132"/>
              <a:gd name="connsiteX9542" fmla="*/ 4130040 w 4493400"/>
              <a:gd name="connsiteY9542" fmla="*/ 2271224 h 4503132"/>
              <a:gd name="connsiteX9543" fmla="*/ 4119365 w 4493400"/>
              <a:gd name="connsiteY9543" fmla="*/ 2282436 h 4503132"/>
              <a:gd name="connsiteX9544" fmla="*/ 4080079 w 4493400"/>
              <a:gd name="connsiteY9544" fmla="*/ 2330315 h 4503132"/>
              <a:gd name="connsiteX9545" fmla="*/ 3938754 w 4493400"/>
              <a:gd name="connsiteY9545" fmla="*/ 2535355 h 4503132"/>
              <a:gd name="connsiteX9546" fmla="*/ 3860567 w 4493400"/>
              <a:gd name="connsiteY9546" fmla="*/ 2633520 h 4503132"/>
              <a:gd name="connsiteX9547" fmla="*/ 3815943 w 4493400"/>
              <a:gd name="connsiteY9547" fmla="*/ 2677887 h 4503132"/>
              <a:gd name="connsiteX9548" fmla="*/ 3765838 w 4493400"/>
              <a:gd name="connsiteY9548" fmla="*/ 2715806 h 4503132"/>
              <a:gd name="connsiteX9549" fmla="*/ 3707365 w 4493400"/>
              <a:gd name="connsiteY9549" fmla="*/ 2737941 h 4503132"/>
              <a:gd name="connsiteX9550" fmla="*/ 3644614 w 4493400"/>
              <a:gd name="connsiteY9550" fmla="*/ 2748142 h 4503132"/>
              <a:gd name="connsiteX9551" fmla="*/ 3516321 w 4493400"/>
              <a:gd name="connsiteY9551" fmla="*/ 2758392 h 4503132"/>
              <a:gd name="connsiteX9552" fmla="*/ 3387883 w 4493400"/>
              <a:gd name="connsiteY9552" fmla="*/ 2779854 h 4503132"/>
              <a:gd name="connsiteX9553" fmla="*/ 3327247 w 4493400"/>
              <a:gd name="connsiteY9553" fmla="*/ 2805646 h 4503132"/>
              <a:gd name="connsiteX9554" fmla="*/ 3278873 w 4493400"/>
              <a:gd name="connsiteY9554" fmla="*/ 2851120 h 4503132"/>
              <a:gd name="connsiteX9555" fmla="*/ 3244972 w 4493400"/>
              <a:gd name="connsiteY9555" fmla="*/ 2908046 h 4503132"/>
              <a:gd name="connsiteX9556" fmla="*/ 3218669 w 4493400"/>
              <a:gd name="connsiteY9556" fmla="*/ 2968918 h 4503132"/>
              <a:gd name="connsiteX9557" fmla="*/ 3177941 w 4493400"/>
              <a:gd name="connsiteY9557" fmla="*/ 3095522 h 4503132"/>
              <a:gd name="connsiteX9558" fmla="*/ 3119613 w 4493400"/>
              <a:gd name="connsiteY9558" fmla="*/ 3357536 h 4503132"/>
              <a:gd name="connsiteX9559" fmla="*/ 3077489 w 4493400"/>
              <a:gd name="connsiteY9559" fmla="*/ 3626383 h 4503132"/>
              <a:gd name="connsiteX9560" fmla="*/ 3065756 w 4493400"/>
              <a:gd name="connsiteY9560" fmla="*/ 3763478 h 4503132"/>
              <a:gd name="connsiteX9561" fmla="*/ 3066189 w 4493400"/>
              <a:gd name="connsiteY9561" fmla="*/ 3832867 h 4503132"/>
              <a:gd name="connsiteX9562" fmla="*/ 3067920 w 4493400"/>
              <a:gd name="connsiteY9562" fmla="*/ 3850287 h 4503132"/>
              <a:gd name="connsiteX9563" fmla="*/ 3069363 w 4493400"/>
              <a:gd name="connsiteY9563" fmla="*/ 3858996 h 4503132"/>
              <a:gd name="connsiteX9564" fmla="*/ 3070084 w 4493400"/>
              <a:gd name="connsiteY9564" fmla="*/ 3863375 h 4503132"/>
              <a:gd name="connsiteX9565" fmla="*/ 3071238 w 4493400"/>
              <a:gd name="connsiteY9565" fmla="*/ 3867706 h 4503132"/>
              <a:gd name="connsiteX9566" fmla="*/ 3073643 w 4493400"/>
              <a:gd name="connsiteY9566" fmla="*/ 3876368 h 4503132"/>
              <a:gd name="connsiteX9567" fmla="*/ 3077538 w 4493400"/>
              <a:gd name="connsiteY9567" fmla="*/ 3884789 h 4503132"/>
              <a:gd name="connsiteX9568" fmla="*/ 3087684 w 4493400"/>
              <a:gd name="connsiteY9568" fmla="*/ 3899562 h 4503132"/>
              <a:gd name="connsiteX9569" fmla="*/ 3130720 w 4493400"/>
              <a:gd name="connsiteY9569" fmla="*/ 3953168 h 4503132"/>
              <a:gd name="connsiteX9570" fmla="*/ 3138318 w 4493400"/>
              <a:gd name="connsiteY9570" fmla="*/ 3984205 h 4503132"/>
              <a:gd name="connsiteX9571" fmla="*/ 3133557 w 4493400"/>
              <a:gd name="connsiteY9571" fmla="*/ 3999459 h 4503132"/>
              <a:gd name="connsiteX9572" fmla="*/ 3131586 w 4493400"/>
              <a:gd name="connsiteY9572" fmla="*/ 4003020 h 4503132"/>
              <a:gd name="connsiteX9573" fmla="*/ 3129134 w 4493400"/>
              <a:gd name="connsiteY9573" fmla="*/ 4006437 h 4503132"/>
              <a:gd name="connsiteX9574" fmla="*/ 3124181 w 4493400"/>
              <a:gd name="connsiteY9574" fmla="*/ 4013221 h 4503132"/>
              <a:gd name="connsiteX9575" fmla="*/ 3069411 w 4493400"/>
              <a:gd name="connsiteY9575" fmla="*/ 4053306 h 4503132"/>
              <a:gd name="connsiteX9576" fmla="*/ 3004736 w 4493400"/>
              <a:gd name="connsiteY9576" fmla="*/ 4078569 h 4503132"/>
              <a:gd name="connsiteX9577" fmla="*/ 2868076 w 4493400"/>
              <a:gd name="connsiteY9577" fmla="*/ 4110617 h 4503132"/>
              <a:gd name="connsiteX9578" fmla="*/ 2728290 w 4493400"/>
              <a:gd name="connsiteY9578" fmla="*/ 4134003 h 4503132"/>
              <a:gd name="connsiteX9579" fmla="*/ 2658037 w 4493400"/>
              <a:gd name="connsiteY9579" fmla="*/ 4146322 h 4503132"/>
              <a:gd name="connsiteX9580" fmla="*/ 2588168 w 4493400"/>
              <a:gd name="connsiteY9580" fmla="*/ 4163020 h 4503132"/>
              <a:gd name="connsiteX9581" fmla="*/ 2579561 w 4493400"/>
              <a:gd name="connsiteY9581" fmla="*/ 4165811 h 4503132"/>
              <a:gd name="connsiteX9582" fmla="*/ 2571050 w 4493400"/>
              <a:gd name="connsiteY9582" fmla="*/ 4169179 h 4503132"/>
              <a:gd name="connsiteX9583" fmla="*/ 2562586 w 4493400"/>
              <a:gd name="connsiteY9583" fmla="*/ 4172692 h 4503132"/>
              <a:gd name="connsiteX9584" fmla="*/ 2554460 w 4493400"/>
              <a:gd name="connsiteY9584" fmla="*/ 4176926 h 4503132"/>
              <a:gd name="connsiteX9585" fmla="*/ 2546382 w 4493400"/>
              <a:gd name="connsiteY9585" fmla="*/ 4181305 h 4503132"/>
              <a:gd name="connsiteX9586" fmla="*/ 2538736 w 4493400"/>
              <a:gd name="connsiteY9586" fmla="*/ 4186358 h 4503132"/>
              <a:gd name="connsiteX9587" fmla="*/ 2524118 w 4493400"/>
              <a:gd name="connsiteY9587" fmla="*/ 4197426 h 4503132"/>
              <a:gd name="connsiteX9588" fmla="*/ 2477138 w 4493400"/>
              <a:gd name="connsiteY9588" fmla="*/ 4253004 h 4503132"/>
              <a:gd name="connsiteX9589" fmla="*/ 2438862 w 4493400"/>
              <a:gd name="connsiteY9589" fmla="*/ 4314021 h 4503132"/>
              <a:gd name="connsiteX9590" fmla="*/ 2416309 w 4493400"/>
              <a:gd name="connsiteY9590" fmla="*/ 4341545 h 4503132"/>
              <a:gd name="connsiteX9591" fmla="*/ 2391161 w 4493400"/>
              <a:gd name="connsiteY9591" fmla="*/ 4367290 h 4503132"/>
              <a:gd name="connsiteX9592" fmla="*/ 2335573 w 4493400"/>
              <a:gd name="connsiteY9592" fmla="*/ 4412619 h 4503132"/>
              <a:gd name="connsiteX9593" fmla="*/ 2304221 w 4493400"/>
              <a:gd name="connsiteY9593" fmla="*/ 4429702 h 4503132"/>
              <a:gd name="connsiteX9594" fmla="*/ 2270321 w 4493400"/>
              <a:gd name="connsiteY9594" fmla="*/ 4441106 h 4503132"/>
              <a:gd name="connsiteX9595" fmla="*/ 2126592 w 4493400"/>
              <a:gd name="connsiteY9595" fmla="*/ 4460162 h 4503132"/>
              <a:gd name="connsiteX9596" fmla="*/ 2053598 w 4493400"/>
              <a:gd name="connsiteY9596" fmla="*/ 4458718 h 4503132"/>
              <a:gd name="connsiteX9597" fmla="*/ 2025756 w 4493400"/>
              <a:gd name="connsiteY9597" fmla="*/ 4456119 h 4503132"/>
              <a:gd name="connsiteX9598" fmla="*/ 2031527 w 4493400"/>
              <a:gd name="connsiteY9598" fmla="*/ 4456745 h 4503132"/>
              <a:gd name="connsiteX9599" fmla="*/ 2166744 w 4493400"/>
              <a:gd name="connsiteY9599" fmla="*/ 4454147 h 4503132"/>
              <a:gd name="connsiteX9600" fmla="*/ 2183526 w 4493400"/>
              <a:gd name="connsiteY9600" fmla="*/ 4451307 h 4503132"/>
              <a:gd name="connsiteX9601" fmla="*/ 2200260 w 4493400"/>
              <a:gd name="connsiteY9601" fmla="*/ 4448083 h 4503132"/>
              <a:gd name="connsiteX9602" fmla="*/ 2216753 w 4493400"/>
              <a:gd name="connsiteY9602" fmla="*/ 4443753 h 4503132"/>
              <a:gd name="connsiteX9603" fmla="*/ 2225024 w 4493400"/>
              <a:gd name="connsiteY9603" fmla="*/ 4441587 h 4503132"/>
              <a:gd name="connsiteX9604" fmla="*/ 2233151 w 4493400"/>
              <a:gd name="connsiteY9604" fmla="*/ 4438893 h 4503132"/>
              <a:gd name="connsiteX9605" fmla="*/ 2249356 w 4493400"/>
              <a:gd name="connsiteY9605" fmla="*/ 4433455 h 4503132"/>
              <a:gd name="connsiteX9606" fmla="*/ 2265176 w 4493400"/>
              <a:gd name="connsiteY9606" fmla="*/ 4426863 h 4503132"/>
              <a:gd name="connsiteX9607" fmla="*/ 2280707 w 4493400"/>
              <a:gd name="connsiteY9607" fmla="*/ 4419645 h 4503132"/>
              <a:gd name="connsiteX9608" fmla="*/ 2295903 w 4493400"/>
              <a:gd name="connsiteY9608" fmla="*/ 4411705 h 4503132"/>
              <a:gd name="connsiteX9609" fmla="*/ 2351826 w 4493400"/>
              <a:gd name="connsiteY9609" fmla="*/ 4372054 h 4503132"/>
              <a:gd name="connsiteX9610" fmla="*/ 2358318 w 4493400"/>
              <a:gd name="connsiteY9610" fmla="*/ 4366424 h 4503132"/>
              <a:gd name="connsiteX9611" fmla="*/ 2364521 w 4493400"/>
              <a:gd name="connsiteY9611" fmla="*/ 4360457 h 4503132"/>
              <a:gd name="connsiteX9612" fmla="*/ 2376639 w 4493400"/>
              <a:gd name="connsiteY9612" fmla="*/ 4348282 h 4503132"/>
              <a:gd name="connsiteX9613" fmla="*/ 2388227 w 4493400"/>
              <a:gd name="connsiteY9613" fmla="*/ 4335627 h 4503132"/>
              <a:gd name="connsiteX9614" fmla="*/ 2399383 w 4493400"/>
              <a:gd name="connsiteY9614" fmla="*/ 4322249 h 4503132"/>
              <a:gd name="connsiteX9615" fmla="*/ 2416213 w 4493400"/>
              <a:gd name="connsiteY9615" fmla="*/ 4291693 h 4503132"/>
              <a:gd name="connsiteX9616" fmla="*/ 2429293 w 4493400"/>
              <a:gd name="connsiteY9616" fmla="*/ 4260030 h 4503132"/>
              <a:gd name="connsiteX9617" fmla="*/ 2457952 w 4493400"/>
              <a:gd name="connsiteY9617" fmla="*/ 4199013 h 4503132"/>
              <a:gd name="connsiteX9618" fmla="*/ 2478436 w 4493400"/>
              <a:gd name="connsiteY9618" fmla="*/ 4173125 h 4503132"/>
              <a:gd name="connsiteX9619" fmla="*/ 2505557 w 4493400"/>
              <a:gd name="connsiteY9619" fmla="*/ 4155368 h 4503132"/>
              <a:gd name="connsiteX9620" fmla="*/ 2570665 w 4493400"/>
              <a:gd name="connsiteY9620" fmla="*/ 4137564 h 4503132"/>
              <a:gd name="connsiteX9621" fmla="*/ 2638273 w 4493400"/>
              <a:gd name="connsiteY9621" fmla="*/ 4127699 h 4503132"/>
              <a:gd name="connsiteX9622" fmla="*/ 2706604 w 4493400"/>
              <a:gd name="connsiteY9622" fmla="*/ 4120963 h 4503132"/>
              <a:gd name="connsiteX9623" fmla="*/ 2844129 w 4493400"/>
              <a:gd name="connsiteY9623" fmla="*/ 4105756 h 4503132"/>
              <a:gd name="connsiteX9624" fmla="*/ 2911690 w 4493400"/>
              <a:gd name="connsiteY9624" fmla="*/ 4088481 h 4503132"/>
              <a:gd name="connsiteX9625" fmla="*/ 2975836 w 4493400"/>
              <a:gd name="connsiteY9625" fmla="*/ 4059850 h 4503132"/>
              <a:gd name="connsiteX9626" fmla="*/ 3003678 w 4493400"/>
              <a:gd name="connsiteY9626" fmla="*/ 4037474 h 4503132"/>
              <a:gd name="connsiteX9627" fmla="*/ 3023489 w 4493400"/>
              <a:gd name="connsiteY9627" fmla="*/ 4007206 h 4503132"/>
              <a:gd name="connsiteX9628" fmla="*/ 3030414 w 4493400"/>
              <a:gd name="connsiteY9628" fmla="*/ 3971694 h 4503132"/>
              <a:gd name="connsiteX9629" fmla="*/ 3027192 w 4493400"/>
              <a:gd name="connsiteY9629" fmla="*/ 3936133 h 4503132"/>
              <a:gd name="connsiteX9630" fmla="*/ 3011083 w 4493400"/>
              <a:gd name="connsiteY9630" fmla="*/ 3868043 h 4503132"/>
              <a:gd name="connsiteX9631" fmla="*/ 2999446 w 4493400"/>
              <a:gd name="connsiteY9631" fmla="*/ 3799616 h 4503132"/>
              <a:gd name="connsiteX9632" fmla="*/ 2997571 w 4493400"/>
              <a:gd name="connsiteY9632" fmla="*/ 3730323 h 4503132"/>
              <a:gd name="connsiteX9633" fmla="*/ 3005601 w 4493400"/>
              <a:gd name="connsiteY9633" fmla="*/ 3660982 h 4503132"/>
              <a:gd name="connsiteX9634" fmla="*/ 3026566 w 4493400"/>
              <a:gd name="connsiteY9634" fmla="*/ 3521722 h 4503132"/>
              <a:gd name="connsiteX9635" fmla="*/ 3075133 w 4493400"/>
              <a:gd name="connsiteY9635" fmla="*/ 3242673 h 4503132"/>
              <a:gd name="connsiteX9636" fmla="*/ 3135337 w 4493400"/>
              <a:gd name="connsiteY9636" fmla="*/ 2963865 h 4503132"/>
              <a:gd name="connsiteX9637" fmla="*/ 3178518 w 4493400"/>
              <a:gd name="connsiteY9637" fmla="*/ 2827589 h 4503132"/>
              <a:gd name="connsiteX9638" fmla="*/ 3209822 w 4493400"/>
              <a:gd name="connsiteY9638" fmla="*/ 2763734 h 4503132"/>
              <a:gd name="connsiteX9639" fmla="*/ 3231027 w 4493400"/>
              <a:gd name="connsiteY9639" fmla="*/ 2735824 h 4503132"/>
              <a:gd name="connsiteX9640" fmla="*/ 3234009 w 4493400"/>
              <a:gd name="connsiteY9640" fmla="*/ 2732696 h 4503132"/>
              <a:gd name="connsiteX9641" fmla="*/ 3237230 w 4493400"/>
              <a:gd name="connsiteY9641" fmla="*/ 2729809 h 4503132"/>
              <a:gd name="connsiteX9642" fmla="*/ 3240452 w 4493400"/>
              <a:gd name="connsiteY9642" fmla="*/ 2726921 h 4503132"/>
              <a:gd name="connsiteX9643" fmla="*/ 3243914 w 4493400"/>
              <a:gd name="connsiteY9643" fmla="*/ 2724419 h 4503132"/>
              <a:gd name="connsiteX9644" fmla="*/ 3247377 w 4493400"/>
              <a:gd name="connsiteY9644" fmla="*/ 2721917 h 4503132"/>
              <a:gd name="connsiteX9645" fmla="*/ 3251175 w 4493400"/>
              <a:gd name="connsiteY9645" fmla="*/ 2719655 h 4503132"/>
              <a:gd name="connsiteX9646" fmla="*/ 3258773 w 4493400"/>
              <a:gd name="connsiteY9646" fmla="*/ 2715084 h 4503132"/>
              <a:gd name="connsiteX9647" fmla="*/ 3324603 w 4493400"/>
              <a:gd name="connsiteY9647" fmla="*/ 2689725 h 4503132"/>
              <a:gd name="connsiteX9648" fmla="*/ 3395433 w 4493400"/>
              <a:gd name="connsiteY9648" fmla="*/ 2684143 h 4503132"/>
              <a:gd name="connsiteX9649" fmla="*/ 3538969 w 4493400"/>
              <a:gd name="connsiteY9649" fmla="*/ 2701803 h 4503132"/>
              <a:gd name="connsiteX9650" fmla="*/ 3612252 w 4493400"/>
              <a:gd name="connsiteY9650" fmla="*/ 2705652 h 4503132"/>
              <a:gd name="connsiteX9651" fmla="*/ 3685054 w 4493400"/>
              <a:gd name="connsiteY9651" fmla="*/ 2693093 h 4503132"/>
              <a:gd name="connsiteX9652" fmla="*/ 3693853 w 4493400"/>
              <a:gd name="connsiteY9652" fmla="*/ 2690158 h 4503132"/>
              <a:gd name="connsiteX9653" fmla="*/ 3702461 w 4493400"/>
              <a:gd name="connsiteY9653" fmla="*/ 2686693 h 4503132"/>
              <a:gd name="connsiteX9654" fmla="*/ 3719387 w 4493400"/>
              <a:gd name="connsiteY9654" fmla="*/ 2678994 h 4503132"/>
              <a:gd name="connsiteX9655" fmla="*/ 3735688 w 4493400"/>
              <a:gd name="connsiteY9655" fmla="*/ 2670043 h 4503132"/>
              <a:gd name="connsiteX9656" fmla="*/ 3751268 w 4493400"/>
              <a:gd name="connsiteY9656" fmla="*/ 2659409 h 4503132"/>
              <a:gd name="connsiteX9657" fmla="*/ 3803297 w 4493400"/>
              <a:gd name="connsiteY9657" fmla="*/ 2606958 h 4503132"/>
              <a:gd name="connsiteX9658" fmla="*/ 3889515 w 4493400"/>
              <a:gd name="connsiteY9658" fmla="*/ 2487427 h 4503132"/>
              <a:gd name="connsiteX9659" fmla="*/ 3922646 w 4493400"/>
              <a:gd name="connsiteY9659" fmla="*/ 2421070 h 4503132"/>
              <a:gd name="connsiteX9660" fmla="*/ 3934523 w 4493400"/>
              <a:gd name="connsiteY9660" fmla="*/ 2385653 h 4503132"/>
              <a:gd name="connsiteX9661" fmla="*/ 3940726 w 4493400"/>
              <a:gd name="connsiteY9661" fmla="*/ 2348456 h 4503132"/>
              <a:gd name="connsiteX9662" fmla="*/ 3936446 w 4493400"/>
              <a:gd name="connsiteY9662" fmla="*/ 2310249 h 4503132"/>
              <a:gd name="connsiteX9663" fmla="*/ 3913750 w 4493400"/>
              <a:gd name="connsiteY9663" fmla="*/ 2278634 h 4503132"/>
              <a:gd name="connsiteX9664" fmla="*/ 3880763 w 4493400"/>
              <a:gd name="connsiteY9664" fmla="*/ 2259434 h 4503132"/>
              <a:gd name="connsiteX9665" fmla="*/ 3844987 w 4493400"/>
              <a:gd name="connsiteY9665" fmla="*/ 2247837 h 4503132"/>
              <a:gd name="connsiteX9666" fmla="*/ 3808730 w 4493400"/>
              <a:gd name="connsiteY9666" fmla="*/ 2239561 h 4503132"/>
              <a:gd name="connsiteX9667" fmla="*/ 3772233 w 4493400"/>
              <a:gd name="connsiteY9667" fmla="*/ 2232246 h 4503132"/>
              <a:gd name="connsiteX9668" fmla="*/ 3698037 w 4493400"/>
              <a:gd name="connsiteY9668" fmla="*/ 2224018 h 4503132"/>
              <a:gd name="connsiteX9669" fmla="*/ 3623263 w 4493400"/>
              <a:gd name="connsiteY9669" fmla="*/ 2224306 h 4503132"/>
              <a:gd name="connsiteX9670" fmla="*/ 3585949 w 4493400"/>
              <a:gd name="connsiteY9670" fmla="*/ 2227867 h 4503132"/>
              <a:gd name="connsiteX9671" fmla="*/ 3567388 w 4493400"/>
              <a:gd name="connsiteY9671" fmla="*/ 2230321 h 4503132"/>
              <a:gd name="connsiteX9672" fmla="*/ 3548923 w 4493400"/>
              <a:gd name="connsiteY9672" fmla="*/ 2233546 h 4503132"/>
              <a:gd name="connsiteX9673" fmla="*/ 3530554 w 4493400"/>
              <a:gd name="connsiteY9673" fmla="*/ 2237299 h 4503132"/>
              <a:gd name="connsiteX9674" fmla="*/ 3512233 w 4493400"/>
              <a:gd name="connsiteY9674" fmla="*/ 2241533 h 4503132"/>
              <a:gd name="connsiteX9675" fmla="*/ 3476169 w 4493400"/>
              <a:gd name="connsiteY9675" fmla="*/ 2252264 h 4503132"/>
              <a:gd name="connsiteX9676" fmla="*/ 3406877 w 4493400"/>
              <a:gd name="connsiteY9676" fmla="*/ 2281906 h 4503132"/>
              <a:gd name="connsiteX9677" fmla="*/ 3390384 w 4493400"/>
              <a:gd name="connsiteY9677" fmla="*/ 2291145 h 4503132"/>
              <a:gd name="connsiteX9678" fmla="*/ 3374467 w 4493400"/>
              <a:gd name="connsiteY9678" fmla="*/ 2301443 h 4503132"/>
              <a:gd name="connsiteX9679" fmla="*/ 3345183 w 4493400"/>
              <a:gd name="connsiteY9679" fmla="*/ 2326032 h 4503132"/>
              <a:gd name="connsiteX9680" fmla="*/ 3298155 w 4493400"/>
              <a:gd name="connsiteY9680" fmla="*/ 2385317 h 4503132"/>
              <a:gd name="connsiteX9681" fmla="*/ 3213091 w 4493400"/>
              <a:gd name="connsiteY9681" fmla="*/ 2508745 h 4503132"/>
              <a:gd name="connsiteX9682" fmla="*/ 3160534 w 4493400"/>
              <a:gd name="connsiteY9682" fmla="*/ 2560570 h 4503132"/>
              <a:gd name="connsiteX9683" fmla="*/ 3128364 w 4493400"/>
              <a:gd name="connsiteY9683" fmla="*/ 2577893 h 4503132"/>
              <a:gd name="connsiteX9684" fmla="*/ 3111101 w 4493400"/>
              <a:gd name="connsiteY9684" fmla="*/ 2584678 h 4503132"/>
              <a:gd name="connsiteX9685" fmla="*/ 3093214 w 4493400"/>
              <a:gd name="connsiteY9685" fmla="*/ 2589923 h 4503132"/>
              <a:gd name="connsiteX9686" fmla="*/ 2944821 w 4493400"/>
              <a:gd name="connsiteY9686" fmla="*/ 2612107 h 4503132"/>
              <a:gd name="connsiteX9687" fmla="*/ 2793446 w 4493400"/>
              <a:gd name="connsiteY9687" fmla="*/ 2623704 h 4503132"/>
              <a:gd name="connsiteX9688" fmla="*/ 2755555 w 4493400"/>
              <a:gd name="connsiteY9688" fmla="*/ 2628323 h 4503132"/>
              <a:gd name="connsiteX9689" fmla="*/ 2717808 w 4493400"/>
              <a:gd name="connsiteY9689" fmla="*/ 2634531 h 4503132"/>
              <a:gd name="connsiteX9690" fmla="*/ 2643852 w 4493400"/>
              <a:gd name="connsiteY9690" fmla="*/ 2655511 h 4503132"/>
              <a:gd name="connsiteX9691" fmla="*/ 2625964 w 4493400"/>
              <a:gd name="connsiteY9691" fmla="*/ 2662777 h 4503132"/>
              <a:gd name="connsiteX9692" fmla="*/ 2608653 w 4493400"/>
              <a:gd name="connsiteY9692" fmla="*/ 2671295 h 4503132"/>
              <a:gd name="connsiteX9693" fmla="*/ 2591775 w 4493400"/>
              <a:gd name="connsiteY9693" fmla="*/ 2680534 h 4503132"/>
              <a:gd name="connsiteX9694" fmla="*/ 2575185 w 4493400"/>
              <a:gd name="connsiteY9694" fmla="*/ 2690254 h 4503132"/>
              <a:gd name="connsiteX9695" fmla="*/ 2543015 w 4493400"/>
              <a:gd name="connsiteY9695" fmla="*/ 2711282 h 4503132"/>
              <a:gd name="connsiteX9696" fmla="*/ 2511808 w 4493400"/>
              <a:gd name="connsiteY9696" fmla="*/ 2733706 h 4503132"/>
              <a:gd name="connsiteX9697" fmla="*/ 2394190 w 4493400"/>
              <a:gd name="connsiteY9697" fmla="*/ 2832497 h 4503132"/>
              <a:gd name="connsiteX9698" fmla="*/ 2283016 w 4493400"/>
              <a:gd name="connsiteY9698" fmla="*/ 2938891 h 4503132"/>
              <a:gd name="connsiteX9699" fmla="*/ 2228198 w 4493400"/>
              <a:gd name="connsiteY9699" fmla="*/ 2992930 h 4503132"/>
              <a:gd name="connsiteX9700" fmla="*/ 2171505 w 4493400"/>
              <a:gd name="connsiteY9700" fmla="*/ 3044900 h 4503132"/>
              <a:gd name="connsiteX9701" fmla="*/ 2052829 w 4493400"/>
              <a:gd name="connsiteY9701" fmla="*/ 3143738 h 4503132"/>
              <a:gd name="connsiteX9702" fmla="*/ 1993010 w 4493400"/>
              <a:gd name="connsiteY9702" fmla="*/ 3193158 h 4503132"/>
              <a:gd name="connsiteX9703" fmla="*/ 1936221 w 4493400"/>
              <a:gd name="connsiteY9703" fmla="*/ 3247052 h 4503132"/>
              <a:gd name="connsiteX9704" fmla="*/ 1929921 w 4493400"/>
              <a:gd name="connsiteY9704" fmla="*/ 3254800 h 4503132"/>
              <a:gd name="connsiteX9705" fmla="*/ 1923959 w 4493400"/>
              <a:gd name="connsiteY9705" fmla="*/ 3262836 h 4503132"/>
              <a:gd name="connsiteX9706" fmla="*/ 1913572 w 4493400"/>
              <a:gd name="connsiteY9706" fmla="*/ 3279581 h 4503132"/>
              <a:gd name="connsiteX9707" fmla="*/ 1895636 w 4493400"/>
              <a:gd name="connsiteY9707" fmla="*/ 3314661 h 4503132"/>
              <a:gd name="connsiteX9708" fmla="*/ 1870295 w 4493400"/>
              <a:gd name="connsiteY9708" fmla="*/ 3389151 h 4503132"/>
              <a:gd name="connsiteX9709" fmla="*/ 1861976 w 4493400"/>
              <a:gd name="connsiteY9709" fmla="*/ 3467780 h 4503132"/>
              <a:gd name="connsiteX9710" fmla="*/ 1868275 w 4493400"/>
              <a:gd name="connsiteY9710" fmla="*/ 3507382 h 4503132"/>
              <a:gd name="connsiteX9711" fmla="*/ 1886740 w 4493400"/>
              <a:gd name="connsiteY9711" fmla="*/ 3543665 h 4503132"/>
              <a:gd name="connsiteX9712" fmla="*/ 1916938 w 4493400"/>
              <a:gd name="connsiteY9712" fmla="*/ 3570420 h 4503132"/>
              <a:gd name="connsiteX9713" fmla="*/ 1951368 w 4493400"/>
              <a:gd name="connsiteY9713" fmla="*/ 3590293 h 4503132"/>
              <a:gd name="connsiteX9714" fmla="*/ 2024362 w 4493400"/>
              <a:gd name="connsiteY9714" fmla="*/ 3620080 h 4503132"/>
              <a:gd name="connsiteX9715" fmla="*/ 2098943 w 4493400"/>
              <a:gd name="connsiteY9715" fmla="*/ 3644525 h 4503132"/>
              <a:gd name="connsiteX9716" fmla="*/ 2117264 w 4493400"/>
              <a:gd name="connsiteY9716" fmla="*/ 3650925 h 4503132"/>
              <a:gd name="connsiteX9717" fmla="*/ 2135729 w 4493400"/>
              <a:gd name="connsiteY9717" fmla="*/ 3657806 h 4503132"/>
              <a:gd name="connsiteX9718" fmla="*/ 2172707 w 4493400"/>
              <a:gd name="connsiteY9718" fmla="*/ 3671135 h 4503132"/>
              <a:gd name="connsiteX9719" fmla="*/ 2244066 w 4493400"/>
              <a:gd name="connsiteY9719" fmla="*/ 3702028 h 4503132"/>
              <a:gd name="connsiteX9720" fmla="*/ 2302490 w 4493400"/>
              <a:gd name="connsiteY9720" fmla="*/ 3750967 h 4503132"/>
              <a:gd name="connsiteX9721" fmla="*/ 2308116 w 4493400"/>
              <a:gd name="connsiteY9721" fmla="*/ 3758666 h 4503132"/>
              <a:gd name="connsiteX9722" fmla="*/ 2313165 w 4493400"/>
              <a:gd name="connsiteY9722" fmla="*/ 3766798 h 4503132"/>
              <a:gd name="connsiteX9723" fmla="*/ 2321292 w 4493400"/>
              <a:gd name="connsiteY9723" fmla="*/ 3783785 h 4503132"/>
              <a:gd name="connsiteX9724" fmla="*/ 2331582 w 4493400"/>
              <a:gd name="connsiteY9724" fmla="*/ 3821078 h 4503132"/>
              <a:gd name="connsiteX9725" fmla="*/ 2341055 w 4493400"/>
              <a:gd name="connsiteY9725" fmla="*/ 3898696 h 4503132"/>
              <a:gd name="connsiteX9726" fmla="*/ 2339372 w 4493400"/>
              <a:gd name="connsiteY9726" fmla="*/ 3976987 h 4503132"/>
              <a:gd name="connsiteX9727" fmla="*/ 2321052 w 4493400"/>
              <a:gd name="connsiteY9727" fmla="*/ 4052103 h 4503132"/>
              <a:gd name="connsiteX9728" fmla="*/ 2299269 w 4493400"/>
              <a:gd name="connsiteY9728" fmla="*/ 4082081 h 4503132"/>
              <a:gd name="connsiteX9729" fmla="*/ 2295614 w 4493400"/>
              <a:gd name="connsiteY9729" fmla="*/ 4084728 h 4503132"/>
              <a:gd name="connsiteX9730" fmla="*/ 2291815 w 4493400"/>
              <a:gd name="connsiteY9730" fmla="*/ 4087134 h 4503132"/>
              <a:gd name="connsiteX9731" fmla="*/ 2283593 w 4493400"/>
              <a:gd name="connsiteY9731" fmla="*/ 4090599 h 4503132"/>
              <a:gd name="connsiteX9732" fmla="*/ 2279217 w 4493400"/>
              <a:gd name="connsiteY9732" fmla="*/ 4091561 h 4503132"/>
              <a:gd name="connsiteX9733" fmla="*/ 2274697 w 4493400"/>
              <a:gd name="connsiteY9733" fmla="*/ 4092283 h 4503132"/>
              <a:gd name="connsiteX9734" fmla="*/ 2265224 w 4493400"/>
              <a:gd name="connsiteY9734" fmla="*/ 4092957 h 4503132"/>
              <a:gd name="connsiteX9735" fmla="*/ 2227573 w 4493400"/>
              <a:gd name="connsiteY9735" fmla="*/ 4088000 h 4503132"/>
              <a:gd name="connsiteX9736" fmla="*/ 2192085 w 4493400"/>
              <a:gd name="connsiteY9736" fmla="*/ 4073035 h 4503132"/>
              <a:gd name="connsiteX9737" fmla="*/ 2129333 w 4493400"/>
              <a:gd name="connsiteY9737" fmla="*/ 4026262 h 4503132"/>
              <a:gd name="connsiteX9738" fmla="*/ 2113994 w 4493400"/>
              <a:gd name="connsiteY9738" fmla="*/ 4013077 h 4503132"/>
              <a:gd name="connsiteX9739" fmla="*/ 2098318 w 4493400"/>
              <a:gd name="connsiteY9739" fmla="*/ 4000806 h 4503132"/>
              <a:gd name="connsiteX9740" fmla="*/ 2066245 w 4493400"/>
              <a:gd name="connsiteY9740" fmla="*/ 3976794 h 4503132"/>
              <a:gd name="connsiteX9741" fmla="*/ 1996280 w 4493400"/>
              <a:gd name="connsiteY9741" fmla="*/ 3936710 h 4503132"/>
              <a:gd name="connsiteX9742" fmla="*/ 1918381 w 4493400"/>
              <a:gd name="connsiteY9742" fmla="*/ 3915056 h 4503132"/>
              <a:gd name="connsiteX9743" fmla="*/ 1757486 w 4493400"/>
              <a:gd name="connsiteY9743" fmla="*/ 3912025 h 4503132"/>
              <a:gd name="connsiteX9744" fmla="*/ 1678144 w 4493400"/>
              <a:gd name="connsiteY9744" fmla="*/ 3925835 h 4503132"/>
              <a:gd name="connsiteX9745" fmla="*/ 1599524 w 4493400"/>
              <a:gd name="connsiteY9745" fmla="*/ 3939261 h 4503132"/>
              <a:gd name="connsiteX9746" fmla="*/ 1521192 w 4493400"/>
              <a:gd name="connsiteY9746" fmla="*/ 3934930 h 4503132"/>
              <a:gd name="connsiteX9747" fmla="*/ 1484022 w 4493400"/>
              <a:gd name="connsiteY9747" fmla="*/ 3922419 h 4503132"/>
              <a:gd name="connsiteX9748" fmla="*/ 1479502 w 4493400"/>
              <a:gd name="connsiteY9748" fmla="*/ 3920494 h 4503132"/>
              <a:gd name="connsiteX9749" fmla="*/ 1475222 w 4493400"/>
              <a:gd name="connsiteY9749" fmla="*/ 3918136 h 4503132"/>
              <a:gd name="connsiteX9750" fmla="*/ 1466711 w 4493400"/>
              <a:gd name="connsiteY9750" fmla="*/ 3913420 h 4503132"/>
              <a:gd name="connsiteX9751" fmla="*/ 1458728 w 4493400"/>
              <a:gd name="connsiteY9751" fmla="*/ 3907886 h 4503132"/>
              <a:gd name="connsiteX9752" fmla="*/ 1451083 w 4493400"/>
              <a:gd name="connsiteY9752" fmla="*/ 3901920 h 4503132"/>
              <a:gd name="connsiteX9753" fmla="*/ 1443870 w 4493400"/>
              <a:gd name="connsiteY9753" fmla="*/ 3895472 h 4503132"/>
              <a:gd name="connsiteX9754" fmla="*/ 1437426 w 4493400"/>
              <a:gd name="connsiteY9754" fmla="*/ 3888254 h 4503132"/>
              <a:gd name="connsiteX9755" fmla="*/ 1431512 w 4493400"/>
              <a:gd name="connsiteY9755" fmla="*/ 3880602 h 4503132"/>
              <a:gd name="connsiteX9756" fmla="*/ 1426126 w 4493400"/>
              <a:gd name="connsiteY9756" fmla="*/ 3872566 h 4503132"/>
              <a:gd name="connsiteX9757" fmla="*/ 1421318 w 4493400"/>
              <a:gd name="connsiteY9757" fmla="*/ 3864097 h 4503132"/>
              <a:gd name="connsiteX9758" fmla="*/ 1417279 w 4493400"/>
              <a:gd name="connsiteY9758" fmla="*/ 3855195 h 4503132"/>
              <a:gd name="connsiteX9759" fmla="*/ 1413720 w 4493400"/>
              <a:gd name="connsiteY9759" fmla="*/ 3846052 h 4503132"/>
              <a:gd name="connsiteX9760" fmla="*/ 1410643 w 4493400"/>
              <a:gd name="connsiteY9760" fmla="*/ 3836717 h 4503132"/>
              <a:gd name="connsiteX9761" fmla="*/ 1398044 w 4493400"/>
              <a:gd name="connsiteY9761" fmla="*/ 3758088 h 4503132"/>
              <a:gd name="connsiteX9762" fmla="*/ 1389581 w 4493400"/>
              <a:gd name="connsiteY9762" fmla="*/ 3677246 h 4503132"/>
              <a:gd name="connsiteX9763" fmla="*/ 1379916 w 4493400"/>
              <a:gd name="connsiteY9763" fmla="*/ 3637162 h 4503132"/>
              <a:gd name="connsiteX9764" fmla="*/ 1362268 w 4493400"/>
              <a:gd name="connsiteY9764" fmla="*/ 3599436 h 4503132"/>
              <a:gd name="connsiteX9765" fmla="*/ 1349622 w 4493400"/>
              <a:gd name="connsiteY9765" fmla="*/ 3582691 h 4503132"/>
              <a:gd name="connsiteX9766" fmla="*/ 1334860 w 4493400"/>
              <a:gd name="connsiteY9766" fmla="*/ 3567821 h 4503132"/>
              <a:gd name="connsiteX9767" fmla="*/ 1326637 w 4493400"/>
              <a:gd name="connsiteY9767" fmla="*/ 3561373 h 4503132"/>
              <a:gd name="connsiteX9768" fmla="*/ 1318126 w 4493400"/>
              <a:gd name="connsiteY9768" fmla="*/ 3555310 h 4503132"/>
              <a:gd name="connsiteX9769" fmla="*/ 1299949 w 4493400"/>
              <a:gd name="connsiteY9769" fmla="*/ 3545108 h 4503132"/>
              <a:gd name="connsiteX9770" fmla="*/ 1290524 w 4493400"/>
              <a:gd name="connsiteY9770" fmla="*/ 3540633 h 4503132"/>
              <a:gd name="connsiteX9771" fmla="*/ 1280571 w 4493400"/>
              <a:gd name="connsiteY9771" fmla="*/ 3536928 h 4503132"/>
              <a:gd name="connsiteX9772" fmla="*/ 1259990 w 4493400"/>
              <a:gd name="connsiteY9772" fmla="*/ 3532309 h 4503132"/>
              <a:gd name="connsiteX9773" fmla="*/ 1218492 w 4493400"/>
              <a:gd name="connsiteY9773" fmla="*/ 3531202 h 4503132"/>
              <a:gd name="connsiteX9774" fmla="*/ 1137515 w 4493400"/>
              <a:gd name="connsiteY9774" fmla="*/ 3541163 h 4503132"/>
              <a:gd name="connsiteX9775" fmla="*/ 1057741 w 4493400"/>
              <a:gd name="connsiteY9775" fmla="*/ 3543136 h 4503132"/>
              <a:gd name="connsiteX9776" fmla="*/ 987199 w 4493400"/>
              <a:gd name="connsiteY9776" fmla="*/ 3511472 h 4503132"/>
              <a:gd name="connsiteX9777" fmla="*/ 973350 w 4493400"/>
              <a:gd name="connsiteY9777" fmla="*/ 3497470 h 4503132"/>
              <a:gd name="connsiteX9778" fmla="*/ 967243 w 4493400"/>
              <a:gd name="connsiteY9778" fmla="*/ 3489674 h 4503132"/>
              <a:gd name="connsiteX9779" fmla="*/ 964214 w 4493400"/>
              <a:gd name="connsiteY9779" fmla="*/ 3485776 h 4503132"/>
              <a:gd name="connsiteX9780" fmla="*/ 961473 w 4493400"/>
              <a:gd name="connsiteY9780" fmla="*/ 3481638 h 4503132"/>
              <a:gd name="connsiteX9781" fmla="*/ 956039 w 4493400"/>
              <a:gd name="connsiteY9781" fmla="*/ 3473313 h 4503132"/>
              <a:gd name="connsiteX9782" fmla="*/ 951183 w 4493400"/>
              <a:gd name="connsiteY9782" fmla="*/ 3464603 h 4503132"/>
              <a:gd name="connsiteX9783" fmla="*/ 946518 w 4493400"/>
              <a:gd name="connsiteY9783" fmla="*/ 3455750 h 4503132"/>
              <a:gd name="connsiteX9784" fmla="*/ 942335 w 4493400"/>
              <a:gd name="connsiteY9784" fmla="*/ 3446655 h 4503132"/>
              <a:gd name="connsiteX9785" fmla="*/ 925938 w 4493400"/>
              <a:gd name="connsiteY9785" fmla="*/ 3369711 h 4503132"/>
              <a:gd name="connsiteX9786" fmla="*/ 949067 w 4493400"/>
              <a:gd name="connsiteY9786" fmla="*/ 3294210 h 4503132"/>
              <a:gd name="connsiteX9787" fmla="*/ 969263 w 4493400"/>
              <a:gd name="connsiteY9787" fmla="*/ 3258793 h 4503132"/>
              <a:gd name="connsiteX9788" fmla="*/ 987584 w 4493400"/>
              <a:gd name="connsiteY9788" fmla="*/ 3221019 h 4503132"/>
              <a:gd name="connsiteX9789" fmla="*/ 1006866 w 4493400"/>
              <a:gd name="connsiteY9789" fmla="*/ 3140707 h 4503132"/>
              <a:gd name="connsiteX9790" fmla="*/ 1042979 w 4493400"/>
              <a:gd name="connsiteY9790" fmla="*/ 2980611 h 4503132"/>
              <a:gd name="connsiteX9791" fmla="*/ 1067791 w 4493400"/>
              <a:gd name="connsiteY9791" fmla="*/ 2902608 h 4503132"/>
              <a:gd name="connsiteX9792" fmla="*/ 1102990 w 4493400"/>
              <a:gd name="connsiteY9792" fmla="*/ 2829273 h 4503132"/>
              <a:gd name="connsiteX9793" fmla="*/ 1158000 w 4493400"/>
              <a:gd name="connsiteY9793" fmla="*/ 2772251 h 4503132"/>
              <a:gd name="connsiteX9794" fmla="*/ 1194978 w 4493400"/>
              <a:gd name="connsiteY9794" fmla="*/ 2760028 h 4503132"/>
              <a:gd name="connsiteX9795" fmla="*/ 1204739 w 4493400"/>
              <a:gd name="connsiteY9795" fmla="*/ 2759354 h 4503132"/>
              <a:gd name="connsiteX9796" fmla="*/ 1214789 w 4493400"/>
              <a:gd name="connsiteY9796" fmla="*/ 2759739 h 4503132"/>
              <a:gd name="connsiteX9797" fmla="*/ 1224887 w 4493400"/>
              <a:gd name="connsiteY9797" fmla="*/ 2760172 h 4503132"/>
              <a:gd name="connsiteX9798" fmla="*/ 1234937 w 4493400"/>
              <a:gd name="connsiteY9798" fmla="*/ 2761472 h 4503132"/>
              <a:gd name="connsiteX9799" fmla="*/ 1312499 w 4493400"/>
              <a:gd name="connsiteY9799" fmla="*/ 2784473 h 4503132"/>
              <a:gd name="connsiteX9800" fmla="*/ 1383570 w 4493400"/>
              <a:gd name="connsiteY9800" fmla="*/ 2825135 h 4503132"/>
              <a:gd name="connsiteX9801" fmla="*/ 1514220 w 4493400"/>
              <a:gd name="connsiteY9801" fmla="*/ 2926764 h 4503132"/>
              <a:gd name="connsiteX9802" fmla="*/ 1580434 w 4493400"/>
              <a:gd name="connsiteY9802" fmla="*/ 2977531 h 4503132"/>
              <a:gd name="connsiteX9803" fmla="*/ 1652514 w 4493400"/>
              <a:gd name="connsiteY9803" fmla="*/ 3020695 h 4503132"/>
              <a:gd name="connsiteX9804" fmla="*/ 1733635 w 4493400"/>
              <a:gd name="connsiteY9804" fmla="*/ 3044707 h 4503132"/>
              <a:gd name="connsiteX9805" fmla="*/ 1738925 w 4493400"/>
              <a:gd name="connsiteY9805" fmla="*/ 3045333 h 4503132"/>
              <a:gd name="connsiteX9806" fmla="*/ 1744262 w 4493400"/>
              <a:gd name="connsiteY9806" fmla="*/ 3045477 h 4503132"/>
              <a:gd name="connsiteX9807" fmla="*/ 1754985 w 4493400"/>
              <a:gd name="connsiteY9807" fmla="*/ 3045766 h 4503132"/>
              <a:gd name="connsiteX9808" fmla="*/ 1776383 w 4493400"/>
              <a:gd name="connsiteY9808" fmla="*/ 3044515 h 4503132"/>
              <a:gd name="connsiteX9809" fmla="*/ 1817497 w 4493400"/>
              <a:gd name="connsiteY9809" fmla="*/ 3030560 h 4503132"/>
              <a:gd name="connsiteX9810" fmla="*/ 1877796 w 4493400"/>
              <a:gd name="connsiteY9810" fmla="*/ 2970458 h 4503132"/>
              <a:gd name="connsiteX9811" fmla="*/ 1917179 w 4493400"/>
              <a:gd name="connsiteY9811" fmla="*/ 2895679 h 4503132"/>
              <a:gd name="connsiteX9812" fmla="*/ 1971131 w 4493400"/>
              <a:gd name="connsiteY9812" fmla="*/ 2736401 h 4503132"/>
              <a:gd name="connsiteX9813" fmla="*/ 2015610 w 4493400"/>
              <a:gd name="connsiteY9813" fmla="*/ 2574332 h 4503132"/>
              <a:gd name="connsiteX9814" fmla="*/ 2082834 w 4493400"/>
              <a:gd name="connsiteY9814" fmla="*/ 2243506 h 4503132"/>
              <a:gd name="connsiteX9815" fmla="*/ 2113706 w 4493400"/>
              <a:gd name="connsiteY9815" fmla="*/ 2077444 h 4503132"/>
              <a:gd name="connsiteX9816" fmla="*/ 2163234 w 4493400"/>
              <a:gd name="connsiteY9816" fmla="*/ 1916626 h 4503132"/>
              <a:gd name="connsiteX9817" fmla="*/ 2203866 w 4493400"/>
              <a:gd name="connsiteY9817" fmla="*/ 1843435 h 4503132"/>
              <a:gd name="connsiteX9818" fmla="*/ 2209973 w 4493400"/>
              <a:gd name="connsiteY9818" fmla="*/ 1834918 h 4503132"/>
              <a:gd name="connsiteX9819" fmla="*/ 2213003 w 4493400"/>
              <a:gd name="connsiteY9819" fmla="*/ 1830683 h 4503132"/>
              <a:gd name="connsiteX9820" fmla="*/ 2216321 w 4493400"/>
              <a:gd name="connsiteY9820" fmla="*/ 1826641 h 4503132"/>
              <a:gd name="connsiteX9821" fmla="*/ 2229785 w 4493400"/>
              <a:gd name="connsiteY9821" fmla="*/ 1810665 h 4503132"/>
              <a:gd name="connsiteX9822" fmla="*/ 2244451 w 4493400"/>
              <a:gd name="connsiteY9822" fmla="*/ 1795796 h 4503132"/>
              <a:gd name="connsiteX9823" fmla="*/ 2260175 w 4493400"/>
              <a:gd name="connsiteY9823" fmla="*/ 1782082 h 4503132"/>
              <a:gd name="connsiteX9824" fmla="*/ 2331630 w 4493400"/>
              <a:gd name="connsiteY9824" fmla="*/ 1739351 h 4503132"/>
              <a:gd name="connsiteX9825" fmla="*/ 2351297 w 4493400"/>
              <a:gd name="connsiteY9825" fmla="*/ 1732181 h 4503132"/>
              <a:gd name="connsiteX9826" fmla="*/ 2371349 w 4493400"/>
              <a:gd name="connsiteY9826" fmla="*/ 1726118 h 4503132"/>
              <a:gd name="connsiteX9827" fmla="*/ 2412270 w 4493400"/>
              <a:gd name="connsiteY9827" fmla="*/ 1717938 h 4503132"/>
              <a:gd name="connsiteX9828" fmla="*/ 2496324 w 4493400"/>
              <a:gd name="connsiteY9828" fmla="*/ 1718130 h 4503132"/>
              <a:gd name="connsiteX9829" fmla="*/ 2580378 w 4493400"/>
              <a:gd name="connsiteY9829" fmla="*/ 1729727 h 4503132"/>
              <a:gd name="connsiteX9830" fmla="*/ 2747717 w 4493400"/>
              <a:gd name="connsiteY9830" fmla="*/ 1763748 h 4503132"/>
              <a:gd name="connsiteX9831" fmla="*/ 2832107 w 4493400"/>
              <a:gd name="connsiteY9831" fmla="*/ 1779387 h 4503132"/>
              <a:gd name="connsiteX9832" fmla="*/ 2917893 w 4493400"/>
              <a:gd name="connsiteY9832" fmla="*/ 1788290 h 4503132"/>
              <a:gd name="connsiteX9833" fmla="*/ 3004495 w 4493400"/>
              <a:gd name="connsiteY9833" fmla="*/ 1778569 h 4503132"/>
              <a:gd name="connsiteX9834" fmla="*/ 3014882 w 4493400"/>
              <a:gd name="connsiteY9834" fmla="*/ 1774527 h 4503132"/>
              <a:gd name="connsiteX9835" fmla="*/ 3020027 w 4493400"/>
              <a:gd name="connsiteY9835" fmla="*/ 1772362 h 4503132"/>
              <a:gd name="connsiteX9836" fmla="*/ 3025028 w 4493400"/>
              <a:gd name="connsiteY9836" fmla="*/ 1769667 h 4503132"/>
              <a:gd name="connsiteX9837" fmla="*/ 3034597 w 4493400"/>
              <a:gd name="connsiteY9837" fmla="*/ 1763700 h 4503132"/>
              <a:gd name="connsiteX9838" fmla="*/ 3043396 w 4493400"/>
              <a:gd name="connsiteY9838" fmla="*/ 1756723 h 4503132"/>
              <a:gd name="connsiteX9839" fmla="*/ 3071959 w 4493400"/>
              <a:gd name="connsiteY9839" fmla="*/ 1722846 h 4503132"/>
              <a:gd name="connsiteX9840" fmla="*/ 3105475 w 4493400"/>
              <a:gd name="connsiteY9840" fmla="*/ 1642293 h 4503132"/>
              <a:gd name="connsiteX9841" fmla="*/ 3121488 w 4493400"/>
              <a:gd name="connsiteY9841" fmla="*/ 1556976 h 4503132"/>
              <a:gd name="connsiteX9842" fmla="*/ 3126104 w 4493400"/>
              <a:gd name="connsiteY9842" fmla="*/ 1383888 h 4503132"/>
              <a:gd name="connsiteX9843" fmla="*/ 3105187 w 4493400"/>
              <a:gd name="connsiteY9843" fmla="*/ 1211714 h 4503132"/>
              <a:gd name="connsiteX9844" fmla="*/ 3084125 w 4493400"/>
              <a:gd name="connsiteY9844" fmla="*/ 1127263 h 4503132"/>
              <a:gd name="connsiteX9845" fmla="*/ 3049744 w 4493400"/>
              <a:gd name="connsiteY9845" fmla="*/ 1046565 h 4503132"/>
              <a:gd name="connsiteX9846" fmla="*/ 2989541 w 4493400"/>
              <a:gd name="connsiteY9846" fmla="*/ 982229 h 4503132"/>
              <a:gd name="connsiteX9847" fmla="*/ 2914911 w 4493400"/>
              <a:gd name="connsiteY9847" fmla="*/ 936322 h 4503132"/>
              <a:gd name="connsiteX9848" fmla="*/ 2754209 w 4493400"/>
              <a:gd name="connsiteY9848" fmla="*/ 869050 h 4503132"/>
              <a:gd name="connsiteX9849" fmla="*/ 2673136 w 4493400"/>
              <a:gd name="connsiteY9849" fmla="*/ 837820 h 4503132"/>
              <a:gd name="connsiteX9850" fmla="*/ 2593361 w 4493400"/>
              <a:gd name="connsiteY9850" fmla="*/ 803366 h 4503132"/>
              <a:gd name="connsiteX9851" fmla="*/ 2432226 w 4493400"/>
              <a:gd name="connsiteY9851" fmla="*/ 735372 h 4503132"/>
              <a:gd name="connsiteX9852" fmla="*/ 2345575 w 4493400"/>
              <a:gd name="connsiteY9852" fmla="*/ 717857 h 4503132"/>
              <a:gd name="connsiteX9853" fmla="*/ 2301048 w 4493400"/>
              <a:gd name="connsiteY9853" fmla="*/ 719252 h 4503132"/>
              <a:gd name="connsiteX9854" fmla="*/ 2279024 w 4493400"/>
              <a:gd name="connsiteY9854" fmla="*/ 722620 h 4503132"/>
              <a:gd name="connsiteX9855" fmla="*/ 2257434 w 4493400"/>
              <a:gd name="connsiteY9855" fmla="*/ 728010 h 4503132"/>
              <a:gd name="connsiteX9856" fmla="*/ 2176217 w 4493400"/>
              <a:gd name="connsiteY9856" fmla="*/ 763330 h 4503132"/>
              <a:gd name="connsiteX9857" fmla="*/ 2103463 w 4493400"/>
              <a:gd name="connsiteY9857" fmla="*/ 813231 h 4503132"/>
              <a:gd name="connsiteX9858" fmla="*/ 1966947 w 4493400"/>
              <a:gd name="connsiteY9858" fmla="*/ 922945 h 4503132"/>
              <a:gd name="connsiteX9859" fmla="*/ 1894915 w 4493400"/>
              <a:gd name="connsiteY9859" fmla="*/ 973423 h 4503132"/>
              <a:gd name="connsiteX9860" fmla="*/ 1824854 w 4493400"/>
              <a:gd name="connsiteY9860" fmla="*/ 1027029 h 4503132"/>
              <a:gd name="connsiteX9861" fmla="*/ 1758495 w 4493400"/>
              <a:gd name="connsiteY9861" fmla="*/ 1085447 h 4503132"/>
              <a:gd name="connsiteX9862" fmla="*/ 1698292 w 4493400"/>
              <a:gd name="connsiteY9862" fmla="*/ 1150601 h 4503132"/>
              <a:gd name="connsiteX9863" fmla="*/ 1648908 w 4493400"/>
              <a:gd name="connsiteY9863" fmla="*/ 1224754 h 4503132"/>
              <a:gd name="connsiteX9864" fmla="*/ 1639243 w 4493400"/>
              <a:gd name="connsiteY9864" fmla="*/ 1245013 h 4503132"/>
              <a:gd name="connsiteX9865" fmla="*/ 1631164 w 4493400"/>
              <a:gd name="connsiteY9865" fmla="*/ 1265897 h 4503132"/>
              <a:gd name="connsiteX9866" fmla="*/ 1618806 w 4493400"/>
              <a:gd name="connsiteY9866" fmla="*/ 1308868 h 4503132"/>
              <a:gd name="connsiteX9867" fmla="*/ 1598802 w 4493400"/>
              <a:gd name="connsiteY9867" fmla="*/ 1485181 h 4503132"/>
              <a:gd name="connsiteX9868" fmla="*/ 1576250 w 4493400"/>
              <a:gd name="connsiteY9868" fmla="*/ 1659953 h 4503132"/>
              <a:gd name="connsiteX9869" fmla="*/ 1552352 w 4493400"/>
              <a:gd name="connsiteY9869" fmla="*/ 1744645 h 4503132"/>
              <a:gd name="connsiteX9870" fmla="*/ 1513691 w 4493400"/>
              <a:gd name="connsiteY9870" fmla="*/ 1822792 h 4503132"/>
              <a:gd name="connsiteX9871" fmla="*/ 1488109 w 4493400"/>
              <a:gd name="connsiteY9871" fmla="*/ 1858497 h 4503132"/>
              <a:gd name="connsiteX9872" fmla="*/ 1459834 w 4493400"/>
              <a:gd name="connsiteY9872" fmla="*/ 1892229 h 4503132"/>
              <a:gd name="connsiteX9873" fmla="*/ 1396313 w 4493400"/>
              <a:gd name="connsiteY9873" fmla="*/ 1953149 h 4503132"/>
              <a:gd name="connsiteX9874" fmla="*/ 1323704 w 4493400"/>
              <a:gd name="connsiteY9874" fmla="*/ 2002376 h 4503132"/>
              <a:gd name="connsiteX9875" fmla="*/ 1241621 w 4493400"/>
              <a:gd name="connsiteY9875" fmla="*/ 2029323 h 4503132"/>
              <a:gd name="connsiteX9876" fmla="*/ 1199161 w 4493400"/>
              <a:gd name="connsiteY9876" fmla="*/ 2026869 h 4503132"/>
              <a:gd name="connsiteX9877" fmla="*/ 1180937 w 4493400"/>
              <a:gd name="connsiteY9877" fmla="*/ 2018256 h 4503132"/>
              <a:gd name="connsiteX9878" fmla="*/ 1165742 w 4493400"/>
              <a:gd name="connsiteY9878" fmla="*/ 2003916 h 4503132"/>
              <a:gd name="connsiteX9879" fmla="*/ 1143238 w 4493400"/>
              <a:gd name="connsiteY9879" fmla="*/ 1967200 h 4503132"/>
              <a:gd name="connsiteX9880" fmla="*/ 1127417 w 4493400"/>
              <a:gd name="connsiteY9880" fmla="*/ 1926250 h 4503132"/>
              <a:gd name="connsiteX9881" fmla="*/ 1105971 w 4493400"/>
              <a:gd name="connsiteY9881" fmla="*/ 1840259 h 4503132"/>
              <a:gd name="connsiteX9882" fmla="*/ 1090103 w 4493400"/>
              <a:gd name="connsiteY9882" fmla="*/ 1752392 h 4503132"/>
              <a:gd name="connsiteX9883" fmla="*/ 1072744 w 4493400"/>
              <a:gd name="connsiteY9883" fmla="*/ 1664428 h 4503132"/>
              <a:gd name="connsiteX9884" fmla="*/ 1047114 w 4493400"/>
              <a:gd name="connsiteY9884" fmla="*/ 1577812 h 4503132"/>
              <a:gd name="connsiteX9885" fmla="*/ 1025523 w 4493400"/>
              <a:gd name="connsiteY9885" fmla="*/ 1537343 h 4503132"/>
              <a:gd name="connsiteX9886" fmla="*/ 991334 w 4493400"/>
              <a:gd name="connsiteY9886" fmla="*/ 1505535 h 4503132"/>
              <a:gd name="connsiteX9887" fmla="*/ 947288 w 4493400"/>
              <a:gd name="connsiteY9887" fmla="*/ 1490907 h 4503132"/>
              <a:gd name="connsiteX9888" fmla="*/ 901847 w 4493400"/>
              <a:gd name="connsiteY9888" fmla="*/ 1487731 h 4503132"/>
              <a:gd name="connsiteX9889" fmla="*/ 812551 w 4493400"/>
              <a:gd name="connsiteY9889" fmla="*/ 1486769 h 4503132"/>
              <a:gd name="connsiteX9890" fmla="*/ 790576 w 4493400"/>
              <a:gd name="connsiteY9890" fmla="*/ 1484507 h 4503132"/>
              <a:gd name="connsiteX9891" fmla="*/ 779709 w 4493400"/>
              <a:gd name="connsiteY9891" fmla="*/ 1482727 h 4503132"/>
              <a:gd name="connsiteX9892" fmla="*/ 769226 w 4493400"/>
              <a:gd name="connsiteY9892" fmla="*/ 1480657 h 4503132"/>
              <a:gd name="connsiteX9893" fmla="*/ 732585 w 4493400"/>
              <a:gd name="connsiteY9893" fmla="*/ 1459100 h 4503132"/>
              <a:gd name="connsiteX9894" fmla="*/ 696761 w 4493400"/>
              <a:gd name="connsiteY9894" fmla="*/ 1431238 h 4503132"/>
              <a:gd name="connsiteX9895" fmla="*/ 675699 w 4493400"/>
              <a:gd name="connsiteY9895" fmla="*/ 1420507 h 4503132"/>
              <a:gd name="connsiteX9896" fmla="*/ 651752 w 4493400"/>
              <a:gd name="connsiteY9896" fmla="*/ 1416610 h 4503132"/>
              <a:gd name="connsiteX9897" fmla="*/ 628190 w 4493400"/>
              <a:gd name="connsiteY9897" fmla="*/ 1421566 h 4503132"/>
              <a:gd name="connsiteX9898" fmla="*/ 607033 w 4493400"/>
              <a:gd name="connsiteY9898" fmla="*/ 1431575 h 4503132"/>
              <a:gd name="connsiteX9899" fmla="*/ 570920 w 4493400"/>
              <a:gd name="connsiteY9899" fmla="*/ 1460399 h 4503132"/>
              <a:gd name="connsiteX9900" fmla="*/ 514948 w 4493400"/>
              <a:gd name="connsiteY9900" fmla="*/ 1531905 h 4503132"/>
              <a:gd name="connsiteX9901" fmla="*/ 489222 w 4493400"/>
              <a:gd name="connsiteY9901" fmla="*/ 1568717 h 4503132"/>
              <a:gd name="connsiteX9902" fmla="*/ 475758 w 4493400"/>
              <a:gd name="connsiteY9902" fmla="*/ 1586377 h 4503132"/>
              <a:gd name="connsiteX9903" fmla="*/ 461525 w 4493400"/>
              <a:gd name="connsiteY9903" fmla="*/ 1603845 h 4503132"/>
              <a:gd name="connsiteX9904" fmla="*/ 433972 w 4493400"/>
              <a:gd name="connsiteY9904" fmla="*/ 1639839 h 4503132"/>
              <a:gd name="connsiteX9905" fmla="*/ 409063 w 4493400"/>
              <a:gd name="connsiteY9905" fmla="*/ 1677998 h 4503132"/>
              <a:gd name="connsiteX9906" fmla="*/ 388819 w 4493400"/>
              <a:gd name="connsiteY9906" fmla="*/ 1719189 h 4503132"/>
              <a:gd name="connsiteX9907" fmla="*/ 384924 w 4493400"/>
              <a:gd name="connsiteY9907" fmla="*/ 1730112 h 4503132"/>
              <a:gd name="connsiteX9908" fmla="*/ 381654 w 4493400"/>
              <a:gd name="connsiteY9908" fmla="*/ 1741276 h 4503132"/>
              <a:gd name="connsiteX9909" fmla="*/ 379394 w 4493400"/>
              <a:gd name="connsiteY9909" fmla="*/ 1752777 h 4503132"/>
              <a:gd name="connsiteX9910" fmla="*/ 378240 w 4493400"/>
              <a:gd name="connsiteY9910" fmla="*/ 1764566 h 4503132"/>
              <a:gd name="connsiteX9911" fmla="*/ 380452 w 4493400"/>
              <a:gd name="connsiteY9911" fmla="*/ 1788723 h 4503132"/>
              <a:gd name="connsiteX9912" fmla="*/ 393628 w 4493400"/>
              <a:gd name="connsiteY9912" fmla="*/ 1809992 h 4503132"/>
              <a:gd name="connsiteX9913" fmla="*/ 413343 w 4493400"/>
              <a:gd name="connsiteY9913" fmla="*/ 1823514 h 4503132"/>
              <a:gd name="connsiteX9914" fmla="*/ 433250 w 4493400"/>
              <a:gd name="connsiteY9914" fmla="*/ 1833956 h 4503132"/>
              <a:gd name="connsiteX9915" fmla="*/ 464891 w 4493400"/>
              <a:gd name="connsiteY9915" fmla="*/ 1861721 h 4503132"/>
              <a:gd name="connsiteX9916" fmla="*/ 478451 w 4493400"/>
              <a:gd name="connsiteY9916" fmla="*/ 1901998 h 4503132"/>
              <a:gd name="connsiteX9917" fmla="*/ 479509 w 4493400"/>
              <a:gd name="connsiteY9917" fmla="*/ 1912873 h 4503132"/>
              <a:gd name="connsiteX9918" fmla="*/ 479894 w 4493400"/>
              <a:gd name="connsiteY9918" fmla="*/ 1923892 h 4503132"/>
              <a:gd name="connsiteX9919" fmla="*/ 479269 w 4493400"/>
              <a:gd name="connsiteY9919" fmla="*/ 1946172 h 4503132"/>
              <a:gd name="connsiteX9920" fmla="*/ 477537 w 4493400"/>
              <a:gd name="connsiteY9920" fmla="*/ 1968403 h 4503132"/>
              <a:gd name="connsiteX9921" fmla="*/ 474748 w 4493400"/>
              <a:gd name="connsiteY9921" fmla="*/ 1990539 h 4503132"/>
              <a:gd name="connsiteX9922" fmla="*/ 453302 w 4493400"/>
              <a:gd name="connsiteY9922" fmla="*/ 2077492 h 4503132"/>
              <a:gd name="connsiteX9923" fmla="*/ 423056 w 4493400"/>
              <a:gd name="connsiteY9923" fmla="*/ 2162664 h 4503132"/>
              <a:gd name="connsiteX9924" fmla="*/ 395263 w 4493400"/>
              <a:gd name="connsiteY9924" fmla="*/ 2249473 h 4503132"/>
              <a:gd name="connsiteX9925" fmla="*/ 380789 w 4493400"/>
              <a:gd name="connsiteY9925" fmla="*/ 2339891 h 4503132"/>
              <a:gd name="connsiteX9926" fmla="*/ 383674 w 4493400"/>
              <a:gd name="connsiteY9926" fmla="*/ 2431416 h 4503132"/>
              <a:gd name="connsiteX9927" fmla="*/ 401033 w 4493400"/>
              <a:gd name="connsiteY9927" fmla="*/ 2521352 h 4503132"/>
              <a:gd name="connsiteX9928" fmla="*/ 430990 w 4493400"/>
              <a:gd name="connsiteY9928" fmla="*/ 2607824 h 4503132"/>
              <a:gd name="connsiteX9929" fmla="*/ 468497 w 4493400"/>
              <a:gd name="connsiteY9929" fmla="*/ 2691024 h 4503132"/>
              <a:gd name="connsiteX9930" fmla="*/ 508024 w 4493400"/>
              <a:gd name="connsiteY9930" fmla="*/ 2773165 h 4503132"/>
              <a:gd name="connsiteX9931" fmla="*/ 589818 w 4493400"/>
              <a:gd name="connsiteY9931" fmla="*/ 2935859 h 4503132"/>
              <a:gd name="connsiteX9932" fmla="*/ 624632 w 4493400"/>
              <a:gd name="connsiteY9932" fmla="*/ 3019637 h 4503132"/>
              <a:gd name="connsiteX9933" fmla="*/ 646078 w 4493400"/>
              <a:gd name="connsiteY9933" fmla="*/ 3106878 h 4503132"/>
              <a:gd name="connsiteX9934" fmla="*/ 646848 w 4493400"/>
              <a:gd name="connsiteY9934" fmla="*/ 3117946 h 4503132"/>
              <a:gd name="connsiteX9935" fmla="*/ 646848 w 4493400"/>
              <a:gd name="connsiteY9935" fmla="*/ 3128917 h 4503132"/>
              <a:gd name="connsiteX9936" fmla="*/ 645838 w 4493400"/>
              <a:gd name="connsiteY9936" fmla="*/ 3139696 h 4503132"/>
              <a:gd name="connsiteX9937" fmla="*/ 644732 w 4493400"/>
              <a:gd name="connsiteY9937" fmla="*/ 3144893 h 4503132"/>
              <a:gd name="connsiteX9938" fmla="*/ 643385 w 4493400"/>
              <a:gd name="connsiteY9938" fmla="*/ 3149994 h 4503132"/>
              <a:gd name="connsiteX9939" fmla="*/ 616025 w 4493400"/>
              <a:gd name="connsiteY9939" fmla="*/ 3177615 h 4503132"/>
              <a:gd name="connsiteX9940" fmla="*/ 594963 w 4493400"/>
              <a:gd name="connsiteY9940" fmla="*/ 3181128 h 4503132"/>
              <a:gd name="connsiteX9941" fmla="*/ 572795 w 4493400"/>
              <a:gd name="connsiteY9941" fmla="*/ 3180695 h 4503132"/>
              <a:gd name="connsiteX9942" fmla="*/ 527787 w 4493400"/>
              <a:gd name="connsiteY9942" fmla="*/ 3175257 h 4503132"/>
              <a:gd name="connsiteX9943" fmla="*/ 481769 w 4493400"/>
              <a:gd name="connsiteY9943" fmla="*/ 3170493 h 4503132"/>
              <a:gd name="connsiteX9944" fmla="*/ 434549 w 4493400"/>
              <a:gd name="connsiteY9944" fmla="*/ 3177374 h 4503132"/>
              <a:gd name="connsiteX9945" fmla="*/ 414737 w 4493400"/>
              <a:gd name="connsiteY9945" fmla="*/ 3192821 h 4503132"/>
              <a:gd name="connsiteX9946" fmla="*/ 402524 w 4493400"/>
              <a:gd name="connsiteY9946" fmla="*/ 3214042 h 4503132"/>
              <a:gd name="connsiteX9947" fmla="*/ 395503 w 4493400"/>
              <a:gd name="connsiteY9947" fmla="*/ 3261152 h 4503132"/>
              <a:gd name="connsiteX9948" fmla="*/ 395840 w 4493400"/>
              <a:gd name="connsiteY9948" fmla="*/ 3265434 h 4503132"/>
              <a:gd name="connsiteX9949" fmla="*/ 394445 w 4493400"/>
              <a:gd name="connsiteY9949" fmla="*/ 3248207 h 4503132"/>
              <a:gd name="connsiteX9950" fmla="*/ 395840 w 4493400"/>
              <a:gd name="connsiteY9950" fmla="*/ 3217555 h 4503132"/>
              <a:gd name="connsiteX9951" fmla="*/ 403197 w 4493400"/>
              <a:gd name="connsiteY9951" fmla="*/ 3188249 h 4503132"/>
              <a:gd name="connsiteX9952" fmla="*/ 418969 w 4493400"/>
              <a:gd name="connsiteY9952" fmla="*/ 3164141 h 4503132"/>
              <a:gd name="connsiteX9953" fmla="*/ 421614 w 4493400"/>
              <a:gd name="connsiteY9953" fmla="*/ 3161880 h 4503132"/>
              <a:gd name="connsiteX9954" fmla="*/ 424499 w 4493400"/>
              <a:gd name="connsiteY9954" fmla="*/ 3160051 h 4503132"/>
              <a:gd name="connsiteX9955" fmla="*/ 427432 w 4493400"/>
              <a:gd name="connsiteY9955" fmla="*/ 3158415 h 4503132"/>
              <a:gd name="connsiteX9956" fmla="*/ 430558 w 4493400"/>
              <a:gd name="connsiteY9956" fmla="*/ 3157260 h 4503132"/>
              <a:gd name="connsiteX9957" fmla="*/ 444887 w 4493400"/>
              <a:gd name="connsiteY9957" fmla="*/ 3154373 h 4503132"/>
              <a:gd name="connsiteX9958" fmla="*/ 506389 w 4493400"/>
              <a:gd name="connsiteY9958" fmla="*/ 3158223 h 4503132"/>
              <a:gd name="connsiteX9959" fmla="*/ 570343 w 4493400"/>
              <a:gd name="connsiteY9959" fmla="*/ 3163179 h 4503132"/>
              <a:gd name="connsiteX9960" fmla="*/ 602512 w 4493400"/>
              <a:gd name="connsiteY9960" fmla="*/ 3151871 h 4503132"/>
              <a:gd name="connsiteX9961" fmla="*/ 619775 w 4493400"/>
              <a:gd name="connsiteY9961" fmla="*/ 3122036 h 4503132"/>
              <a:gd name="connsiteX9962" fmla="*/ 621506 w 4493400"/>
              <a:gd name="connsiteY9962" fmla="*/ 3089266 h 4503132"/>
              <a:gd name="connsiteX9963" fmla="*/ 618381 w 4493400"/>
              <a:gd name="connsiteY9963" fmla="*/ 3057411 h 4503132"/>
              <a:gd name="connsiteX9964" fmla="*/ 583471 w 4493400"/>
              <a:gd name="connsiteY9964" fmla="*/ 2935330 h 4503132"/>
              <a:gd name="connsiteX9965" fmla="*/ 528605 w 4493400"/>
              <a:gd name="connsiteY9965" fmla="*/ 2821526 h 4503132"/>
              <a:gd name="connsiteX9966" fmla="*/ 470950 w 4493400"/>
              <a:gd name="connsiteY9966" fmla="*/ 2710176 h 4503132"/>
              <a:gd name="connsiteX9967" fmla="*/ 420652 w 4493400"/>
              <a:gd name="connsiteY9967" fmla="*/ 2595505 h 4503132"/>
              <a:gd name="connsiteX9968" fmla="*/ 384780 w 4493400"/>
              <a:gd name="connsiteY9968" fmla="*/ 2476408 h 4503132"/>
              <a:gd name="connsiteX9969" fmla="*/ 372758 w 4493400"/>
              <a:gd name="connsiteY9969" fmla="*/ 2353028 h 4503132"/>
              <a:gd name="connsiteX9970" fmla="*/ 377519 w 4493400"/>
              <a:gd name="connsiteY9970" fmla="*/ 2291482 h 4503132"/>
              <a:gd name="connsiteX9971" fmla="*/ 391993 w 4493400"/>
              <a:gd name="connsiteY9971" fmla="*/ 2231428 h 4503132"/>
              <a:gd name="connsiteX9972" fmla="*/ 433972 w 4493400"/>
              <a:gd name="connsiteY9972" fmla="*/ 2113774 h 4503132"/>
              <a:gd name="connsiteX9973" fmla="*/ 451090 w 4493400"/>
              <a:gd name="connsiteY9973" fmla="*/ 2053095 h 4503132"/>
              <a:gd name="connsiteX9974" fmla="*/ 458832 w 4493400"/>
              <a:gd name="connsiteY9974" fmla="*/ 1990298 h 4503132"/>
              <a:gd name="connsiteX9975" fmla="*/ 459265 w 4493400"/>
              <a:gd name="connsiteY9975" fmla="*/ 1974467 h 4503132"/>
              <a:gd name="connsiteX9976" fmla="*/ 458544 w 4493400"/>
              <a:gd name="connsiteY9976" fmla="*/ 1958635 h 4503132"/>
              <a:gd name="connsiteX9977" fmla="*/ 453975 w 4493400"/>
              <a:gd name="connsiteY9977" fmla="*/ 1926587 h 4503132"/>
              <a:gd name="connsiteX9978" fmla="*/ 436568 w 4493400"/>
              <a:gd name="connsiteY9978" fmla="*/ 1897859 h 4503132"/>
              <a:gd name="connsiteX9979" fmla="*/ 422623 w 4493400"/>
              <a:gd name="connsiteY9979" fmla="*/ 1888187 h 4503132"/>
              <a:gd name="connsiteX9980" fmla="*/ 407092 w 4493400"/>
              <a:gd name="connsiteY9980" fmla="*/ 1882364 h 4503132"/>
              <a:gd name="connsiteX9981" fmla="*/ 344917 w 4493400"/>
              <a:gd name="connsiteY9981" fmla="*/ 1873703 h 4503132"/>
              <a:gd name="connsiteX9982" fmla="*/ 330731 w 4493400"/>
              <a:gd name="connsiteY9982" fmla="*/ 1870190 h 4503132"/>
              <a:gd name="connsiteX9983" fmla="*/ 318902 w 4493400"/>
              <a:gd name="connsiteY9983" fmla="*/ 1863646 h 4503132"/>
              <a:gd name="connsiteX9984" fmla="*/ 308660 w 4493400"/>
              <a:gd name="connsiteY9984" fmla="*/ 1839634 h 4503132"/>
              <a:gd name="connsiteX9985" fmla="*/ 312122 w 4493400"/>
              <a:gd name="connsiteY9985" fmla="*/ 1810521 h 4503132"/>
              <a:gd name="connsiteX9986" fmla="*/ 322316 w 4493400"/>
              <a:gd name="connsiteY9986" fmla="*/ 1782082 h 4503132"/>
              <a:gd name="connsiteX9987" fmla="*/ 352274 w 4493400"/>
              <a:gd name="connsiteY9987" fmla="*/ 1728572 h 4503132"/>
              <a:gd name="connsiteX9988" fmla="*/ 426615 w 4493400"/>
              <a:gd name="connsiteY9988" fmla="*/ 1629637 h 4503132"/>
              <a:gd name="connsiteX9989" fmla="*/ 465276 w 4493400"/>
              <a:gd name="connsiteY9989" fmla="*/ 1580699 h 4503132"/>
              <a:gd name="connsiteX9990" fmla="*/ 501099 w 4493400"/>
              <a:gd name="connsiteY9990" fmla="*/ 1529788 h 4503132"/>
              <a:gd name="connsiteX9991" fmla="*/ 572315 w 4493400"/>
              <a:gd name="connsiteY9991" fmla="*/ 1428543 h 4503132"/>
              <a:gd name="connsiteX9992" fmla="*/ 611841 w 4493400"/>
              <a:gd name="connsiteY9992" fmla="*/ 1381626 h 4503132"/>
              <a:gd name="connsiteX9993" fmla="*/ 658436 w 4493400"/>
              <a:gd name="connsiteY9993" fmla="*/ 1343707 h 4503132"/>
              <a:gd name="connsiteX9994" fmla="*/ 685460 w 4493400"/>
              <a:gd name="connsiteY9994" fmla="*/ 1334276 h 4503132"/>
              <a:gd name="connsiteX9995" fmla="*/ 712292 w 4493400"/>
              <a:gd name="connsiteY9995" fmla="*/ 1339906 h 4503132"/>
              <a:gd name="connsiteX9996" fmla="*/ 735566 w 4493400"/>
              <a:gd name="connsiteY9996" fmla="*/ 1357759 h 4503132"/>
              <a:gd name="connsiteX9997" fmla="*/ 756868 w 4493400"/>
              <a:gd name="connsiteY9997" fmla="*/ 1379846 h 4503132"/>
              <a:gd name="connsiteX9998" fmla="*/ 779709 w 4493400"/>
              <a:gd name="connsiteY9998" fmla="*/ 1401596 h 4503132"/>
              <a:gd name="connsiteX9999" fmla="*/ 807502 w 4493400"/>
              <a:gd name="connsiteY9999" fmla="*/ 1418342 h 4503132"/>
              <a:gd name="connsiteX10000" fmla="*/ 815340 w 4493400"/>
              <a:gd name="connsiteY10000" fmla="*/ 1420892 h 4503132"/>
              <a:gd name="connsiteX10001" fmla="*/ 822938 w 4493400"/>
              <a:gd name="connsiteY10001" fmla="*/ 1422769 h 4503132"/>
              <a:gd name="connsiteX10002" fmla="*/ 838133 w 4493400"/>
              <a:gd name="connsiteY10002" fmla="*/ 1426474 h 4503132"/>
              <a:gd name="connsiteX10003" fmla="*/ 868812 w 4493400"/>
              <a:gd name="connsiteY10003" fmla="*/ 1432008 h 4503132"/>
              <a:gd name="connsiteX10004" fmla="*/ 930506 w 4493400"/>
              <a:gd name="connsiteY10004" fmla="*/ 1438793 h 4503132"/>
              <a:gd name="connsiteX10005" fmla="*/ 991527 w 4493400"/>
              <a:gd name="connsiteY10005" fmla="*/ 1444712 h 4503132"/>
              <a:gd name="connsiteX10006" fmla="*/ 1048508 w 4493400"/>
              <a:gd name="connsiteY10006" fmla="*/ 1461842 h 4503132"/>
              <a:gd name="connsiteX10007" fmla="*/ 1091305 w 4493400"/>
              <a:gd name="connsiteY10007" fmla="*/ 1501542 h 4503132"/>
              <a:gd name="connsiteX10008" fmla="*/ 1115925 w 4493400"/>
              <a:gd name="connsiteY10008" fmla="*/ 1556302 h 4503132"/>
              <a:gd name="connsiteX10009" fmla="*/ 1131601 w 4493400"/>
              <a:gd name="connsiteY10009" fmla="*/ 1615298 h 4503132"/>
              <a:gd name="connsiteX10010" fmla="*/ 1157230 w 4493400"/>
              <a:gd name="connsiteY10010" fmla="*/ 1735742 h 4503132"/>
              <a:gd name="connsiteX10011" fmla="*/ 1174638 w 4493400"/>
              <a:gd name="connsiteY10011" fmla="*/ 1795267 h 4503132"/>
              <a:gd name="connsiteX10012" fmla="*/ 1203056 w 4493400"/>
              <a:gd name="connsiteY10012" fmla="*/ 1851183 h 4503132"/>
              <a:gd name="connsiteX10013" fmla="*/ 1213154 w 4493400"/>
              <a:gd name="connsiteY10013" fmla="*/ 1863549 h 4503132"/>
              <a:gd name="connsiteX10014" fmla="*/ 1218925 w 4493400"/>
              <a:gd name="connsiteY10014" fmla="*/ 1869131 h 4503132"/>
              <a:gd name="connsiteX10015" fmla="*/ 1224983 w 4493400"/>
              <a:gd name="connsiteY10015" fmla="*/ 1874473 h 4503132"/>
              <a:gd name="connsiteX10016" fmla="*/ 1238496 w 4493400"/>
              <a:gd name="connsiteY10016" fmla="*/ 1883375 h 4503132"/>
              <a:gd name="connsiteX10017" fmla="*/ 1245708 w 4493400"/>
              <a:gd name="connsiteY10017" fmla="*/ 1887128 h 4503132"/>
              <a:gd name="connsiteX10018" fmla="*/ 1253354 w 4493400"/>
              <a:gd name="connsiteY10018" fmla="*/ 1889919 h 4503132"/>
              <a:gd name="connsiteX10019" fmla="*/ 1257153 w 4493400"/>
              <a:gd name="connsiteY10019" fmla="*/ 1891315 h 4503132"/>
              <a:gd name="connsiteX10020" fmla="*/ 1261096 w 4493400"/>
              <a:gd name="connsiteY10020" fmla="*/ 1892229 h 4503132"/>
              <a:gd name="connsiteX10021" fmla="*/ 1269030 w 4493400"/>
              <a:gd name="connsiteY10021" fmla="*/ 1893913 h 4503132"/>
              <a:gd name="connsiteX10022" fmla="*/ 1285043 w 4493400"/>
              <a:gd name="connsiteY10022" fmla="*/ 1895357 h 4503132"/>
              <a:gd name="connsiteX10023" fmla="*/ 1300622 w 4493400"/>
              <a:gd name="connsiteY10023" fmla="*/ 1894972 h 4503132"/>
              <a:gd name="connsiteX10024" fmla="*/ 1308412 w 4493400"/>
              <a:gd name="connsiteY10024" fmla="*/ 1894731 h 4503132"/>
              <a:gd name="connsiteX10025" fmla="*/ 1316202 w 4493400"/>
              <a:gd name="connsiteY10025" fmla="*/ 1893913 h 4503132"/>
              <a:gd name="connsiteX10026" fmla="*/ 1377079 w 4493400"/>
              <a:gd name="connsiteY10026" fmla="*/ 1879381 h 4503132"/>
              <a:gd name="connsiteX10027" fmla="*/ 1429637 w 4493400"/>
              <a:gd name="connsiteY10027" fmla="*/ 1844975 h 4503132"/>
              <a:gd name="connsiteX10028" fmla="*/ 1466374 w 4493400"/>
              <a:gd name="connsiteY10028" fmla="*/ 1794256 h 4503132"/>
              <a:gd name="connsiteX10029" fmla="*/ 1488974 w 4493400"/>
              <a:gd name="connsiteY10029" fmla="*/ 1736368 h 4503132"/>
              <a:gd name="connsiteX10030" fmla="*/ 1502679 w 4493400"/>
              <a:gd name="connsiteY10030" fmla="*/ 1676218 h 4503132"/>
              <a:gd name="connsiteX10031" fmla="*/ 1511575 w 4493400"/>
              <a:gd name="connsiteY10031" fmla="*/ 1615442 h 4503132"/>
              <a:gd name="connsiteX10032" fmla="*/ 1525327 w 4493400"/>
              <a:gd name="connsiteY10032" fmla="*/ 1494083 h 4503132"/>
              <a:gd name="connsiteX10033" fmla="*/ 1534608 w 4493400"/>
              <a:gd name="connsiteY10033" fmla="*/ 1434125 h 4503132"/>
              <a:gd name="connsiteX10034" fmla="*/ 1540907 w 4493400"/>
              <a:gd name="connsiteY10034" fmla="*/ 1404579 h 4503132"/>
              <a:gd name="connsiteX10035" fmla="*/ 1549034 w 4493400"/>
              <a:gd name="connsiteY10035" fmla="*/ 1375515 h 4503132"/>
              <a:gd name="connsiteX10036" fmla="*/ 1595773 w 4493400"/>
              <a:gd name="connsiteY10036" fmla="*/ 1264357 h 4503132"/>
              <a:gd name="connsiteX10037" fmla="*/ 1610487 w 4493400"/>
              <a:gd name="connsiteY10037" fmla="*/ 1237987 h 4503132"/>
              <a:gd name="connsiteX10038" fmla="*/ 1626500 w 4493400"/>
              <a:gd name="connsiteY10038" fmla="*/ 1212339 h 4503132"/>
              <a:gd name="connsiteX10039" fmla="*/ 1643426 w 4493400"/>
              <a:gd name="connsiteY10039" fmla="*/ 1187317 h 4503132"/>
              <a:gd name="connsiteX10040" fmla="*/ 1652082 w 4493400"/>
              <a:gd name="connsiteY10040" fmla="*/ 1174950 h 4503132"/>
              <a:gd name="connsiteX10041" fmla="*/ 1661170 w 4493400"/>
              <a:gd name="connsiteY10041" fmla="*/ 1162872 h 4503132"/>
              <a:gd name="connsiteX10042" fmla="*/ 1739742 w 4493400"/>
              <a:gd name="connsiteY10042" fmla="*/ 1071203 h 4503132"/>
              <a:gd name="connsiteX10043" fmla="*/ 1828556 w 4493400"/>
              <a:gd name="connsiteY10043" fmla="*/ 989543 h 4503132"/>
              <a:gd name="connsiteX10044" fmla="*/ 1840193 w 4493400"/>
              <a:gd name="connsiteY10044" fmla="*/ 979967 h 4503132"/>
              <a:gd name="connsiteX10045" fmla="*/ 1852119 w 4493400"/>
              <a:gd name="connsiteY10045" fmla="*/ 970728 h 4503132"/>
              <a:gd name="connsiteX10046" fmla="*/ 1876161 w 4493400"/>
              <a:gd name="connsiteY10046" fmla="*/ 952635 h 4503132"/>
              <a:gd name="connsiteX10047" fmla="*/ 1925882 w 4493400"/>
              <a:gd name="connsiteY10047" fmla="*/ 918373 h 4503132"/>
              <a:gd name="connsiteX10048" fmla="*/ 2025083 w 4493400"/>
              <a:gd name="connsiteY10048" fmla="*/ 848647 h 4503132"/>
              <a:gd name="connsiteX10049" fmla="*/ 2115533 w 4493400"/>
              <a:gd name="connsiteY10049" fmla="*/ 767228 h 4503132"/>
              <a:gd name="connsiteX10050" fmla="*/ 2150780 w 4493400"/>
              <a:gd name="connsiteY10050" fmla="*/ 716894 h 4503132"/>
              <a:gd name="connsiteX10051" fmla="*/ 2157319 w 4493400"/>
              <a:gd name="connsiteY10051" fmla="*/ 702795 h 4503132"/>
              <a:gd name="connsiteX10052" fmla="*/ 2162513 w 4493400"/>
              <a:gd name="connsiteY10052" fmla="*/ 688070 h 4503132"/>
              <a:gd name="connsiteX10053" fmla="*/ 2165878 w 4493400"/>
              <a:gd name="connsiteY10053" fmla="*/ 672720 h 4503132"/>
              <a:gd name="connsiteX10054" fmla="*/ 2167273 w 4493400"/>
              <a:gd name="connsiteY10054" fmla="*/ 657033 h 4503132"/>
              <a:gd name="connsiteX10055" fmla="*/ 2167273 w 4493400"/>
              <a:gd name="connsiteY10055" fmla="*/ 649141 h 4503132"/>
              <a:gd name="connsiteX10056" fmla="*/ 2166504 w 4493400"/>
              <a:gd name="connsiteY10056" fmla="*/ 641297 h 4503132"/>
              <a:gd name="connsiteX10057" fmla="*/ 2165398 w 4493400"/>
              <a:gd name="connsiteY10057" fmla="*/ 633454 h 4503132"/>
              <a:gd name="connsiteX10058" fmla="*/ 2163522 w 4493400"/>
              <a:gd name="connsiteY10058" fmla="*/ 625803 h 4503132"/>
              <a:gd name="connsiteX10059" fmla="*/ 2158473 w 4493400"/>
              <a:gd name="connsiteY10059" fmla="*/ 610885 h 4503132"/>
              <a:gd name="connsiteX10060" fmla="*/ 2150539 w 4493400"/>
              <a:gd name="connsiteY10060" fmla="*/ 596642 h 4503132"/>
              <a:gd name="connsiteX10061" fmla="*/ 2126833 w 4493400"/>
              <a:gd name="connsiteY10061" fmla="*/ 575469 h 4503132"/>
              <a:gd name="connsiteX10062" fmla="*/ 2099232 w 4493400"/>
              <a:gd name="connsiteY10062" fmla="*/ 561370 h 4503132"/>
              <a:gd name="connsiteX10063" fmla="*/ 2040759 w 4493400"/>
              <a:gd name="connsiteY10063" fmla="*/ 543806 h 4503132"/>
              <a:gd name="connsiteX10064" fmla="*/ 1980940 w 4493400"/>
              <a:gd name="connsiteY10064" fmla="*/ 534086 h 4503132"/>
              <a:gd name="connsiteX10065" fmla="*/ 1860389 w 4493400"/>
              <a:gd name="connsiteY10065" fmla="*/ 528215 h 4503132"/>
              <a:gd name="connsiteX10066" fmla="*/ 1740127 w 4493400"/>
              <a:gd name="connsiteY10066" fmla="*/ 536299 h 4503132"/>
              <a:gd name="connsiteX10067" fmla="*/ 1680644 w 4493400"/>
              <a:gd name="connsiteY10067" fmla="*/ 546356 h 4503132"/>
              <a:gd name="connsiteX10068" fmla="*/ 1622364 w 4493400"/>
              <a:gd name="connsiteY10068" fmla="*/ 563150 h 4503132"/>
              <a:gd name="connsiteX10069" fmla="*/ 1567787 w 4493400"/>
              <a:gd name="connsiteY10069" fmla="*/ 589135 h 4503132"/>
              <a:gd name="connsiteX10070" fmla="*/ 1515614 w 4493400"/>
              <a:gd name="connsiteY10070" fmla="*/ 618825 h 4503132"/>
              <a:gd name="connsiteX10071" fmla="*/ 1413528 w 4493400"/>
              <a:gd name="connsiteY10071" fmla="*/ 681045 h 4503132"/>
              <a:gd name="connsiteX10072" fmla="*/ 1310528 w 4493400"/>
              <a:gd name="connsiteY10072" fmla="*/ 740569 h 4503132"/>
              <a:gd name="connsiteX10073" fmla="*/ 1257201 w 4493400"/>
              <a:gd name="connsiteY10073" fmla="*/ 765977 h 4503132"/>
              <a:gd name="connsiteX10074" fmla="*/ 1201614 w 4493400"/>
              <a:gd name="connsiteY10074" fmla="*/ 782530 h 4503132"/>
              <a:gd name="connsiteX10075" fmla="*/ 1174109 w 4493400"/>
              <a:gd name="connsiteY10075" fmla="*/ 781616 h 4503132"/>
              <a:gd name="connsiteX10076" fmla="*/ 1162376 w 4493400"/>
              <a:gd name="connsiteY10076" fmla="*/ 776130 h 4503132"/>
              <a:gd name="connsiteX10077" fmla="*/ 1153864 w 4493400"/>
              <a:gd name="connsiteY10077" fmla="*/ 766843 h 4503132"/>
              <a:gd name="connsiteX10078" fmla="*/ 1151364 w 4493400"/>
              <a:gd name="connsiteY10078" fmla="*/ 741580 h 4503132"/>
              <a:gd name="connsiteX10079" fmla="*/ 1160789 w 4493400"/>
              <a:gd name="connsiteY10079" fmla="*/ 714777 h 4503132"/>
              <a:gd name="connsiteX10080" fmla="*/ 1190506 w 4493400"/>
              <a:gd name="connsiteY10080" fmla="*/ 664251 h 4503132"/>
              <a:gd name="connsiteX10081" fmla="*/ 1224118 w 4493400"/>
              <a:gd name="connsiteY10081" fmla="*/ 615361 h 4503132"/>
              <a:gd name="connsiteX10082" fmla="*/ 1255566 w 4493400"/>
              <a:gd name="connsiteY10082" fmla="*/ 564161 h 4503132"/>
              <a:gd name="connsiteX10083" fmla="*/ 1264558 w 4493400"/>
              <a:gd name="connsiteY10083" fmla="*/ 534134 h 4503132"/>
              <a:gd name="connsiteX10084" fmla="*/ 1259028 w 4493400"/>
              <a:gd name="connsiteY10084" fmla="*/ 502663 h 4503132"/>
              <a:gd name="connsiteX10085" fmla="*/ 1228253 w 4493400"/>
              <a:gd name="connsiteY10085" fmla="*/ 453051 h 4503132"/>
              <a:gd name="connsiteX10086" fmla="*/ 1229840 w 4493400"/>
              <a:gd name="connsiteY10086" fmla="*/ 427500 h 4503132"/>
              <a:gd name="connsiteX10087" fmla="*/ 1244266 w 4493400"/>
              <a:gd name="connsiteY10087" fmla="*/ 403488 h 4503132"/>
              <a:gd name="connsiteX10088" fmla="*/ 1284754 w 4493400"/>
              <a:gd name="connsiteY10088" fmla="*/ 361767 h 4503132"/>
              <a:gd name="connsiteX10089" fmla="*/ 1329137 w 4493400"/>
              <a:gd name="connsiteY10089" fmla="*/ 322742 h 4503132"/>
              <a:gd name="connsiteX10090" fmla="*/ 1350920 w 4493400"/>
              <a:gd name="connsiteY10090" fmla="*/ 302387 h 4503132"/>
              <a:gd name="connsiteX10091" fmla="*/ 1371405 w 4493400"/>
              <a:gd name="connsiteY10091" fmla="*/ 280829 h 4503132"/>
              <a:gd name="connsiteX10092" fmla="*/ 1411989 w 4493400"/>
              <a:gd name="connsiteY10092" fmla="*/ 238002 h 4503132"/>
              <a:gd name="connsiteX10093" fmla="*/ 1452141 w 4493400"/>
              <a:gd name="connsiteY10093" fmla="*/ 194454 h 4503132"/>
              <a:gd name="connsiteX10094" fmla="*/ 1470750 w 4493400"/>
              <a:gd name="connsiteY10094" fmla="*/ 170682 h 4503132"/>
              <a:gd name="connsiteX10095" fmla="*/ 1475126 w 4493400"/>
              <a:gd name="connsiteY10095" fmla="*/ 161924 h 4503132"/>
              <a:gd name="connsiteX10096" fmla="*/ 1475270 w 4493400"/>
              <a:gd name="connsiteY10096" fmla="*/ 155524 h 4503132"/>
              <a:gd name="connsiteX10097" fmla="*/ 1473250 w 4493400"/>
              <a:gd name="connsiteY10097" fmla="*/ 152445 h 4503132"/>
              <a:gd name="connsiteX10098" fmla="*/ 1486378 w 4493400"/>
              <a:gd name="connsiteY10098" fmla="*/ 148499 h 4503132"/>
              <a:gd name="connsiteX10099" fmla="*/ 1500804 w 4493400"/>
              <a:gd name="connsiteY10099" fmla="*/ 144601 h 4503132"/>
              <a:gd name="connsiteX10100" fmla="*/ 1505853 w 4493400"/>
              <a:gd name="connsiteY10100" fmla="*/ 143494 h 4503132"/>
              <a:gd name="connsiteX10101" fmla="*/ 1506045 w 4493400"/>
              <a:gd name="connsiteY10101" fmla="*/ 143591 h 4503132"/>
              <a:gd name="connsiteX10102" fmla="*/ 1506045 w 4493400"/>
              <a:gd name="connsiteY10102" fmla="*/ 143735 h 4503132"/>
              <a:gd name="connsiteX10103" fmla="*/ 1505372 w 4493400"/>
              <a:gd name="connsiteY10103" fmla="*/ 144842 h 4503132"/>
              <a:gd name="connsiteX10104" fmla="*/ 1501429 w 4493400"/>
              <a:gd name="connsiteY10104" fmla="*/ 150760 h 4503132"/>
              <a:gd name="connsiteX10105" fmla="*/ 1492292 w 4493400"/>
              <a:gd name="connsiteY10105" fmla="*/ 162454 h 4503132"/>
              <a:gd name="connsiteX10106" fmla="*/ 1472529 w 4493400"/>
              <a:gd name="connsiteY10106" fmla="*/ 185166 h 4503132"/>
              <a:gd name="connsiteX10107" fmla="*/ 1389966 w 4493400"/>
              <a:gd name="connsiteY10107" fmla="*/ 273900 h 4503132"/>
              <a:gd name="connsiteX10108" fmla="*/ 1369818 w 4493400"/>
              <a:gd name="connsiteY10108" fmla="*/ 296709 h 4503132"/>
              <a:gd name="connsiteX10109" fmla="*/ 1349333 w 4493400"/>
              <a:gd name="connsiteY10109" fmla="*/ 318315 h 4503132"/>
              <a:gd name="connsiteX10110" fmla="*/ 1304854 w 4493400"/>
              <a:gd name="connsiteY10110" fmla="*/ 359121 h 4503132"/>
              <a:gd name="connsiteX10111" fmla="*/ 1283408 w 4493400"/>
              <a:gd name="connsiteY10111" fmla="*/ 381256 h 4503132"/>
              <a:gd name="connsiteX10112" fmla="*/ 1274175 w 4493400"/>
              <a:gd name="connsiteY10112" fmla="*/ 394248 h 4503132"/>
              <a:gd name="connsiteX10113" fmla="*/ 1270473 w 4493400"/>
              <a:gd name="connsiteY10113" fmla="*/ 401370 h 4503132"/>
              <a:gd name="connsiteX10114" fmla="*/ 1267347 w 4493400"/>
              <a:gd name="connsiteY10114" fmla="*/ 408733 h 4503132"/>
              <a:gd name="connsiteX10115" fmla="*/ 1263644 w 4493400"/>
              <a:gd name="connsiteY10115" fmla="*/ 424853 h 4503132"/>
              <a:gd name="connsiteX10116" fmla="*/ 1267058 w 4493400"/>
              <a:gd name="connsiteY10116" fmla="*/ 442128 h 4503132"/>
              <a:gd name="connsiteX10117" fmla="*/ 1277493 w 4493400"/>
              <a:gd name="connsiteY10117" fmla="*/ 455313 h 4503132"/>
              <a:gd name="connsiteX10118" fmla="*/ 1288793 w 4493400"/>
              <a:gd name="connsiteY10118" fmla="*/ 465370 h 4503132"/>
              <a:gd name="connsiteX10119" fmla="*/ 1303363 w 4493400"/>
              <a:gd name="connsiteY10119" fmla="*/ 487794 h 4503132"/>
              <a:gd name="connsiteX10120" fmla="*/ 1302594 w 4493400"/>
              <a:gd name="connsiteY10120" fmla="*/ 515319 h 4503132"/>
              <a:gd name="connsiteX10121" fmla="*/ 1292015 w 4493400"/>
              <a:gd name="connsiteY10121" fmla="*/ 542170 h 4503132"/>
              <a:gd name="connsiteX10122" fmla="*/ 1277734 w 4493400"/>
              <a:gd name="connsiteY10122" fmla="*/ 568347 h 4503132"/>
              <a:gd name="connsiteX10123" fmla="*/ 1246959 w 4493400"/>
              <a:gd name="connsiteY10123" fmla="*/ 620125 h 4503132"/>
              <a:gd name="connsiteX10124" fmla="*/ 1219021 w 4493400"/>
              <a:gd name="connsiteY10124" fmla="*/ 674308 h 4503132"/>
              <a:gd name="connsiteX10125" fmla="*/ 1212625 w 4493400"/>
              <a:gd name="connsiteY10125" fmla="*/ 705971 h 4503132"/>
              <a:gd name="connsiteX10126" fmla="*/ 1215414 w 4493400"/>
              <a:gd name="connsiteY10126" fmla="*/ 715017 h 4503132"/>
              <a:gd name="connsiteX10127" fmla="*/ 1222242 w 4493400"/>
              <a:gd name="connsiteY10127" fmla="*/ 722187 h 4503132"/>
              <a:gd name="connsiteX10128" fmla="*/ 1238207 w 4493400"/>
              <a:gd name="connsiteY10128" fmla="*/ 727866 h 4503132"/>
              <a:gd name="connsiteX10129" fmla="*/ 1269847 w 4493400"/>
              <a:gd name="connsiteY10129" fmla="*/ 727096 h 4503132"/>
              <a:gd name="connsiteX10130" fmla="*/ 1299613 w 4493400"/>
              <a:gd name="connsiteY10130" fmla="*/ 719445 h 4503132"/>
              <a:gd name="connsiteX10131" fmla="*/ 1355729 w 4493400"/>
              <a:gd name="connsiteY10131" fmla="*/ 696491 h 4503132"/>
              <a:gd name="connsiteX10132" fmla="*/ 1409441 w 4493400"/>
              <a:gd name="connsiteY10132" fmla="*/ 669255 h 4503132"/>
              <a:gd name="connsiteX10133" fmla="*/ 1514123 w 4493400"/>
              <a:gd name="connsiteY10133" fmla="*/ 610741 h 4503132"/>
              <a:gd name="connsiteX10134" fmla="*/ 1619191 w 4493400"/>
              <a:gd name="connsiteY10134" fmla="*/ 554296 h 4503132"/>
              <a:gd name="connsiteX10135" fmla="*/ 1673480 w 4493400"/>
              <a:gd name="connsiteY10135" fmla="*/ 530765 h 4503132"/>
              <a:gd name="connsiteX10136" fmla="*/ 1701562 w 4493400"/>
              <a:gd name="connsiteY10136" fmla="*/ 522200 h 4503132"/>
              <a:gd name="connsiteX10137" fmla="*/ 1730365 w 4493400"/>
              <a:gd name="connsiteY10137" fmla="*/ 515608 h 4503132"/>
              <a:gd name="connsiteX10138" fmla="*/ 1966467 w 4493400"/>
              <a:gd name="connsiteY10138" fmla="*/ 487746 h 4503132"/>
              <a:gd name="connsiteX10139" fmla="*/ 2025276 w 4493400"/>
              <a:gd name="connsiteY10139" fmla="*/ 476726 h 4503132"/>
              <a:gd name="connsiteX10140" fmla="*/ 2054271 w 4493400"/>
              <a:gd name="connsiteY10140" fmla="*/ 469605 h 4503132"/>
              <a:gd name="connsiteX10141" fmla="*/ 2083027 w 4493400"/>
              <a:gd name="connsiteY10141" fmla="*/ 461472 h 4503132"/>
              <a:gd name="connsiteX10142" fmla="*/ 2192662 w 4493400"/>
              <a:gd name="connsiteY10142" fmla="*/ 413930 h 4503132"/>
              <a:gd name="connsiteX10143" fmla="*/ 2217475 w 4493400"/>
              <a:gd name="connsiteY10143" fmla="*/ 396895 h 4503132"/>
              <a:gd name="connsiteX10144" fmla="*/ 2229304 w 4493400"/>
              <a:gd name="connsiteY10144" fmla="*/ 387560 h 4503132"/>
              <a:gd name="connsiteX10145" fmla="*/ 2240508 w 4493400"/>
              <a:gd name="connsiteY10145" fmla="*/ 377455 h 4503132"/>
              <a:gd name="connsiteX10146" fmla="*/ 2278928 w 4493400"/>
              <a:gd name="connsiteY10146" fmla="*/ 331115 h 4503132"/>
              <a:gd name="connsiteX10147" fmla="*/ 2283112 w 4493400"/>
              <a:gd name="connsiteY10147" fmla="*/ 324859 h 4503132"/>
              <a:gd name="connsiteX10148" fmla="*/ 2286814 w 4493400"/>
              <a:gd name="connsiteY10148" fmla="*/ 318315 h 4503132"/>
              <a:gd name="connsiteX10149" fmla="*/ 2294075 w 4493400"/>
              <a:gd name="connsiteY10149" fmla="*/ 305178 h 4503132"/>
              <a:gd name="connsiteX10150" fmla="*/ 2306578 w 4493400"/>
              <a:gd name="connsiteY10150" fmla="*/ 277942 h 4503132"/>
              <a:gd name="connsiteX10151" fmla="*/ 2317253 w 4493400"/>
              <a:gd name="connsiteY10151" fmla="*/ 250080 h 4503132"/>
              <a:gd name="connsiteX10152" fmla="*/ 2326822 w 4493400"/>
              <a:gd name="connsiteY10152" fmla="*/ 221834 h 4503132"/>
              <a:gd name="connsiteX10153" fmla="*/ 2330957 w 4493400"/>
              <a:gd name="connsiteY10153" fmla="*/ 190989 h 4503132"/>
              <a:gd name="connsiteX10154" fmla="*/ 2326966 w 4493400"/>
              <a:gd name="connsiteY10154" fmla="*/ 175013 h 4503132"/>
              <a:gd name="connsiteX10155" fmla="*/ 2316964 w 4493400"/>
              <a:gd name="connsiteY10155" fmla="*/ 161636 h 4503132"/>
              <a:gd name="connsiteX10156" fmla="*/ 2288497 w 4493400"/>
              <a:gd name="connsiteY10156" fmla="*/ 147921 h 4503132"/>
              <a:gd name="connsiteX10157" fmla="*/ 2258348 w 4493400"/>
              <a:gd name="connsiteY10157" fmla="*/ 144072 h 4503132"/>
              <a:gd name="connsiteX10158" fmla="*/ 2243297 w 4493400"/>
              <a:gd name="connsiteY10158" fmla="*/ 143831 h 4503132"/>
              <a:gd name="connsiteX10159" fmla="*/ 2228198 w 4493400"/>
              <a:gd name="connsiteY10159" fmla="*/ 144890 h 4503132"/>
              <a:gd name="connsiteX10160" fmla="*/ 2213195 w 4493400"/>
              <a:gd name="connsiteY10160" fmla="*/ 147200 h 4503132"/>
              <a:gd name="connsiteX10161" fmla="*/ 2205742 w 4493400"/>
              <a:gd name="connsiteY10161" fmla="*/ 148739 h 4503132"/>
              <a:gd name="connsiteX10162" fmla="*/ 2198433 w 4493400"/>
              <a:gd name="connsiteY10162" fmla="*/ 150953 h 4503132"/>
              <a:gd name="connsiteX10163" fmla="*/ 2145538 w 4493400"/>
              <a:gd name="connsiteY10163" fmla="*/ 179777 h 4503132"/>
              <a:gd name="connsiteX10164" fmla="*/ 2099135 w 4493400"/>
              <a:gd name="connsiteY10164" fmla="*/ 215434 h 4503132"/>
              <a:gd name="connsiteX10165" fmla="*/ 2048020 w 4493400"/>
              <a:gd name="connsiteY10165" fmla="*/ 241178 h 4503132"/>
              <a:gd name="connsiteX10166" fmla="*/ 2020323 w 4493400"/>
              <a:gd name="connsiteY10166" fmla="*/ 249696 h 4503132"/>
              <a:gd name="connsiteX10167" fmla="*/ 1992048 w 4493400"/>
              <a:gd name="connsiteY10167" fmla="*/ 257106 h 4503132"/>
              <a:gd name="connsiteX10168" fmla="*/ 1935115 w 4493400"/>
              <a:gd name="connsiteY10168" fmla="*/ 270435 h 4503132"/>
              <a:gd name="connsiteX10169" fmla="*/ 1705168 w 4493400"/>
              <a:gd name="connsiteY10169" fmla="*/ 309942 h 4503132"/>
              <a:gd name="connsiteX10170" fmla="*/ 1647369 w 4493400"/>
              <a:gd name="connsiteY10170" fmla="*/ 314898 h 4503132"/>
              <a:gd name="connsiteX10171" fmla="*/ 1590051 w 4493400"/>
              <a:gd name="connsiteY10171" fmla="*/ 314080 h 4503132"/>
              <a:gd name="connsiteX10172" fmla="*/ 1576443 w 4493400"/>
              <a:gd name="connsiteY10172" fmla="*/ 311578 h 4503132"/>
              <a:gd name="connsiteX10173" fmla="*/ 1565046 w 4493400"/>
              <a:gd name="connsiteY10173" fmla="*/ 306574 h 4503132"/>
              <a:gd name="connsiteX10174" fmla="*/ 1562353 w 4493400"/>
              <a:gd name="connsiteY10174" fmla="*/ 298971 h 4503132"/>
              <a:gd name="connsiteX10175" fmla="*/ 1568941 w 4493400"/>
              <a:gd name="connsiteY10175" fmla="*/ 288769 h 4503132"/>
              <a:gd name="connsiteX10176" fmla="*/ 1590291 w 4493400"/>
              <a:gd name="connsiteY10176" fmla="*/ 270724 h 4503132"/>
              <a:gd name="connsiteX10177" fmla="*/ 1614382 w 4493400"/>
              <a:gd name="connsiteY10177" fmla="*/ 255085 h 4503132"/>
              <a:gd name="connsiteX10178" fmla="*/ 1716709 w 4493400"/>
              <a:gd name="connsiteY10178" fmla="*/ 200950 h 4503132"/>
              <a:gd name="connsiteX10179" fmla="*/ 1768593 w 4493400"/>
              <a:gd name="connsiteY10179" fmla="*/ 174436 h 4503132"/>
              <a:gd name="connsiteX10180" fmla="*/ 1818987 w 4493400"/>
              <a:gd name="connsiteY10180" fmla="*/ 145563 h 4503132"/>
              <a:gd name="connsiteX10181" fmla="*/ 1922276 w 4493400"/>
              <a:gd name="connsiteY10181" fmla="*/ 95230 h 4503132"/>
              <a:gd name="connsiteX10182" fmla="*/ 1976516 w 4493400"/>
              <a:gd name="connsiteY10182" fmla="*/ 75693 h 4503132"/>
              <a:gd name="connsiteX10183" fmla="*/ 2003781 w 4493400"/>
              <a:gd name="connsiteY10183" fmla="*/ 65877 h 4503132"/>
              <a:gd name="connsiteX10184" fmla="*/ 2030709 w 4493400"/>
              <a:gd name="connsiteY10184" fmla="*/ 53846 h 4503132"/>
              <a:gd name="connsiteX10185" fmla="*/ 2055570 w 4493400"/>
              <a:gd name="connsiteY10185" fmla="*/ 38111 h 4503132"/>
              <a:gd name="connsiteX10186" fmla="*/ 2079468 w 4493400"/>
              <a:gd name="connsiteY10186" fmla="*/ 24686 h 4503132"/>
              <a:gd name="connsiteX10187" fmla="*/ 2105146 w 4493400"/>
              <a:gd name="connsiteY10187" fmla="*/ 18959 h 4503132"/>
              <a:gd name="connsiteX10188" fmla="*/ 2087114 w 4493400"/>
              <a:gd name="connsiteY10188" fmla="*/ 32289 h 4503132"/>
              <a:gd name="connsiteX10189" fmla="*/ 2068649 w 4493400"/>
              <a:gd name="connsiteY10189" fmla="*/ 45907 h 4503132"/>
              <a:gd name="connsiteX10190" fmla="*/ 2026718 w 4493400"/>
              <a:gd name="connsiteY10190" fmla="*/ 65540 h 4503132"/>
              <a:gd name="connsiteX10191" fmla="*/ 1982960 w 4493400"/>
              <a:gd name="connsiteY10191" fmla="*/ 82911 h 4503132"/>
              <a:gd name="connsiteX10192" fmla="*/ 1895444 w 4493400"/>
              <a:gd name="connsiteY10192" fmla="*/ 118183 h 4503132"/>
              <a:gd name="connsiteX10193" fmla="*/ 1873805 w 4493400"/>
              <a:gd name="connsiteY10193" fmla="*/ 128000 h 4503132"/>
              <a:gd name="connsiteX10194" fmla="*/ 1852792 w 4493400"/>
              <a:gd name="connsiteY10194" fmla="*/ 139115 h 4503132"/>
              <a:gd name="connsiteX10195" fmla="*/ 1811775 w 4493400"/>
              <a:gd name="connsiteY10195" fmla="*/ 162261 h 4503132"/>
              <a:gd name="connsiteX10196" fmla="*/ 1731231 w 4493400"/>
              <a:gd name="connsiteY10196" fmla="*/ 210959 h 4503132"/>
              <a:gd name="connsiteX10197" fmla="*/ 1692474 w 4493400"/>
              <a:gd name="connsiteY10197" fmla="*/ 238099 h 4503132"/>
              <a:gd name="connsiteX10198" fmla="*/ 1683241 w 4493400"/>
              <a:gd name="connsiteY10198" fmla="*/ 245894 h 4503132"/>
              <a:gd name="connsiteX10199" fmla="*/ 1674586 w 4493400"/>
              <a:gd name="connsiteY10199" fmla="*/ 255614 h 4503132"/>
              <a:gd name="connsiteX10200" fmla="*/ 1672662 w 4493400"/>
              <a:gd name="connsiteY10200" fmla="*/ 259849 h 4503132"/>
              <a:gd name="connsiteX10201" fmla="*/ 1672903 w 4493400"/>
              <a:gd name="connsiteY10201" fmla="*/ 265238 h 4503132"/>
              <a:gd name="connsiteX10202" fmla="*/ 1675884 w 4493400"/>
              <a:gd name="connsiteY10202" fmla="*/ 269521 h 4503132"/>
              <a:gd name="connsiteX10203" fmla="*/ 1678962 w 4493400"/>
              <a:gd name="connsiteY10203" fmla="*/ 271927 h 4503132"/>
              <a:gd name="connsiteX10204" fmla="*/ 1691512 w 4493400"/>
              <a:gd name="connsiteY10204" fmla="*/ 276547 h 4503132"/>
              <a:gd name="connsiteX10205" fmla="*/ 1739453 w 4493400"/>
              <a:gd name="connsiteY10205" fmla="*/ 278135 h 4503132"/>
              <a:gd name="connsiteX10206" fmla="*/ 1786289 w 4493400"/>
              <a:gd name="connsiteY10206" fmla="*/ 273323 h 4503132"/>
              <a:gd name="connsiteX10207" fmla="*/ 1878614 w 4493400"/>
              <a:gd name="connsiteY10207" fmla="*/ 257395 h 4503132"/>
              <a:gd name="connsiteX10208" fmla="*/ 1969688 w 4493400"/>
              <a:gd name="connsiteY10208" fmla="*/ 236029 h 4503132"/>
              <a:gd name="connsiteX10209" fmla="*/ 2057156 w 4493400"/>
              <a:gd name="connsiteY10209" fmla="*/ 201768 h 4503132"/>
              <a:gd name="connsiteX10210" fmla="*/ 2097452 w 4493400"/>
              <a:gd name="connsiteY10210" fmla="*/ 177804 h 4503132"/>
              <a:gd name="connsiteX10211" fmla="*/ 2136450 w 4493400"/>
              <a:gd name="connsiteY10211" fmla="*/ 153022 h 4503132"/>
              <a:gd name="connsiteX10212" fmla="*/ 2177563 w 4493400"/>
              <a:gd name="connsiteY10212" fmla="*/ 134015 h 4503132"/>
              <a:gd name="connsiteX10213" fmla="*/ 2188431 w 4493400"/>
              <a:gd name="connsiteY10213" fmla="*/ 130935 h 4503132"/>
              <a:gd name="connsiteX10214" fmla="*/ 2193864 w 4493400"/>
              <a:gd name="connsiteY10214" fmla="*/ 129395 h 4503132"/>
              <a:gd name="connsiteX10215" fmla="*/ 2199442 w 4493400"/>
              <a:gd name="connsiteY10215" fmla="*/ 128336 h 4503132"/>
              <a:gd name="connsiteX10216" fmla="*/ 2210550 w 4493400"/>
              <a:gd name="connsiteY10216" fmla="*/ 126267 h 4503132"/>
              <a:gd name="connsiteX10217" fmla="*/ 2221850 w 4493400"/>
              <a:gd name="connsiteY10217" fmla="*/ 125064 h 4503132"/>
              <a:gd name="connsiteX10218" fmla="*/ 2312492 w 4493400"/>
              <a:gd name="connsiteY10218" fmla="*/ 129443 h 4503132"/>
              <a:gd name="connsiteX10219" fmla="*/ 2353413 w 4493400"/>
              <a:gd name="connsiteY10219" fmla="*/ 145612 h 4503132"/>
              <a:gd name="connsiteX10220" fmla="*/ 2368416 w 4493400"/>
              <a:gd name="connsiteY10220" fmla="*/ 160577 h 4503132"/>
              <a:gd name="connsiteX10221" fmla="*/ 2376446 w 4493400"/>
              <a:gd name="connsiteY10221" fmla="*/ 180162 h 4503132"/>
              <a:gd name="connsiteX10222" fmla="*/ 2376398 w 4493400"/>
              <a:gd name="connsiteY10222" fmla="*/ 224432 h 4503132"/>
              <a:gd name="connsiteX10223" fmla="*/ 2369570 w 4493400"/>
              <a:gd name="connsiteY10223" fmla="*/ 270195 h 4503132"/>
              <a:gd name="connsiteX10224" fmla="*/ 2371349 w 4493400"/>
              <a:gd name="connsiteY10224" fmla="*/ 362970 h 4503132"/>
              <a:gd name="connsiteX10225" fmla="*/ 2370387 w 4493400"/>
              <a:gd name="connsiteY10225" fmla="*/ 408251 h 4503132"/>
              <a:gd name="connsiteX10226" fmla="*/ 2361011 w 4493400"/>
              <a:gd name="connsiteY10226" fmla="*/ 452281 h 4503132"/>
              <a:gd name="connsiteX10227" fmla="*/ 2338939 w 4493400"/>
              <a:gd name="connsiteY10227" fmla="*/ 542362 h 4503132"/>
              <a:gd name="connsiteX10228" fmla="*/ 2347162 w 4493400"/>
              <a:gd name="connsiteY10228" fmla="*/ 589280 h 4503132"/>
              <a:gd name="connsiteX10229" fmla="*/ 2373850 w 4493400"/>
              <a:gd name="connsiteY10229" fmla="*/ 628161 h 4503132"/>
              <a:gd name="connsiteX10230" fmla="*/ 2446123 w 4493400"/>
              <a:gd name="connsiteY10230" fmla="*/ 685809 h 4503132"/>
              <a:gd name="connsiteX10231" fmla="*/ 2526137 w 4493400"/>
              <a:gd name="connsiteY10231" fmla="*/ 730705 h 4503132"/>
              <a:gd name="connsiteX10232" fmla="*/ 2608556 w 4493400"/>
              <a:gd name="connsiteY10232" fmla="*/ 770067 h 4503132"/>
              <a:gd name="connsiteX10233" fmla="*/ 2691986 w 4493400"/>
              <a:gd name="connsiteY10233" fmla="*/ 806879 h 4503132"/>
              <a:gd name="connsiteX10234" fmla="*/ 2861584 w 4493400"/>
              <a:gd name="connsiteY10234" fmla="*/ 871312 h 4503132"/>
              <a:gd name="connsiteX10235" fmla="*/ 3019594 w 4493400"/>
              <a:gd name="connsiteY10235" fmla="*/ 955378 h 4503132"/>
              <a:gd name="connsiteX10236" fmla="*/ 3081961 w 4493400"/>
              <a:gd name="connsiteY10236" fmla="*/ 1018030 h 4503132"/>
              <a:gd name="connsiteX10237" fmla="*/ 3121680 w 4493400"/>
              <a:gd name="connsiteY10237" fmla="*/ 1096947 h 4503132"/>
              <a:gd name="connsiteX10238" fmla="*/ 3158610 w 4493400"/>
              <a:gd name="connsiteY10238" fmla="*/ 1271190 h 4503132"/>
              <a:gd name="connsiteX10239" fmla="*/ 3166929 w 4493400"/>
              <a:gd name="connsiteY10239" fmla="*/ 1360068 h 4503132"/>
              <a:gd name="connsiteX10240" fmla="*/ 3171834 w 4493400"/>
              <a:gd name="connsiteY10240" fmla="*/ 1449139 h 4503132"/>
              <a:gd name="connsiteX10241" fmla="*/ 3166063 w 4493400"/>
              <a:gd name="connsiteY10241" fmla="*/ 1625884 h 4503132"/>
              <a:gd name="connsiteX10242" fmla="*/ 3143511 w 4493400"/>
              <a:gd name="connsiteY10242" fmla="*/ 1710479 h 4503132"/>
              <a:gd name="connsiteX10243" fmla="*/ 3097830 w 4493400"/>
              <a:gd name="connsiteY10243" fmla="*/ 1783766 h 4503132"/>
              <a:gd name="connsiteX10244" fmla="*/ 3026182 w 4493400"/>
              <a:gd name="connsiteY10244" fmla="*/ 1830395 h 4503132"/>
              <a:gd name="connsiteX10245" fmla="*/ 3021133 w 4493400"/>
              <a:gd name="connsiteY10245" fmla="*/ 1832271 h 4503132"/>
              <a:gd name="connsiteX10246" fmla="*/ 3015940 w 4493400"/>
              <a:gd name="connsiteY10246" fmla="*/ 1833763 h 4503132"/>
              <a:gd name="connsiteX10247" fmla="*/ 3005601 w 4493400"/>
              <a:gd name="connsiteY10247" fmla="*/ 1836698 h 4503132"/>
              <a:gd name="connsiteX10248" fmla="*/ 2995022 w 4493400"/>
              <a:gd name="connsiteY10248" fmla="*/ 1838768 h 4503132"/>
              <a:gd name="connsiteX10249" fmla="*/ 2989733 w 4493400"/>
              <a:gd name="connsiteY10249" fmla="*/ 1839778 h 4503132"/>
              <a:gd name="connsiteX10250" fmla="*/ 2984347 w 4493400"/>
              <a:gd name="connsiteY10250" fmla="*/ 1840404 h 4503132"/>
              <a:gd name="connsiteX10251" fmla="*/ 2973624 w 4493400"/>
              <a:gd name="connsiteY10251" fmla="*/ 1841655 h 4503132"/>
              <a:gd name="connsiteX10252" fmla="*/ 2962805 w 4493400"/>
              <a:gd name="connsiteY10252" fmla="*/ 1842232 h 4503132"/>
              <a:gd name="connsiteX10253" fmla="*/ 2941118 w 4493400"/>
              <a:gd name="connsiteY10253" fmla="*/ 1842425 h 4503132"/>
              <a:gd name="connsiteX10254" fmla="*/ 2854564 w 4493400"/>
              <a:gd name="connsiteY10254" fmla="*/ 1831983 h 4503132"/>
              <a:gd name="connsiteX10255" fmla="*/ 2769067 w 4493400"/>
              <a:gd name="connsiteY10255" fmla="*/ 1812879 h 4503132"/>
              <a:gd name="connsiteX10256" fmla="*/ 2597352 w 4493400"/>
              <a:gd name="connsiteY10256" fmla="*/ 1776211 h 4503132"/>
              <a:gd name="connsiteX10257" fmla="*/ 2422272 w 4493400"/>
              <a:gd name="connsiteY10257" fmla="*/ 1780205 h 4503132"/>
              <a:gd name="connsiteX10258" fmla="*/ 2411549 w 4493400"/>
              <a:gd name="connsiteY10258" fmla="*/ 1782900 h 4503132"/>
              <a:gd name="connsiteX10259" fmla="*/ 2401066 w 4493400"/>
              <a:gd name="connsiteY10259" fmla="*/ 1786317 h 4503132"/>
              <a:gd name="connsiteX10260" fmla="*/ 2390584 w 4493400"/>
              <a:gd name="connsiteY10260" fmla="*/ 1789781 h 4503132"/>
              <a:gd name="connsiteX10261" fmla="*/ 2380341 w 4493400"/>
              <a:gd name="connsiteY10261" fmla="*/ 1793968 h 4503132"/>
              <a:gd name="connsiteX10262" fmla="*/ 2341055 w 4493400"/>
              <a:gd name="connsiteY10262" fmla="*/ 1814371 h 4503132"/>
              <a:gd name="connsiteX10263" fmla="*/ 2306722 w 4493400"/>
              <a:gd name="connsiteY10263" fmla="*/ 1842377 h 4503132"/>
              <a:gd name="connsiteX10264" fmla="*/ 2278496 w 4493400"/>
              <a:gd name="connsiteY10264" fmla="*/ 1876301 h 4503132"/>
              <a:gd name="connsiteX10265" fmla="*/ 2237959 w 4493400"/>
              <a:gd name="connsiteY10265" fmla="*/ 1953871 h 4503132"/>
              <a:gd name="connsiteX10266" fmla="*/ 2211320 w 4493400"/>
              <a:gd name="connsiteY10266" fmla="*/ 2036638 h 4503132"/>
              <a:gd name="connsiteX10267" fmla="*/ 2174823 w 4493400"/>
              <a:gd name="connsiteY10267" fmla="*/ 2205443 h 4503132"/>
              <a:gd name="connsiteX10268" fmla="*/ 2158425 w 4493400"/>
              <a:gd name="connsiteY10268" fmla="*/ 2289750 h 4503132"/>
              <a:gd name="connsiteX10269" fmla="*/ 2149866 w 4493400"/>
              <a:gd name="connsiteY10269" fmla="*/ 2331759 h 4503132"/>
              <a:gd name="connsiteX10270" fmla="*/ 2145394 w 4493400"/>
              <a:gd name="connsiteY10270" fmla="*/ 2352643 h 4503132"/>
              <a:gd name="connsiteX10271" fmla="*/ 2140153 w 4493400"/>
              <a:gd name="connsiteY10271" fmla="*/ 2373190 h 4503132"/>
              <a:gd name="connsiteX10272" fmla="*/ 2092596 w 4493400"/>
              <a:gd name="connsiteY10272" fmla="*/ 2537376 h 4503132"/>
              <a:gd name="connsiteX10273" fmla="*/ 2053213 w 4493400"/>
              <a:gd name="connsiteY10273" fmla="*/ 2703295 h 4503132"/>
              <a:gd name="connsiteX10274" fmla="*/ 2041480 w 4493400"/>
              <a:gd name="connsiteY10274" fmla="*/ 2787745 h 4503132"/>
              <a:gd name="connsiteX10275" fmla="*/ 2043163 w 4493400"/>
              <a:gd name="connsiteY10275" fmla="*/ 2873255 h 4503132"/>
              <a:gd name="connsiteX10276" fmla="*/ 2056820 w 4493400"/>
              <a:gd name="connsiteY10276" fmla="*/ 2914638 h 4503132"/>
              <a:gd name="connsiteX10277" fmla="*/ 2090240 w 4493400"/>
              <a:gd name="connsiteY10277" fmla="*/ 2943751 h 4503132"/>
              <a:gd name="connsiteX10278" fmla="*/ 2134094 w 4493400"/>
              <a:gd name="connsiteY10278" fmla="*/ 2945916 h 4503132"/>
              <a:gd name="connsiteX10279" fmla="*/ 2175111 w 4493400"/>
              <a:gd name="connsiteY10279" fmla="*/ 2932972 h 4503132"/>
              <a:gd name="connsiteX10280" fmla="*/ 2212955 w 4493400"/>
              <a:gd name="connsiteY10280" fmla="*/ 2913628 h 4503132"/>
              <a:gd name="connsiteX10281" fmla="*/ 2231227 w 4493400"/>
              <a:gd name="connsiteY10281" fmla="*/ 2902945 h 4503132"/>
              <a:gd name="connsiteX10282" fmla="*/ 2248923 w 4493400"/>
              <a:gd name="connsiteY10282" fmla="*/ 2891348 h 4503132"/>
              <a:gd name="connsiteX10283" fmla="*/ 2315089 w 4493400"/>
              <a:gd name="connsiteY10283" fmla="*/ 2838897 h 4503132"/>
              <a:gd name="connsiteX10284" fmla="*/ 2435592 w 4493400"/>
              <a:gd name="connsiteY10284" fmla="*/ 2723553 h 4503132"/>
              <a:gd name="connsiteX10285" fmla="*/ 2468387 w 4493400"/>
              <a:gd name="connsiteY10285" fmla="*/ 2698338 h 4503132"/>
              <a:gd name="connsiteX10286" fmla="*/ 2485553 w 4493400"/>
              <a:gd name="connsiteY10286" fmla="*/ 2686789 h 4503132"/>
              <a:gd name="connsiteX10287" fmla="*/ 2494112 w 4493400"/>
              <a:gd name="connsiteY10287" fmla="*/ 2681015 h 4503132"/>
              <a:gd name="connsiteX10288" fmla="*/ 2502912 w 4493400"/>
              <a:gd name="connsiteY10288" fmla="*/ 2675626 h 4503132"/>
              <a:gd name="connsiteX10289" fmla="*/ 2538640 w 4493400"/>
              <a:gd name="connsiteY10289" fmla="*/ 2654934 h 4503132"/>
              <a:gd name="connsiteX10290" fmla="*/ 2556816 w 4493400"/>
              <a:gd name="connsiteY10290" fmla="*/ 2645117 h 4503132"/>
              <a:gd name="connsiteX10291" fmla="*/ 2575377 w 4493400"/>
              <a:gd name="connsiteY10291" fmla="*/ 2636167 h 4503132"/>
              <a:gd name="connsiteX10292" fmla="*/ 2730839 w 4493400"/>
              <a:gd name="connsiteY10292" fmla="*/ 2582561 h 4503132"/>
              <a:gd name="connsiteX10293" fmla="*/ 2891542 w 4493400"/>
              <a:gd name="connsiteY10293" fmla="*/ 2546904 h 4503132"/>
              <a:gd name="connsiteX10294" fmla="*/ 3050032 w 4493400"/>
              <a:gd name="connsiteY10294" fmla="*/ 2502778 h 4503132"/>
              <a:gd name="connsiteX10295" fmla="*/ 3059649 w 4493400"/>
              <a:gd name="connsiteY10295" fmla="*/ 2498976 h 4503132"/>
              <a:gd name="connsiteX10296" fmla="*/ 3069026 w 4493400"/>
              <a:gd name="connsiteY10296" fmla="*/ 2494597 h 4503132"/>
              <a:gd name="connsiteX10297" fmla="*/ 3078403 w 4493400"/>
              <a:gd name="connsiteY10297" fmla="*/ 2490218 h 4503132"/>
              <a:gd name="connsiteX10298" fmla="*/ 3087635 w 4493400"/>
              <a:gd name="connsiteY10298" fmla="*/ 2485503 h 4503132"/>
              <a:gd name="connsiteX10299" fmla="*/ 3105283 w 4493400"/>
              <a:gd name="connsiteY10299" fmla="*/ 2474339 h 4503132"/>
              <a:gd name="connsiteX10300" fmla="*/ 3121777 w 4493400"/>
              <a:gd name="connsiteY10300" fmla="*/ 2461779 h 4503132"/>
              <a:gd name="connsiteX10301" fmla="*/ 3181211 w 4493400"/>
              <a:gd name="connsiteY10301" fmla="*/ 2405286 h 4503132"/>
              <a:gd name="connsiteX10302" fmla="*/ 3237471 w 4493400"/>
              <a:gd name="connsiteY10302" fmla="*/ 2346580 h 4503132"/>
              <a:gd name="connsiteX10303" fmla="*/ 3296184 w 4493400"/>
              <a:gd name="connsiteY10303" fmla="*/ 2291194 h 4503132"/>
              <a:gd name="connsiteX10304" fmla="*/ 3361532 w 4493400"/>
              <a:gd name="connsiteY10304" fmla="*/ 2245190 h 4503132"/>
              <a:gd name="connsiteX10305" fmla="*/ 3435488 w 4493400"/>
              <a:gd name="connsiteY10305" fmla="*/ 2215693 h 4503132"/>
              <a:gd name="connsiteX10306" fmla="*/ 3593306 w 4493400"/>
              <a:gd name="connsiteY10306" fmla="*/ 2192355 h 4503132"/>
              <a:gd name="connsiteX10307" fmla="*/ 3753047 w 4493400"/>
              <a:gd name="connsiteY10307" fmla="*/ 2190478 h 4503132"/>
              <a:gd name="connsiteX10308" fmla="*/ 3912596 w 4493400"/>
              <a:gd name="connsiteY10308" fmla="*/ 2186099 h 4503132"/>
              <a:gd name="connsiteX10309" fmla="*/ 3991168 w 4493400"/>
              <a:gd name="connsiteY10309" fmla="*/ 2170701 h 4503132"/>
              <a:gd name="connsiteX10310" fmla="*/ 4010018 w 4493400"/>
              <a:gd name="connsiteY10310" fmla="*/ 2163483 h 4503132"/>
              <a:gd name="connsiteX10311" fmla="*/ 4019106 w 4493400"/>
              <a:gd name="connsiteY10311" fmla="*/ 2158959 h 4503132"/>
              <a:gd name="connsiteX10312" fmla="*/ 4028002 w 4493400"/>
              <a:gd name="connsiteY10312" fmla="*/ 2154051 h 4503132"/>
              <a:gd name="connsiteX10313" fmla="*/ 4044447 w 4493400"/>
              <a:gd name="connsiteY10313" fmla="*/ 2141973 h 4503132"/>
              <a:gd name="connsiteX10314" fmla="*/ 4051996 w 4493400"/>
              <a:gd name="connsiteY10314" fmla="*/ 2135044 h 4503132"/>
              <a:gd name="connsiteX10315" fmla="*/ 4058825 w 4493400"/>
              <a:gd name="connsiteY10315" fmla="*/ 2127392 h 4503132"/>
              <a:gd name="connsiteX10316" fmla="*/ 4064787 w 4493400"/>
              <a:gd name="connsiteY10316" fmla="*/ 2119116 h 4503132"/>
              <a:gd name="connsiteX10317" fmla="*/ 4067721 w 4493400"/>
              <a:gd name="connsiteY10317" fmla="*/ 2114929 h 4503132"/>
              <a:gd name="connsiteX10318" fmla="*/ 4070221 w 4493400"/>
              <a:gd name="connsiteY10318" fmla="*/ 2110502 h 4503132"/>
              <a:gd name="connsiteX10319" fmla="*/ 4075126 w 4493400"/>
              <a:gd name="connsiteY10319" fmla="*/ 2101648 h 4503132"/>
              <a:gd name="connsiteX10320" fmla="*/ 4079261 w 4493400"/>
              <a:gd name="connsiteY10320" fmla="*/ 2092457 h 4503132"/>
              <a:gd name="connsiteX10321" fmla="*/ 4083060 w 4493400"/>
              <a:gd name="connsiteY10321" fmla="*/ 2083170 h 4503132"/>
              <a:gd name="connsiteX10322" fmla="*/ 4086522 w 4493400"/>
              <a:gd name="connsiteY10322" fmla="*/ 2073738 h 4503132"/>
              <a:gd name="connsiteX10323" fmla="*/ 4092244 w 4493400"/>
              <a:gd name="connsiteY10323" fmla="*/ 2054587 h 4503132"/>
              <a:gd name="connsiteX10324" fmla="*/ 4107536 w 4493400"/>
              <a:gd name="connsiteY10324" fmla="*/ 1976921 h 4503132"/>
              <a:gd name="connsiteX10325" fmla="*/ 4119557 w 4493400"/>
              <a:gd name="connsiteY10325" fmla="*/ 1899399 h 4503132"/>
              <a:gd name="connsiteX10326" fmla="*/ 4134704 w 4493400"/>
              <a:gd name="connsiteY10326" fmla="*/ 1822647 h 4503132"/>
              <a:gd name="connsiteX10327" fmla="*/ 4167402 w 4493400"/>
              <a:gd name="connsiteY10327" fmla="*/ 1670106 h 4503132"/>
              <a:gd name="connsiteX10328" fmla="*/ 4171442 w 4493400"/>
              <a:gd name="connsiteY10328" fmla="*/ 1651051 h 4503132"/>
              <a:gd name="connsiteX10329" fmla="*/ 4173846 w 4493400"/>
              <a:gd name="connsiteY10329" fmla="*/ 1642197 h 4503132"/>
              <a:gd name="connsiteX10330" fmla="*/ 4177356 w 4493400"/>
              <a:gd name="connsiteY10330" fmla="*/ 1633391 h 4503132"/>
              <a:gd name="connsiteX10331" fmla="*/ 4192551 w 4493400"/>
              <a:gd name="connsiteY10331" fmla="*/ 1597493 h 4503132"/>
              <a:gd name="connsiteX10332" fmla="*/ 4203082 w 4493400"/>
              <a:gd name="connsiteY10332" fmla="*/ 1559334 h 4503132"/>
              <a:gd name="connsiteX10333" fmla="*/ 4200967 w 4493400"/>
              <a:gd name="connsiteY10333" fmla="*/ 1519202 h 4503132"/>
              <a:gd name="connsiteX10334" fmla="*/ 4178270 w 4493400"/>
              <a:gd name="connsiteY10334" fmla="*/ 1485469 h 4503132"/>
              <a:gd name="connsiteX10335" fmla="*/ 4159132 w 4493400"/>
              <a:gd name="connsiteY10335" fmla="*/ 1477337 h 4503132"/>
              <a:gd name="connsiteX10336" fmla="*/ 4139320 w 4493400"/>
              <a:gd name="connsiteY10336" fmla="*/ 1475075 h 4503132"/>
              <a:gd name="connsiteX10337" fmla="*/ 4102438 w 4493400"/>
              <a:gd name="connsiteY10337" fmla="*/ 1469830 h 4503132"/>
              <a:gd name="connsiteX10338" fmla="*/ 4094071 w 4493400"/>
              <a:gd name="connsiteY10338" fmla="*/ 1466318 h 4503132"/>
              <a:gd name="connsiteX10339" fmla="*/ 4086282 w 4493400"/>
              <a:gd name="connsiteY10339" fmla="*/ 1461698 h 4503132"/>
              <a:gd name="connsiteX10340" fmla="*/ 4071616 w 4493400"/>
              <a:gd name="connsiteY10340" fmla="*/ 1449957 h 4503132"/>
              <a:gd name="connsiteX10341" fmla="*/ 4021751 w 4493400"/>
              <a:gd name="connsiteY10341" fmla="*/ 1392886 h 4503132"/>
              <a:gd name="connsiteX10342" fmla="*/ 4000593 w 4493400"/>
              <a:gd name="connsiteY10342" fmla="*/ 1361175 h 4503132"/>
              <a:gd name="connsiteX10343" fmla="*/ 3980974 w 4493400"/>
              <a:gd name="connsiteY10343" fmla="*/ 1328501 h 4503132"/>
              <a:gd name="connsiteX10344" fmla="*/ 3913461 w 4493400"/>
              <a:gd name="connsiteY10344" fmla="*/ 1192081 h 4503132"/>
              <a:gd name="connsiteX10345" fmla="*/ 3856383 w 4493400"/>
              <a:gd name="connsiteY10345" fmla="*/ 1051618 h 4503132"/>
              <a:gd name="connsiteX10346" fmla="*/ 3799787 w 4493400"/>
              <a:gd name="connsiteY10346" fmla="*/ 911444 h 4503132"/>
              <a:gd name="connsiteX10347" fmla="*/ 3727033 w 4493400"/>
              <a:gd name="connsiteY10347" fmla="*/ 779499 h 4503132"/>
              <a:gd name="connsiteX10348" fmla="*/ 3677745 w 4493400"/>
              <a:gd name="connsiteY10348" fmla="*/ 722428 h 4503132"/>
              <a:gd name="connsiteX10349" fmla="*/ 3648508 w 4493400"/>
              <a:gd name="connsiteY10349" fmla="*/ 698512 h 4503132"/>
              <a:gd name="connsiteX10350" fmla="*/ 3615954 w 4493400"/>
              <a:gd name="connsiteY10350" fmla="*/ 679264 h 4503132"/>
              <a:gd name="connsiteX10351" fmla="*/ 3579024 w 4493400"/>
              <a:gd name="connsiteY10351" fmla="*/ 668678 h 4503132"/>
              <a:gd name="connsiteX10352" fmla="*/ 3541085 w 4493400"/>
              <a:gd name="connsiteY10352" fmla="*/ 673634 h 4503132"/>
              <a:gd name="connsiteX10353" fmla="*/ 3505694 w 4493400"/>
              <a:gd name="connsiteY10353" fmla="*/ 683066 h 4503132"/>
              <a:gd name="connsiteX10354" fmla="*/ 3496846 w 4493400"/>
              <a:gd name="connsiteY10354" fmla="*/ 684269 h 4503132"/>
              <a:gd name="connsiteX10355" fmla="*/ 3487613 w 4493400"/>
              <a:gd name="connsiteY10355" fmla="*/ 685183 h 4503132"/>
              <a:gd name="connsiteX10356" fmla="*/ 3469244 w 4493400"/>
              <a:gd name="connsiteY10356" fmla="*/ 686915 h 4503132"/>
              <a:gd name="connsiteX10357" fmla="*/ 3432747 w 4493400"/>
              <a:gd name="connsiteY10357" fmla="*/ 688359 h 4503132"/>
              <a:gd name="connsiteX10358" fmla="*/ 3396491 w 4493400"/>
              <a:gd name="connsiteY10358" fmla="*/ 685568 h 4503132"/>
              <a:gd name="connsiteX10359" fmla="*/ 3325949 w 4493400"/>
              <a:gd name="connsiteY10359" fmla="*/ 667860 h 4503132"/>
              <a:gd name="connsiteX10360" fmla="*/ 3196406 w 4493400"/>
              <a:gd name="connsiteY10360" fmla="*/ 601887 h 4503132"/>
              <a:gd name="connsiteX10361" fmla="*/ 3078163 w 4493400"/>
              <a:gd name="connsiteY10361" fmla="*/ 517484 h 4503132"/>
              <a:gd name="connsiteX10362" fmla="*/ 3022094 w 4493400"/>
              <a:gd name="connsiteY10362" fmla="*/ 471770 h 4503132"/>
              <a:gd name="connsiteX10363" fmla="*/ 2968575 w 4493400"/>
              <a:gd name="connsiteY10363" fmla="*/ 423506 h 4503132"/>
              <a:gd name="connsiteX10364" fmla="*/ 2874664 w 4493400"/>
              <a:gd name="connsiteY10364" fmla="*/ 315668 h 4503132"/>
              <a:gd name="connsiteX10365" fmla="*/ 2854948 w 4493400"/>
              <a:gd name="connsiteY10365" fmla="*/ 285978 h 4503132"/>
              <a:gd name="connsiteX10366" fmla="*/ 2845572 w 4493400"/>
              <a:gd name="connsiteY10366" fmla="*/ 270820 h 4503132"/>
              <a:gd name="connsiteX10367" fmla="*/ 2836724 w 4493400"/>
              <a:gd name="connsiteY10367" fmla="*/ 255374 h 4503132"/>
              <a:gd name="connsiteX10368" fmla="*/ 2803497 w 4493400"/>
              <a:gd name="connsiteY10368" fmla="*/ 192288 h 4503132"/>
              <a:gd name="connsiteX10369" fmla="*/ 2767721 w 4493400"/>
              <a:gd name="connsiteY10369" fmla="*/ 130213 h 4503132"/>
              <a:gd name="connsiteX10370" fmla="*/ 2717615 w 4493400"/>
              <a:gd name="connsiteY10370" fmla="*/ 78532 h 4503132"/>
              <a:gd name="connsiteX10371" fmla="*/ 2711027 w 4493400"/>
              <a:gd name="connsiteY10371" fmla="*/ 74394 h 4503132"/>
              <a:gd name="connsiteX10372" fmla="*/ 2740023 w 4493400"/>
              <a:gd name="connsiteY10372" fmla="*/ 91236 h 4503132"/>
              <a:gd name="connsiteX10373" fmla="*/ 2778588 w 4493400"/>
              <a:gd name="connsiteY10373" fmla="*/ 130213 h 4503132"/>
              <a:gd name="connsiteX10374" fmla="*/ 2832444 w 4493400"/>
              <a:gd name="connsiteY10374" fmla="*/ 227368 h 4503132"/>
              <a:gd name="connsiteX10375" fmla="*/ 2889714 w 4493400"/>
              <a:gd name="connsiteY10375" fmla="*/ 323223 h 4503132"/>
              <a:gd name="connsiteX10376" fmla="*/ 2961987 w 4493400"/>
              <a:gd name="connsiteY10376" fmla="*/ 407578 h 4503132"/>
              <a:gd name="connsiteX10377" fmla="*/ 3045128 w 4493400"/>
              <a:gd name="connsiteY10377" fmla="*/ 480143 h 4503132"/>
              <a:gd name="connsiteX10378" fmla="*/ 3230835 w 4493400"/>
              <a:gd name="connsiteY10378" fmla="*/ 595343 h 4503132"/>
              <a:gd name="connsiteX10379" fmla="*/ 3280941 w 4493400"/>
              <a:gd name="connsiteY10379" fmla="*/ 616612 h 4503132"/>
              <a:gd name="connsiteX10380" fmla="*/ 3332536 w 4493400"/>
              <a:gd name="connsiteY10380" fmla="*/ 633598 h 4503132"/>
              <a:gd name="connsiteX10381" fmla="*/ 3385527 w 4493400"/>
              <a:gd name="connsiteY10381" fmla="*/ 645147 h 4503132"/>
              <a:gd name="connsiteX10382" fmla="*/ 3439576 w 4493400"/>
              <a:gd name="connsiteY10382" fmla="*/ 649333 h 4503132"/>
              <a:gd name="connsiteX10383" fmla="*/ 3453136 w 4493400"/>
              <a:gd name="connsiteY10383" fmla="*/ 649045 h 4503132"/>
              <a:gd name="connsiteX10384" fmla="*/ 3466648 w 4493400"/>
              <a:gd name="connsiteY10384" fmla="*/ 648034 h 4503132"/>
              <a:gd name="connsiteX10385" fmla="*/ 3480112 w 4493400"/>
              <a:gd name="connsiteY10385" fmla="*/ 646254 h 4503132"/>
              <a:gd name="connsiteX10386" fmla="*/ 3483478 w 4493400"/>
              <a:gd name="connsiteY10386" fmla="*/ 645773 h 4503132"/>
              <a:gd name="connsiteX10387" fmla="*/ 3487132 w 4493400"/>
              <a:gd name="connsiteY10387" fmla="*/ 644762 h 4503132"/>
              <a:gd name="connsiteX10388" fmla="*/ 3493961 w 4493400"/>
              <a:gd name="connsiteY10388" fmla="*/ 641875 h 4503132"/>
              <a:gd name="connsiteX10389" fmla="*/ 3515311 w 4493400"/>
              <a:gd name="connsiteY10389" fmla="*/ 624600 h 4503132"/>
              <a:gd name="connsiteX10390" fmla="*/ 3535795 w 4493400"/>
              <a:gd name="connsiteY10390" fmla="*/ 609201 h 4503132"/>
              <a:gd name="connsiteX10391" fmla="*/ 3559357 w 4493400"/>
              <a:gd name="connsiteY10391" fmla="*/ 605640 h 4503132"/>
              <a:gd name="connsiteX10392" fmla="*/ 3571090 w 4493400"/>
              <a:gd name="connsiteY10392" fmla="*/ 609490 h 4503132"/>
              <a:gd name="connsiteX10393" fmla="*/ 3582246 w 4493400"/>
              <a:gd name="connsiteY10393" fmla="*/ 615794 h 4503132"/>
              <a:gd name="connsiteX10394" fmla="*/ 3603115 w 4493400"/>
              <a:gd name="connsiteY10394" fmla="*/ 631577 h 4503132"/>
              <a:gd name="connsiteX10395" fmla="*/ 3622879 w 4493400"/>
              <a:gd name="connsiteY10395" fmla="*/ 648900 h 4503132"/>
              <a:gd name="connsiteX10396" fmla="*/ 3695584 w 4493400"/>
              <a:gd name="connsiteY10396" fmla="*/ 725075 h 4503132"/>
              <a:gd name="connsiteX10397" fmla="*/ 3761318 w 4493400"/>
              <a:gd name="connsiteY10397" fmla="*/ 806686 h 4503132"/>
              <a:gd name="connsiteX10398" fmla="*/ 3791083 w 4493400"/>
              <a:gd name="connsiteY10398" fmla="*/ 849417 h 4503132"/>
              <a:gd name="connsiteX10399" fmla="*/ 3815703 w 4493400"/>
              <a:gd name="connsiteY10399" fmla="*/ 894843 h 4503132"/>
              <a:gd name="connsiteX10400" fmla="*/ 3853835 w 4493400"/>
              <a:gd name="connsiteY10400" fmla="*/ 991131 h 4503132"/>
              <a:gd name="connsiteX10401" fmla="*/ 3921780 w 4493400"/>
              <a:gd name="connsiteY10401" fmla="*/ 1185633 h 4503132"/>
              <a:gd name="connsiteX10402" fmla="*/ 3965971 w 4493400"/>
              <a:gd name="connsiteY10402" fmla="*/ 1278023 h 4503132"/>
              <a:gd name="connsiteX10403" fmla="*/ 3994726 w 4493400"/>
              <a:gd name="connsiteY10403" fmla="*/ 1320321 h 4503132"/>
              <a:gd name="connsiteX10404" fmla="*/ 4029733 w 4493400"/>
              <a:gd name="connsiteY10404" fmla="*/ 1357566 h 4503132"/>
              <a:gd name="connsiteX10405" fmla="*/ 4034493 w 4493400"/>
              <a:gd name="connsiteY10405" fmla="*/ 1361801 h 4503132"/>
              <a:gd name="connsiteX10406" fmla="*/ 4039542 w 4493400"/>
              <a:gd name="connsiteY10406" fmla="*/ 1365746 h 4503132"/>
              <a:gd name="connsiteX10407" fmla="*/ 4049785 w 4493400"/>
              <a:gd name="connsiteY10407" fmla="*/ 1373446 h 4503132"/>
              <a:gd name="connsiteX10408" fmla="*/ 4060411 w 4493400"/>
              <a:gd name="connsiteY10408" fmla="*/ 1380567 h 4503132"/>
              <a:gd name="connsiteX10409" fmla="*/ 4071808 w 4493400"/>
              <a:gd name="connsiteY10409" fmla="*/ 1386775 h 4503132"/>
              <a:gd name="connsiteX10410" fmla="*/ 4097341 w 4493400"/>
              <a:gd name="connsiteY10410" fmla="*/ 1393319 h 4503132"/>
              <a:gd name="connsiteX10411" fmla="*/ 4122875 w 4493400"/>
              <a:gd name="connsiteY10411" fmla="*/ 1386149 h 4503132"/>
              <a:gd name="connsiteX10412" fmla="*/ 4143696 w 4493400"/>
              <a:gd name="connsiteY10412" fmla="*/ 1372291 h 4503132"/>
              <a:gd name="connsiteX10413" fmla="*/ 4154035 w 4493400"/>
              <a:gd name="connsiteY10413" fmla="*/ 1368874 h 4503132"/>
              <a:gd name="connsiteX10414" fmla="*/ 4164277 w 4493400"/>
              <a:gd name="connsiteY10414" fmla="*/ 1371569 h 4503132"/>
              <a:gd name="connsiteX10415" fmla="*/ 4181684 w 4493400"/>
              <a:gd name="connsiteY10415" fmla="*/ 1387497 h 4503132"/>
              <a:gd name="connsiteX10416" fmla="*/ 4196014 w 4493400"/>
              <a:gd name="connsiteY10416" fmla="*/ 1407467 h 4503132"/>
              <a:gd name="connsiteX10417" fmla="*/ 4239531 w 4493400"/>
              <a:gd name="connsiteY10417" fmla="*/ 1495911 h 4503132"/>
              <a:gd name="connsiteX10418" fmla="*/ 4254726 w 4493400"/>
              <a:gd name="connsiteY10418" fmla="*/ 1542636 h 4503132"/>
              <a:gd name="connsiteX10419" fmla="*/ 4263863 w 4493400"/>
              <a:gd name="connsiteY10419" fmla="*/ 1590420 h 4503132"/>
              <a:gd name="connsiteX10420" fmla="*/ 4255880 w 4493400"/>
              <a:gd name="connsiteY10420" fmla="*/ 1636037 h 4503132"/>
              <a:gd name="connsiteX10421" fmla="*/ 4240301 w 4493400"/>
              <a:gd name="connsiteY10421" fmla="*/ 1653553 h 4503132"/>
              <a:gd name="connsiteX10422" fmla="*/ 4222028 w 4493400"/>
              <a:gd name="connsiteY10422" fmla="*/ 1670443 h 4503132"/>
              <a:gd name="connsiteX10423" fmla="*/ 4218037 w 4493400"/>
              <a:gd name="connsiteY10423" fmla="*/ 1675496 h 4503132"/>
              <a:gd name="connsiteX10424" fmla="*/ 4214575 w 4493400"/>
              <a:gd name="connsiteY10424" fmla="*/ 1680982 h 4503132"/>
              <a:gd name="connsiteX10425" fmla="*/ 4209141 w 4493400"/>
              <a:gd name="connsiteY10425" fmla="*/ 1692194 h 4503132"/>
              <a:gd name="connsiteX10426" fmla="*/ 4200101 w 4493400"/>
              <a:gd name="connsiteY10426" fmla="*/ 1715051 h 4503132"/>
              <a:gd name="connsiteX10427" fmla="*/ 4185050 w 4493400"/>
              <a:gd name="connsiteY10427" fmla="*/ 1761583 h 4503132"/>
              <a:gd name="connsiteX10428" fmla="*/ 4163363 w 4493400"/>
              <a:gd name="connsiteY10428" fmla="*/ 1856283 h 4503132"/>
              <a:gd name="connsiteX10429" fmla="*/ 4159517 w 4493400"/>
              <a:gd name="connsiteY10429" fmla="*/ 1880199 h 4503132"/>
              <a:gd name="connsiteX10430" fmla="*/ 4156391 w 4493400"/>
              <a:gd name="connsiteY10430" fmla="*/ 1904163 h 4503132"/>
              <a:gd name="connsiteX10431" fmla="*/ 4152784 w 4493400"/>
              <a:gd name="connsiteY10431" fmla="*/ 1952283 h 4503132"/>
              <a:gd name="connsiteX10432" fmla="*/ 4157593 w 4493400"/>
              <a:gd name="connsiteY10432" fmla="*/ 2048187 h 4503132"/>
              <a:gd name="connsiteX10433" fmla="*/ 4158458 w 4493400"/>
              <a:gd name="connsiteY10433" fmla="*/ 2054105 h 4503132"/>
              <a:gd name="connsiteX10434" fmla="*/ 4159805 w 4493400"/>
              <a:gd name="connsiteY10434" fmla="*/ 2059976 h 4503132"/>
              <a:gd name="connsiteX10435" fmla="*/ 4162450 w 4493400"/>
              <a:gd name="connsiteY10435" fmla="*/ 2071669 h 4503132"/>
              <a:gd name="connsiteX10436" fmla="*/ 4165287 w 4493400"/>
              <a:gd name="connsiteY10436" fmla="*/ 2083314 h 4503132"/>
              <a:gd name="connsiteX10437" fmla="*/ 4168941 w 4493400"/>
              <a:gd name="connsiteY10437" fmla="*/ 2094767 h 4503132"/>
              <a:gd name="connsiteX10438" fmla="*/ 4173365 w 4493400"/>
              <a:gd name="connsiteY10438" fmla="*/ 2106027 h 4503132"/>
              <a:gd name="connsiteX10439" fmla="*/ 4178847 w 4493400"/>
              <a:gd name="connsiteY10439" fmla="*/ 2116902 h 4503132"/>
              <a:gd name="connsiteX10440" fmla="*/ 4194331 w 4493400"/>
              <a:gd name="connsiteY10440" fmla="*/ 2136102 h 4503132"/>
              <a:gd name="connsiteX10441" fmla="*/ 4217797 w 4493400"/>
              <a:gd name="connsiteY10441" fmla="*/ 2145149 h 4503132"/>
              <a:gd name="connsiteX10442" fmla="*/ 4241935 w 4493400"/>
              <a:gd name="connsiteY10442" fmla="*/ 2139567 h 4503132"/>
              <a:gd name="connsiteX10443" fmla="*/ 4280693 w 4493400"/>
              <a:gd name="connsiteY10443" fmla="*/ 2111561 h 4503132"/>
              <a:gd name="connsiteX10444" fmla="*/ 4313728 w 4493400"/>
              <a:gd name="connsiteY10444" fmla="*/ 2078117 h 4503132"/>
              <a:gd name="connsiteX10445" fmla="*/ 4321998 w 4493400"/>
              <a:gd name="connsiteY10445" fmla="*/ 2070177 h 4503132"/>
              <a:gd name="connsiteX10446" fmla="*/ 4326230 w 4493400"/>
              <a:gd name="connsiteY10446" fmla="*/ 2066857 h 4503132"/>
              <a:gd name="connsiteX10447" fmla="*/ 4330894 w 4493400"/>
              <a:gd name="connsiteY10447" fmla="*/ 2064692 h 4503132"/>
              <a:gd name="connsiteX10448" fmla="*/ 4351715 w 4493400"/>
              <a:gd name="connsiteY10448" fmla="*/ 2064259 h 4503132"/>
              <a:gd name="connsiteX10449" fmla="*/ 4369892 w 4493400"/>
              <a:gd name="connsiteY10449" fmla="*/ 2076096 h 4503132"/>
              <a:gd name="connsiteX10450" fmla="*/ 4383981 w 4493400"/>
              <a:gd name="connsiteY10450" fmla="*/ 2093660 h 4503132"/>
              <a:gd name="connsiteX10451" fmla="*/ 4404514 w 4493400"/>
              <a:gd name="connsiteY10451" fmla="*/ 2134466 h 4503132"/>
              <a:gd name="connsiteX10452" fmla="*/ 4429855 w 4493400"/>
              <a:gd name="connsiteY10452" fmla="*/ 2222430 h 4503132"/>
              <a:gd name="connsiteX10453" fmla="*/ 4437212 w 4493400"/>
              <a:gd name="connsiteY10453" fmla="*/ 2267566 h 4503132"/>
              <a:gd name="connsiteX10454" fmla="*/ 4441011 w 4493400"/>
              <a:gd name="connsiteY10454" fmla="*/ 2290183 h 4503132"/>
              <a:gd name="connsiteX10455" fmla="*/ 4442550 w 4493400"/>
              <a:gd name="connsiteY10455" fmla="*/ 2297978 h 4503132"/>
              <a:gd name="connsiteX10456" fmla="*/ 4443559 w 4493400"/>
              <a:gd name="connsiteY10456" fmla="*/ 2302117 h 4503132"/>
              <a:gd name="connsiteX10457" fmla="*/ 4444714 w 4493400"/>
              <a:gd name="connsiteY10457" fmla="*/ 2305678 h 4503132"/>
              <a:gd name="connsiteX10458" fmla="*/ 4447454 w 4493400"/>
              <a:gd name="connsiteY10458" fmla="*/ 2309864 h 4503132"/>
              <a:gd name="connsiteX10459" fmla="*/ 4448320 w 4493400"/>
              <a:gd name="connsiteY10459" fmla="*/ 2310634 h 4503132"/>
              <a:gd name="connsiteX10460" fmla="*/ 4449811 w 4493400"/>
              <a:gd name="connsiteY10460" fmla="*/ 2310634 h 4503132"/>
              <a:gd name="connsiteX10461" fmla="*/ 4451782 w 4493400"/>
              <a:gd name="connsiteY10461" fmla="*/ 2309190 h 4503132"/>
              <a:gd name="connsiteX10462" fmla="*/ 4454667 w 4493400"/>
              <a:gd name="connsiteY10462" fmla="*/ 2304234 h 4503132"/>
              <a:gd name="connsiteX10463" fmla="*/ 4456831 w 4493400"/>
              <a:gd name="connsiteY10463" fmla="*/ 2296342 h 4503132"/>
              <a:gd name="connsiteX10464" fmla="*/ 4457649 w 4493400"/>
              <a:gd name="connsiteY10464" fmla="*/ 2292060 h 4503132"/>
              <a:gd name="connsiteX10465" fmla="*/ 4458178 w 4493400"/>
              <a:gd name="connsiteY10465" fmla="*/ 2289028 h 4503132"/>
              <a:gd name="connsiteX10466" fmla="*/ 4459043 w 4493400"/>
              <a:gd name="connsiteY10466" fmla="*/ 2283350 h 4503132"/>
              <a:gd name="connsiteX10467" fmla="*/ 4461688 w 4493400"/>
              <a:gd name="connsiteY10467" fmla="*/ 2260637 h 4503132"/>
              <a:gd name="connsiteX10468" fmla="*/ 4465294 w 4493400"/>
              <a:gd name="connsiteY10468" fmla="*/ 2215308 h 4503132"/>
              <a:gd name="connsiteX10469" fmla="*/ 4467025 w 4493400"/>
              <a:gd name="connsiteY10469" fmla="*/ 2170027 h 4503132"/>
              <a:gd name="connsiteX10470" fmla="*/ 4467073 w 4493400"/>
              <a:gd name="connsiteY10470" fmla="*/ 2135380 h 4503132"/>
              <a:gd name="connsiteX10471" fmla="*/ 4464813 w 4493400"/>
              <a:gd name="connsiteY10471" fmla="*/ 2308324 h 4503132"/>
              <a:gd name="connsiteX10472" fmla="*/ 4459860 w 4493400"/>
              <a:gd name="connsiteY10472" fmla="*/ 2396817 h 4503132"/>
              <a:gd name="connsiteX10473" fmla="*/ 4456302 w 4493400"/>
              <a:gd name="connsiteY10473" fmla="*/ 2471451 h 4503132"/>
              <a:gd name="connsiteX10474" fmla="*/ 4450340 w 4493400"/>
              <a:gd name="connsiteY10474" fmla="*/ 2564468 h 4503132"/>
              <a:gd name="connsiteX10475" fmla="*/ 4447839 w 4493400"/>
              <a:gd name="connsiteY10475" fmla="*/ 2604696 h 4503132"/>
              <a:gd name="connsiteX10476" fmla="*/ 4449618 w 4493400"/>
              <a:gd name="connsiteY10476" fmla="*/ 2512642 h 4503132"/>
              <a:gd name="connsiteX10477" fmla="*/ 4441396 w 4493400"/>
              <a:gd name="connsiteY10477" fmla="*/ 2694440 h 4503132"/>
              <a:gd name="connsiteX10478" fmla="*/ 4440194 w 4493400"/>
              <a:gd name="connsiteY10478" fmla="*/ 2709502 h 4503132"/>
              <a:gd name="connsiteX10479" fmla="*/ 4440194 w 4493400"/>
              <a:gd name="connsiteY10479" fmla="*/ 2710705 h 4503132"/>
              <a:gd name="connsiteX10480" fmla="*/ 4440241 w 4493400"/>
              <a:gd name="connsiteY10480" fmla="*/ 2710705 h 4503132"/>
              <a:gd name="connsiteX10481" fmla="*/ 4424758 w 4493400"/>
              <a:gd name="connsiteY10481" fmla="*/ 2780768 h 4503132"/>
              <a:gd name="connsiteX10482" fmla="*/ 4425671 w 4493400"/>
              <a:gd name="connsiteY10482" fmla="*/ 2775427 h 4503132"/>
              <a:gd name="connsiteX10483" fmla="*/ 4428941 w 4493400"/>
              <a:gd name="connsiteY10483" fmla="*/ 2756900 h 4503132"/>
              <a:gd name="connsiteX10484" fmla="*/ 4435914 w 4493400"/>
              <a:gd name="connsiteY10484" fmla="*/ 2716768 h 4503132"/>
              <a:gd name="connsiteX10485" fmla="*/ 4442646 w 4493400"/>
              <a:gd name="connsiteY10485" fmla="*/ 2672401 h 4503132"/>
              <a:gd name="connsiteX10486" fmla="*/ 4445916 w 4493400"/>
              <a:gd name="connsiteY10486" fmla="*/ 2637081 h 4503132"/>
              <a:gd name="connsiteX10487" fmla="*/ 4445531 w 4493400"/>
              <a:gd name="connsiteY10487" fmla="*/ 2645983 h 4503132"/>
              <a:gd name="connsiteX10488" fmla="*/ 4445339 w 4493400"/>
              <a:gd name="connsiteY10488" fmla="*/ 2653827 h 4503132"/>
              <a:gd name="connsiteX10489" fmla="*/ 4445339 w 4493400"/>
              <a:gd name="connsiteY10489" fmla="*/ 2657821 h 4503132"/>
              <a:gd name="connsiteX10490" fmla="*/ 4445339 w 4493400"/>
              <a:gd name="connsiteY10490" fmla="*/ 2658158 h 4503132"/>
              <a:gd name="connsiteX10491" fmla="*/ 4441443 w 4493400"/>
              <a:gd name="connsiteY10491" fmla="*/ 2694440 h 4503132"/>
              <a:gd name="connsiteX10492" fmla="*/ 4455196 w 4493400"/>
              <a:gd name="connsiteY10492" fmla="*/ 2613839 h 4503132"/>
              <a:gd name="connsiteX10493" fmla="*/ 4458081 w 4493400"/>
              <a:gd name="connsiteY10493" fmla="*/ 2571301 h 4503132"/>
              <a:gd name="connsiteX10494" fmla="*/ 4457745 w 4493400"/>
              <a:gd name="connsiteY10494" fmla="*/ 2585785 h 4503132"/>
              <a:gd name="connsiteX10495" fmla="*/ 4457841 w 4493400"/>
              <a:gd name="connsiteY10495" fmla="*/ 2597671 h 4503132"/>
              <a:gd name="connsiteX10496" fmla="*/ 4455196 w 4493400"/>
              <a:gd name="connsiteY10496" fmla="*/ 2613791 h 4503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Lst>
            <a:rect l="l" t="t" r="r" b="b"/>
            <a:pathLst>
              <a:path w="4493400" h="4503132">
                <a:moveTo>
                  <a:pt x="4492463" y="2215789"/>
                </a:moveTo>
                <a:cubicBezTo>
                  <a:pt x="4492030" y="2191392"/>
                  <a:pt x="4491261" y="2167380"/>
                  <a:pt x="4490010" y="2143753"/>
                </a:cubicBezTo>
                <a:cubicBezTo>
                  <a:pt x="4488664" y="2120319"/>
                  <a:pt x="4486885" y="2097269"/>
                  <a:pt x="4485346" y="2074701"/>
                </a:cubicBezTo>
                <a:cubicBezTo>
                  <a:pt x="4485394" y="2073835"/>
                  <a:pt x="4485346" y="2073690"/>
                  <a:pt x="4485346" y="2073209"/>
                </a:cubicBezTo>
                <a:lnTo>
                  <a:pt x="4485250" y="2071862"/>
                </a:lnTo>
                <a:lnTo>
                  <a:pt x="4485010" y="2069407"/>
                </a:lnTo>
                <a:lnTo>
                  <a:pt x="4484528" y="2064692"/>
                </a:lnTo>
                <a:cubicBezTo>
                  <a:pt x="4484192" y="2061516"/>
                  <a:pt x="4483855" y="2058340"/>
                  <a:pt x="4483519" y="2055212"/>
                </a:cubicBezTo>
                <a:cubicBezTo>
                  <a:pt x="4482797" y="2048956"/>
                  <a:pt x="4482076" y="2042701"/>
                  <a:pt x="4481403" y="2036493"/>
                </a:cubicBezTo>
                <a:cubicBezTo>
                  <a:pt x="4479912" y="2024127"/>
                  <a:pt x="4478421" y="2011856"/>
                  <a:pt x="4476979" y="1999778"/>
                </a:cubicBezTo>
                <a:cubicBezTo>
                  <a:pt x="4473998" y="1975621"/>
                  <a:pt x="4470968" y="1952139"/>
                  <a:pt x="4467795" y="1929330"/>
                </a:cubicBezTo>
                <a:cubicBezTo>
                  <a:pt x="4466593" y="1921005"/>
                  <a:pt x="4465342" y="1912873"/>
                  <a:pt x="4464044" y="1904788"/>
                </a:cubicBezTo>
                <a:cubicBezTo>
                  <a:pt x="4464044" y="1904644"/>
                  <a:pt x="4464044" y="1904500"/>
                  <a:pt x="4463996" y="1904307"/>
                </a:cubicBezTo>
                <a:cubicBezTo>
                  <a:pt x="4458178" y="1861817"/>
                  <a:pt x="4448560" y="1806912"/>
                  <a:pt x="4434664" y="1746281"/>
                </a:cubicBezTo>
                <a:cubicBezTo>
                  <a:pt x="4430913" y="1729150"/>
                  <a:pt x="4426729" y="1711538"/>
                  <a:pt x="4421921" y="1693637"/>
                </a:cubicBezTo>
                <a:lnTo>
                  <a:pt x="4419709" y="1694215"/>
                </a:lnTo>
                <a:cubicBezTo>
                  <a:pt x="4415910" y="1678961"/>
                  <a:pt x="4412159" y="1664621"/>
                  <a:pt x="4408216" y="1651340"/>
                </a:cubicBezTo>
                <a:cubicBezTo>
                  <a:pt x="4407399" y="1648693"/>
                  <a:pt x="4406629" y="1646094"/>
                  <a:pt x="4405860" y="1643496"/>
                </a:cubicBezTo>
                <a:cubicBezTo>
                  <a:pt x="4404418" y="1637144"/>
                  <a:pt x="4402975" y="1630744"/>
                  <a:pt x="4401532" y="1624296"/>
                </a:cubicBezTo>
                <a:cubicBezTo>
                  <a:pt x="4399657" y="1616068"/>
                  <a:pt x="4397878" y="1607791"/>
                  <a:pt x="4395426" y="1599370"/>
                </a:cubicBezTo>
                <a:cubicBezTo>
                  <a:pt x="4392637" y="1590997"/>
                  <a:pt x="4390329" y="1583153"/>
                  <a:pt x="4387780" y="1575021"/>
                </a:cubicBezTo>
                <a:lnTo>
                  <a:pt x="4387684" y="1575021"/>
                </a:lnTo>
                <a:cubicBezTo>
                  <a:pt x="4387684" y="1575021"/>
                  <a:pt x="4387588" y="1574636"/>
                  <a:pt x="4387539" y="1574395"/>
                </a:cubicBezTo>
                <a:lnTo>
                  <a:pt x="4385904" y="1575021"/>
                </a:lnTo>
                <a:cubicBezTo>
                  <a:pt x="4385664" y="1573625"/>
                  <a:pt x="4385424" y="1572230"/>
                  <a:pt x="4385183" y="1570835"/>
                </a:cubicBezTo>
                <a:lnTo>
                  <a:pt x="4384799" y="1567514"/>
                </a:lnTo>
                <a:cubicBezTo>
                  <a:pt x="4384654" y="1566456"/>
                  <a:pt x="4384702" y="1565253"/>
                  <a:pt x="4384173" y="1563183"/>
                </a:cubicBezTo>
                <a:cubicBezTo>
                  <a:pt x="4383933" y="1562221"/>
                  <a:pt x="4383645" y="1561499"/>
                  <a:pt x="4383356" y="1560874"/>
                </a:cubicBezTo>
                <a:cubicBezTo>
                  <a:pt x="4383116" y="1560296"/>
                  <a:pt x="4383356" y="1560874"/>
                  <a:pt x="4383164" y="1560392"/>
                </a:cubicBezTo>
                <a:lnTo>
                  <a:pt x="4382875" y="1559526"/>
                </a:lnTo>
                <a:lnTo>
                  <a:pt x="4381769" y="1556158"/>
                </a:lnTo>
                <a:cubicBezTo>
                  <a:pt x="4380230" y="1551538"/>
                  <a:pt x="4378740" y="1546919"/>
                  <a:pt x="4377201" y="1542251"/>
                </a:cubicBezTo>
                <a:lnTo>
                  <a:pt x="4376720" y="1541626"/>
                </a:lnTo>
                <a:cubicBezTo>
                  <a:pt x="4376720" y="1541626"/>
                  <a:pt x="4377057" y="1541914"/>
                  <a:pt x="4377105" y="1542059"/>
                </a:cubicBezTo>
                <a:cubicBezTo>
                  <a:pt x="4377057" y="1541866"/>
                  <a:pt x="4376961" y="1541674"/>
                  <a:pt x="4376912" y="1541481"/>
                </a:cubicBezTo>
                <a:lnTo>
                  <a:pt x="4376624" y="1541481"/>
                </a:lnTo>
                <a:cubicBezTo>
                  <a:pt x="4376624" y="1541481"/>
                  <a:pt x="4376335" y="1541096"/>
                  <a:pt x="4376335" y="1541096"/>
                </a:cubicBezTo>
                <a:lnTo>
                  <a:pt x="4375710" y="1540134"/>
                </a:lnTo>
                <a:cubicBezTo>
                  <a:pt x="4375470" y="1539797"/>
                  <a:pt x="4375181" y="1539412"/>
                  <a:pt x="4374748" y="1538931"/>
                </a:cubicBezTo>
                <a:lnTo>
                  <a:pt x="4373883" y="1538113"/>
                </a:lnTo>
                <a:lnTo>
                  <a:pt x="4373066" y="1537535"/>
                </a:lnTo>
                <a:cubicBezTo>
                  <a:pt x="4372633" y="1537295"/>
                  <a:pt x="4372537" y="1537150"/>
                  <a:pt x="4371527" y="1536862"/>
                </a:cubicBezTo>
                <a:cubicBezTo>
                  <a:pt x="4370613" y="1536669"/>
                  <a:pt x="4369988" y="1536525"/>
                  <a:pt x="4368594" y="1536862"/>
                </a:cubicBezTo>
                <a:cubicBezTo>
                  <a:pt x="4367969" y="1537006"/>
                  <a:pt x="4367392" y="1537295"/>
                  <a:pt x="4366863" y="1537632"/>
                </a:cubicBezTo>
                <a:cubicBezTo>
                  <a:pt x="4366430" y="1537920"/>
                  <a:pt x="4366238" y="1538113"/>
                  <a:pt x="4365949" y="1538450"/>
                </a:cubicBezTo>
                <a:cubicBezTo>
                  <a:pt x="4364795" y="1539797"/>
                  <a:pt x="4364795" y="1540230"/>
                  <a:pt x="4364602" y="1540808"/>
                </a:cubicBezTo>
                <a:cubicBezTo>
                  <a:pt x="4363064" y="1534793"/>
                  <a:pt x="4361717" y="1529259"/>
                  <a:pt x="4360708" y="1525024"/>
                </a:cubicBezTo>
                <a:cubicBezTo>
                  <a:pt x="4360179" y="1522811"/>
                  <a:pt x="4359746" y="1520597"/>
                  <a:pt x="4359409" y="1518384"/>
                </a:cubicBezTo>
                <a:cubicBezTo>
                  <a:pt x="4359313" y="1517806"/>
                  <a:pt x="4359265" y="1517277"/>
                  <a:pt x="4359265" y="1516699"/>
                </a:cubicBezTo>
                <a:lnTo>
                  <a:pt x="4359265" y="1515833"/>
                </a:lnTo>
                <a:cubicBezTo>
                  <a:pt x="4359265" y="1515833"/>
                  <a:pt x="4359842" y="1515400"/>
                  <a:pt x="4359842" y="1515400"/>
                </a:cubicBezTo>
                <a:cubicBezTo>
                  <a:pt x="4360708" y="1516122"/>
                  <a:pt x="4361189" y="1517229"/>
                  <a:pt x="4361766" y="1518191"/>
                </a:cubicBezTo>
                <a:cubicBezTo>
                  <a:pt x="4361910" y="1518432"/>
                  <a:pt x="4361958" y="1518672"/>
                  <a:pt x="4362102" y="1518913"/>
                </a:cubicBezTo>
                <a:cubicBezTo>
                  <a:pt x="4362294" y="1519538"/>
                  <a:pt x="4362535" y="1520164"/>
                  <a:pt x="4362775" y="1520790"/>
                </a:cubicBezTo>
                <a:cubicBezTo>
                  <a:pt x="4363352" y="1522474"/>
                  <a:pt x="4363929" y="1524158"/>
                  <a:pt x="4364554" y="1525842"/>
                </a:cubicBezTo>
                <a:lnTo>
                  <a:pt x="4365420" y="1528344"/>
                </a:lnTo>
                <a:cubicBezTo>
                  <a:pt x="4365612" y="1528922"/>
                  <a:pt x="4365805" y="1529259"/>
                  <a:pt x="4365997" y="1529692"/>
                </a:cubicBezTo>
                <a:lnTo>
                  <a:pt x="4366238" y="1530269"/>
                </a:lnTo>
                <a:lnTo>
                  <a:pt x="4366333" y="1530510"/>
                </a:lnTo>
                <a:lnTo>
                  <a:pt x="4366526" y="1530510"/>
                </a:lnTo>
                <a:cubicBezTo>
                  <a:pt x="4366526" y="1530510"/>
                  <a:pt x="4367343" y="1530366"/>
                  <a:pt x="4367343" y="1530366"/>
                </a:cubicBezTo>
                <a:cubicBezTo>
                  <a:pt x="4367343" y="1530366"/>
                  <a:pt x="4367295" y="1530414"/>
                  <a:pt x="4367247" y="1530462"/>
                </a:cubicBezTo>
                <a:lnTo>
                  <a:pt x="4366382" y="1530895"/>
                </a:lnTo>
                <a:cubicBezTo>
                  <a:pt x="4366718" y="1530750"/>
                  <a:pt x="4366910" y="1530654"/>
                  <a:pt x="4367151" y="1530558"/>
                </a:cubicBezTo>
                <a:cubicBezTo>
                  <a:pt x="4367055" y="1530702"/>
                  <a:pt x="4367247" y="1530702"/>
                  <a:pt x="4369171" y="1529836"/>
                </a:cubicBezTo>
                <a:lnTo>
                  <a:pt x="4369267" y="1530366"/>
                </a:lnTo>
                <a:cubicBezTo>
                  <a:pt x="4369267" y="1529932"/>
                  <a:pt x="4369171" y="1529692"/>
                  <a:pt x="4369123" y="1529547"/>
                </a:cubicBezTo>
                <a:cubicBezTo>
                  <a:pt x="4369363" y="1529355"/>
                  <a:pt x="4369219" y="1529307"/>
                  <a:pt x="4368978" y="1529259"/>
                </a:cubicBezTo>
                <a:cubicBezTo>
                  <a:pt x="4368978" y="1529259"/>
                  <a:pt x="4368978" y="1529211"/>
                  <a:pt x="4368978" y="1529163"/>
                </a:cubicBezTo>
                <a:lnTo>
                  <a:pt x="4368690" y="1528537"/>
                </a:lnTo>
                <a:lnTo>
                  <a:pt x="4368209" y="1527478"/>
                </a:lnTo>
                <a:lnTo>
                  <a:pt x="4367343" y="1524976"/>
                </a:lnTo>
                <a:cubicBezTo>
                  <a:pt x="4366766" y="1523292"/>
                  <a:pt x="4366189" y="1521608"/>
                  <a:pt x="4365564" y="1519875"/>
                </a:cubicBezTo>
                <a:cubicBezTo>
                  <a:pt x="4364410" y="1516507"/>
                  <a:pt x="4363208" y="1513042"/>
                  <a:pt x="4361958" y="1509481"/>
                </a:cubicBezTo>
                <a:cubicBezTo>
                  <a:pt x="4361910" y="1509289"/>
                  <a:pt x="4361717" y="1508808"/>
                  <a:pt x="4361958" y="1509241"/>
                </a:cubicBezTo>
                <a:lnTo>
                  <a:pt x="4362150" y="1509578"/>
                </a:lnTo>
                <a:lnTo>
                  <a:pt x="4362150" y="1509337"/>
                </a:lnTo>
                <a:cubicBezTo>
                  <a:pt x="4362150" y="1509337"/>
                  <a:pt x="4361381" y="1507268"/>
                  <a:pt x="4361381" y="1507268"/>
                </a:cubicBezTo>
                <a:lnTo>
                  <a:pt x="4359698" y="1503322"/>
                </a:lnTo>
                <a:lnTo>
                  <a:pt x="4356332" y="1495430"/>
                </a:lnTo>
                <a:cubicBezTo>
                  <a:pt x="4355514" y="1493505"/>
                  <a:pt x="4354697" y="1491581"/>
                  <a:pt x="4353879" y="1489656"/>
                </a:cubicBezTo>
                <a:cubicBezTo>
                  <a:pt x="4355755" y="1488982"/>
                  <a:pt x="4357293" y="1488309"/>
                  <a:pt x="4356668" y="1488020"/>
                </a:cubicBezTo>
                <a:lnTo>
                  <a:pt x="4356668" y="1487827"/>
                </a:lnTo>
                <a:cubicBezTo>
                  <a:pt x="4356668" y="1487827"/>
                  <a:pt x="4356476" y="1487442"/>
                  <a:pt x="4356476" y="1487442"/>
                </a:cubicBezTo>
                <a:lnTo>
                  <a:pt x="4356284" y="1486961"/>
                </a:lnTo>
                <a:cubicBezTo>
                  <a:pt x="4356139" y="1486672"/>
                  <a:pt x="4356043" y="1486384"/>
                  <a:pt x="4355899" y="1486095"/>
                </a:cubicBezTo>
                <a:cubicBezTo>
                  <a:pt x="4355707" y="1485662"/>
                  <a:pt x="4355514" y="1485181"/>
                  <a:pt x="4355466" y="1485036"/>
                </a:cubicBezTo>
                <a:cubicBezTo>
                  <a:pt x="4354649" y="1482630"/>
                  <a:pt x="4353783" y="1480128"/>
                  <a:pt x="4352918" y="1477578"/>
                </a:cubicBezTo>
                <a:cubicBezTo>
                  <a:pt x="4351235" y="1472669"/>
                  <a:pt x="4349456" y="1467521"/>
                  <a:pt x="4347628" y="1462131"/>
                </a:cubicBezTo>
                <a:lnTo>
                  <a:pt x="4347628" y="1462131"/>
                </a:lnTo>
                <a:cubicBezTo>
                  <a:pt x="4347436" y="1460687"/>
                  <a:pt x="4347195" y="1460495"/>
                  <a:pt x="4347003" y="1459773"/>
                </a:cubicBezTo>
                <a:cubicBezTo>
                  <a:pt x="4346618" y="1458667"/>
                  <a:pt x="4346234" y="1457560"/>
                  <a:pt x="4345849" y="1456453"/>
                </a:cubicBezTo>
                <a:cubicBezTo>
                  <a:pt x="4345031" y="1454288"/>
                  <a:pt x="4344262" y="1452074"/>
                  <a:pt x="4343397" y="1449812"/>
                </a:cubicBezTo>
                <a:cubicBezTo>
                  <a:pt x="4341714" y="1445385"/>
                  <a:pt x="4339983" y="1440814"/>
                  <a:pt x="4338203" y="1436098"/>
                </a:cubicBezTo>
                <a:cubicBezTo>
                  <a:pt x="4334549" y="1426763"/>
                  <a:pt x="4330750" y="1416898"/>
                  <a:pt x="4326759" y="1406697"/>
                </a:cubicBezTo>
                <a:cubicBezTo>
                  <a:pt x="4325076" y="1402510"/>
                  <a:pt x="4323393" y="1398228"/>
                  <a:pt x="4321662" y="1393897"/>
                </a:cubicBezTo>
                <a:cubicBezTo>
                  <a:pt x="4320604" y="1391010"/>
                  <a:pt x="4319498" y="1388074"/>
                  <a:pt x="4318248" y="1384995"/>
                </a:cubicBezTo>
                <a:cubicBezTo>
                  <a:pt x="4317334" y="1382781"/>
                  <a:pt x="4316420" y="1380664"/>
                  <a:pt x="4315459" y="1378643"/>
                </a:cubicBezTo>
                <a:cubicBezTo>
                  <a:pt x="4310554" y="1366661"/>
                  <a:pt x="4305361" y="1354342"/>
                  <a:pt x="4299831" y="1341783"/>
                </a:cubicBezTo>
                <a:cubicBezTo>
                  <a:pt x="4292570" y="1325614"/>
                  <a:pt x="4285261" y="1310312"/>
                  <a:pt x="4278433" y="1295539"/>
                </a:cubicBezTo>
                <a:lnTo>
                  <a:pt x="4278433" y="1295539"/>
                </a:lnTo>
                <a:cubicBezTo>
                  <a:pt x="4278433" y="1295539"/>
                  <a:pt x="4278433" y="1295443"/>
                  <a:pt x="4278385" y="1295443"/>
                </a:cubicBezTo>
                <a:lnTo>
                  <a:pt x="4276028" y="1296550"/>
                </a:lnTo>
                <a:cubicBezTo>
                  <a:pt x="4271797" y="1286060"/>
                  <a:pt x="4267421" y="1275569"/>
                  <a:pt x="4262853" y="1265127"/>
                </a:cubicBezTo>
                <a:cubicBezTo>
                  <a:pt x="4257612" y="1253193"/>
                  <a:pt x="4252418" y="1241356"/>
                  <a:pt x="4246263" y="1229422"/>
                </a:cubicBezTo>
                <a:cubicBezTo>
                  <a:pt x="4245830" y="1228363"/>
                  <a:pt x="4245446" y="1227882"/>
                  <a:pt x="4245350" y="1227690"/>
                </a:cubicBezTo>
                <a:cubicBezTo>
                  <a:pt x="4241551" y="1219990"/>
                  <a:pt x="4237656" y="1212387"/>
                  <a:pt x="4233569" y="1204929"/>
                </a:cubicBezTo>
                <a:cubicBezTo>
                  <a:pt x="4231693" y="1201175"/>
                  <a:pt x="4229722" y="1197470"/>
                  <a:pt x="4227750" y="1193765"/>
                </a:cubicBezTo>
                <a:cubicBezTo>
                  <a:pt x="4226259" y="1191022"/>
                  <a:pt x="4224769" y="1188231"/>
                  <a:pt x="4223230" y="1185488"/>
                </a:cubicBezTo>
                <a:cubicBezTo>
                  <a:pt x="4220297" y="1179762"/>
                  <a:pt x="4217267" y="1174132"/>
                  <a:pt x="4214046" y="1168598"/>
                </a:cubicBezTo>
                <a:lnTo>
                  <a:pt x="4210920" y="1170379"/>
                </a:lnTo>
                <a:cubicBezTo>
                  <a:pt x="4211401" y="1169657"/>
                  <a:pt x="4211738" y="1168550"/>
                  <a:pt x="4211738" y="1168069"/>
                </a:cubicBezTo>
                <a:cubicBezTo>
                  <a:pt x="4211834" y="1167395"/>
                  <a:pt x="4211738" y="1166625"/>
                  <a:pt x="4211738" y="1166481"/>
                </a:cubicBezTo>
                <a:cubicBezTo>
                  <a:pt x="4211641" y="1165759"/>
                  <a:pt x="4211545" y="1165567"/>
                  <a:pt x="4211449" y="1165182"/>
                </a:cubicBezTo>
                <a:cubicBezTo>
                  <a:pt x="4211257" y="1164604"/>
                  <a:pt x="4211113" y="1164171"/>
                  <a:pt x="4210920" y="1163738"/>
                </a:cubicBezTo>
                <a:cubicBezTo>
                  <a:pt x="4209622" y="1160610"/>
                  <a:pt x="4208275" y="1158204"/>
                  <a:pt x="4206881" y="1155654"/>
                </a:cubicBezTo>
                <a:cubicBezTo>
                  <a:pt x="4195629" y="1136454"/>
                  <a:pt x="4184809" y="1117879"/>
                  <a:pt x="4174423" y="1100219"/>
                </a:cubicBezTo>
                <a:lnTo>
                  <a:pt x="4174615" y="1100556"/>
                </a:lnTo>
                <a:cubicBezTo>
                  <a:pt x="4169326" y="1091895"/>
                  <a:pt x="4164277" y="1083281"/>
                  <a:pt x="4159180" y="1075197"/>
                </a:cubicBezTo>
                <a:cubicBezTo>
                  <a:pt x="4154083" y="1067161"/>
                  <a:pt x="4149178" y="1059365"/>
                  <a:pt x="4144369" y="1051811"/>
                </a:cubicBezTo>
                <a:cubicBezTo>
                  <a:pt x="4134704" y="1036749"/>
                  <a:pt x="4125472" y="1022746"/>
                  <a:pt x="4116672" y="1010090"/>
                </a:cubicBezTo>
                <a:cubicBezTo>
                  <a:pt x="4098976" y="984972"/>
                  <a:pt x="4084118" y="964521"/>
                  <a:pt x="4073347" y="949844"/>
                </a:cubicBezTo>
                <a:lnTo>
                  <a:pt x="4073347" y="949844"/>
                </a:lnTo>
                <a:cubicBezTo>
                  <a:pt x="4073347" y="949844"/>
                  <a:pt x="4073347" y="949844"/>
                  <a:pt x="4073347" y="949844"/>
                </a:cubicBezTo>
                <a:lnTo>
                  <a:pt x="4071327" y="951287"/>
                </a:lnTo>
                <a:cubicBezTo>
                  <a:pt x="4068923" y="947871"/>
                  <a:pt x="4065893" y="943588"/>
                  <a:pt x="4062191" y="938488"/>
                </a:cubicBezTo>
                <a:cubicBezTo>
                  <a:pt x="4058680" y="933675"/>
                  <a:pt x="4054545" y="928142"/>
                  <a:pt x="4049833" y="922030"/>
                </a:cubicBezTo>
                <a:cubicBezTo>
                  <a:pt x="4053776" y="919047"/>
                  <a:pt x="4058873" y="915053"/>
                  <a:pt x="4054257" y="918421"/>
                </a:cubicBezTo>
                <a:lnTo>
                  <a:pt x="4054257" y="918325"/>
                </a:lnTo>
                <a:cubicBezTo>
                  <a:pt x="4054257" y="918325"/>
                  <a:pt x="4054160" y="918325"/>
                  <a:pt x="4054160" y="918325"/>
                </a:cubicBezTo>
                <a:cubicBezTo>
                  <a:pt x="4054737" y="917892"/>
                  <a:pt x="4054834" y="917796"/>
                  <a:pt x="4054160" y="918325"/>
                </a:cubicBezTo>
                <a:lnTo>
                  <a:pt x="4054016" y="918133"/>
                </a:lnTo>
                <a:lnTo>
                  <a:pt x="4053391" y="917315"/>
                </a:lnTo>
                <a:lnTo>
                  <a:pt x="4052141" y="915630"/>
                </a:lnTo>
                <a:lnTo>
                  <a:pt x="4049640" y="912310"/>
                </a:lnTo>
                <a:cubicBezTo>
                  <a:pt x="4046322" y="907787"/>
                  <a:pt x="4042908" y="903167"/>
                  <a:pt x="4039446" y="898452"/>
                </a:cubicBezTo>
                <a:cubicBezTo>
                  <a:pt x="4032425" y="889068"/>
                  <a:pt x="4025117" y="879396"/>
                  <a:pt x="4017471" y="869579"/>
                </a:cubicBezTo>
                <a:cubicBezTo>
                  <a:pt x="3989485" y="833634"/>
                  <a:pt x="3962413" y="802019"/>
                  <a:pt x="3941159" y="778536"/>
                </a:cubicBezTo>
                <a:lnTo>
                  <a:pt x="3941159" y="778536"/>
                </a:lnTo>
                <a:cubicBezTo>
                  <a:pt x="3941159" y="778536"/>
                  <a:pt x="3941159" y="778536"/>
                  <a:pt x="3941159" y="778536"/>
                </a:cubicBezTo>
                <a:lnTo>
                  <a:pt x="3937120" y="782097"/>
                </a:lnTo>
                <a:cubicBezTo>
                  <a:pt x="3936110" y="780894"/>
                  <a:pt x="3935052" y="779739"/>
                  <a:pt x="3934042" y="778536"/>
                </a:cubicBezTo>
                <a:lnTo>
                  <a:pt x="3934090" y="778536"/>
                </a:lnTo>
                <a:cubicBezTo>
                  <a:pt x="3934090" y="778536"/>
                  <a:pt x="3934619" y="778007"/>
                  <a:pt x="3934619" y="778007"/>
                </a:cubicBezTo>
                <a:lnTo>
                  <a:pt x="3934859" y="777670"/>
                </a:lnTo>
                <a:lnTo>
                  <a:pt x="3935148" y="777477"/>
                </a:lnTo>
                <a:lnTo>
                  <a:pt x="3935677" y="777622"/>
                </a:lnTo>
                <a:cubicBezTo>
                  <a:pt x="3930724" y="772232"/>
                  <a:pt x="3925723" y="766843"/>
                  <a:pt x="3920722" y="761405"/>
                </a:cubicBezTo>
                <a:cubicBezTo>
                  <a:pt x="3913557" y="753610"/>
                  <a:pt x="3906248" y="745718"/>
                  <a:pt x="3899035" y="737826"/>
                </a:cubicBezTo>
                <a:cubicBezTo>
                  <a:pt x="3899035" y="737826"/>
                  <a:pt x="3899035" y="737778"/>
                  <a:pt x="3899035" y="737730"/>
                </a:cubicBezTo>
                <a:cubicBezTo>
                  <a:pt x="3898747" y="737441"/>
                  <a:pt x="3898410" y="737153"/>
                  <a:pt x="3898122" y="736864"/>
                </a:cubicBezTo>
                <a:cubicBezTo>
                  <a:pt x="3896150" y="734699"/>
                  <a:pt x="3894227" y="732581"/>
                  <a:pt x="3892207" y="730464"/>
                </a:cubicBezTo>
                <a:cubicBezTo>
                  <a:pt x="3892255" y="730897"/>
                  <a:pt x="3892207" y="730753"/>
                  <a:pt x="3892207" y="730464"/>
                </a:cubicBezTo>
                <a:cubicBezTo>
                  <a:pt x="3878455" y="715499"/>
                  <a:pt x="3864558" y="700437"/>
                  <a:pt x="3850517" y="685135"/>
                </a:cubicBezTo>
                <a:lnTo>
                  <a:pt x="3845997" y="680227"/>
                </a:lnTo>
                <a:lnTo>
                  <a:pt x="3865568" y="701159"/>
                </a:lnTo>
                <a:lnTo>
                  <a:pt x="3866626" y="702266"/>
                </a:lnTo>
                <a:lnTo>
                  <a:pt x="3870857" y="706693"/>
                </a:lnTo>
                <a:cubicBezTo>
                  <a:pt x="3873694" y="709628"/>
                  <a:pt x="3876531" y="712611"/>
                  <a:pt x="3879369" y="715595"/>
                </a:cubicBezTo>
                <a:cubicBezTo>
                  <a:pt x="3882205" y="718626"/>
                  <a:pt x="3885043" y="721610"/>
                  <a:pt x="3887880" y="724642"/>
                </a:cubicBezTo>
                <a:cubicBezTo>
                  <a:pt x="3889274" y="726181"/>
                  <a:pt x="3890717" y="727673"/>
                  <a:pt x="3891919" y="729454"/>
                </a:cubicBezTo>
                <a:lnTo>
                  <a:pt x="3892255" y="730223"/>
                </a:lnTo>
                <a:cubicBezTo>
                  <a:pt x="3892255" y="729357"/>
                  <a:pt x="3892736" y="728395"/>
                  <a:pt x="3895910" y="733977"/>
                </a:cubicBezTo>
                <a:lnTo>
                  <a:pt x="3896487" y="732629"/>
                </a:lnTo>
                <a:cubicBezTo>
                  <a:pt x="3896776" y="732245"/>
                  <a:pt x="3897304" y="731138"/>
                  <a:pt x="3897785" y="730464"/>
                </a:cubicBezTo>
                <a:cubicBezTo>
                  <a:pt x="3898458" y="729405"/>
                  <a:pt x="3898555" y="729454"/>
                  <a:pt x="3898458" y="729502"/>
                </a:cubicBezTo>
                <a:lnTo>
                  <a:pt x="3897593" y="728780"/>
                </a:lnTo>
                <a:lnTo>
                  <a:pt x="3895333" y="726855"/>
                </a:lnTo>
                <a:cubicBezTo>
                  <a:pt x="3883071" y="715739"/>
                  <a:pt x="3870761" y="703805"/>
                  <a:pt x="3858307" y="691968"/>
                </a:cubicBezTo>
                <a:cubicBezTo>
                  <a:pt x="3853306" y="687156"/>
                  <a:pt x="3848401" y="682440"/>
                  <a:pt x="3843448" y="677724"/>
                </a:cubicBezTo>
                <a:cubicBezTo>
                  <a:pt x="3843352" y="677628"/>
                  <a:pt x="3843256" y="677484"/>
                  <a:pt x="3843160" y="677339"/>
                </a:cubicBezTo>
                <a:cubicBezTo>
                  <a:pt x="3841477" y="673779"/>
                  <a:pt x="3833398" y="664010"/>
                  <a:pt x="3820656" y="650536"/>
                </a:cubicBezTo>
                <a:cubicBezTo>
                  <a:pt x="3813010" y="642404"/>
                  <a:pt x="3803729" y="632876"/>
                  <a:pt x="3793247" y="622482"/>
                </a:cubicBezTo>
                <a:cubicBezTo>
                  <a:pt x="3787957" y="617334"/>
                  <a:pt x="3782427" y="611896"/>
                  <a:pt x="3776705" y="606314"/>
                </a:cubicBezTo>
                <a:cubicBezTo>
                  <a:pt x="3773772" y="603523"/>
                  <a:pt x="3770839" y="600732"/>
                  <a:pt x="3767809" y="597845"/>
                </a:cubicBezTo>
                <a:cubicBezTo>
                  <a:pt x="3766271" y="596401"/>
                  <a:pt x="3764732" y="595006"/>
                  <a:pt x="3763193" y="593562"/>
                </a:cubicBezTo>
                <a:lnTo>
                  <a:pt x="3760693" y="591301"/>
                </a:lnTo>
                <a:cubicBezTo>
                  <a:pt x="3760164" y="590867"/>
                  <a:pt x="3759827" y="590531"/>
                  <a:pt x="3759106" y="590001"/>
                </a:cubicBezTo>
                <a:lnTo>
                  <a:pt x="3757952" y="589328"/>
                </a:lnTo>
                <a:cubicBezTo>
                  <a:pt x="3757952" y="589328"/>
                  <a:pt x="3756413" y="588606"/>
                  <a:pt x="3754874" y="588895"/>
                </a:cubicBezTo>
                <a:cubicBezTo>
                  <a:pt x="3753864" y="588991"/>
                  <a:pt x="3752951" y="589520"/>
                  <a:pt x="3752278" y="590098"/>
                </a:cubicBezTo>
                <a:cubicBezTo>
                  <a:pt x="3736025" y="574699"/>
                  <a:pt x="3720252" y="559734"/>
                  <a:pt x="3705106" y="545346"/>
                </a:cubicBezTo>
                <a:cubicBezTo>
                  <a:pt x="3704528" y="544816"/>
                  <a:pt x="3703999" y="544335"/>
                  <a:pt x="3703471" y="543806"/>
                </a:cubicBezTo>
                <a:lnTo>
                  <a:pt x="3704625" y="542459"/>
                </a:lnTo>
                <a:cubicBezTo>
                  <a:pt x="3704625" y="542459"/>
                  <a:pt x="3704625" y="542459"/>
                  <a:pt x="3704625" y="542459"/>
                </a:cubicBezTo>
                <a:lnTo>
                  <a:pt x="3704625" y="542459"/>
                </a:lnTo>
                <a:cubicBezTo>
                  <a:pt x="3704625" y="542459"/>
                  <a:pt x="3704625" y="542459"/>
                  <a:pt x="3704625" y="542459"/>
                </a:cubicBezTo>
                <a:cubicBezTo>
                  <a:pt x="3700874" y="539235"/>
                  <a:pt x="3697123" y="536010"/>
                  <a:pt x="3693324" y="532690"/>
                </a:cubicBezTo>
                <a:cubicBezTo>
                  <a:pt x="3691401" y="531054"/>
                  <a:pt x="3689478" y="529370"/>
                  <a:pt x="3687554" y="527686"/>
                </a:cubicBezTo>
                <a:lnTo>
                  <a:pt x="3684525" y="525183"/>
                </a:lnTo>
                <a:lnTo>
                  <a:pt x="3682938" y="523932"/>
                </a:lnTo>
                <a:lnTo>
                  <a:pt x="3681976" y="523211"/>
                </a:lnTo>
                <a:cubicBezTo>
                  <a:pt x="3681688" y="523018"/>
                  <a:pt x="3681736" y="523018"/>
                  <a:pt x="3680918" y="522537"/>
                </a:cubicBezTo>
                <a:lnTo>
                  <a:pt x="3679956" y="522200"/>
                </a:lnTo>
                <a:cubicBezTo>
                  <a:pt x="3680485" y="522008"/>
                  <a:pt x="3680053" y="521959"/>
                  <a:pt x="3679331" y="522056"/>
                </a:cubicBezTo>
                <a:cubicBezTo>
                  <a:pt x="3662549" y="508582"/>
                  <a:pt x="3646777" y="495878"/>
                  <a:pt x="3632304" y="484281"/>
                </a:cubicBezTo>
                <a:cubicBezTo>
                  <a:pt x="3629611" y="482116"/>
                  <a:pt x="3626966" y="479999"/>
                  <a:pt x="3624369" y="477929"/>
                </a:cubicBezTo>
                <a:lnTo>
                  <a:pt x="3623360" y="477111"/>
                </a:lnTo>
                <a:lnTo>
                  <a:pt x="3623023" y="476871"/>
                </a:lnTo>
                <a:lnTo>
                  <a:pt x="3622686" y="476630"/>
                </a:lnTo>
                <a:cubicBezTo>
                  <a:pt x="3622686" y="476630"/>
                  <a:pt x="3621292" y="475908"/>
                  <a:pt x="3620619" y="476101"/>
                </a:cubicBezTo>
                <a:cubicBezTo>
                  <a:pt x="3619897" y="476871"/>
                  <a:pt x="3619368" y="477496"/>
                  <a:pt x="3618887" y="478026"/>
                </a:cubicBezTo>
                <a:cubicBezTo>
                  <a:pt x="3615474" y="474898"/>
                  <a:pt x="3612011" y="471770"/>
                  <a:pt x="3608741" y="468787"/>
                </a:cubicBezTo>
                <a:cubicBezTo>
                  <a:pt x="3606433" y="466669"/>
                  <a:pt x="3604125" y="464600"/>
                  <a:pt x="3601865" y="462579"/>
                </a:cubicBezTo>
                <a:cubicBezTo>
                  <a:pt x="3600711" y="461569"/>
                  <a:pt x="3599605" y="460558"/>
                  <a:pt x="3598451" y="459548"/>
                </a:cubicBezTo>
                <a:lnTo>
                  <a:pt x="3596720" y="458056"/>
                </a:lnTo>
                <a:lnTo>
                  <a:pt x="3595854" y="457286"/>
                </a:lnTo>
                <a:lnTo>
                  <a:pt x="3595374" y="456901"/>
                </a:lnTo>
                <a:lnTo>
                  <a:pt x="3595085" y="456708"/>
                </a:lnTo>
                <a:lnTo>
                  <a:pt x="3594460" y="456324"/>
                </a:lnTo>
                <a:lnTo>
                  <a:pt x="3594845" y="456564"/>
                </a:lnTo>
                <a:cubicBezTo>
                  <a:pt x="3584410" y="448961"/>
                  <a:pt x="3574697" y="441887"/>
                  <a:pt x="3565657" y="435295"/>
                </a:cubicBezTo>
                <a:lnTo>
                  <a:pt x="3565657" y="435295"/>
                </a:lnTo>
                <a:cubicBezTo>
                  <a:pt x="3565657" y="435295"/>
                  <a:pt x="3565657" y="435295"/>
                  <a:pt x="3565560" y="435247"/>
                </a:cubicBezTo>
                <a:lnTo>
                  <a:pt x="3563445" y="438278"/>
                </a:lnTo>
                <a:cubicBezTo>
                  <a:pt x="3560367" y="435391"/>
                  <a:pt x="3557194" y="432456"/>
                  <a:pt x="3554212" y="429665"/>
                </a:cubicBezTo>
                <a:cubicBezTo>
                  <a:pt x="3551471" y="427066"/>
                  <a:pt x="3548730" y="424564"/>
                  <a:pt x="3546038" y="422014"/>
                </a:cubicBezTo>
                <a:cubicBezTo>
                  <a:pt x="3544691" y="420763"/>
                  <a:pt x="3543345" y="419512"/>
                  <a:pt x="3541998" y="418260"/>
                </a:cubicBezTo>
                <a:cubicBezTo>
                  <a:pt x="3540556" y="417009"/>
                  <a:pt x="3539498" y="415854"/>
                  <a:pt x="3537334" y="414459"/>
                </a:cubicBezTo>
                <a:lnTo>
                  <a:pt x="3537574" y="414603"/>
                </a:lnTo>
                <a:cubicBezTo>
                  <a:pt x="3527188" y="407482"/>
                  <a:pt x="3517282" y="400697"/>
                  <a:pt x="3507906" y="394297"/>
                </a:cubicBezTo>
                <a:lnTo>
                  <a:pt x="3507906" y="394297"/>
                </a:lnTo>
                <a:cubicBezTo>
                  <a:pt x="3507906" y="394297"/>
                  <a:pt x="3507857" y="394297"/>
                  <a:pt x="3507809" y="394248"/>
                </a:cubicBezTo>
                <a:lnTo>
                  <a:pt x="3505309" y="398194"/>
                </a:lnTo>
                <a:cubicBezTo>
                  <a:pt x="3505309" y="398194"/>
                  <a:pt x="3505453" y="398291"/>
                  <a:pt x="3505549" y="398339"/>
                </a:cubicBezTo>
                <a:cubicBezTo>
                  <a:pt x="3507280" y="399494"/>
                  <a:pt x="3509252" y="401563"/>
                  <a:pt x="3511079" y="403343"/>
                </a:cubicBezTo>
                <a:cubicBezTo>
                  <a:pt x="3512955" y="405268"/>
                  <a:pt x="3514830" y="407145"/>
                  <a:pt x="3516657" y="409021"/>
                </a:cubicBezTo>
                <a:cubicBezTo>
                  <a:pt x="3520360" y="412727"/>
                  <a:pt x="3523966" y="416336"/>
                  <a:pt x="3527477" y="419800"/>
                </a:cubicBezTo>
                <a:cubicBezTo>
                  <a:pt x="3534497" y="426730"/>
                  <a:pt x="3541181" y="433081"/>
                  <a:pt x="3547384" y="439000"/>
                </a:cubicBezTo>
                <a:cubicBezTo>
                  <a:pt x="3559838" y="450790"/>
                  <a:pt x="3570561" y="460558"/>
                  <a:pt x="3579313" y="468450"/>
                </a:cubicBezTo>
                <a:cubicBezTo>
                  <a:pt x="3588065" y="476341"/>
                  <a:pt x="3594797" y="482260"/>
                  <a:pt x="3599365" y="486206"/>
                </a:cubicBezTo>
                <a:cubicBezTo>
                  <a:pt x="3603933" y="490152"/>
                  <a:pt x="3606385" y="492125"/>
                  <a:pt x="3606530" y="491932"/>
                </a:cubicBezTo>
                <a:cubicBezTo>
                  <a:pt x="3606674" y="491788"/>
                  <a:pt x="3604510" y="489526"/>
                  <a:pt x="3600230" y="485292"/>
                </a:cubicBezTo>
                <a:cubicBezTo>
                  <a:pt x="3595903" y="481105"/>
                  <a:pt x="3589411" y="474850"/>
                  <a:pt x="3580996" y="466669"/>
                </a:cubicBezTo>
                <a:cubicBezTo>
                  <a:pt x="3572581" y="458489"/>
                  <a:pt x="3562146" y="448336"/>
                  <a:pt x="3549884" y="436402"/>
                </a:cubicBezTo>
                <a:cubicBezTo>
                  <a:pt x="3543777" y="430387"/>
                  <a:pt x="3537286" y="423890"/>
                  <a:pt x="3530410" y="416865"/>
                </a:cubicBezTo>
                <a:cubicBezTo>
                  <a:pt x="3529448" y="415854"/>
                  <a:pt x="3528390" y="414748"/>
                  <a:pt x="3527380" y="413737"/>
                </a:cubicBezTo>
                <a:cubicBezTo>
                  <a:pt x="3529785" y="415469"/>
                  <a:pt x="3532189" y="417106"/>
                  <a:pt x="3534641" y="418886"/>
                </a:cubicBezTo>
                <a:lnTo>
                  <a:pt x="3534882" y="419030"/>
                </a:lnTo>
                <a:cubicBezTo>
                  <a:pt x="3535747" y="419560"/>
                  <a:pt x="3537286" y="421003"/>
                  <a:pt x="3538488" y="422158"/>
                </a:cubicBezTo>
                <a:cubicBezTo>
                  <a:pt x="3539787" y="423409"/>
                  <a:pt x="3541133" y="424660"/>
                  <a:pt x="3542431" y="425912"/>
                </a:cubicBezTo>
                <a:cubicBezTo>
                  <a:pt x="3545076" y="428462"/>
                  <a:pt x="3547769" y="431012"/>
                  <a:pt x="3550510" y="433659"/>
                </a:cubicBezTo>
                <a:cubicBezTo>
                  <a:pt x="3555943" y="438856"/>
                  <a:pt x="3561569" y="444245"/>
                  <a:pt x="3567291" y="449731"/>
                </a:cubicBezTo>
                <a:cubicBezTo>
                  <a:pt x="3578784" y="460654"/>
                  <a:pt x="3590854" y="472107"/>
                  <a:pt x="3603596" y="483896"/>
                </a:cubicBezTo>
                <a:cubicBezTo>
                  <a:pt x="3629082" y="507523"/>
                  <a:pt x="3657020" y="532690"/>
                  <a:pt x="3686881" y="559638"/>
                </a:cubicBezTo>
                <a:cubicBezTo>
                  <a:pt x="3695633" y="567577"/>
                  <a:pt x="3704625" y="575661"/>
                  <a:pt x="3713761" y="583890"/>
                </a:cubicBezTo>
                <a:cubicBezTo>
                  <a:pt x="3697893" y="570080"/>
                  <a:pt x="3683515" y="557761"/>
                  <a:pt x="3670964" y="546934"/>
                </a:cubicBezTo>
                <a:cubicBezTo>
                  <a:pt x="3650239" y="529081"/>
                  <a:pt x="3634227" y="515271"/>
                  <a:pt x="3623360" y="505935"/>
                </a:cubicBezTo>
                <a:cubicBezTo>
                  <a:pt x="3617926" y="501268"/>
                  <a:pt x="3613790" y="497755"/>
                  <a:pt x="3611002" y="495349"/>
                </a:cubicBezTo>
                <a:cubicBezTo>
                  <a:pt x="3608164" y="492991"/>
                  <a:pt x="3606674" y="491884"/>
                  <a:pt x="3606577" y="491981"/>
                </a:cubicBezTo>
                <a:cubicBezTo>
                  <a:pt x="3606482" y="492077"/>
                  <a:pt x="3607732" y="493472"/>
                  <a:pt x="3610328" y="496023"/>
                </a:cubicBezTo>
                <a:cubicBezTo>
                  <a:pt x="3612973" y="498573"/>
                  <a:pt x="3616916" y="502326"/>
                  <a:pt x="3622061" y="507283"/>
                </a:cubicBezTo>
                <a:cubicBezTo>
                  <a:pt x="3632496" y="517051"/>
                  <a:pt x="3648124" y="531343"/>
                  <a:pt x="3668512" y="549629"/>
                </a:cubicBezTo>
                <a:cubicBezTo>
                  <a:pt x="3673946" y="554489"/>
                  <a:pt x="3679716" y="559686"/>
                  <a:pt x="3685775" y="565123"/>
                </a:cubicBezTo>
                <a:cubicBezTo>
                  <a:pt x="3669137" y="551072"/>
                  <a:pt x="3652403" y="536925"/>
                  <a:pt x="3635670" y="522585"/>
                </a:cubicBezTo>
                <a:cubicBezTo>
                  <a:pt x="3608453" y="499343"/>
                  <a:pt x="3581621" y="475235"/>
                  <a:pt x="3554982" y="450405"/>
                </a:cubicBezTo>
                <a:cubicBezTo>
                  <a:pt x="3541662" y="437990"/>
                  <a:pt x="3528438" y="425382"/>
                  <a:pt x="3515311" y="412534"/>
                </a:cubicBezTo>
                <a:cubicBezTo>
                  <a:pt x="3508819" y="406038"/>
                  <a:pt x="3502279" y="399590"/>
                  <a:pt x="3495740" y="393094"/>
                </a:cubicBezTo>
                <a:lnTo>
                  <a:pt x="3485978" y="383277"/>
                </a:lnTo>
                <a:lnTo>
                  <a:pt x="3480977" y="378417"/>
                </a:lnTo>
                <a:cubicBezTo>
                  <a:pt x="3480160" y="377647"/>
                  <a:pt x="3479343" y="376829"/>
                  <a:pt x="3478621" y="376059"/>
                </a:cubicBezTo>
                <a:lnTo>
                  <a:pt x="3477659" y="374904"/>
                </a:lnTo>
                <a:lnTo>
                  <a:pt x="3477515" y="374712"/>
                </a:lnTo>
                <a:lnTo>
                  <a:pt x="3476698" y="375097"/>
                </a:lnTo>
                <a:lnTo>
                  <a:pt x="3477515" y="373942"/>
                </a:lnTo>
                <a:lnTo>
                  <a:pt x="3477419" y="373846"/>
                </a:lnTo>
                <a:lnTo>
                  <a:pt x="3477419" y="373846"/>
                </a:lnTo>
                <a:cubicBezTo>
                  <a:pt x="3467513" y="367446"/>
                  <a:pt x="3457608" y="360997"/>
                  <a:pt x="3447654" y="354549"/>
                </a:cubicBezTo>
                <a:cubicBezTo>
                  <a:pt x="3445154" y="352961"/>
                  <a:pt x="3442845" y="351229"/>
                  <a:pt x="3439527" y="349882"/>
                </a:cubicBezTo>
                <a:cubicBezTo>
                  <a:pt x="3438806" y="349834"/>
                  <a:pt x="3439143" y="349304"/>
                  <a:pt x="3436786" y="349737"/>
                </a:cubicBezTo>
                <a:cubicBezTo>
                  <a:pt x="3433469" y="354020"/>
                  <a:pt x="3436594" y="353587"/>
                  <a:pt x="3436114" y="354261"/>
                </a:cubicBezTo>
                <a:cubicBezTo>
                  <a:pt x="3436739" y="355031"/>
                  <a:pt x="3437364" y="355656"/>
                  <a:pt x="3437845" y="356137"/>
                </a:cubicBezTo>
                <a:lnTo>
                  <a:pt x="3440970" y="359217"/>
                </a:lnTo>
                <a:lnTo>
                  <a:pt x="3453424" y="371969"/>
                </a:lnTo>
                <a:cubicBezTo>
                  <a:pt x="3470014" y="389052"/>
                  <a:pt x="3486844" y="406086"/>
                  <a:pt x="3504107" y="422880"/>
                </a:cubicBezTo>
                <a:cubicBezTo>
                  <a:pt x="3538584" y="456468"/>
                  <a:pt x="3574360" y="489478"/>
                  <a:pt x="3612059" y="521093"/>
                </a:cubicBezTo>
                <a:cubicBezTo>
                  <a:pt x="3635093" y="540341"/>
                  <a:pt x="3658655" y="559204"/>
                  <a:pt x="3682217" y="578308"/>
                </a:cubicBezTo>
                <a:cubicBezTo>
                  <a:pt x="3649951" y="554825"/>
                  <a:pt x="3617060" y="532065"/>
                  <a:pt x="3586574" y="506176"/>
                </a:cubicBezTo>
                <a:cubicBezTo>
                  <a:pt x="3548682" y="473935"/>
                  <a:pt x="3514060" y="437220"/>
                  <a:pt x="3479294" y="400215"/>
                </a:cubicBezTo>
                <a:cubicBezTo>
                  <a:pt x="3461839" y="381737"/>
                  <a:pt x="3444769" y="362826"/>
                  <a:pt x="3425823" y="344973"/>
                </a:cubicBezTo>
                <a:cubicBezTo>
                  <a:pt x="3416110" y="335927"/>
                  <a:pt x="3405387" y="328468"/>
                  <a:pt x="3394904" y="321010"/>
                </a:cubicBezTo>
                <a:lnTo>
                  <a:pt x="3391970" y="318940"/>
                </a:lnTo>
                <a:lnTo>
                  <a:pt x="3392980" y="317256"/>
                </a:lnTo>
                <a:lnTo>
                  <a:pt x="3392980" y="317256"/>
                </a:lnTo>
                <a:cubicBezTo>
                  <a:pt x="3392980" y="317256"/>
                  <a:pt x="3392884" y="317208"/>
                  <a:pt x="3392836" y="317160"/>
                </a:cubicBezTo>
                <a:lnTo>
                  <a:pt x="3384517" y="312348"/>
                </a:lnTo>
                <a:lnTo>
                  <a:pt x="3384325" y="312252"/>
                </a:lnTo>
                <a:cubicBezTo>
                  <a:pt x="3382161" y="311001"/>
                  <a:pt x="3380045" y="309750"/>
                  <a:pt x="3377930" y="308546"/>
                </a:cubicBezTo>
                <a:cubicBezTo>
                  <a:pt x="3379372" y="305852"/>
                  <a:pt x="3378699" y="306381"/>
                  <a:pt x="3377304" y="308162"/>
                </a:cubicBezTo>
                <a:cubicBezTo>
                  <a:pt x="3376920" y="307969"/>
                  <a:pt x="3376583" y="307728"/>
                  <a:pt x="3376198" y="307536"/>
                </a:cubicBezTo>
                <a:cubicBezTo>
                  <a:pt x="3370909" y="304456"/>
                  <a:pt x="3365668" y="301425"/>
                  <a:pt x="3360426" y="298393"/>
                </a:cubicBezTo>
                <a:cubicBezTo>
                  <a:pt x="3361244" y="296565"/>
                  <a:pt x="3361340" y="295843"/>
                  <a:pt x="3359849" y="298056"/>
                </a:cubicBezTo>
                <a:cubicBezTo>
                  <a:pt x="3355522" y="295554"/>
                  <a:pt x="3351146" y="293004"/>
                  <a:pt x="3346818" y="290501"/>
                </a:cubicBezTo>
                <a:lnTo>
                  <a:pt x="3346241" y="291512"/>
                </a:lnTo>
                <a:lnTo>
                  <a:pt x="3340759" y="288865"/>
                </a:lnTo>
                <a:cubicBezTo>
                  <a:pt x="3330854" y="284005"/>
                  <a:pt x="3320996" y="279145"/>
                  <a:pt x="3311090" y="274333"/>
                </a:cubicBezTo>
                <a:cubicBezTo>
                  <a:pt x="3306137" y="271927"/>
                  <a:pt x="3301185" y="269521"/>
                  <a:pt x="3296280" y="267067"/>
                </a:cubicBezTo>
                <a:cubicBezTo>
                  <a:pt x="3297049" y="265527"/>
                  <a:pt x="3296857" y="263843"/>
                  <a:pt x="3294260" y="262447"/>
                </a:cubicBezTo>
                <a:lnTo>
                  <a:pt x="3294886" y="262977"/>
                </a:lnTo>
                <a:cubicBezTo>
                  <a:pt x="3293876" y="262207"/>
                  <a:pt x="3292770" y="261533"/>
                  <a:pt x="3291615" y="260956"/>
                </a:cubicBezTo>
                <a:lnTo>
                  <a:pt x="3291904" y="261100"/>
                </a:lnTo>
                <a:cubicBezTo>
                  <a:pt x="3277911" y="253786"/>
                  <a:pt x="3263341" y="246183"/>
                  <a:pt x="3248338" y="238339"/>
                </a:cubicBezTo>
                <a:lnTo>
                  <a:pt x="3248194" y="238580"/>
                </a:lnTo>
                <a:cubicBezTo>
                  <a:pt x="3247906" y="238195"/>
                  <a:pt x="3247569" y="238291"/>
                  <a:pt x="3247088" y="238050"/>
                </a:cubicBezTo>
                <a:lnTo>
                  <a:pt x="3246896" y="237954"/>
                </a:lnTo>
                <a:cubicBezTo>
                  <a:pt x="3246896" y="237954"/>
                  <a:pt x="3246896" y="238099"/>
                  <a:pt x="3246896" y="238195"/>
                </a:cubicBezTo>
                <a:lnTo>
                  <a:pt x="3246896" y="238195"/>
                </a:lnTo>
                <a:cubicBezTo>
                  <a:pt x="3246896" y="238195"/>
                  <a:pt x="3246992" y="238195"/>
                  <a:pt x="3246992" y="238195"/>
                </a:cubicBezTo>
                <a:lnTo>
                  <a:pt x="3247184" y="238195"/>
                </a:lnTo>
                <a:cubicBezTo>
                  <a:pt x="3247184" y="238195"/>
                  <a:pt x="3247569" y="238243"/>
                  <a:pt x="3247569" y="238243"/>
                </a:cubicBezTo>
                <a:cubicBezTo>
                  <a:pt x="3247665" y="238628"/>
                  <a:pt x="3247569" y="239735"/>
                  <a:pt x="3247809" y="239446"/>
                </a:cubicBezTo>
                <a:lnTo>
                  <a:pt x="3246126" y="242718"/>
                </a:lnTo>
                <a:cubicBezTo>
                  <a:pt x="3245982" y="243392"/>
                  <a:pt x="3246607" y="239638"/>
                  <a:pt x="3246896" y="237954"/>
                </a:cubicBezTo>
                <a:lnTo>
                  <a:pt x="3244203" y="236847"/>
                </a:lnTo>
                <a:lnTo>
                  <a:pt x="3238240" y="234345"/>
                </a:lnTo>
                <a:cubicBezTo>
                  <a:pt x="3234249" y="232661"/>
                  <a:pt x="3230210" y="230929"/>
                  <a:pt x="3226123" y="229244"/>
                </a:cubicBezTo>
                <a:cubicBezTo>
                  <a:pt x="3220448" y="226838"/>
                  <a:pt x="3214582" y="224336"/>
                  <a:pt x="3208812" y="221882"/>
                </a:cubicBezTo>
                <a:cubicBezTo>
                  <a:pt x="3208620" y="220775"/>
                  <a:pt x="3207994" y="219620"/>
                  <a:pt x="3207129" y="218899"/>
                </a:cubicBezTo>
                <a:cubicBezTo>
                  <a:pt x="3206407" y="218369"/>
                  <a:pt x="3206456" y="218417"/>
                  <a:pt x="3206456" y="218417"/>
                </a:cubicBezTo>
                <a:lnTo>
                  <a:pt x="3206359" y="218417"/>
                </a:lnTo>
                <a:cubicBezTo>
                  <a:pt x="3206359" y="218417"/>
                  <a:pt x="3206215" y="218273"/>
                  <a:pt x="3206215" y="218273"/>
                </a:cubicBezTo>
                <a:lnTo>
                  <a:pt x="3205927" y="218129"/>
                </a:lnTo>
                <a:lnTo>
                  <a:pt x="3205061" y="217647"/>
                </a:lnTo>
                <a:lnTo>
                  <a:pt x="3203378" y="216781"/>
                </a:lnTo>
                <a:cubicBezTo>
                  <a:pt x="3198906" y="214568"/>
                  <a:pt x="3194290" y="212306"/>
                  <a:pt x="3189577" y="209996"/>
                </a:cubicBezTo>
                <a:cubicBezTo>
                  <a:pt x="3170680" y="200854"/>
                  <a:pt x="3149714" y="191230"/>
                  <a:pt x="3127499" y="181702"/>
                </a:cubicBezTo>
                <a:cubicBezTo>
                  <a:pt x="3097878" y="168950"/>
                  <a:pt x="3069700" y="158027"/>
                  <a:pt x="3045272" y="149221"/>
                </a:cubicBezTo>
                <a:lnTo>
                  <a:pt x="3044262" y="148836"/>
                </a:lnTo>
                <a:lnTo>
                  <a:pt x="3044118" y="148932"/>
                </a:lnTo>
                <a:cubicBezTo>
                  <a:pt x="3043108" y="149654"/>
                  <a:pt x="3042339" y="150327"/>
                  <a:pt x="3041665" y="150905"/>
                </a:cubicBezTo>
                <a:cubicBezTo>
                  <a:pt x="3041137" y="150664"/>
                  <a:pt x="3040608" y="150424"/>
                  <a:pt x="3040079" y="150231"/>
                </a:cubicBezTo>
                <a:cubicBezTo>
                  <a:pt x="3034404" y="147681"/>
                  <a:pt x="3028827" y="145130"/>
                  <a:pt x="3023297" y="142628"/>
                </a:cubicBezTo>
                <a:cubicBezTo>
                  <a:pt x="3020556" y="141377"/>
                  <a:pt x="3017863" y="140078"/>
                  <a:pt x="3015170" y="138827"/>
                </a:cubicBezTo>
                <a:lnTo>
                  <a:pt x="3011179" y="136902"/>
                </a:lnTo>
                <a:lnTo>
                  <a:pt x="3009256" y="135939"/>
                </a:lnTo>
                <a:lnTo>
                  <a:pt x="3008342" y="135458"/>
                </a:lnTo>
                <a:lnTo>
                  <a:pt x="3008438" y="135554"/>
                </a:lnTo>
                <a:cubicBezTo>
                  <a:pt x="3008102" y="135939"/>
                  <a:pt x="3010217" y="134448"/>
                  <a:pt x="3005264" y="138971"/>
                </a:cubicBezTo>
                <a:lnTo>
                  <a:pt x="3006707" y="134592"/>
                </a:lnTo>
                <a:cubicBezTo>
                  <a:pt x="2992233" y="129636"/>
                  <a:pt x="2978337" y="124872"/>
                  <a:pt x="2965113" y="120397"/>
                </a:cubicBezTo>
                <a:lnTo>
                  <a:pt x="2963093" y="125353"/>
                </a:lnTo>
                <a:cubicBezTo>
                  <a:pt x="2960833" y="123958"/>
                  <a:pt x="2958573" y="122610"/>
                  <a:pt x="2956313" y="121215"/>
                </a:cubicBezTo>
                <a:lnTo>
                  <a:pt x="2942801" y="112794"/>
                </a:lnTo>
                <a:lnTo>
                  <a:pt x="2940926" y="111687"/>
                </a:lnTo>
                <a:cubicBezTo>
                  <a:pt x="2940493" y="111398"/>
                  <a:pt x="2939868" y="111061"/>
                  <a:pt x="2939243" y="110917"/>
                </a:cubicBezTo>
                <a:lnTo>
                  <a:pt x="2938137" y="110580"/>
                </a:lnTo>
                <a:lnTo>
                  <a:pt x="2934338" y="109377"/>
                </a:lnTo>
                <a:lnTo>
                  <a:pt x="2926788" y="106971"/>
                </a:lnTo>
                <a:cubicBezTo>
                  <a:pt x="2916690" y="103795"/>
                  <a:pt x="2906640" y="100619"/>
                  <a:pt x="2896591" y="97443"/>
                </a:cubicBezTo>
                <a:lnTo>
                  <a:pt x="2892696" y="107164"/>
                </a:lnTo>
                <a:cubicBezTo>
                  <a:pt x="2895773" y="108559"/>
                  <a:pt x="2898033" y="109714"/>
                  <a:pt x="2900630" y="111158"/>
                </a:cubicBezTo>
                <a:cubicBezTo>
                  <a:pt x="2903178" y="112697"/>
                  <a:pt x="2905727" y="114141"/>
                  <a:pt x="2908227" y="115825"/>
                </a:cubicBezTo>
                <a:cubicBezTo>
                  <a:pt x="2913324" y="119049"/>
                  <a:pt x="2918373" y="122466"/>
                  <a:pt x="2923423" y="125834"/>
                </a:cubicBezTo>
                <a:cubicBezTo>
                  <a:pt x="2933569" y="132619"/>
                  <a:pt x="2943715" y="139404"/>
                  <a:pt x="2953861" y="146141"/>
                </a:cubicBezTo>
                <a:cubicBezTo>
                  <a:pt x="2974249" y="159518"/>
                  <a:pt x="2994878" y="172415"/>
                  <a:pt x="3015940" y="184348"/>
                </a:cubicBezTo>
                <a:cubicBezTo>
                  <a:pt x="3037001" y="196282"/>
                  <a:pt x="3058544" y="207350"/>
                  <a:pt x="3080615" y="216926"/>
                </a:cubicBezTo>
                <a:cubicBezTo>
                  <a:pt x="3102783" y="226405"/>
                  <a:pt x="3125239" y="234490"/>
                  <a:pt x="3148031" y="241515"/>
                </a:cubicBezTo>
                <a:cubicBezTo>
                  <a:pt x="3170776" y="248493"/>
                  <a:pt x="3193905" y="254026"/>
                  <a:pt x="3216986" y="258357"/>
                </a:cubicBezTo>
                <a:cubicBezTo>
                  <a:pt x="3222805" y="259416"/>
                  <a:pt x="3228286" y="260619"/>
                  <a:pt x="3234297" y="261629"/>
                </a:cubicBezTo>
                <a:cubicBezTo>
                  <a:pt x="3240164" y="262592"/>
                  <a:pt x="3245694" y="263410"/>
                  <a:pt x="3251175" y="264661"/>
                </a:cubicBezTo>
                <a:cubicBezTo>
                  <a:pt x="3262091" y="267163"/>
                  <a:pt x="3272718" y="271061"/>
                  <a:pt x="3283153" y="275632"/>
                </a:cubicBezTo>
                <a:cubicBezTo>
                  <a:pt x="3293587" y="280204"/>
                  <a:pt x="3303829" y="285208"/>
                  <a:pt x="3313879" y="290598"/>
                </a:cubicBezTo>
                <a:cubicBezTo>
                  <a:pt x="3318928" y="293244"/>
                  <a:pt x="3323929" y="296035"/>
                  <a:pt x="3328834" y="298778"/>
                </a:cubicBezTo>
                <a:cubicBezTo>
                  <a:pt x="3333498" y="301665"/>
                  <a:pt x="3338163" y="304553"/>
                  <a:pt x="3342683" y="307969"/>
                </a:cubicBezTo>
                <a:cubicBezTo>
                  <a:pt x="3360811" y="321250"/>
                  <a:pt x="3377834" y="336264"/>
                  <a:pt x="3394423" y="351422"/>
                </a:cubicBezTo>
                <a:cubicBezTo>
                  <a:pt x="3427458" y="381882"/>
                  <a:pt x="3459195" y="413400"/>
                  <a:pt x="3487613" y="446555"/>
                </a:cubicBezTo>
                <a:cubicBezTo>
                  <a:pt x="3491220" y="450645"/>
                  <a:pt x="3494393" y="454976"/>
                  <a:pt x="3497807" y="459211"/>
                </a:cubicBezTo>
                <a:lnTo>
                  <a:pt x="3502327" y="465659"/>
                </a:lnTo>
                <a:cubicBezTo>
                  <a:pt x="3503818" y="467824"/>
                  <a:pt x="3504684" y="469845"/>
                  <a:pt x="3505886" y="471963"/>
                </a:cubicBezTo>
                <a:cubicBezTo>
                  <a:pt x="3506703" y="474080"/>
                  <a:pt x="3507136" y="476197"/>
                  <a:pt x="3506944" y="477496"/>
                </a:cubicBezTo>
                <a:cubicBezTo>
                  <a:pt x="3506752" y="478747"/>
                  <a:pt x="3506174" y="479517"/>
                  <a:pt x="3504588" y="480576"/>
                </a:cubicBezTo>
                <a:cubicBezTo>
                  <a:pt x="3501318" y="482597"/>
                  <a:pt x="3495884" y="483608"/>
                  <a:pt x="3490739" y="484522"/>
                </a:cubicBezTo>
                <a:cubicBezTo>
                  <a:pt x="3480256" y="486399"/>
                  <a:pt x="3468908" y="487457"/>
                  <a:pt x="3457993" y="492750"/>
                </a:cubicBezTo>
                <a:cubicBezTo>
                  <a:pt x="3455300" y="494098"/>
                  <a:pt x="3452703" y="495782"/>
                  <a:pt x="3450251" y="497803"/>
                </a:cubicBezTo>
                <a:cubicBezTo>
                  <a:pt x="3447798" y="499920"/>
                  <a:pt x="3446019" y="502182"/>
                  <a:pt x="3444144" y="504444"/>
                </a:cubicBezTo>
                <a:cubicBezTo>
                  <a:pt x="3440537" y="509063"/>
                  <a:pt x="3437845" y="513971"/>
                  <a:pt x="3435248" y="518832"/>
                </a:cubicBezTo>
                <a:cubicBezTo>
                  <a:pt x="3430199" y="528600"/>
                  <a:pt x="3425967" y="538272"/>
                  <a:pt x="3420774" y="547174"/>
                </a:cubicBezTo>
                <a:cubicBezTo>
                  <a:pt x="3415485" y="555932"/>
                  <a:pt x="3409426" y="564065"/>
                  <a:pt x="3401444" y="569839"/>
                </a:cubicBezTo>
                <a:cubicBezTo>
                  <a:pt x="3393606" y="575710"/>
                  <a:pt x="3384373" y="579511"/>
                  <a:pt x="3374612" y="581388"/>
                </a:cubicBezTo>
                <a:cubicBezTo>
                  <a:pt x="3364850" y="583264"/>
                  <a:pt x="3354704" y="583361"/>
                  <a:pt x="3344654" y="582735"/>
                </a:cubicBezTo>
                <a:cubicBezTo>
                  <a:pt x="3324458" y="581051"/>
                  <a:pt x="3304551" y="576191"/>
                  <a:pt x="3285220" y="570080"/>
                </a:cubicBezTo>
                <a:cubicBezTo>
                  <a:pt x="3265890" y="563920"/>
                  <a:pt x="3247040" y="556606"/>
                  <a:pt x="3228623" y="548714"/>
                </a:cubicBezTo>
                <a:cubicBezTo>
                  <a:pt x="3219487" y="544624"/>
                  <a:pt x="3210254" y="540726"/>
                  <a:pt x="3201310" y="536347"/>
                </a:cubicBezTo>
                <a:cubicBezTo>
                  <a:pt x="3192367" y="532017"/>
                  <a:pt x="3183422" y="527734"/>
                  <a:pt x="3174527" y="523451"/>
                </a:cubicBezTo>
                <a:cubicBezTo>
                  <a:pt x="3165775" y="518880"/>
                  <a:pt x="3157071" y="514308"/>
                  <a:pt x="3148416" y="509785"/>
                </a:cubicBezTo>
                <a:cubicBezTo>
                  <a:pt x="3139809" y="505165"/>
                  <a:pt x="3131442" y="500209"/>
                  <a:pt x="3122979" y="495445"/>
                </a:cubicBezTo>
                <a:cubicBezTo>
                  <a:pt x="3089511" y="475908"/>
                  <a:pt x="3058015" y="454447"/>
                  <a:pt x="3029307" y="430675"/>
                </a:cubicBezTo>
                <a:cubicBezTo>
                  <a:pt x="3000696" y="406856"/>
                  <a:pt x="2975163" y="380486"/>
                  <a:pt x="2953284" y="352240"/>
                </a:cubicBezTo>
                <a:cubicBezTo>
                  <a:pt x="2942513" y="337996"/>
                  <a:pt x="2932559" y="323367"/>
                  <a:pt x="2923519" y="308402"/>
                </a:cubicBezTo>
                <a:cubicBezTo>
                  <a:pt x="2914575" y="293341"/>
                  <a:pt x="2906448" y="278086"/>
                  <a:pt x="2898899" y="262640"/>
                </a:cubicBezTo>
                <a:cubicBezTo>
                  <a:pt x="2883800" y="231843"/>
                  <a:pt x="2871346" y="200469"/>
                  <a:pt x="2855718" y="171163"/>
                </a:cubicBezTo>
                <a:cubicBezTo>
                  <a:pt x="2847880" y="156583"/>
                  <a:pt x="2839128" y="142532"/>
                  <a:pt x="2828693" y="129924"/>
                </a:cubicBezTo>
                <a:cubicBezTo>
                  <a:pt x="2818307" y="117317"/>
                  <a:pt x="2806285" y="106394"/>
                  <a:pt x="2793206" y="97251"/>
                </a:cubicBezTo>
                <a:cubicBezTo>
                  <a:pt x="2787532" y="93401"/>
                  <a:pt x="2781714" y="89937"/>
                  <a:pt x="2775847" y="86664"/>
                </a:cubicBezTo>
                <a:cubicBezTo>
                  <a:pt x="2789503" y="92583"/>
                  <a:pt x="2802583" y="98887"/>
                  <a:pt x="2814797" y="105961"/>
                </a:cubicBezTo>
                <a:cubicBezTo>
                  <a:pt x="2828261" y="113660"/>
                  <a:pt x="2840330" y="122562"/>
                  <a:pt x="2850332" y="132956"/>
                </a:cubicBezTo>
                <a:cubicBezTo>
                  <a:pt x="2852736" y="135651"/>
                  <a:pt x="2855525" y="137961"/>
                  <a:pt x="2857545" y="140848"/>
                </a:cubicBezTo>
                <a:cubicBezTo>
                  <a:pt x="2859661" y="143687"/>
                  <a:pt x="2861777" y="146478"/>
                  <a:pt x="2863892" y="149269"/>
                </a:cubicBezTo>
                <a:cubicBezTo>
                  <a:pt x="2866008" y="152060"/>
                  <a:pt x="2867547" y="155188"/>
                  <a:pt x="2869374" y="158075"/>
                </a:cubicBezTo>
                <a:lnTo>
                  <a:pt x="2872019" y="162502"/>
                </a:lnTo>
                <a:cubicBezTo>
                  <a:pt x="2872836" y="163994"/>
                  <a:pt x="2873509" y="165581"/>
                  <a:pt x="2874279" y="167073"/>
                </a:cubicBezTo>
                <a:cubicBezTo>
                  <a:pt x="2875769" y="170153"/>
                  <a:pt x="2877212" y="173184"/>
                  <a:pt x="2878654" y="176168"/>
                </a:cubicBezTo>
                <a:cubicBezTo>
                  <a:pt x="2879905" y="179296"/>
                  <a:pt x="2881203" y="182375"/>
                  <a:pt x="2882453" y="185407"/>
                </a:cubicBezTo>
                <a:cubicBezTo>
                  <a:pt x="2885050" y="191470"/>
                  <a:pt x="2887069" y="197726"/>
                  <a:pt x="2889378" y="203645"/>
                </a:cubicBezTo>
                <a:cubicBezTo>
                  <a:pt x="2897937" y="227801"/>
                  <a:pt x="2906063" y="250177"/>
                  <a:pt x="2915632" y="269425"/>
                </a:cubicBezTo>
                <a:cubicBezTo>
                  <a:pt x="2934530" y="308065"/>
                  <a:pt x="2955688" y="334724"/>
                  <a:pt x="2970450" y="352143"/>
                </a:cubicBezTo>
                <a:cubicBezTo>
                  <a:pt x="2977952" y="360805"/>
                  <a:pt x="2984203" y="367012"/>
                  <a:pt x="2988242" y="371295"/>
                </a:cubicBezTo>
                <a:cubicBezTo>
                  <a:pt x="2992377" y="375530"/>
                  <a:pt x="2994590" y="377647"/>
                  <a:pt x="2994734" y="377503"/>
                </a:cubicBezTo>
                <a:cubicBezTo>
                  <a:pt x="2994926" y="377358"/>
                  <a:pt x="2993051" y="374904"/>
                  <a:pt x="2989300" y="370333"/>
                </a:cubicBezTo>
                <a:cubicBezTo>
                  <a:pt x="2985598" y="365713"/>
                  <a:pt x="2979731" y="359265"/>
                  <a:pt x="2972614" y="350363"/>
                </a:cubicBezTo>
                <a:cubicBezTo>
                  <a:pt x="2958621" y="332462"/>
                  <a:pt x="2938425" y="305563"/>
                  <a:pt x="2920489" y="267163"/>
                </a:cubicBezTo>
                <a:cubicBezTo>
                  <a:pt x="2911401" y="248011"/>
                  <a:pt x="2903755" y="225876"/>
                  <a:pt x="2895484" y="201527"/>
                </a:cubicBezTo>
                <a:cubicBezTo>
                  <a:pt x="2893273" y="195464"/>
                  <a:pt x="2891301" y="189208"/>
                  <a:pt x="2888753" y="182953"/>
                </a:cubicBezTo>
                <a:cubicBezTo>
                  <a:pt x="2887502" y="179825"/>
                  <a:pt x="2886252" y="176649"/>
                  <a:pt x="2885002" y="173425"/>
                </a:cubicBezTo>
                <a:cubicBezTo>
                  <a:pt x="2883559" y="170297"/>
                  <a:pt x="2882069" y="167121"/>
                  <a:pt x="2880578" y="163945"/>
                </a:cubicBezTo>
                <a:cubicBezTo>
                  <a:pt x="2879809" y="162357"/>
                  <a:pt x="2879135" y="160721"/>
                  <a:pt x="2878270" y="159133"/>
                </a:cubicBezTo>
                <a:lnTo>
                  <a:pt x="2875577" y="154466"/>
                </a:lnTo>
                <a:cubicBezTo>
                  <a:pt x="2873702" y="151386"/>
                  <a:pt x="2872115" y="148066"/>
                  <a:pt x="2869903" y="145130"/>
                </a:cubicBezTo>
                <a:cubicBezTo>
                  <a:pt x="2867739" y="142147"/>
                  <a:pt x="2865527" y="139164"/>
                  <a:pt x="2863315" y="136132"/>
                </a:cubicBezTo>
                <a:cubicBezTo>
                  <a:pt x="2861200" y="133052"/>
                  <a:pt x="2858266" y="130550"/>
                  <a:pt x="2855766" y="127663"/>
                </a:cubicBezTo>
                <a:cubicBezTo>
                  <a:pt x="2845331" y="116547"/>
                  <a:pt x="2832637" y="107019"/>
                  <a:pt x="2818884" y="98983"/>
                </a:cubicBezTo>
                <a:cubicBezTo>
                  <a:pt x="2816384" y="97491"/>
                  <a:pt x="2813787" y="96096"/>
                  <a:pt x="2811190" y="94652"/>
                </a:cubicBezTo>
                <a:cubicBezTo>
                  <a:pt x="2815518" y="96048"/>
                  <a:pt x="2819942" y="97395"/>
                  <a:pt x="2824414" y="98598"/>
                </a:cubicBezTo>
                <a:cubicBezTo>
                  <a:pt x="2828309" y="99609"/>
                  <a:pt x="2832252" y="100667"/>
                  <a:pt x="2836483" y="101389"/>
                </a:cubicBezTo>
                <a:cubicBezTo>
                  <a:pt x="2838647" y="101726"/>
                  <a:pt x="2840811" y="102015"/>
                  <a:pt x="2843456" y="101967"/>
                </a:cubicBezTo>
                <a:cubicBezTo>
                  <a:pt x="2844850" y="101822"/>
                  <a:pt x="2846245" y="101967"/>
                  <a:pt x="2848745" y="100571"/>
                </a:cubicBezTo>
                <a:cubicBezTo>
                  <a:pt x="2849899" y="100090"/>
                  <a:pt x="2851678" y="97925"/>
                  <a:pt x="2851871" y="96192"/>
                </a:cubicBezTo>
                <a:lnTo>
                  <a:pt x="2852015" y="95230"/>
                </a:lnTo>
                <a:lnTo>
                  <a:pt x="2852015" y="95230"/>
                </a:lnTo>
                <a:cubicBezTo>
                  <a:pt x="2852015" y="95230"/>
                  <a:pt x="2852015" y="95182"/>
                  <a:pt x="2852015" y="95182"/>
                </a:cubicBezTo>
                <a:lnTo>
                  <a:pt x="2851823" y="94941"/>
                </a:lnTo>
                <a:lnTo>
                  <a:pt x="2852015" y="94941"/>
                </a:lnTo>
                <a:cubicBezTo>
                  <a:pt x="2855429" y="95903"/>
                  <a:pt x="2858891" y="96914"/>
                  <a:pt x="2862354" y="97876"/>
                </a:cubicBezTo>
                <a:lnTo>
                  <a:pt x="2866152" y="98935"/>
                </a:lnTo>
                <a:cubicBezTo>
                  <a:pt x="2865816" y="98646"/>
                  <a:pt x="2867258" y="99897"/>
                  <a:pt x="2868364" y="100860"/>
                </a:cubicBezTo>
                <a:lnTo>
                  <a:pt x="2875337" y="107019"/>
                </a:lnTo>
                <a:cubicBezTo>
                  <a:pt x="2884713" y="115200"/>
                  <a:pt x="2894475" y="123139"/>
                  <a:pt x="2904477" y="130839"/>
                </a:cubicBezTo>
                <a:cubicBezTo>
                  <a:pt x="2924528" y="146189"/>
                  <a:pt x="2945782" y="160625"/>
                  <a:pt x="2967950" y="174099"/>
                </a:cubicBezTo>
                <a:cubicBezTo>
                  <a:pt x="2990069" y="187669"/>
                  <a:pt x="3013343" y="199987"/>
                  <a:pt x="3037290" y="211440"/>
                </a:cubicBezTo>
                <a:cubicBezTo>
                  <a:pt x="3049215" y="217311"/>
                  <a:pt x="3061525" y="222460"/>
                  <a:pt x="3073835" y="227801"/>
                </a:cubicBezTo>
                <a:cubicBezTo>
                  <a:pt x="3080038" y="230399"/>
                  <a:pt x="3086337" y="232757"/>
                  <a:pt x="3092588" y="235259"/>
                </a:cubicBezTo>
                <a:cubicBezTo>
                  <a:pt x="3098840" y="237762"/>
                  <a:pt x="3105139" y="240168"/>
                  <a:pt x="3111582" y="242429"/>
                </a:cubicBezTo>
                <a:cubicBezTo>
                  <a:pt x="3127931" y="248204"/>
                  <a:pt x="3144425" y="253353"/>
                  <a:pt x="3160918" y="257780"/>
                </a:cubicBezTo>
                <a:cubicBezTo>
                  <a:pt x="3177412" y="262255"/>
                  <a:pt x="3193953" y="266008"/>
                  <a:pt x="3210158" y="269954"/>
                </a:cubicBezTo>
                <a:cubicBezTo>
                  <a:pt x="3242472" y="278183"/>
                  <a:pt x="3274401" y="286363"/>
                  <a:pt x="3303445" y="299500"/>
                </a:cubicBezTo>
                <a:cubicBezTo>
                  <a:pt x="3310706" y="302724"/>
                  <a:pt x="3317774" y="306285"/>
                  <a:pt x="3324458" y="310279"/>
                </a:cubicBezTo>
                <a:cubicBezTo>
                  <a:pt x="3327776" y="312204"/>
                  <a:pt x="3331046" y="314369"/>
                  <a:pt x="3334268" y="316631"/>
                </a:cubicBezTo>
                <a:cubicBezTo>
                  <a:pt x="3337538" y="318748"/>
                  <a:pt x="3340663" y="321154"/>
                  <a:pt x="3343837" y="323464"/>
                </a:cubicBezTo>
                <a:cubicBezTo>
                  <a:pt x="3356435" y="332847"/>
                  <a:pt x="3368505" y="342856"/>
                  <a:pt x="3380093" y="353106"/>
                </a:cubicBezTo>
                <a:cubicBezTo>
                  <a:pt x="3391730" y="363355"/>
                  <a:pt x="3402790" y="373942"/>
                  <a:pt x="3413369" y="384769"/>
                </a:cubicBezTo>
                <a:cubicBezTo>
                  <a:pt x="3423900" y="395596"/>
                  <a:pt x="3433998" y="406664"/>
                  <a:pt x="3442605" y="418357"/>
                </a:cubicBezTo>
                <a:cubicBezTo>
                  <a:pt x="3446692" y="424227"/>
                  <a:pt x="3450972" y="430242"/>
                  <a:pt x="3453328" y="436305"/>
                </a:cubicBezTo>
                <a:cubicBezTo>
                  <a:pt x="3454963" y="439626"/>
                  <a:pt x="3455011" y="441599"/>
                  <a:pt x="3454434" y="443187"/>
                </a:cubicBezTo>
                <a:cubicBezTo>
                  <a:pt x="3453809" y="444775"/>
                  <a:pt x="3451597" y="446699"/>
                  <a:pt x="3448712" y="448287"/>
                </a:cubicBezTo>
                <a:cubicBezTo>
                  <a:pt x="3437027" y="454495"/>
                  <a:pt x="3421303" y="459307"/>
                  <a:pt x="3411253" y="471963"/>
                </a:cubicBezTo>
                <a:cubicBezTo>
                  <a:pt x="3406252" y="478363"/>
                  <a:pt x="3403511" y="485099"/>
                  <a:pt x="3400867" y="491836"/>
                </a:cubicBezTo>
                <a:cubicBezTo>
                  <a:pt x="3398318" y="498573"/>
                  <a:pt x="3396346" y="505262"/>
                  <a:pt x="3394327" y="511758"/>
                </a:cubicBezTo>
                <a:cubicBezTo>
                  <a:pt x="3390239" y="524510"/>
                  <a:pt x="3385768" y="537262"/>
                  <a:pt x="3376583" y="544576"/>
                </a:cubicBezTo>
                <a:cubicBezTo>
                  <a:pt x="3372063" y="548137"/>
                  <a:pt x="3366725" y="550639"/>
                  <a:pt x="3360811" y="551409"/>
                </a:cubicBezTo>
                <a:cubicBezTo>
                  <a:pt x="3357926" y="552035"/>
                  <a:pt x="3354560" y="552083"/>
                  <a:pt x="3351482" y="552419"/>
                </a:cubicBezTo>
                <a:cubicBezTo>
                  <a:pt x="3348357" y="552804"/>
                  <a:pt x="3345231" y="552901"/>
                  <a:pt x="3342058" y="552949"/>
                </a:cubicBezTo>
                <a:cubicBezTo>
                  <a:pt x="3329555" y="553478"/>
                  <a:pt x="3317197" y="552564"/>
                  <a:pt x="3305224" y="550976"/>
                </a:cubicBezTo>
                <a:cubicBezTo>
                  <a:pt x="3281181" y="547848"/>
                  <a:pt x="3258532" y="541496"/>
                  <a:pt x="3237519" y="534038"/>
                </a:cubicBezTo>
                <a:cubicBezTo>
                  <a:pt x="3195348" y="519024"/>
                  <a:pt x="3159524" y="499439"/>
                  <a:pt x="3129085" y="480913"/>
                </a:cubicBezTo>
                <a:cubicBezTo>
                  <a:pt x="3098695" y="462242"/>
                  <a:pt x="3073787" y="444005"/>
                  <a:pt x="3053975" y="428558"/>
                </a:cubicBezTo>
                <a:cubicBezTo>
                  <a:pt x="3034212" y="413015"/>
                  <a:pt x="3019546" y="400071"/>
                  <a:pt x="3009736" y="391121"/>
                </a:cubicBezTo>
                <a:cubicBezTo>
                  <a:pt x="2999975" y="382122"/>
                  <a:pt x="2995022" y="377214"/>
                  <a:pt x="2994734" y="377503"/>
                </a:cubicBezTo>
                <a:cubicBezTo>
                  <a:pt x="2994590" y="377647"/>
                  <a:pt x="2995695" y="378994"/>
                  <a:pt x="2997907" y="381593"/>
                </a:cubicBezTo>
                <a:cubicBezTo>
                  <a:pt x="3000119" y="384191"/>
                  <a:pt x="3003630" y="387897"/>
                  <a:pt x="3008246" y="392661"/>
                </a:cubicBezTo>
                <a:cubicBezTo>
                  <a:pt x="3017574" y="402140"/>
                  <a:pt x="3031856" y="415662"/>
                  <a:pt x="3051331" y="431782"/>
                </a:cubicBezTo>
                <a:cubicBezTo>
                  <a:pt x="3070854" y="447854"/>
                  <a:pt x="3095522" y="466669"/>
                  <a:pt x="3125864" y="485966"/>
                </a:cubicBezTo>
                <a:cubicBezTo>
                  <a:pt x="3156254" y="505117"/>
                  <a:pt x="3192174" y="525424"/>
                  <a:pt x="3234922" y="541159"/>
                </a:cubicBezTo>
                <a:cubicBezTo>
                  <a:pt x="3256272" y="548955"/>
                  <a:pt x="3279305" y="555692"/>
                  <a:pt x="3304070" y="559156"/>
                </a:cubicBezTo>
                <a:cubicBezTo>
                  <a:pt x="3316428" y="560937"/>
                  <a:pt x="3329219" y="561947"/>
                  <a:pt x="3342298" y="561514"/>
                </a:cubicBezTo>
                <a:cubicBezTo>
                  <a:pt x="3345568" y="561514"/>
                  <a:pt x="3348838" y="561418"/>
                  <a:pt x="3352156" y="561033"/>
                </a:cubicBezTo>
                <a:cubicBezTo>
                  <a:pt x="3355474" y="560648"/>
                  <a:pt x="3358647" y="560648"/>
                  <a:pt x="3362158" y="560022"/>
                </a:cubicBezTo>
                <a:cubicBezTo>
                  <a:pt x="3369178" y="559156"/>
                  <a:pt x="3376295" y="556077"/>
                  <a:pt x="3382113" y="551457"/>
                </a:cubicBezTo>
                <a:cubicBezTo>
                  <a:pt x="3387931" y="546789"/>
                  <a:pt x="3392307" y="540582"/>
                  <a:pt x="3395433" y="534182"/>
                </a:cubicBezTo>
                <a:cubicBezTo>
                  <a:pt x="3398559" y="527782"/>
                  <a:pt x="3400867" y="521141"/>
                  <a:pt x="3403030" y="514549"/>
                </a:cubicBezTo>
                <a:cubicBezTo>
                  <a:pt x="3405146" y="507956"/>
                  <a:pt x="3407118" y="501412"/>
                  <a:pt x="3409570" y="495156"/>
                </a:cubicBezTo>
                <a:cubicBezTo>
                  <a:pt x="3411974" y="488997"/>
                  <a:pt x="3414811" y="482645"/>
                  <a:pt x="3418610" y="477881"/>
                </a:cubicBezTo>
                <a:cubicBezTo>
                  <a:pt x="3422553" y="473021"/>
                  <a:pt x="3427891" y="469268"/>
                  <a:pt x="3433901" y="466092"/>
                </a:cubicBezTo>
                <a:cubicBezTo>
                  <a:pt x="3439912" y="462820"/>
                  <a:pt x="3446548" y="460462"/>
                  <a:pt x="3453521" y="456660"/>
                </a:cubicBezTo>
                <a:cubicBezTo>
                  <a:pt x="3456886" y="454736"/>
                  <a:pt x="3461022" y="452185"/>
                  <a:pt x="3463378" y="447036"/>
                </a:cubicBezTo>
                <a:cubicBezTo>
                  <a:pt x="3465686" y="441839"/>
                  <a:pt x="3464099" y="435969"/>
                  <a:pt x="3462464" y="432745"/>
                </a:cubicBezTo>
                <a:cubicBezTo>
                  <a:pt x="3459435" y="425045"/>
                  <a:pt x="3455011" y="418886"/>
                  <a:pt x="3450635" y="412534"/>
                </a:cubicBezTo>
                <a:cubicBezTo>
                  <a:pt x="3441595" y="400167"/>
                  <a:pt x="3431305" y="388859"/>
                  <a:pt x="3420630" y="377743"/>
                </a:cubicBezTo>
                <a:cubicBezTo>
                  <a:pt x="3409907" y="366676"/>
                  <a:pt x="3398703" y="355849"/>
                  <a:pt x="3386922" y="345455"/>
                </a:cubicBezTo>
                <a:cubicBezTo>
                  <a:pt x="3375140" y="335013"/>
                  <a:pt x="3362975" y="324811"/>
                  <a:pt x="3350040" y="315139"/>
                </a:cubicBezTo>
                <a:cubicBezTo>
                  <a:pt x="3346770" y="312733"/>
                  <a:pt x="3343596" y="310279"/>
                  <a:pt x="3340134" y="308065"/>
                </a:cubicBezTo>
                <a:cubicBezTo>
                  <a:pt x="3336816" y="305707"/>
                  <a:pt x="3333354" y="303446"/>
                  <a:pt x="3329748" y="301328"/>
                </a:cubicBezTo>
                <a:cubicBezTo>
                  <a:pt x="3322631" y="297046"/>
                  <a:pt x="3315274" y="293341"/>
                  <a:pt x="3307724" y="289924"/>
                </a:cubicBezTo>
                <a:cubicBezTo>
                  <a:pt x="3277526" y="276258"/>
                  <a:pt x="3245165" y="267933"/>
                  <a:pt x="3212659" y="259608"/>
                </a:cubicBezTo>
                <a:cubicBezTo>
                  <a:pt x="3196310" y="255614"/>
                  <a:pt x="3179912" y="251861"/>
                  <a:pt x="3163659" y="247434"/>
                </a:cubicBezTo>
                <a:cubicBezTo>
                  <a:pt x="3147358" y="243055"/>
                  <a:pt x="3131153" y="238002"/>
                  <a:pt x="3115093" y="232324"/>
                </a:cubicBezTo>
                <a:cubicBezTo>
                  <a:pt x="3108793" y="230111"/>
                  <a:pt x="3102590" y="227705"/>
                  <a:pt x="3096387" y="225250"/>
                </a:cubicBezTo>
                <a:cubicBezTo>
                  <a:pt x="3090184" y="222796"/>
                  <a:pt x="3083981" y="220487"/>
                  <a:pt x="3077874" y="217936"/>
                </a:cubicBezTo>
                <a:cubicBezTo>
                  <a:pt x="3065708" y="212691"/>
                  <a:pt x="3053543" y="207590"/>
                  <a:pt x="3041762" y="201816"/>
                </a:cubicBezTo>
                <a:cubicBezTo>
                  <a:pt x="3018103" y="190556"/>
                  <a:pt x="2995167" y="178430"/>
                  <a:pt x="2973288" y="165100"/>
                </a:cubicBezTo>
                <a:cubicBezTo>
                  <a:pt x="2951408" y="151819"/>
                  <a:pt x="2930443" y="137672"/>
                  <a:pt x="2910680" y="122610"/>
                </a:cubicBezTo>
                <a:cubicBezTo>
                  <a:pt x="2900822" y="115007"/>
                  <a:pt x="2891205" y="107308"/>
                  <a:pt x="2881972" y="99272"/>
                </a:cubicBezTo>
                <a:lnTo>
                  <a:pt x="2875096" y="93209"/>
                </a:lnTo>
                <a:lnTo>
                  <a:pt x="2873317" y="91621"/>
                </a:lnTo>
                <a:lnTo>
                  <a:pt x="2872067" y="90562"/>
                </a:lnTo>
                <a:cubicBezTo>
                  <a:pt x="2871538" y="90081"/>
                  <a:pt x="2870961" y="89552"/>
                  <a:pt x="2870192" y="89455"/>
                </a:cubicBezTo>
                <a:lnTo>
                  <a:pt x="2865142" y="88012"/>
                </a:lnTo>
                <a:cubicBezTo>
                  <a:pt x="2856824" y="85654"/>
                  <a:pt x="2848553" y="83344"/>
                  <a:pt x="2840282" y="80986"/>
                </a:cubicBezTo>
                <a:lnTo>
                  <a:pt x="2838503" y="84691"/>
                </a:lnTo>
                <a:lnTo>
                  <a:pt x="2838118" y="85461"/>
                </a:lnTo>
                <a:lnTo>
                  <a:pt x="2838214" y="85461"/>
                </a:lnTo>
                <a:cubicBezTo>
                  <a:pt x="2838214" y="85461"/>
                  <a:pt x="2838263" y="85750"/>
                  <a:pt x="2838263" y="85750"/>
                </a:cubicBezTo>
                <a:cubicBezTo>
                  <a:pt x="2838166" y="86328"/>
                  <a:pt x="2838214" y="86568"/>
                  <a:pt x="2836676" y="90707"/>
                </a:cubicBezTo>
                <a:cubicBezTo>
                  <a:pt x="2837060" y="90947"/>
                  <a:pt x="2837397" y="91140"/>
                  <a:pt x="2837637" y="91332"/>
                </a:cubicBezTo>
                <a:cubicBezTo>
                  <a:pt x="2834175" y="90755"/>
                  <a:pt x="2830521" y="89792"/>
                  <a:pt x="2826914" y="88878"/>
                </a:cubicBezTo>
                <a:cubicBezTo>
                  <a:pt x="2819461" y="86857"/>
                  <a:pt x="2812008" y="84499"/>
                  <a:pt x="2804699" y="82045"/>
                </a:cubicBezTo>
                <a:cubicBezTo>
                  <a:pt x="2789984" y="77137"/>
                  <a:pt x="2775607" y="71747"/>
                  <a:pt x="2761325" y="66502"/>
                </a:cubicBezTo>
                <a:cubicBezTo>
                  <a:pt x="2747092" y="60968"/>
                  <a:pt x="2732281" y="56974"/>
                  <a:pt x="2718144" y="52499"/>
                </a:cubicBezTo>
                <a:cubicBezTo>
                  <a:pt x="2704007" y="47543"/>
                  <a:pt x="2689485" y="45474"/>
                  <a:pt x="2675396" y="42490"/>
                </a:cubicBezTo>
                <a:lnTo>
                  <a:pt x="2674626" y="45955"/>
                </a:lnTo>
                <a:cubicBezTo>
                  <a:pt x="2672799" y="45425"/>
                  <a:pt x="2670972" y="44800"/>
                  <a:pt x="2669145" y="44271"/>
                </a:cubicBezTo>
                <a:cubicBezTo>
                  <a:pt x="2665682" y="43308"/>
                  <a:pt x="2662268" y="42298"/>
                  <a:pt x="2658854" y="41335"/>
                </a:cubicBezTo>
                <a:cubicBezTo>
                  <a:pt x="2655440" y="40421"/>
                  <a:pt x="2651834" y="39362"/>
                  <a:pt x="2648420" y="38833"/>
                </a:cubicBezTo>
                <a:cubicBezTo>
                  <a:pt x="2641495" y="37582"/>
                  <a:pt x="2634619" y="36379"/>
                  <a:pt x="2627791" y="35176"/>
                </a:cubicBezTo>
                <a:lnTo>
                  <a:pt x="2627550" y="36379"/>
                </a:lnTo>
                <a:cubicBezTo>
                  <a:pt x="2622838" y="34983"/>
                  <a:pt x="2618126" y="33684"/>
                  <a:pt x="2613413" y="32385"/>
                </a:cubicBezTo>
                <a:lnTo>
                  <a:pt x="2609951" y="31471"/>
                </a:lnTo>
                <a:cubicBezTo>
                  <a:pt x="2609038" y="31230"/>
                  <a:pt x="2608461" y="31182"/>
                  <a:pt x="2607883" y="31086"/>
                </a:cubicBezTo>
                <a:lnTo>
                  <a:pt x="2606152" y="30797"/>
                </a:lnTo>
                <a:lnTo>
                  <a:pt x="2599180" y="29690"/>
                </a:lnTo>
                <a:lnTo>
                  <a:pt x="2585187" y="27428"/>
                </a:lnTo>
                <a:lnTo>
                  <a:pt x="2584898" y="28824"/>
                </a:lnTo>
                <a:cubicBezTo>
                  <a:pt x="2584369" y="28680"/>
                  <a:pt x="2583840" y="28487"/>
                  <a:pt x="2583311" y="28343"/>
                </a:cubicBezTo>
                <a:cubicBezTo>
                  <a:pt x="2579416" y="27188"/>
                  <a:pt x="2575473" y="26129"/>
                  <a:pt x="2571530" y="25071"/>
                </a:cubicBezTo>
                <a:lnTo>
                  <a:pt x="2565279" y="23579"/>
                </a:lnTo>
                <a:lnTo>
                  <a:pt x="2559269" y="22761"/>
                </a:lnTo>
                <a:cubicBezTo>
                  <a:pt x="2551286" y="21654"/>
                  <a:pt x="2543304" y="20547"/>
                  <a:pt x="2535370" y="19441"/>
                </a:cubicBezTo>
                <a:lnTo>
                  <a:pt x="2534985" y="21847"/>
                </a:lnTo>
                <a:cubicBezTo>
                  <a:pt x="2533735" y="21606"/>
                  <a:pt x="2532437" y="21269"/>
                  <a:pt x="2531187" y="21029"/>
                </a:cubicBezTo>
                <a:cubicBezTo>
                  <a:pt x="2523397" y="19489"/>
                  <a:pt x="2515607" y="18141"/>
                  <a:pt x="2507865" y="17083"/>
                </a:cubicBezTo>
                <a:cubicBezTo>
                  <a:pt x="2500171" y="16216"/>
                  <a:pt x="2492622" y="15398"/>
                  <a:pt x="2485168" y="14580"/>
                </a:cubicBezTo>
                <a:cubicBezTo>
                  <a:pt x="2455355" y="11453"/>
                  <a:pt x="2427177" y="9095"/>
                  <a:pt x="2400778" y="7411"/>
                </a:cubicBezTo>
                <a:cubicBezTo>
                  <a:pt x="2380197" y="5871"/>
                  <a:pt x="2360674" y="5582"/>
                  <a:pt x="2342305" y="5726"/>
                </a:cubicBezTo>
                <a:lnTo>
                  <a:pt x="2342305" y="5534"/>
                </a:lnTo>
                <a:cubicBezTo>
                  <a:pt x="2342305" y="5534"/>
                  <a:pt x="2342305" y="5534"/>
                  <a:pt x="2342305" y="5534"/>
                </a:cubicBezTo>
                <a:lnTo>
                  <a:pt x="2342305" y="5534"/>
                </a:lnTo>
                <a:cubicBezTo>
                  <a:pt x="2320571" y="5004"/>
                  <a:pt x="2300086" y="4042"/>
                  <a:pt x="2280852" y="3994"/>
                </a:cubicBezTo>
                <a:cubicBezTo>
                  <a:pt x="2269936" y="4186"/>
                  <a:pt x="2259502" y="4571"/>
                  <a:pt x="2249452" y="5053"/>
                </a:cubicBezTo>
                <a:lnTo>
                  <a:pt x="2249452" y="0"/>
                </a:lnTo>
                <a:cubicBezTo>
                  <a:pt x="2230169" y="289"/>
                  <a:pt x="2210983" y="96"/>
                  <a:pt x="2191653" y="722"/>
                </a:cubicBezTo>
                <a:cubicBezTo>
                  <a:pt x="2177900" y="1492"/>
                  <a:pt x="2164196" y="2647"/>
                  <a:pt x="2150491" y="3946"/>
                </a:cubicBezTo>
                <a:lnTo>
                  <a:pt x="2150395" y="1829"/>
                </a:lnTo>
                <a:cubicBezTo>
                  <a:pt x="2150395" y="1829"/>
                  <a:pt x="2150299" y="1829"/>
                  <a:pt x="2150251" y="1829"/>
                </a:cubicBezTo>
                <a:lnTo>
                  <a:pt x="2150251" y="1829"/>
                </a:lnTo>
                <a:cubicBezTo>
                  <a:pt x="2150251" y="1829"/>
                  <a:pt x="2150251" y="1829"/>
                  <a:pt x="2150251" y="1829"/>
                </a:cubicBezTo>
                <a:cubicBezTo>
                  <a:pt x="2132555" y="2887"/>
                  <a:pt x="2114908" y="3898"/>
                  <a:pt x="2097404" y="4956"/>
                </a:cubicBezTo>
                <a:cubicBezTo>
                  <a:pt x="2088605" y="5534"/>
                  <a:pt x="2079901" y="5871"/>
                  <a:pt x="2071149" y="6641"/>
                </a:cubicBezTo>
                <a:cubicBezTo>
                  <a:pt x="2062398" y="7507"/>
                  <a:pt x="2053790" y="8421"/>
                  <a:pt x="2045135" y="9480"/>
                </a:cubicBezTo>
                <a:cubicBezTo>
                  <a:pt x="2036479" y="10538"/>
                  <a:pt x="2027920" y="11645"/>
                  <a:pt x="2019313" y="13041"/>
                </a:cubicBezTo>
                <a:cubicBezTo>
                  <a:pt x="2010706" y="14532"/>
                  <a:pt x="2002291" y="15735"/>
                  <a:pt x="1993443" y="18719"/>
                </a:cubicBezTo>
                <a:cubicBezTo>
                  <a:pt x="1989115" y="20210"/>
                  <a:pt x="1984691" y="22280"/>
                  <a:pt x="1980844" y="25071"/>
                </a:cubicBezTo>
                <a:cubicBezTo>
                  <a:pt x="1976949" y="27813"/>
                  <a:pt x="1973776" y="30941"/>
                  <a:pt x="1970746" y="33732"/>
                </a:cubicBezTo>
                <a:cubicBezTo>
                  <a:pt x="1964736" y="39362"/>
                  <a:pt x="1958340" y="43886"/>
                  <a:pt x="1951127" y="47880"/>
                </a:cubicBezTo>
                <a:cubicBezTo>
                  <a:pt x="1892559" y="80649"/>
                  <a:pt x="1834327" y="110340"/>
                  <a:pt x="1777489" y="137624"/>
                </a:cubicBezTo>
                <a:cubicBezTo>
                  <a:pt x="1720508" y="164571"/>
                  <a:pt x="1664680" y="189064"/>
                  <a:pt x="1609670" y="208457"/>
                </a:cubicBezTo>
                <a:cubicBezTo>
                  <a:pt x="1595821" y="212932"/>
                  <a:pt x="1582213" y="217936"/>
                  <a:pt x="1568460" y="221545"/>
                </a:cubicBezTo>
                <a:cubicBezTo>
                  <a:pt x="1561584" y="223374"/>
                  <a:pt x="1554852" y="225684"/>
                  <a:pt x="1547976" y="227127"/>
                </a:cubicBezTo>
                <a:cubicBezTo>
                  <a:pt x="1541099" y="228667"/>
                  <a:pt x="1534319" y="230159"/>
                  <a:pt x="1527539" y="231650"/>
                </a:cubicBezTo>
                <a:cubicBezTo>
                  <a:pt x="1520759" y="233094"/>
                  <a:pt x="1513931" y="234056"/>
                  <a:pt x="1507199" y="234730"/>
                </a:cubicBezTo>
                <a:cubicBezTo>
                  <a:pt x="1500467" y="235356"/>
                  <a:pt x="1493735" y="235596"/>
                  <a:pt x="1487532" y="234730"/>
                </a:cubicBezTo>
                <a:cubicBezTo>
                  <a:pt x="1484454" y="234249"/>
                  <a:pt x="1481521" y="233431"/>
                  <a:pt x="1479405" y="232035"/>
                </a:cubicBezTo>
                <a:cubicBezTo>
                  <a:pt x="1477242" y="230688"/>
                  <a:pt x="1476280" y="229004"/>
                  <a:pt x="1476088" y="226646"/>
                </a:cubicBezTo>
                <a:cubicBezTo>
                  <a:pt x="1475847" y="221690"/>
                  <a:pt x="1479021" y="215626"/>
                  <a:pt x="1482483" y="210429"/>
                </a:cubicBezTo>
                <a:cubicBezTo>
                  <a:pt x="1489696" y="199795"/>
                  <a:pt x="1498928" y="190363"/>
                  <a:pt x="1508257" y="181509"/>
                </a:cubicBezTo>
                <a:cubicBezTo>
                  <a:pt x="1517682" y="172655"/>
                  <a:pt x="1527491" y="164427"/>
                  <a:pt x="1537445" y="156679"/>
                </a:cubicBezTo>
                <a:cubicBezTo>
                  <a:pt x="1547399" y="148932"/>
                  <a:pt x="1557545" y="141618"/>
                  <a:pt x="1567835" y="134977"/>
                </a:cubicBezTo>
                <a:cubicBezTo>
                  <a:pt x="1570432" y="133341"/>
                  <a:pt x="1572980" y="131705"/>
                  <a:pt x="1575577" y="130165"/>
                </a:cubicBezTo>
                <a:cubicBezTo>
                  <a:pt x="1578077" y="128673"/>
                  <a:pt x="1580770" y="127326"/>
                  <a:pt x="1583463" y="125979"/>
                </a:cubicBezTo>
                <a:cubicBezTo>
                  <a:pt x="1588897" y="123284"/>
                  <a:pt x="1594331" y="120733"/>
                  <a:pt x="1599812" y="118183"/>
                </a:cubicBezTo>
                <a:cubicBezTo>
                  <a:pt x="1610728" y="113131"/>
                  <a:pt x="1621499" y="108174"/>
                  <a:pt x="1632078" y="103266"/>
                </a:cubicBezTo>
                <a:cubicBezTo>
                  <a:pt x="1637367" y="100812"/>
                  <a:pt x="1642609" y="98309"/>
                  <a:pt x="1647850" y="95711"/>
                </a:cubicBezTo>
                <a:cubicBezTo>
                  <a:pt x="1650447" y="94412"/>
                  <a:pt x="1653043" y="93113"/>
                  <a:pt x="1655592" y="91669"/>
                </a:cubicBezTo>
                <a:cubicBezTo>
                  <a:pt x="1656890" y="90899"/>
                  <a:pt x="1658140" y="90273"/>
                  <a:pt x="1659631" y="89070"/>
                </a:cubicBezTo>
                <a:cubicBezTo>
                  <a:pt x="1660016" y="88637"/>
                  <a:pt x="1660400" y="88734"/>
                  <a:pt x="1661314" y="87001"/>
                </a:cubicBezTo>
                <a:cubicBezTo>
                  <a:pt x="1661458" y="86713"/>
                  <a:pt x="1661843" y="85606"/>
                  <a:pt x="1661314" y="84210"/>
                </a:cubicBezTo>
                <a:cubicBezTo>
                  <a:pt x="1660977" y="83248"/>
                  <a:pt x="1659872" y="82574"/>
                  <a:pt x="1659439" y="82430"/>
                </a:cubicBezTo>
                <a:lnTo>
                  <a:pt x="1658381" y="82141"/>
                </a:lnTo>
                <a:lnTo>
                  <a:pt x="1657804" y="82141"/>
                </a:lnTo>
                <a:cubicBezTo>
                  <a:pt x="1656505" y="82045"/>
                  <a:pt x="1655784" y="82189"/>
                  <a:pt x="1655015" y="82334"/>
                </a:cubicBezTo>
                <a:cubicBezTo>
                  <a:pt x="1643378" y="84740"/>
                  <a:pt x="1632992" y="88060"/>
                  <a:pt x="1622364" y="91091"/>
                </a:cubicBezTo>
                <a:cubicBezTo>
                  <a:pt x="1611882" y="94316"/>
                  <a:pt x="1601592" y="97491"/>
                  <a:pt x="1591493" y="100571"/>
                </a:cubicBezTo>
                <a:cubicBezTo>
                  <a:pt x="1581395" y="103747"/>
                  <a:pt x="1571490" y="106827"/>
                  <a:pt x="1561824" y="110099"/>
                </a:cubicBezTo>
                <a:cubicBezTo>
                  <a:pt x="1552207" y="113419"/>
                  <a:pt x="1542734" y="116691"/>
                  <a:pt x="1533454" y="119867"/>
                </a:cubicBezTo>
                <a:cubicBezTo>
                  <a:pt x="1523692" y="123236"/>
                  <a:pt x="1514171" y="126508"/>
                  <a:pt x="1504843" y="129732"/>
                </a:cubicBezTo>
                <a:cubicBezTo>
                  <a:pt x="1503929" y="128673"/>
                  <a:pt x="1501236" y="128433"/>
                  <a:pt x="1497293" y="128914"/>
                </a:cubicBezTo>
                <a:cubicBezTo>
                  <a:pt x="1495081" y="129203"/>
                  <a:pt x="1492485" y="129684"/>
                  <a:pt x="1489648" y="130406"/>
                </a:cubicBezTo>
                <a:cubicBezTo>
                  <a:pt x="1488253" y="130742"/>
                  <a:pt x="1486763" y="131176"/>
                  <a:pt x="1485272" y="131657"/>
                </a:cubicBezTo>
                <a:cubicBezTo>
                  <a:pt x="1484503" y="131897"/>
                  <a:pt x="1483733" y="132138"/>
                  <a:pt x="1482964" y="132379"/>
                </a:cubicBezTo>
                <a:lnTo>
                  <a:pt x="1481810" y="132764"/>
                </a:lnTo>
                <a:lnTo>
                  <a:pt x="1481233" y="132956"/>
                </a:lnTo>
                <a:lnTo>
                  <a:pt x="1480944" y="133052"/>
                </a:lnTo>
                <a:lnTo>
                  <a:pt x="1480800" y="133052"/>
                </a:lnTo>
                <a:cubicBezTo>
                  <a:pt x="1480800" y="133052"/>
                  <a:pt x="1480704" y="133148"/>
                  <a:pt x="1480704" y="133148"/>
                </a:cubicBezTo>
                <a:lnTo>
                  <a:pt x="1480704" y="133148"/>
                </a:lnTo>
                <a:cubicBezTo>
                  <a:pt x="1480704" y="133148"/>
                  <a:pt x="1480704" y="133148"/>
                  <a:pt x="1480704" y="133148"/>
                </a:cubicBezTo>
                <a:lnTo>
                  <a:pt x="1480704" y="133148"/>
                </a:lnTo>
                <a:cubicBezTo>
                  <a:pt x="1482098" y="137142"/>
                  <a:pt x="1478299" y="126267"/>
                  <a:pt x="1482243" y="137527"/>
                </a:cubicBezTo>
                <a:cubicBezTo>
                  <a:pt x="1481569" y="137768"/>
                  <a:pt x="1480848" y="138009"/>
                  <a:pt x="1480175" y="138249"/>
                </a:cubicBezTo>
                <a:cubicBezTo>
                  <a:pt x="1463152" y="144120"/>
                  <a:pt x="1446948" y="149750"/>
                  <a:pt x="1431512" y="155091"/>
                </a:cubicBezTo>
                <a:cubicBezTo>
                  <a:pt x="1427088" y="156727"/>
                  <a:pt x="1422760" y="158460"/>
                  <a:pt x="1418481" y="160144"/>
                </a:cubicBezTo>
                <a:cubicBezTo>
                  <a:pt x="1411268" y="162598"/>
                  <a:pt x="1404055" y="165052"/>
                  <a:pt x="1396890" y="167603"/>
                </a:cubicBezTo>
                <a:cubicBezTo>
                  <a:pt x="1387273" y="170971"/>
                  <a:pt x="1377800" y="174387"/>
                  <a:pt x="1368183" y="177948"/>
                </a:cubicBezTo>
                <a:lnTo>
                  <a:pt x="1360970" y="180643"/>
                </a:lnTo>
                <a:lnTo>
                  <a:pt x="1353950" y="183675"/>
                </a:lnTo>
                <a:lnTo>
                  <a:pt x="1339908" y="189786"/>
                </a:lnTo>
                <a:lnTo>
                  <a:pt x="1340437" y="191085"/>
                </a:lnTo>
                <a:cubicBezTo>
                  <a:pt x="1334282" y="193347"/>
                  <a:pt x="1328127" y="195608"/>
                  <a:pt x="1322021" y="197966"/>
                </a:cubicBezTo>
                <a:cubicBezTo>
                  <a:pt x="1316443" y="199891"/>
                  <a:pt x="1311249" y="202490"/>
                  <a:pt x="1305960" y="204944"/>
                </a:cubicBezTo>
                <a:lnTo>
                  <a:pt x="1290140" y="212258"/>
                </a:lnTo>
                <a:lnTo>
                  <a:pt x="1291053" y="214375"/>
                </a:lnTo>
                <a:cubicBezTo>
                  <a:pt x="1287206" y="215867"/>
                  <a:pt x="1283360" y="217311"/>
                  <a:pt x="1279561" y="218850"/>
                </a:cubicBezTo>
                <a:lnTo>
                  <a:pt x="1263885" y="225202"/>
                </a:lnTo>
                <a:cubicBezTo>
                  <a:pt x="1258691" y="227464"/>
                  <a:pt x="1253835" y="230111"/>
                  <a:pt x="1248834" y="232565"/>
                </a:cubicBezTo>
                <a:cubicBezTo>
                  <a:pt x="1238880" y="237569"/>
                  <a:pt x="1228926" y="242574"/>
                  <a:pt x="1218973" y="247530"/>
                </a:cubicBezTo>
                <a:lnTo>
                  <a:pt x="1220800" y="251283"/>
                </a:lnTo>
                <a:cubicBezTo>
                  <a:pt x="1218348" y="252390"/>
                  <a:pt x="1215799" y="253449"/>
                  <a:pt x="1213347" y="254604"/>
                </a:cubicBezTo>
                <a:cubicBezTo>
                  <a:pt x="1194064" y="263506"/>
                  <a:pt x="1175455" y="273226"/>
                  <a:pt x="1157327" y="283332"/>
                </a:cubicBezTo>
                <a:cubicBezTo>
                  <a:pt x="1139198" y="293437"/>
                  <a:pt x="1121695" y="304312"/>
                  <a:pt x="1105153" y="316053"/>
                </a:cubicBezTo>
                <a:cubicBezTo>
                  <a:pt x="1088564" y="327698"/>
                  <a:pt x="1072936" y="339825"/>
                  <a:pt x="1056972" y="350796"/>
                </a:cubicBezTo>
                <a:cubicBezTo>
                  <a:pt x="1041007" y="361767"/>
                  <a:pt x="1024706" y="371776"/>
                  <a:pt x="1008453" y="381064"/>
                </a:cubicBezTo>
                <a:cubicBezTo>
                  <a:pt x="1000375" y="385587"/>
                  <a:pt x="992200" y="389821"/>
                  <a:pt x="984025" y="391987"/>
                </a:cubicBezTo>
                <a:cubicBezTo>
                  <a:pt x="981958" y="392516"/>
                  <a:pt x="979890" y="392901"/>
                  <a:pt x="977534" y="393334"/>
                </a:cubicBezTo>
                <a:lnTo>
                  <a:pt x="974985" y="393864"/>
                </a:lnTo>
                <a:cubicBezTo>
                  <a:pt x="974072" y="394056"/>
                  <a:pt x="972966" y="395163"/>
                  <a:pt x="972533" y="395355"/>
                </a:cubicBezTo>
                <a:lnTo>
                  <a:pt x="969696" y="397376"/>
                </a:lnTo>
                <a:cubicBezTo>
                  <a:pt x="965945" y="400071"/>
                  <a:pt x="962194" y="402718"/>
                  <a:pt x="958492" y="405412"/>
                </a:cubicBezTo>
                <a:cubicBezTo>
                  <a:pt x="943633" y="416047"/>
                  <a:pt x="929063" y="426489"/>
                  <a:pt x="914782" y="436739"/>
                </a:cubicBezTo>
                <a:lnTo>
                  <a:pt x="916849" y="441069"/>
                </a:lnTo>
                <a:cubicBezTo>
                  <a:pt x="916849" y="441069"/>
                  <a:pt x="916705" y="441166"/>
                  <a:pt x="915984" y="441358"/>
                </a:cubicBezTo>
                <a:lnTo>
                  <a:pt x="915166" y="441358"/>
                </a:lnTo>
                <a:cubicBezTo>
                  <a:pt x="914686" y="441310"/>
                  <a:pt x="914253" y="441262"/>
                  <a:pt x="913772" y="441166"/>
                </a:cubicBezTo>
                <a:lnTo>
                  <a:pt x="913195" y="441021"/>
                </a:lnTo>
                <a:lnTo>
                  <a:pt x="913195" y="441118"/>
                </a:lnTo>
                <a:cubicBezTo>
                  <a:pt x="913195" y="441118"/>
                  <a:pt x="913051" y="441406"/>
                  <a:pt x="913051" y="441406"/>
                </a:cubicBezTo>
                <a:cubicBezTo>
                  <a:pt x="912810" y="441936"/>
                  <a:pt x="912474" y="442657"/>
                  <a:pt x="911993" y="443331"/>
                </a:cubicBezTo>
                <a:cubicBezTo>
                  <a:pt x="911127" y="444727"/>
                  <a:pt x="910069" y="446218"/>
                  <a:pt x="908963" y="447662"/>
                </a:cubicBezTo>
                <a:cubicBezTo>
                  <a:pt x="906751" y="450549"/>
                  <a:pt x="904395" y="453436"/>
                  <a:pt x="901943" y="456227"/>
                </a:cubicBezTo>
                <a:cubicBezTo>
                  <a:pt x="897086" y="461857"/>
                  <a:pt x="891989" y="467247"/>
                  <a:pt x="886892" y="472588"/>
                </a:cubicBezTo>
                <a:cubicBezTo>
                  <a:pt x="876698" y="483223"/>
                  <a:pt x="866359" y="493328"/>
                  <a:pt x="856165" y="503096"/>
                </a:cubicBezTo>
                <a:cubicBezTo>
                  <a:pt x="835681" y="522585"/>
                  <a:pt x="815533" y="540630"/>
                  <a:pt x="795962" y="557183"/>
                </a:cubicBezTo>
                <a:cubicBezTo>
                  <a:pt x="776391" y="573689"/>
                  <a:pt x="757445" y="588798"/>
                  <a:pt x="738884" y="601695"/>
                </a:cubicBezTo>
                <a:cubicBezTo>
                  <a:pt x="737297" y="602801"/>
                  <a:pt x="735710" y="603860"/>
                  <a:pt x="734123" y="604967"/>
                </a:cubicBezTo>
                <a:cubicBezTo>
                  <a:pt x="733258" y="605544"/>
                  <a:pt x="732344" y="606170"/>
                  <a:pt x="731334" y="606603"/>
                </a:cubicBezTo>
                <a:cubicBezTo>
                  <a:pt x="730854" y="606795"/>
                  <a:pt x="730276" y="607132"/>
                  <a:pt x="729796" y="606843"/>
                </a:cubicBezTo>
                <a:cubicBezTo>
                  <a:pt x="729459" y="606410"/>
                  <a:pt x="729796" y="605833"/>
                  <a:pt x="729892" y="605400"/>
                </a:cubicBezTo>
                <a:cubicBezTo>
                  <a:pt x="730325" y="604437"/>
                  <a:pt x="730854" y="603571"/>
                  <a:pt x="731479" y="602705"/>
                </a:cubicBezTo>
                <a:cubicBezTo>
                  <a:pt x="732056" y="601839"/>
                  <a:pt x="732537" y="601165"/>
                  <a:pt x="734412" y="598711"/>
                </a:cubicBezTo>
                <a:cubicBezTo>
                  <a:pt x="735999" y="596690"/>
                  <a:pt x="737634" y="594717"/>
                  <a:pt x="739172" y="592792"/>
                </a:cubicBezTo>
                <a:cubicBezTo>
                  <a:pt x="742394" y="588895"/>
                  <a:pt x="745664" y="585189"/>
                  <a:pt x="748886" y="581580"/>
                </a:cubicBezTo>
                <a:lnTo>
                  <a:pt x="744798" y="577442"/>
                </a:lnTo>
                <a:cubicBezTo>
                  <a:pt x="727295" y="594043"/>
                  <a:pt x="711619" y="608864"/>
                  <a:pt x="697963" y="621809"/>
                </a:cubicBezTo>
                <a:cubicBezTo>
                  <a:pt x="689548" y="631866"/>
                  <a:pt x="682431" y="641105"/>
                  <a:pt x="676468" y="649574"/>
                </a:cubicBezTo>
                <a:lnTo>
                  <a:pt x="671612" y="645051"/>
                </a:lnTo>
                <a:cubicBezTo>
                  <a:pt x="663389" y="653279"/>
                  <a:pt x="655263" y="661508"/>
                  <a:pt x="647136" y="669640"/>
                </a:cubicBezTo>
                <a:cubicBezTo>
                  <a:pt x="643193" y="673827"/>
                  <a:pt x="639779" y="678494"/>
                  <a:pt x="636076" y="682873"/>
                </a:cubicBezTo>
                <a:cubicBezTo>
                  <a:pt x="634057" y="685327"/>
                  <a:pt x="632133" y="687830"/>
                  <a:pt x="630114" y="690284"/>
                </a:cubicBezTo>
                <a:lnTo>
                  <a:pt x="627325" y="687830"/>
                </a:lnTo>
                <a:cubicBezTo>
                  <a:pt x="620881" y="694663"/>
                  <a:pt x="614438" y="701544"/>
                  <a:pt x="607994" y="708425"/>
                </a:cubicBezTo>
                <a:lnTo>
                  <a:pt x="598233" y="718819"/>
                </a:lnTo>
                <a:lnTo>
                  <a:pt x="593328" y="724016"/>
                </a:lnTo>
                <a:lnTo>
                  <a:pt x="592126" y="725315"/>
                </a:lnTo>
                <a:lnTo>
                  <a:pt x="591741" y="725700"/>
                </a:lnTo>
                <a:lnTo>
                  <a:pt x="591260" y="726278"/>
                </a:lnTo>
                <a:lnTo>
                  <a:pt x="590731" y="726999"/>
                </a:lnTo>
                <a:lnTo>
                  <a:pt x="588519" y="729838"/>
                </a:lnTo>
                <a:cubicBezTo>
                  <a:pt x="581018" y="739463"/>
                  <a:pt x="573757" y="749183"/>
                  <a:pt x="566592" y="758903"/>
                </a:cubicBezTo>
                <a:lnTo>
                  <a:pt x="563900" y="756641"/>
                </a:lnTo>
                <a:cubicBezTo>
                  <a:pt x="552215" y="770211"/>
                  <a:pt x="540386" y="783974"/>
                  <a:pt x="528460" y="797832"/>
                </a:cubicBezTo>
                <a:cubicBezTo>
                  <a:pt x="517449" y="812124"/>
                  <a:pt x="507254" y="826560"/>
                  <a:pt x="497541" y="841092"/>
                </a:cubicBezTo>
                <a:lnTo>
                  <a:pt x="494656" y="838927"/>
                </a:lnTo>
                <a:cubicBezTo>
                  <a:pt x="484173" y="852401"/>
                  <a:pt x="473546" y="866067"/>
                  <a:pt x="462775" y="879925"/>
                </a:cubicBezTo>
                <a:cubicBezTo>
                  <a:pt x="459794" y="883775"/>
                  <a:pt x="456812" y="887625"/>
                  <a:pt x="453831" y="891426"/>
                </a:cubicBezTo>
                <a:cubicBezTo>
                  <a:pt x="450802" y="895179"/>
                  <a:pt x="448446" y="899462"/>
                  <a:pt x="445705" y="903456"/>
                </a:cubicBezTo>
                <a:cubicBezTo>
                  <a:pt x="440367" y="911540"/>
                  <a:pt x="435270" y="919576"/>
                  <a:pt x="430317" y="927564"/>
                </a:cubicBezTo>
                <a:cubicBezTo>
                  <a:pt x="422191" y="940460"/>
                  <a:pt x="414497" y="953212"/>
                  <a:pt x="406996" y="965868"/>
                </a:cubicBezTo>
                <a:lnTo>
                  <a:pt x="402139" y="962788"/>
                </a:lnTo>
                <a:cubicBezTo>
                  <a:pt x="398629" y="968130"/>
                  <a:pt x="395070" y="973519"/>
                  <a:pt x="391464" y="978957"/>
                </a:cubicBezTo>
                <a:cubicBezTo>
                  <a:pt x="378673" y="998541"/>
                  <a:pt x="366267" y="1017405"/>
                  <a:pt x="354582" y="1035257"/>
                </a:cubicBezTo>
                <a:cubicBezTo>
                  <a:pt x="351697" y="1039732"/>
                  <a:pt x="348812" y="1044159"/>
                  <a:pt x="346023" y="1048490"/>
                </a:cubicBezTo>
                <a:cubicBezTo>
                  <a:pt x="344628" y="1050656"/>
                  <a:pt x="343186" y="1052773"/>
                  <a:pt x="341984" y="1055179"/>
                </a:cubicBezTo>
                <a:cubicBezTo>
                  <a:pt x="340781" y="1057392"/>
                  <a:pt x="339579" y="1059558"/>
                  <a:pt x="338377" y="1061723"/>
                </a:cubicBezTo>
                <a:cubicBezTo>
                  <a:pt x="333520" y="1070289"/>
                  <a:pt x="328808" y="1078469"/>
                  <a:pt x="323663" y="1085687"/>
                </a:cubicBezTo>
                <a:cubicBezTo>
                  <a:pt x="322990" y="1086650"/>
                  <a:pt x="322942" y="1086938"/>
                  <a:pt x="322605" y="1087516"/>
                </a:cubicBezTo>
                <a:lnTo>
                  <a:pt x="321739" y="1089056"/>
                </a:lnTo>
                <a:lnTo>
                  <a:pt x="320056" y="1092087"/>
                </a:lnTo>
                <a:cubicBezTo>
                  <a:pt x="318950" y="1094108"/>
                  <a:pt x="317844" y="1096081"/>
                  <a:pt x="316738" y="1098054"/>
                </a:cubicBezTo>
                <a:cubicBezTo>
                  <a:pt x="314575" y="1102000"/>
                  <a:pt x="312459" y="1105801"/>
                  <a:pt x="310439" y="1109507"/>
                </a:cubicBezTo>
                <a:cubicBezTo>
                  <a:pt x="306400" y="1116917"/>
                  <a:pt x="302601" y="1123895"/>
                  <a:pt x="299043" y="1130343"/>
                </a:cubicBezTo>
                <a:cubicBezTo>
                  <a:pt x="292022" y="1143287"/>
                  <a:pt x="286252" y="1154162"/>
                  <a:pt x="281924" y="1162631"/>
                </a:cubicBezTo>
                <a:lnTo>
                  <a:pt x="281684" y="1163112"/>
                </a:lnTo>
                <a:lnTo>
                  <a:pt x="281684" y="1163449"/>
                </a:lnTo>
                <a:cubicBezTo>
                  <a:pt x="281684" y="1164027"/>
                  <a:pt x="281588" y="1164508"/>
                  <a:pt x="281684" y="1165278"/>
                </a:cubicBezTo>
                <a:cubicBezTo>
                  <a:pt x="281684" y="1165567"/>
                  <a:pt x="281828" y="1166096"/>
                  <a:pt x="282069" y="1166577"/>
                </a:cubicBezTo>
                <a:cubicBezTo>
                  <a:pt x="282261" y="1167058"/>
                  <a:pt x="283030" y="1167925"/>
                  <a:pt x="283752" y="1168069"/>
                </a:cubicBezTo>
                <a:cubicBezTo>
                  <a:pt x="284665" y="1168309"/>
                  <a:pt x="285146" y="1168165"/>
                  <a:pt x="285579" y="1168069"/>
                </a:cubicBezTo>
                <a:cubicBezTo>
                  <a:pt x="286108" y="1167925"/>
                  <a:pt x="286252" y="1167780"/>
                  <a:pt x="286541" y="1167636"/>
                </a:cubicBezTo>
                <a:cubicBezTo>
                  <a:pt x="287118" y="1167299"/>
                  <a:pt x="287358" y="1167010"/>
                  <a:pt x="287791" y="1166722"/>
                </a:cubicBezTo>
                <a:cubicBezTo>
                  <a:pt x="289137" y="1165518"/>
                  <a:pt x="290051" y="1164364"/>
                  <a:pt x="290964" y="1163305"/>
                </a:cubicBezTo>
                <a:cubicBezTo>
                  <a:pt x="292696" y="1161140"/>
                  <a:pt x="293994" y="1159215"/>
                  <a:pt x="295004" y="1157675"/>
                </a:cubicBezTo>
                <a:cubicBezTo>
                  <a:pt x="297023" y="1154547"/>
                  <a:pt x="297889" y="1152719"/>
                  <a:pt x="297552" y="1152478"/>
                </a:cubicBezTo>
                <a:cubicBezTo>
                  <a:pt x="297216" y="1152237"/>
                  <a:pt x="295773" y="1153585"/>
                  <a:pt x="293176" y="1156231"/>
                </a:cubicBezTo>
                <a:cubicBezTo>
                  <a:pt x="291878" y="1157531"/>
                  <a:pt x="290291" y="1159215"/>
                  <a:pt x="288416" y="1161043"/>
                </a:cubicBezTo>
                <a:cubicBezTo>
                  <a:pt x="288368" y="1161091"/>
                  <a:pt x="288272" y="1161188"/>
                  <a:pt x="288224" y="1161236"/>
                </a:cubicBezTo>
                <a:cubicBezTo>
                  <a:pt x="292936" y="1153777"/>
                  <a:pt x="298610" y="1144682"/>
                  <a:pt x="305150" y="1134000"/>
                </a:cubicBezTo>
                <a:cubicBezTo>
                  <a:pt x="312651" y="1121537"/>
                  <a:pt x="321355" y="1107101"/>
                  <a:pt x="330972" y="1091125"/>
                </a:cubicBezTo>
                <a:cubicBezTo>
                  <a:pt x="331837" y="1089970"/>
                  <a:pt x="332655" y="1088815"/>
                  <a:pt x="333472" y="1087660"/>
                </a:cubicBezTo>
                <a:cubicBezTo>
                  <a:pt x="331549" y="1091125"/>
                  <a:pt x="329674" y="1094493"/>
                  <a:pt x="327894" y="1097765"/>
                </a:cubicBezTo>
                <a:cubicBezTo>
                  <a:pt x="318518" y="1114752"/>
                  <a:pt x="310824" y="1128370"/>
                  <a:pt x="305438" y="1137705"/>
                </a:cubicBezTo>
                <a:cubicBezTo>
                  <a:pt x="300101" y="1147040"/>
                  <a:pt x="296975" y="1152093"/>
                  <a:pt x="297552" y="1152574"/>
                </a:cubicBezTo>
                <a:cubicBezTo>
                  <a:pt x="298033" y="1152959"/>
                  <a:pt x="302313" y="1148676"/>
                  <a:pt x="308756" y="1139870"/>
                </a:cubicBezTo>
                <a:cubicBezTo>
                  <a:pt x="310487" y="1137513"/>
                  <a:pt x="312411" y="1134770"/>
                  <a:pt x="314478" y="1131786"/>
                </a:cubicBezTo>
                <a:cubicBezTo>
                  <a:pt x="312266" y="1135828"/>
                  <a:pt x="310055" y="1139870"/>
                  <a:pt x="307939" y="1143816"/>
                </a:cubicBezTo>
                <a:cubicBezTo>
                  <a:pt x="301255" y="1155750"/>
                  <a:pt x="294908" y="1167251"/>
                  <a:pt x="288175" y="1177115"/>
                </a:cubicBezTo>
                <a:cubicBezTo>
                  <a:pt x="284713" y="1182072"/>
                  <a:pt x="281107" y="1186788"/>
                  <a:pt x="277452" y="1191022"/>
                </a:cubicBezTo>
                <a:cubicBezTo>
                  <a:pt x="275625" y="1193139"/>
                  <a:pt x="273750" y="1195112"/>
                  <a:pt x="271874" y="1196748"/>
                </a:cubicBezTo>
                <a:cubicBezTo>
                  <a:pt x="271009" y="1197518"/>
                  <a:pt x="269903" y="1198240"/>
                  <a:pt x="269374" y="1198433"/>
                </a:cubicBezTo>
                <a:lnTo>
                  <a:pt x="269230" y="1198096"/>
                </a:lnTo>
                <a:cubicBezTo>
                  <a:pt x="269037" y="1197326"/>
                  <a:pt x="268556" y="1197278"/>
                  <a:pt x="268124" y="1197037"/>
                </a:cubicBezTo>
                <a:cubicBezTo>
                  <a:pt x="267595" y="1196845"/>
                  <a:pt x="267595" y="1196652"/>
                  <a:pt x="267306" y="1196508"/>
                </a:cubicBezTo>
                <a:cubicBezTo>
                  <a:pt x="266537" y="1195690"/>
                  <a:pt x="266970" y="1195064"/>
                  <a:pt x="267066" y="1194391"/>
                </a:cubicBezTo>
                <a:cubicBezTo>
                  <a:pt x="265816" y="1194727"/>
                  <a:pt x="264565" y="1195112"/>
                  <a:pt x="263411" y="1195497"/>
                </a:cubicBezTo>
                <a:cubicBezTo>
                  <a:pt x="259997" y="1202330"/>
                  <a:pt x="256727" y="1208827"/>
                  <a:pt x="253650" y="1214938"/>
                </a:cubicBezTo>
                <a:cubicBezTo>
                  <a:pt x="252352" y="1217584"/>
                  <a:pt x="251053" y="1220183"/>
                  <a:pt x="249851" y="1222637"/>
                </a:cubicBezTo>
                <a:lnTo>
                  <a:pt x="248793" y="1224802"/>
                </a:lnTo>
                <a:cubicBezTo>
                  <a:pt x="248264" y="1225621"/>
                  <a:pt x="248601" y="1226920"/>
                  <a:pt x="248505" y="1227545"/>
                </a:cubicBezTo>
                <a:cubicBezTo>
                  <a:pt x="248457" y="1228845"/>
                  <a:pt x="248601" y="1230914"/>
                  <a:pt x="249130" y="1232502"/>
                </a:cubicBezTo>
                <a:cubicBezTo>
                  <a:pt x="249466" y="1233320"/>
                  <a:pt x="249611" y="1234282"/>
                  <a:pt x="250236" y="1234860"/>
                </a:cubicBezTo>
                <a:lnTo>
                  <a:pt x="251005" y="1235870"/>
                </a:lnTo>
                <a:lnTo>
                  <a:pt x="252063" y="1236592"/>
                </a:lnTo>
                <a:cubicBezTo>
                  <a:pt x="252736" y="1237169"/>
                  <a:pt x="253650" y="1237025"/>
                  <a:pt x="254419" y="1237314"/>
                </a:cubicBezTo>
                <a:cubicBezTo>
                  <a:pt x="255237" y="1237217"/>
                  <a:pt x="256054" y="1237169"/>
                  <a:pt x="256872" y="1237025"/>
                </a:cubicBezTo>
                <a:cubicBezTo>
                  <a:pt x="258458" y="1236399"/>
                  <a:pt x="259949" y="1235822"/>
                  <a:pt x="260911" y="1235052"/>
                </a:cubicBezTo>
                <a:cubicBezTo>
                  <a:pt x="262065" y="1234378"/>
                  <a:pt x="262930" y="1233608"/>
                  <a:pt x="263844" y="1232887"/>
                </a:cubicBezTo>
                <a:cubicBezTo>
                  <a:pt x="267306" y="1229903"/>
                  <a:pt x="270095" y="1226872"/>
                  <a:pt x="272355" y="1224081"/>
                </a:cubicBezTo>
                <a:cubicBezTo>
                  <a:pt x="277020" y="1218499"/>
                  <a:pt x="280145" y="1213927"/>
                  <a:pt x="282165" y="1210751"/>
                </a:cubicBezTo>
                <a:cubicBezTo>
                  <a:pt x="284184" y="1207575"/>
                  <a:pt x="285098" y="1205891"/>
                  <a:pt x="284858" y="1205699"/>
                </a:cubicBezTo>
                <a:cubicBezTo>
                  <a:pt x="284281" y="1205266"/>
                  <a:pt x="279664" y="1211569"/>
                  <a:pt x="269903" y="1221867"/>
                </a:cubicBezTo>
                <a:cubicBezTo>
                  <a:pt x="267451" y="1224418"/>
                  <a:pt x="264613" y="1227160"/>
                  <a:pt x="261296" y="1229711"/>
                </a:cubicBezTo>
                <a:cubicBezTo>
                  <a:pt x="259709" y="1230962"/>
                  <a:pt x="257593" y="1232213"/>
                  <a:pt x="256487" y="1232502"/>
                </a:cubicBezTo>
                <a:cubicBezTo>
                  <a:pt x="255814" y="1232646"/>
                  <a:pt x="255044" y="1232742"/>
                  <a:pt x="254467" y="1232309"/>
                </a:cubicBezTo>
                <a:cubicBezTo>
                  <a:pt x="253794" y="1231972"/>
                  <a:pt x="253602" y="1231154"/>
                  <a:pt x="253458" y="1230481"/>
                </a:cubicBezTo>
                <a:cubicBezTo>
                  <a:pt x="253361" y="1229663"/>
                  <a:pt x="253265" y="1228989"/>
                  <a:pt x="253361" y="1227642"/>
                </a:cubicBezTo>
                <a:cubicBezTo>
                  <a:pt x="253361" y="1226487"/>
                  <a:pt x="253554" y="1226439"/>
                  <a:pt x="254371" y="1224899"/>
                </a:cubicBezTo>
                <a:cubicBezTo>
                  <a:pt x="255718" y="1222493"/>
                  <a:pt x="257064" y="1219942"/>
                  <a:pt x="258458" y="1217392"/>
                </a:cubicBezTo>
                <a:cubicBezTo>
                  <a:pt x="259853" y="1214793"/>
                  <a:pt x="261296" y="1212147"/>
                  <a:pt x="262786" y="1209404"/>
                </a:cubicBezTo>
                <a:cubicBezTo>
                  <a:pt x="263507" y="1208105"/>
                  <a:pt x="264229" y="1206757"/>
                  <a:pt x="264950" y="1205410"/>
                </a:cubicBezTo>
                <a:cubicBezTo>
                  <a:pt x="265287" y="1204784"/>
                  <a:pt x="265671" y="1204207"/>
                  <a:pt x="266008" y="1203581"/>
                </a:cubicBezTo>
                <a:lnTo>
                  <a:pt x="267018" y="1201801"/>
                </a:lnTo>
                <a:cubicBezTo>
                  <a:pt x="266970" y="1202523"/>
                  <a:pt x="266873" y="1203341"/>
                  <a:pt x="267066" y="1204063"/>
                </a:cubicBezTo>
                <a:cubicBezTo>
                  <a:pt x="267210" y="1204351"/>
                  <a:pt x="267114" y="1204496"/>
                  <a:pt x="267739" y="1204784"/>
                </a:cubicBezTo>
                <a:cubicBezTo>
                  <a:pt x="268605" y="1205314"/>
                  <a:pt x="270768" y="1204977"/>
                  <a:pt x="271490" y="1204640"/>
                </a:cubicBezTo>
                <a:cubicBezTo>
                  <a:pt x="273557" y="1203918"/>
                  <a:pt x="274711" y="1202908"/>
                  <a:pt x="276010" y="1201945"/>
                </a:cubicBezTo>
                <a:cubicBezTo>
                  <a:pt x="278462" y="1199972"/>
                  <a:pt x="280530" y="1197855"/>
                  <a:pt x="282549" y="1195642"/>
                </a:cubicBezTo>
                <a:cubicBezTo>
                  <a:pt x="286589" y="1191215"/>
                  <a:pt x="290339" y="1186451"/>
                  <a:pt x="294090" y="1181398"/>
                </a:cubicBezTo>
                <a:cubicBezTo>
                  <a:pt x="301495" y="1171052"/>
                  <a:pt x="308035" y="1159744"/>
                  <a:pt x="315007" y="1147858"/>
                </a:cubicBezTo>
                <a:cubicBezTo>
                  <a:pt x="328856" y="1124039"/>
                  <a:pt x="343426" y="1097621"/>
                  <a:pt x="359246" y="1069471"/>
                </a:cubicBezTo>
                <a:cubicBezTo>
                  <a:pt x="364824" y="1059606"/>
                  <a:pt x="370546" y="1049405"/>
                  <a:pt x="376413" y="1039107"/>
                </a:cubicBezTo>
                <a:cubicBezTo>
                  <a:pt x="364632" y="1060857"/>
                  <a:pt x="353813" y="1081019"/>
                  <a:pt x="344003" y="1099209"/>
                </a:cubicBezTo>
                <a:cubicBezTo>
                  <a:pt x="326067" y="1132556"/>
                  <a:pt x="311401" y="1159263"/>
                  <a:pt x="300918" y="1177452"/>
                </a:cubicBezTo>
                <a:cubicBezTo>
                  <a:pt x="290484" y="1195642"/>
                  <a:pt x="284088" y="1205218"/>
                  <a:pt x="284761" y="1205699"/>
                </a:cubicBezTo>
                <a:cubicBezTo>
                  <a:pt x="285050" y="1205891"/>
                  <a:pt x="286925" y="1203726"/>
                  <a:pt x="290339" y="1199347"/>
                </a:cubicBezTo>
                <a:cubicBezTo>
                  <a:pt x="293802" y="1195016"/>
                  <a:pt x="298418" y="1188279"/>
                  <a:pt x="304236" y="1179521"/>
                </a:cubicBezTo>
                <a:cubicBezTo>
                  <a:pt x="312892" y="1166288"/>
                  <a:pt x="323855" y="1148243"/>
                  <a:pt x="336742" y="1126108"/>
                </a:cubicBezTo>
                <a:cubicBezTo>
                  <a:pt x="322365" y="1152863"/>
                  <a:pt x="308660" y="1177885"/>
                  <a:pt x="295388" y="1200454"/>
                </a:cubicBezTo>
                <a:cubicBezTo>
                  <a:pt x="285194" y="1217344"/>
                  <a:pt x="275481" y="1232935"/>
                  <a:pt x="264469" y="1245783"/>
                </a:cubicBezTo>
                <a:cubicBezTo>
                  <a:pt x="259035" y="1252135"/>
                  <a:pt x="253361" y="1258246"/>
                  <a:pt x="247351" y="1261855"/>
                </a:cubicBezTo>
                <a:cubicBezTo>
                  <a:pt x="245860" y="1262721"/>
                  <a:pt x="244369" y="1263299"/>
                  <a:pt x="243311" y="1263395"/>
                </a:cubicBezTo>
                <a:cubicBezTo>
                  <a:pt x="242398" y="1263395"/>
                  <a:pt x="241628" y="1262962"/>
                  <a:pt x="241148" y="1262144"/>
                </a:cubicBezTo>
                <a:cubicBezTo>
                  <a:pt x="240090" y="1260075"/>
                  <a:pt x="239945" y="1256273"/>
                  <a:pt x="240186" y="1253049"/>
                </a:cubicBezTo>
                <a:lnTo>
                  <a:pt x="235089" y="1251557"/>
                </a:lnTo>
                <a:cubicBezTo>
                  <a:pt x="232059" y="1258054"/>
                  <a:pt x="229222" y="1264165"/>
                  <a:pt x="226529" y="1269939"/>
                </a:cubicBezTo>
                <a:cubicBezTo>
                  <a:pt x="225183" y="1272826"/>
                  <a:pt x="223885" y="1275617"/>
                  <a:pt x="222635" y="1278360"/>
                </a:cubicBezTo>
                <a:lnTo>
                  <a:pt x="221529" y="1280670"/>
                </a:lnTo>
                <a:cubicBezTo>
                  <a:pt x="221192" y="1281103"/>
                  <a:pt x="221240" y="1281632"/>
                  <a:pt x="221288" y="1282162"/>
                </a:cubicBezTo>
                <a:lnTo>
                  <a:pt x="221384" y="1283557"/>
                </a:lnTo>
                <a:cubicBezTo>
                  <a:pt x="221384" y="1285049"/>
                  <a:pt x="221721" y="1286541"/>
                  <a:pt x="221913" y="1288032"/>
                </a:cubicBezTo>
                <a:cubicBezTo>
                  <a:pt x="222490" y="1290920"/>
                  <a:pt x="223452" y="1293759"/>
                  <a:pt x="225135" y="1296213"/>
                </a:cubicBezTo>
                <a:cubicBezTo>
                  <a:pt x="226722" y="1298715"/>
                  <a:pt x="229751" y="1300447"/>
                  <a:pt x="232540" y="1300640"/>
                </a:cubicBezTo>
                <a:cubicBezTo>
                  <a:pt x="238262" y="1300977"/>
                  <a:pt x="242157" y="1298090"/>
                  <a:pt x="245379" y="1295924"/>
                </a:cubicBezTo>
                <a:cubicBezTo>
                  <a:pt x="251678" y="1291160"/>
                  <a:pt x="255525" y="1286589"/>
                  <a:pt x="258074" y="1283557"/>
                </a:cubicBezTo>
                <a:cubicBezTo>
                  <a:pt x="260574" y="1280429"/>
                  <a:pt x="261728" y="1278745"/>
                  <a:pt x="261536" y="1278601"/>
                </a:cubicBezTo>
                <a:cubicBezTo>
                  <a:pt x="261344" y="1278456"/>
                  <a:pt x="259805" y="1279804"/>
                  <a:pt x="257016" y="1282595"/>
                </a:cubicBezTo>
                <a:cubicBezTo>
                  <a:pt x="254179" y="1285290"/>
                  <a:pt x="249995" y="1289524"/>
                  <a:pt x="243792" y="1293614"/>
                </a:cubicBezTo>
                <a:cubicBezTo>
                  <a:pt x="240763" y="1295491"/>
                  <a:pt x="236820" y="1297705"/>
                  <a:pt x="233021" y="1297175"/>
                </a:cubicBezTo>
                <a:cubicBezTo>
                  <a:pt x="229174" y="1296887"/>
                  <a:pt x="226818" y="1292363"/>
                  <a:pt x="226049" y="1287311"/>
                </a:cubicBezTo>
                <a:cubicBezTo>
                  <a:pt x="225904" y="1286011"/>
                  <a:pt x="225712" y="1284712"/>
                  <a:pt x="225712" y="1283365"/>
                </a:cubicBezTo>
                <a:cubicBezTo>
                  <a:pt x="225568" y="1282114"/>
                  <a:pt x="225856" y="1281969"/>
                  <a:pt x="226674" y="1280333"/>
                </a:cubicBezTo>
                <a:cubicBezTo>
                  <a:pt x="228020" y="1277687"/>
                  <a:pt x="229415" y="1274944"/>
                  <a:pt x="230809" y="1272105"/>
                </a:cubicBezTo>
                <a:cubicBezTo>
                  <a:pt x="232300" y="1269121"/>
                  <a:pt x="233887" y="1265993"/>
                  <a:pt x="235473" y="1262817"/>
                </a:cubicBezTo>
                <a:cubicBezTo>
                  <a:pt x="235714" y="1263539"/>
                  <a:pt x="235858" y="1264261"/>
                  <a:pt x="236243" y="1265031"/>
                </a:cubicBezTo>
                <a:cubicBezTo>
                  <a:pt x="237589" y="1267533"/>
                  <a:pt x="240282" y="1269265"/>
                  <a:pt x="243311" y="1269265"/>
                </a:cubicBezTo>
                <a:cubicBezTo>
                  <a:pt x="246100" y="1268977"/>
                  <a:pt x="248312" y="1268207"/>
                  <a:pt x="250236" y="1267100"/>
                </a:cubicBezTo>
                <a:cubicBezTo>
                  <a:pt x="257833" y="1262721"/>
                  <a:pt x="263556" y="1256514"/>
                  <a:pt x="269422" y="1250066"/>
                </a:cubicBezTo>
                <a:cubicBezTo>
                  <a:pt x="281059" y="1237073"/>
                  <a:pt x="291397" y="1221242"/>
                  <a:pt x="301880" y="1204351"/>
                </a:cubicBezTo>
                <a:cubicBezTo>
                  <a:pt x="322605" y="1170379"/>
                  <a:pt x="344051" y="1131113"/>
                  <a:pt x="367373" y="1088430"/>
                </a:cubicBezTo>
                <a:cubicBezTo>
                  <a:pt x="386607" y="1053158"/>
                  <a:pt x="406996" y="1015432"/>
                  <a:pt x="428971" y="976214"/>
                </a:cubicBezTo>
                <a:cubicBezTo>
                  <a:pt x="399109" y="1033092"/>
                  <a:pt x="372181" y="1084292"/>
                  <a:pt x="349293" y="1127840"/>
                </a:cubicBezTo>
                <a:cubicBezTo>
                  <a:pt x="323855" y="1175720"/>
                  <a:pt x="302649" y="1213879"/>
                  <a:pt x="286925" y="1239527"/>
                </a:cubicBezTo>
                <a:cubicBezTo>
                  <a:pt x="278799" y="1252135"/>
                  <a:pt x="272788" y="1262192"/>
                  <a:pt x="268028" y="1268448"/>
                </a:cubicBezTo>
                <a:cubicBezTo>
                  <a:pt x="263459" y="1274896"/>
                  <a:pt x="261199" y="1278408"/>
                  <a:pt x="261488" y="1278649"/>
                </a:cubicBezTo>
                <a:cubicBezTo>
                  <a:pt x="261776" y="1278890"/>
                  <a:pt x="264565" y="1275810"/>
                  <a:pt x="269662" y="1269699"/>
                </a:cubicBezTo>
                <a:cubicBezTo>
                  <a:pt x="275000" y="1263780"/>
                  <a:pt x="281588" y="1254059"/>
                  <a:pt x="290243" y="1241645"/>
                </a:cubicBezTo>
                <a:cubicBezTo>
                  <a:pt x="299283" y="1228171"/>
                  <a:pt x="309862" y="1211040"/>
                  <a:pt x="321836" y="1190733"/>
                </a:cubicBezTo>
                <a:cubicBezTo>
                  <a:pt x="311161" y="1211040"/>
                  <a:pt x="300678" y="1230336"/>
                  <a:pt x="290387" y="1248381"/>
                </a:cubicBezTo>
                <a:cubicBezTo>
                  <a:pt x="287262" y="1253867"/>
                  <a:pt x="284136" y="1259257"/>
                  <a:pt x="281107" y="1264550"/>
                </a:cubicBezTo>
                <a:cubicBezTo>
                  <a:pt x="277933" y="1269747"/>
                  <a:pt x="274760" y="1274847"/>
                  <a:pt x="271682" y="1279852"/>
                </a:cubicBezTo>
                <a:cubicBezTo>
                  <a:pt x="268701" y="1284953"/>
                  <a:pt x="265335" y="1289572"/>
                  <a:pt x="262209" y="1294240"/>
                </a:cubicBezTo>
                <a:cubicBezTo>
                  <a:pt x="260622" y="1296550"/>
                  <a:pt x="259035" y="1298859"/>
                  <a:pt x="257497" y="1301121"/>
                </a:cubicBezTo>
                <a:cubicBezTo>
                  <a:pt x="255910" y="1303335"/>
                  <a:pt x="254083" y="1305356"/>
                  <a:pt x="252448" y="1307425"/>
                </a:cubicBezTo>
                <a:cubicBezTo>
                  <a:pt x="250765" y="1309494"/>
                  <a:pt x="249082" y="1311515"/>
                  <a:pt x="247447" y="1313536"/>
                </a:cubicBezTo>
                <a:cubicBezTo>
                  <a:pt x="245716" y="1315461"/>
                  <a:pt x="243840" y="1317193"/>
                  <a:pt x="242061" y="1318877"/>
                </a:cubicBezTo>
                <a:cubicBezTo>
                  <a:pt x="238455" y="1322053"/>
                  <a:pt x="234127" y="1324892"/>
                  <a:pt x="230905" y="1324748"/>
                </a:cubicBezTo>
                <a:cubicBezTo>
                  <a:pt x="229415" y="1324604"/>
                  <a:pt x="228164" y="1323593"/>
                  <a:pt x="227010" y="1322053"/>
                </a:cubicBezTo>
                <a:cubicBezTo>
                  <a:pt x="225904" y="1320417"/>
                  <a:pt x="225039" y="1318396"/>
                  <a:pt x="224318" y="1316279"/>
                </a:cubicBezTo>
                <a:cubicBezTo>
                  <a:pt x="222827" y="1312044"/>
                  <a:pt x="222106" y="1307473"/>
                  <a:pt x="220567" y="1302950"/>
                </a:cubicBezTo>
                <a:lnTo>
                  <a:pt x="220567" y="1302805"/>
                </a:lnTo>
                <a:cubicBezTo>
                  <a:pt x="220134" y="1300303"/>
                  <a:pt x="219797" y="1297849"/>
                  <a:pt x="219461" y="1295443"/>
                </a:cubicBezTo>
                <a:lnTo>
                  <a:pt x="218163" y="1286589"/>
                </a:lnTo>
                <a:lnTo>
                  <a:pt x="214604" y="1294577"/>
                </a:lnTo>
                <a:cubicBezTo>
                  <a:pt x="211334" y="1301891"/>
                  <a:pt x="208257" y="1308820"/>
                  <a:pt x="205372" y="1315365"/>
                </a:cubicBezTo>
                <a:cubicBezTo>
                  <a:pt x="204650" y="1317001"/>
                  <a:pt x="203929" y="1318589"/>
                  <a:pt x="203256" y="1320177"/>
                </a:cubicBezTo>
                <a:cubicBezTo>
                  <a:pt x="202871" y="1321283"/>
                  <a:pt x="202006" y="1322342"/>
                  <a:pt x="202054" y="1323449"/>
                </a:cubicBezTo>
                <a:cubicBezTo>
                  <a:pt x="202487" y="1324411"/>
                  <a:pt x="203112" y="1325903"/>
                  <a:pt x="203304" y="1326432"/>
                </a:cubicBezTo>
                <a:cubicBezTo>
                  <a:pt x="204362" y="1329416"/>
                  <a:pt x="205083" y="1332544"/>
                  <a:pt x="205804" y="1335527"/>
                </a:cubicBezTo>
                <a:cubicBezTo>
                  <a:pt x="208642" y="1347557"/>
                  <a:pt x="210805" y="1358192"/>
                  <a:pt x="215566" y="1365891"/>
                </a:cubicBezTo>
                <a:cubicBezTo>
                  <a:pt x="217778" y="1369692"/>
                  <a:pt x="221673" y="1372628"/>
                  <a:pt x="225472" y="1372435"/>
                </a:cubicBezTo>
                <a:cubicBezTo>
                  <a:pt x="229126" y="1372243"/>
                  <a:pt x="231627" y="1370510"/>
                  <a:pt x="233454" y="1369211"/>
                </a:cubicBezTo>
                <a:cubicBezTo>
                  <a:pt x="235233" y="1367816"/>
                  <a:pt x="236435" y="1366661"/>
                  <a:pt x="237205" y="1365795"/>
                </a:cubicBezTo>
                <a:cubicBezTo>
                  <a:pt x="237974" y="1364928"/>
                  <a:pt x="238311" y="1364495"/>
                  <a:pt x="238214" y="1364399"/>
                </a:cubicBezTo>
                <a:cubicBezTo>
                  <a:pt x="238022" y="1364158"/>
                  <a:pt x="236339" y="1365795"/>
                  <a:pt x="232684" y="1368104"/>
                </a:cubicBezTo>
                <a:cubicBezTo>
                  <a:pt x="230857" y="1369163"/>
                  <a:pt x="228405" y="1370462"/>
                  <a:pt x="225472" y="1370414"/>
                </a:cubicBezTo>
                <a:cubicBezTo>
                  <a:pt x="222586" y="1370318"/>
                  <a:pt x="219701" y="1368056"/>
                  <a:pt x="217826" y="1364495"/>
                </a:cubicBezTo>
                <a:cubicBezTo>
                  <a:pt x="213835" y="1357325"/>
                  <a:pt x="212008" y="1346883"/>
                  <a:pt x="209603" y="1334709"/>
                </a:cubicBezTo>
                <a:cubicBezTo>
                  <a:pt x="208978" y="1331629"/>
                  <a:pt x="208353" y="1328453"/>
                  <a:pt x="207295" y="1325085"/>
                </a:cubicBezTo>
                <a:cubicBezTo>
                  <a:pt x="206959" y="1324074"/>
                  <a:pt x="206910" y="1323978"/>
                  <a:pt x="206670" y="1323401"/>
                </a:cubicBezTo>
                <a:cubicBezTo>
                  <a:pt x="206670" y="1322920"/>
                  <a:pt x="207055" y="1322486"/>
                  <a:pt x="207247" y="1322005"/>
                </a:cubicBezTo>
                <a:cubicBezTo>
                  <a:pt x="207968" y="1320465"/>
                  <a:pt x="208738" y="1318877"/>
                  <a:pt x="209507" y="1317241"/>
                </a:cubicBezTo>
                <a:cubicBezTo>
                  <a:pt x="211431" y="1313151"/>
                  <a:pt x="213450" y="1308868"/>
                  <a:pt x="215566" y="1304489"/>
                </a:cubicBezTo>
                <a:lnTo>
                  <a:pt x="215566" y="1304586"/>
                </a:lnTo>
                <a:cubicBezTo>
                  <a:pt x="216912" y="1308628"/>
                  <a:pt x="217537" y="1313247"/>
                  <a:pt x="219076" y="1318011"/>
                </a:cubicBezTo>
                <a:cubicBezTo>
                  <a:pt x="219846" y="1320417"/>
                  <a:pt x="220759" y="1322871"/>
                  <a:pt x="222346" y="1325326"/>
                </a:cubicBezTo>
                <a:cubicBezTo>
                  <a:pt x="223981" y="1327683"/>
                  <a:pt x="226674" y="1330186"/>
                  <a:pt x="230328" y="1330571"/>
                </a:cubicBezTo>
                <a:cubicBezTo>
                  <a:pt x="233742" y="1330763"/>
                  <a:pt x="236820" y="1329753"/>
                  <a:pt x="239224" y="1328357"/>
                </a:cubicBezTo>
                <a:cubicBezTo>
                  <a:pt x="241821" y="1327010"/>
                  <a:pt x="243888" y="1325277"/>
                  <a:pt x="246100" y="1323545"/>
                </a:cubicBezTo>
                <a:cubicBezTo>
                  <a:pt x="248120" y="1321717"/>
                  <a:pt x="250188" y="1319840"/>
                  <a:pt x="252063" y="1317867"/>
                </a:cubicBezTo>
                <a:cubicBezTo>
                  <a:pt x="253842" y="1315798"/>
                  <a:pt x="255621" y="1313680"/>
                  <a:pt x="257449" y="1311563"/>
                </a:cubicBezTo>
                <a:cubicBezTo>
                  <a:pt x="259228" y="1309398"/>
                  <a:pt x="261151" y="1307329"/>
                  <a:pt x="262834" y="1305067"/>
                </a:cubicBezTo>
                <a:cubicBezTo>
                  <a:pt x="264469" y="1302757"/>
                  <a:pt x="266104" y="1300447"/>
                  <a:pt x="267787" y="1298090"/>
                </a:cubicBezTo>
                <a:cubicBezTo>
                  <a:pt x="271105" y="1293374"/>
                  <a:pt x="274615" y="1288658"/>
                  <a:pt x="277645" y="1283605"/>
                </a:cubicBezTo>
                <a:cubicBezTo>
                  <a:pt x="280818" y="1278601"/>
                  <a:pt x="284088" y="1273500"/>
                  <a:pt x="287358" y="1268303"/>
                </a:cubicBezTo>
                <a:cubicBezTo>
                  <a:pt x="290484" y="1263010"/>
                  <a:pt x="293657" y="1257620"/>
                  <a:pt x="296927" y="1252183"/>
                </a:cubicBezTo>
                <a:cubicBezTo>
                  <a:pt x="307169" y="1234763"/>
                  <a:pt x="317508" y="1216237"/>
                  <a:pt x="328039" y="1196748"/>
                </a:cubicBezTo>
                <a:cubicBezTo>
                  <a:pt x="305150" y="1245494"/>
                  <a:pt x="286012" y="1285241"/>
                  <a:pt x="270576" y="1313488"/>
                </a:cubicBezTo>
                <a:cubicBezTo>
                  <a:pt x="261296" y="1330667"/>
                  <a:pt x="253313" y="1343515"/>
                  <a:pt x="247447" y="1351840"/>
                </a:cubicBezTo>
                <a:cubicBezTo>
                  <a:pt x="245956" y="1353909"/>
                  <a:pt x="244658" y="1355786"/>
                  <a:pt x="243552" y="1357373"/>
                </a:cubicBezTo>
                <a:cubicBezTo>
                  <a:pt x="242350" y="1358865"/>
                  <a:pt x="241340" y="1360165"/>
                  <a:pt x="240522" y="1361175"/>
                </a:cubicBezTo>
                <a:cubicBezTo>
                  <a:pt x="238888" y="1363244"/>
                  <a:pt x="238118" y="1364351"/>
                  <a:pt x="238262" y="1364495"/>
                </a:cubicBezTo>
                <a:cubicBezTo>
                  <a:pt x="238407" y="1364640"/>
                  <a:pt x="239416" y="1363725"/>
                  <a:pt x="241292" y="1361897"/>
                </a:cubicBezTo>
                <a:cubicBezTo>
                  <a:pt x="242205" y="1360934"/>
                  <a:pt x="243408" y="1359779"/>
                  <a:pt x="244802" y="1358384"/>
                </a:cubicBezTo>
                <a:cubicBezTo>
                  <a:pt x="246100" y="1356940"/>
                  <a:pt x="247495" y="1355112"/>
                  <a:pt x="249130" y="1353139"/>
                </a:cubicBezTo>
                <a:cubicBezTo>
                  <a:pt x="255621" y="1345103"/>
                  <a:pt x="264229" y="1332447"/>
                  <a:pt x="274086" y="1315509"/>
                </a:cubicBezTo>
                <a:cubicBezTo>
                  <a:pt x="293994" y="1281681"/>
                  <a:pt x="319287" y="1230769"/>
                  <a:pt x="349870" y="1167443"/>
                </a:cubicBezTo>
                <a:cubicBezTo>
                  <a:pt x="353476" y="1160033"/>
                  <a:pt x="357179" y="1152430"/>
                  <a:pt x="360929" y="1144682"/>
                </a:cubicBezTo>
                <a:cubicBezTo>
                  <a:pt x="344147" y="1181687"/>
                  <a:pt x="328616" y="1217296"/>
                  <a:pt x="313372" y="1250980"/>
                </a:cubicBezTo>
                <a:cubicBezTo>
                  <a:pt x="300389" y="1279756"/>
                  <a:pt x="287743" y="1307232"/>
                  <a:pt x="274856" y="1332929"/>
                </a:cubicBezTo>
                <a:cubicBezTo>
                  <a:pt x="261873" y="1358576"/>
                  <a:pt x="249082" y="1382925"/>
                  <a:pt x="233742" y="1403617"/>
                </a:cubicBezTo>
                <a:cubicBezTo>
                  <a:pt x="229895" y="1408766"/>
                  <a:pt x="225760" y="1413530"/>
                  <a:pt x="221336" y="1417764"/>
                </a:cubicBezTo>
                <a:cubicBezTo>
                  <a:pt x="219172" y="1419737"/>
                  <a:pt x="216720" y="1421518"/>
                  <a:pt x="214364" y="1422095"/>
                </a:cubicBezTo>
                <a:cubicBezTo>
                  <a:pt x="213210" y="1422288"/>
                  <a:pt x="212152" y="1422191"/>
                  <a:pt x="211190" y="1421758"/>
                </a:cubicBezTo>
                <a:cubicBezTo>
                  <a:pt x="210228" y="1421277"/>
                  <a:pt x="209363" y="1420363"/>
                  <a:pt x="208593" y="1419304"/>
                </a:cubicBezTo>
                <a:cubicBezTo>
                  <a:pt x="205612" y="1414733"/>
                  <a:pt x="204410" y="1408670"/>
                  <a:pt x="203448" y="1402991"/>
                </a:cubicBezTo>
                <a:cubicBezTo>
                  <a:pt x="202487" y="1397217"/>
                  <a:pt x="202006" y="1391394"/>
                  <a:pt x="201525" y="1385668"/>
                </a:cubicBezTo>
                <a:cubicBezTo>
                  <a:pt x="201284" y="1382781"/>
                  <a:pt x="201092" y="1379942"/>
                  <a:pt x="200659" y="1377007"/>
                </a:cubicBezTo>
                <a:cubicBezTo>
                  <a:pt x="200563" y="1376333"/>
                  <a:pt x="200371" y="1375371"/>
                  <a:pt x="200178" y="1374697"/>
                </a:cubicBezTo>
                <a:lnTo>
                  <a:pt x="199650" y="1372676"/>
                </a:lnTo>
                <a:lnTo>
                  <a:pt x="198544" y="1368586"/>
                </a:lnTo>
                <a:cubicBezTo>
                  <a:pt x="198111" y="1367142"/>
                  <a:pt x="197822" y="1366083"/>
                  <a:pt x="197149" y="1364255"/>
                </a:cubicBezTo>
                <a:cubicBezTo>
                  <a:pt x="196524" y="1362522"/>
                  <a:pt x="195658" y="1360934"/>
                  <a:pt x="194697" y="1359587"/>
                </a:cubicBezTo>
                <a:cubicBezTo>
                  <a:pt x="193687" y="1358288"/>
                  <a:pt x="192437" y="1357229"/>
                  <a:pt x="190898" y="1356892"/>
                </a:cubicBezTo>
                <a:cubicBezTo>
                  <a:pt x="190080" y="1356748"/>
                  <a:pt x="189311" y="1356796"/>
                  <a:pt x="188494" y="1357037"/>
                </a:cubicBezTo>
                <a:cubicBezTo>
                  <a:pt x="187965" y="1357518"/>
                  <a:pt x="187724" y="1358384"/>
                  <a:pt x="187340" y="1359010"/>
                </a:cubicBezTo>
                <a:cubicBezTo>
                  <a:pt x="185945" y="1361752"/>
                  <a:pt x="184599" y="1364495"/>
                  <a:pt x="183252" y="1367238"/>
                </a:cubicBezTo>
                <a:cubicBezTo>
                  <a:pt x="182242" y="1369692"/>
                  <a:pt x="181233" y="1372098"/>
                  <a:pt x="180223" y="1374504"/>
                </a:cubicBezTo>
                <a:cubicBezTo>
                  <a:pt x="178251" y="1379316"/>
                  <a:pt x="176328" y="1384032"/>
                  <a:pt x="174404" y="1388700"/>
                </a:cubicBezTo>
                <a:cubicBezTo>
                  <a:pt x="169019" y="1401933"/>
                  <a:pt x="164066" y="1414444"/>
                  <a:pt x="159498" y="1426330"/>
                </a:cubicBezTo>
                <a:cubicBezTo>
                  <a:pt x="159402" y="1426570"/>
                  <a:pt x="159257" y="1426811"/>
                  <a:pt x="159161" y="1427100"/>
                </a:cubicBezTo>
                <a:cubicBezTo>
                  <a:pt x="157045" y="1431815"/>
                  <a:pt x="154689" y="1437927"/>
                  <a:pt x="152333" y="1445193"/>
                </a:cubicBezTo>
                <a:cubicBezTo>
                  <a:pt x="147092" y="1459100"/>
                  <a:pt x="142427" y="1471996"/>
                  <a:pt x="138340" y="1483593"/>
                </a:cubicBezTo>
                <a:cubicBezTo>
                  <a:pt x="136128" y="1490137"/>
                  <a:pt x="133820" y="1495960"/>
                  <a:pt x="132089" y="1502071"/>
                </a:cubicBezTo>
                <a:cubicBezTo>
                  <a:pt x="130935" y="1508038"/>
                  <a:pt x="130069" y="1513572"/>
                  <a:pt x="129300" y="1518769"/>
                </a:cubicBezTo>
                <a:cubicBezTo>
                  <a:pt x="127857" y="1529114"/>
                  <a:pt x="126992" y="1537824"/>
                  <a:pt x="126511" y="1544898"/>
                </a:cubicBezTo>
                <a:cubicBezTo>
                  <a:pt x="126030" y="1551923"/>
                  <a:pt x="125886" y="1557265"/>
                  <a:pt x="125838" y="1560826"/>
                </a:cubicBezTo>
                <a:cubicBezTo>
                  <a:pt x="125838" y="1562606"/>
                  <a:pt x="125838" y="1563953"/>
                  <a:pt x="125838" y="1564868"/>
                </a:cubicBezTo>
                <a:cubicBezTo>
                  <a:pt x="125838" y="1565782"/>
                  <a:pt x="125934" y="1566215"/>
                  <a:pt x="125982" y="1566215"/>
                </a:cubicBezTo>
                <a:cubicBezTo>
                  <a:pt x="125982" y="1566215"/>
                  <a:pt x="126078" y="1565782"/>
                  <a:pt x="126126" y="1564868"/>
                </a:cubicBezTo>
                <a:cubicBezTo>
                  <a:pt x="126174" y="1563953"/>
                  <a:pt x="126271" y="1562654"/>
                  <a:pt x="126367" y="1560874"/>
                </a:cubicBezTo>
                <a:cubicBezTo>
                  <a:pt x="126559" y="1557313"/>
                  <a:pt x="126896" y="1552020"/>
                  <a:pt x="127569" y="1544994"/>
                </a:cubicBezTo>
                <a:cubicBezTo>
                  <a:pt x="128242" y="1538017"/>
                  <a:pt x="129252" y="1529307"/>
                  <a:pt x="130887" y="1519057"/>
                </a:cubicBezTo>
                <a:cubicBezTo>
                  <a:pt x="131752" y="1513908"/>
                  <a:pt x="132714" y="1508375"/>
                  <a:pt x="133916" y="1502504"/>
                </a:cubicBezTo>
                <a:cubicBezTo>
                  <a:pt x="135599" y="1497018"/>
                  <a:pt x="138052" y="1490811"/>
                  <a:pt x="140360" y="1484411"/>
                </a:cubicBezTo>
                <a:cubicBezTo>
                  <a:pt x="141802" y="1480513"/>
                  <a:pt x="143341" y="1476423"/>
                  <a:pt x="144880" y="1472236"/>
                </a:cubicBezTo>
                <a:cubicBezTo>
                  <a:pt x="141658" y="1486287"/>
                  <a:pt x="138725" y="1502456"/>
                  <a:pt x="136946" y="1520357"/>
                </a:cubicBezTo>
                <a:cubicBezTo>
                  <a:pt x="136032" y="1531184"/>
                  <a:pt x="135070" y="1542492"/>
                  <a:pt x="136465" y="1554955"/>
                </a:cubicBezTo>
                <a:cubicBezTo>
                  <a:pt x="136657" y="1556543"/>
                  <a:pt x="136946" y="1558131"/>
                  <a:pt x="137330" y="1559815"/>
                </a:cubicBezTo>
                <a:cubicBezTo>
                  <a:pt x="137475" y="1560537"/>
                  <a:pt x="137907" y="1561836"/>
                  <a:pt x="138292" y="1562847"/>
                </a:cubicBezTo>
                <a:cubicBezTo>
                  <a:pt x="138917" y="1564146"/>
                  <a:pt x="139446" y="1565493"/>
                  <a:pt x="140360" y="1566552"/>
                </a:cubicBezTo>
                <a:cubicBezTo>
                  <a:pt x="141995" y="1568669"/>
                  <a:pt x="144447" y="1570257"/>
                  <a:pt x="147140" y="1570161"/>
                </a:cubicBezTo>
                <a:cubicBezTo>
                  <a:pt x="149785" y="1570161"/>
                  <a:pt x="152381" y="1568813"/>
                  <a:pt x="154545" y="1566793"/>
                </a:cubicBezTo>
                <a:cubicBezTo>
                  <a:pt x="155507" y="1565926"/>
                  <a:pt x="156228" y="1565060"/>
                  <a:pt x="156901" y="1564290"/>
                </a:cubicBezTo>
                <a:cubicBezTo>
                  <a:pt x="157430" y="1563617"/>
                  <a:pt x="158007" y="1562895"/>
                  <a:pt x="158488" y="1562221"/>
                </a:cubicBezTo>
                <a:cubicBezTo>
                  <a:pt x="159450" y="1560826"/>
                  <a:pt x="160363" y="1559430"/>
                  <a:pt x="161181" y="1558035"/>
                </a:cubicBezTo>
                <a:cubicBezTo>
                  <a:pt x="162816" y="1555244"/>
                  <a:pt x="164306" y="1552404"/>
                  <a:pt x="165653" y="1549517"/>
                </a:cubicBezTo>
                <a:cubicBezTo>
                  <a:pt x="171087" y="1537968"/>
                  <a:pt x="175462" y="1526805"/>
                  <a:pt x="179117" y="1515352"/>
                </a:cubicBezTo>
                <a:cubicBezTo>
                  <a:pt x="182627" y="1503996"/>
                  <a:pt x="185176" y="1492880"/>
                  <a:pt x="187099" y="1482197"/>
                </a:cubicBezTo>
                <a:cubicBezTo>
                  <a:pt x="190898" y="1460832"/>
                  <a:pt x="192340" y="1441295"/>
                  <a:pt x="191619" y="1424790"/>
                </a:cubicBezTo>
                <a:cubicBezTo>
                  <a:pt x="191186" y="1416513"/>
                  <a:pt x="190465" y="1409006"/>
                  <a:pt x="187868" y="1402270"/>
                </a:cubicBezTo>
                <a:cubicBezTo>
                  <a:pt x="187291" y="1400778"/>
                  <a:pt x="186137" y="1398516"/>
                  <a:pt x="184454" y="1396976"/>
                </a:cubicBezTo>
                <a:cubicBezTo>
                  <a:pt x="182868" y="1395485"/>
                  <a:pt x="180608" y="1394955"/>
                  <a:pt x="178732" y="1395437"/>
                </a:cubicBezTo>
                <a:cubicBezTo>
                  <a:pt x="176857" y="1395918"/>
                  <a:pt x="175126" y="1397265"/>
                  <a:pt x="174116" y="1398372"/>
                </a:cubicBezTo>
                <a:cubicBezTo>
                  <a:pt x="173924" y="1398564"/>
                  <a:pt x="173779" y="1398757"/>
                  <a:pt x="173635" y="1398949"/>
                </a:cubicBezTo>
                <a:cubicBezTo>
                  <a:pt x="174837" y="1396014"/>
                  <a:pt x="176039" y="1393079"/>
                  <a:pt x="177290" y="1390047"/>
                </a:cubicBezTo>
                <a:cubicBezTo>
                  <a:pt x="180944" y="1381434"/>
                  <a:pt x="184743" y="1372435"/>
                  <a:pt x="188734" y="1363148"/>
                </a:cubicBezTo>
                <a:lnTo>
                  <a:pt x="189359" y="1361849"/>
                </a:lnTo>
                <a:cubicBezTo>
                  <a:pt x="189792" y="1361704"/>
                  <a:pt x="190273" y="1361704"/>
                  <a:pt x="190706" y="1361849"/>
                </a:cubicBezTo>
                <a:cubicBezTo>
                  <a:pt x="191571" y="1362137"/>
                  <a:pt x="192196" y="1362907"/>
                  <a:pt x="192677" y="1363677"/>
                </a:cubicBezTo>
                <a:cubicBezTo>
                  <a:pt x="193110" y="1364447"/>
                  <a:pt x="193495" y="1365313"/>
                  <a:pt x="193783" y="1366180"/>
                </a:cubicBezTo>
                <a:cubicBezTo>
                  <a:pt x="194072" y="1366949"/>
                  <a:pt x="194552" y="1368586"/>
                  <a:pt x="194889" y="1369789"/>
                </a:cubicBezTo>
                <a:lnTo>
                  <a:pt x="195947" y="1373831"/>
                </a:lnTo>
                <a:lnTo>
                  <a:pt x="196476" y="1375900"/>
                </a:lnTo>
                <a:cubicBezTo>
                  <a:pt x="196668" y="1376574"/>
                  <a:pt x="196764" y="1377055"/>
                  <a:pt x="196861" y="1377777"/>
                </a:cubicBezTo>
                <a:cubicBezTo>
                  <a:pt x="197245" y="1380423"/>
                  <a:pt x="197389" y="1383310"/>
                  <a:pt x="197630" y="1386198"/>
                </a:cubicBezTo>
                <a:cubicBezTo>
                  <a:pt x="198063" y="1391972"/>
                  <a:pt x="198544" y="1397843"/>
                  <a:pt x="199457" y="1403810"/>
                </a:cubicBezTo>
                <a:cubicBezTo>
                  <a:pt x="200515" y="1409776"/>
                  <a:pt x="201477" y="1415936"/>
                  <a:pt x="205179" y="1421806"/>
                </a:cubicBezTo>
                <a:cubicBezTo>
                  <a:pt x="206237" y="1423202"/>
                  <a:pt x="207439" y="1424646"/>
                  <a:pt x="209267" y="1425560"/>
                </a:cubicBezTo>
                <a:cubicBezTo>
                  <a:pt x="211094" y="1426474"/>
                  <a:pt x="213258" y="1426667"/>
                  <a:pt x="215133" y="1426282"/>
                </a:cubicBezTo>
                <a:cubicBezTo>
                  <a:pt x="218884" y="1425367"/>
                  <a:pt x="221577" y="1423202"/>
                  <a:pt x="224077" y="1421037"/>
                </a:cubicBezTo>
                <a:cubicBezTo>
                  <a:pt x="228790" y="1416561"/>
                  <a:pt x="233117" y="1411653"/>
                  <a:pt x="237060" y="1406408"/>
                </a:cubicBezTo>
                <a:cubicBezTo>
                  <a:pt x="252880" y="1385379"/>
                  <a:pt x="265816" y="1360982"/>
                  <a:pt x="278991" y="1335286"/>
                </a:cubicBezTo>
                <a:cubicBezTo>
                  <a:pt x="292070" y="1309542"/>
                  <a:pt x="304861" y="1282065"/>
                  <a:pt x="317989" y="1253338"/>
                </a:cubicBezTo>
                <a:cubicBezTo>
                  <a:pt x="344340" y="1195882"/>
                  <a:pt x="371460" y="1132797"/>
                  <a:pt x="404158" y="1066968"/>
                </a:cubicBezTo>
                <a:cubicBezTo>
                  <a:pt x="417959" y="1039059"/>
                  <a:pt x="433683" y="1011101"/>
                  <a:pt x="450706" y="982902"/>
                </a:cubicBezTo>
                <a:cubicBezTo>
                  <a:pt x="432721" y="1013988"/>
                  <a:pt x="417719" y="1043630"/>
                  <a:pt x="404399" y="1070626"/>
                </a:cubicBezTo>
                <a:cubicBezTo>
                  <a:pt x="386078" y="1108207"/>
                  <a:pt x="371172" y="1140977"/>
                  <a:pt x="359198" y="1167876"/>
                </a:cubicBezTo>
                <a:cubicBezTo>
                  <a:pt x="347177" y="1194727"/>
                  <a:pt x="338089" y="1215660"/>
                  <a:pt x="331982" y="1229903"/>
                </a:cubicBezTo>
                <a:cubicBezTo>
                  <a:pt x="329000" y="1237025"/>
                  <a:pt x="326740" y="1242511"/>
                  <a:pt x="325202" y="1246168"/>
                </a:cubicBezTo>
                <a:cubicBezTo>
                  <a:pt x="323711" y="1249873"/>
                  <a:pt x="323038" y="1251798"/>
                  <a:pt x="323230" y="1251846"/>
                </a:cubicBezTo>
                <a:cubicBezTo>
                  <a:pt x="323374" y="1251942"/>
                  <a:pt x="324384" y="1250162"/>
                  <a:pt x="326211" y="1246601"/>
                </a:cubicBezTo>
                <a:cubicBezTo>
                  <a:pt x="327942" y="1243040"/>
                  <a:pt x="330539" y="1237747"/>
                  <a:pt x="333953" y="1230769"/>
                </a:cubicBezTo>
                <a:cubicBezTo>
                  <a:pt x="340589" y="1216766"/>
                  <a:pt x="350350" y="1196171"/>
                  <a:pt x="362949" y="1169609"/>
                </a:cubicBezTo>
                <a:cubicBezTo>
                  <a:pt x="375163" y="1143672"/>
                  <a:pt x="390214" y="1112105"/>
                  <a:pt x="408342" y="1075967"/>
                </a:cubicBezTo>
                <a:cubicBezTo>
                  <a:pt x="381510" y="1131594"/>
                  <a:pt x="357852" y="1186306"/>
                  <a:pt x="334915" y="1238469"/>
                </a:cubicBezTo>
                <a:cubicBezTo>
                  <a:pt x="310199" y="1295299"/>
                  <a:pt x="286829" y="1349337"/>
                  <a:pt x="267114" y="1400970"/>
                </a:cubicBezTo>
                <a:cubicBezTo>
                  <a:pt x="262257" y="1413915"/>
                  <a:pt x="257497" y="1426618"/>
                  <a:pt x="253409" y="1439418"/>
                </a:cubicBezTo>
                <a:cubicBezTo>
                  <a:pt x="249370" y="1452122"/>
                  <a:pt x="245523" y="1464633"/>
                  <a:pt x="242109" y="1477000"/>
                </a:cubicBezTo>
                <a:cubicBezTo>
                  <a:pt x="235137" y="1501734"/>
                  <a:pt x="229318" y="1525698"/>
                  <a:pt x="225472" y="1549036"/>
                </a:cubicBezTo>
                <a:cubicBezTo>
                  <a:pt x="221769" y="1572326"/>
                  <a:pt x="219317" y="1595039"/>
                  <a:pt x="222923" y="1616741"/>
                </a:cubicBezTo>
                <a:cubicBezTo>
                  <a:pt x="223837" y="1622131"/>
                  <a:pt x="225375" y="1627424"/>
                  <a:pt x="227635" y="1632476"/>
                </a:cubicBezTo>
                <a:cubicBezTo>
                  <a:pt x="229944" y="1637433"/>
                  <a:pt x="233117" y="1642197"/>
                  <a:pt x="237589" y="1645661"/>
                </a:cubicBezTo>
                <a:cubicBezTo>
                  <a:pt x="242013" y="1649126"/>
                  <a:pt x="247399" y="1651099"/>
                  <a:pt x="252640" y="1651676"/>
                </a:cubicBezTo>
                <a:cubicBezTo>
                  <a:pt x="257881" y="1652254"/>
                  <a:pt x="262979" y="1651676"/>
                  <a:pt x="267739" y="1650618"/>
                </a:cubicBezTo>
                <a:cubicBezTo>
                  <a:pt x="277260" y="1648404"/>
                  <a:pt x="285627" y="1644410"/>
                  <a:pt x="293369" y="1640176"/>
                </a:cubicBezTo>
                <a:cubicBezTo>
                  <a:pt x="301014" y="1635845"/>
                  <a:pt x="308035" y="1631129"/>
                  <a:pt x="314527" y="1626365"/>
                </a:cubicBezTo>
                <a:cubicBezTo>
                  <a:pt x="327462" y="1616789"/>
                  <a:pt x="338425" y="1607069"/>
                  <a:pt x="347994" y="1598022"/>
                </a:cubicBezTo>
                <a:cubicBezTo>
                  <a:pt x="367036" y="1579881"/>
                  <a:pt x="380452" y="1564483"/>
                  <a:pt x="389348" y="1553896"/>
                </a:cubicBezTo>
                <a:cubicBezTo>
                  <a:pt x="393772" y="1548603"/>
                  <a:pt x="397042" y="1544465"/>
                  <a:pt x="399206" y="1541674"/>
                </a:cubicBezTo>
                <a:cubicBezTo>
                  <a:pt x="401321" y="1538835"/>
                  <a:pt x="402379" y="1537343"/>
                  <a:pt x="402235" y="1537247"/>
                </a:cubicBezTo>
                <a:cubicBezTo>
                  <a:pt x="402091" y="1537150"/>
                  <a:pt x="400792" y="1538402"/>
                  <a:pt x="398388" y="1541000"/>
                </a:cubicBezTo>
                <a:cubicBezTo>
                  <a:pt x="395984" y="1543599"/>
                  <a:pt x="392426" y="1547448"/>
                  <a:pt x="387761" y="1552549"/>
                </a:cubicBezTo>
                <a:cubicBezTo>
                  <a:pt x="378384" y="1562606"/>
                  <a:pt x="364536" y="1577523"/>
                  <a:pt x="345205" y="1595039"/>
                </a:cubicBezTo>
                <a:cubicBezTo>
                  <a:pt x="335540" y="1603749"/>
                  <a:pt x="324480" y="1613180"/>
                  <a:pt x="311593" y="1622323"/>
                </a:cubicBezTo>
                <a:cubicBezTo>
                  <a:pt x="298754" y="1631225"/>
                  <a:pt x="283944" y="1640801"/>
                  <a:pt x="266537" y="1644843"/>
                </a:cubicBezTo>
                <a:cubicBezTo>
                  <a:pt x="257978" y="1646768"/>
                  <a:pt x="248457" y="1646335"/>
                  <a:pt x="241677" y="1640753"/>
                </a:cubicBezTo>
                <a:cubicBezTo>
                  <a:pt x="234848" y="1635219"/>
                  <a:pt x="231338" y="1625595"/>
                  <a:pt x="229703" y="1615731"/>
                </a:cubicBezTo>
                <a:cubicBezTo>
                  <a:pt x="226578" y="1595568"/>
                  <a:pt x="229126" y="1573241"/>
                  <a:pt x="233021" y="1550480"/>
                </a:cubicBezTo>
                <a:cubicBezTo>
                  <a:pt x="237060" y="1527623"/>
                  <a:pt x="243023" y="1503899"/>
                  <a:pt x="250140" y="1479454"/>
                </a:cubicBezTo>
                <a:cubicBezTo>
                  <a:pt x="253650" y="1467232"/>
                  <a:pt x="257593" y="1454817"/>
                  <a:pt x="261680" y="1442258"/>
                </a:cubicBezTo>
                <a:cubicBezTo>
                  <a:pt x="265768" y="1429746"/>
                  <a:pt x="270576" y="1417139"/>
                  <a:pt x="275481" y="1404339"/>
                </a:cubicBezTo>
                <a:cubicBezTo>
                  <a:pt x="295436" y="1353187"/>
                  <a:pt x="319095" y="1299293"/>
                  <a:pt x="344051" y="1242607"/>
                </a:cubicBezTo>
                <a:cubicBezTo>
                  <a:pt x="369200" y="1186018"/>
                  <a:pt x="395166" y="1126397"/>
                  <a:pt x="424932" y="1066150"/>
                </a:cubicBezTo>
                <a:cubicBezTo>
                  <a:pt x="439886" y="1036075"/>
                  <a:pt x="455851" y="1005856"/>
                  <a:pt x="473835" y="976310"/>
                </a:cubicBezTo>
                <a:cubicBezTo>
                  <a:pt x="491867" y="946860"/>
                  <a:pt x="511775" y="917844"/>
                  <a:pt x="535192" y="891378"/>
                </a:cubicBezTo>
                <a:cubicBezTo>
                  <a:pt x="541059" y="884785"/>
                  <a:pt x="546877" y="878145"/>
                  <a:pt x="553128" y="872034"/>
                </a:cubicBezTo>
                <a:cubicBezTo>
                  <a:pt x="556254" y="868954"/>
                  <a:pt x="559187" y="865682"/>
                  <a:pt x="562409" y="862746"/>
                </a:cubicBezTo>
                <a:lnTo>
                  <a:pt x="572026" y="853844"/>
                </a:lnTo>
                <a:cubicBezTo>
                  <a:pt x="584625" y="841958"/>
                  <a:pt x="598714" y="832238"/>
                  <a:pt x="613476" y="823528"/>
                </a:cubicBezTo>
                <a:cubicBezTo>
                  <a:pt x="628190" y="814819"/>
                  <a:pt x="643626" y="807456"/>
                  <a:pt x="659254" y="801730"/>
                </a:cubicBezTo>
                <a:cubicBezTo>
                  <a:pt x="667092" y="798939"/>
                  <a:pt x="675122" y="796581"/>
                  <a:pt x="682768" y="795667"/>
                </a:cubicBezTo>
                <a:cubicBezTo>
                  <a:pt x="684739" y="795282"/>
                  <a:pt x="686422" y="795523"/>
                  <a:pt x="688298" y="795378"/>
                </a:cubicBezTo>
                <a:cubicBezTo>
                  <a:pt x="689836" y="795667"/>
                  <a:pt x="691423" y="795619"/>
                  <a:pt x="692673" y="796341"/>
                </a:cubicBezTo>
                <a:cubicBezTo>
                  <a:pt x="695318" y="797399"/>
                  <a:pt x="697819" y="799661"/>
                  <a:pt x="699838" y="802741"/>
                </a:cubicBezTo>
                <a:cubicBezTo>
                  <a:pt x="704022" y="808659"/>
                  <a:pt x="706714" y="816359"/>
                  <a:pt x="708734" y="824106"/>
                </a:cubicBezTo>
                <a:cubicBezTo>
                  <a:pt x="710706" y="831901"/>
                  <a:pt x="712052" y="839889"/>
                  <a:pt x="713062" y="847925"/>
                </a:cubicBezTo>
                <a:cubicBezTo>
                  <a:pt x="714937" y="864046"/>
                  <a:pt x="715562" y="880262"/>
                  <a:pt x="715322" y="896286"/>
                </a:cubicBezTo>
                <a:cubicBezTo>
                  <a:pt x="714889" y="928382"/>
                  <a:pt x="711715" y="959853"/>
                  <a:pt x="706330" y="990072"/>
                </a:cubicBezTo>
                <a:cubicBezTo>
                  <a:pt x="700944" y="1020388"/>
                  <a:pt x="693298" y="1049164"/>
                  <a:pt x="681950" y="1076063"/>
                </a:cubicBezTo>
                <a:cubicBezTo>
                  <a:pt x="679498" y="1082896"/>
                  <a:pt x="676420" y="1089489"/>
                  <a:pt x="673583" y="1096081"/>
                </a:cubicBezTo>
                <a:cubicBezTo>
                  <a:pt x="670650" y="1102674"/>
                  <a:pt x="667957" y="1109266"/>
                  <a:pt x="664928" y="1115666"/>
                </a:cubicBezTo>
                <a:cubicBezTo>
                  <a:pt x="658677" y="1128370"/>
                  <a:pt x="653003" y="1141122"/>
                  <a:pt x="646607" y="1153296"/>
                </a:cubicBezTo>
                <a:cubicBezTo>
                  <a:pt x="621699" y="1202234"/>
                  <a:pt x="595973" y="1246553"/>
                  <a:pt x="571786" y="1286589"/>
                </a:cubicBezTo>
                <a:cubicBezTo>
                  <a:pt x="523171" y="1366516"/>
                  <a:pt x="480278" y="1429024"/>
                  <a:pt x="450080" y="1471755"/>
                </a:cubicBezTo>
                <a:cubicBezTo>
                  <a:pt x="434837" y="1493024"/>
                  <a:pt x="422768" y="1509385"/>
                  <a:pt x="414497" y="1520405"/>
                </a:cubicBezTo>
                <a:cubicBezTo>
                  <a:pt x="410313" y="1525890"/>
                  <a:pt x="407140" y="1530077"/>
                  <a:pt x="405072" y="1532916"/>
                </a:cubicBezTo>
                <a:cubicBezTo>
                  <a:pt x="403004" y="1535755"/>
                  <a:pt x="401995" y="1537295"/>
                  <a:pt x="402139" y="1537439"/>
                </a:cubicBezTo>
                <a:cubicBezTo>
                  <a:pt x="402283" y="1537535"/>
                  <a:pt x="403581" y="1536284"/>
                  <a:pt x="405938" y="1533638"/>
                </a:cubicBezTo>
                <a:cubicBezTo>
                  <a:pt x="408294" y="1530991"/>
                  <a:pt x="411756" y="1526997"/>
                  <a:pt x="416228" y="1521752"/>
                </a:cubicBezTo>
                <a:cubicBezTo>
                  <a:pt x="425028" y="1511117"/>
                  <a:pt x="437674" y="1495142"/>
                  <a:pt x="453446" y="1474209"/>
                </a:cubicBezTo>
                <a:cubicBezTo>
                  <a:pt x="484750" y="1432152"/>
                  <a:pt x="528605" y="1370173"/>
                  <a:pt x="578229" y="1290535"/>
                </a:cubicBezTo>
                <a:cubicBezTo>
                  <a:pt x="602897" y="1250643"/>
                  <a:pt x="629104" y="1206372"/>
                  <a:pt x="654493" y="1157290"/>
                </a:cubicBezTo>
                <a:cubicBezTo>
                  <a:pt x="661033" y="1145116"/>
                  <a:pt x="666851" y="1132316"/>
                  <a:pt x="673199" y="1119516"/>
                </a:cubicBezTo>
                <a:cubicBezTo>
                  <a:pt x="676276" y="1113067"/>
                  <a:pt x="679065" y="1106427"/>
                  <a:pt x="682046" y="1099786"/>
                </a:cubicBezTo>
                <a:cubicBezTo>
                  <a:pt x="684932" y="1093146"/>
                  <a:pt x="688105" y="1086505"/>
                  <a:pt x="690654" y="1079528"/>
                </a:cubicBezTo>
                <a:cubicBezTo>
                  <a:pt x="693347" y="1072647"/>
                  <a:pt x="696039" y="1065669"/>
                  <a:pt x="698732" y="1058692"/>
                </a:cubicBezTo>
                <a:cubicBezTo>
                  <a:pt x="701233" y="1051570"/>
                  <a:pt x="703589" y="1044304"/>
                  <a:pt x="705657" y="1036989"/>
                </a:cubicBezTo>
                <a:cubicBezTo>
                  <a:pt x="709792" y="1022313"/>
                  <a:pt x="713206" y="1007203"/>
                  <a:pt x="715995" y="991853"/>
                </a:cubicBezTo>
                <a:cubicBezTo>
                  <a:pt x="721573" y="961104"/>
                  <a:pt x="724939" y="929200"/>
                  <a:pt x="725468" y="896479"/>
                </a:cubicBezTo>
                <a:cubicBezTo>
                  <a:pt x="725756" y="880118"/>
                  <a:pt x="725179" y="863516"/>
                  <a:pt x="723304" y="846722"/>
                </a:cubicBezTo>
                <a:cubicBezTo>
                  <a:pt x="722246" y="838349"/>
                  <a:pt x="720900" y="829928"/>
                  <a:pt x="718784" y="821507"/>
                </a:cubicBezTo>
                <a:cubicBezTo>
                  <a:pt x="716572" y="813134"/>
                  <a:pt x="713831" y="804617"/>
                  <a:pt x="708349" y="796677"/>
                </a:cubicBezTo>
                <a:cubicBezTo>
                  <a:pt x="705705" y="792780"/>
                  <a:pt x="701906" y="788882"/>
                  <a:pt x="696713" y="786717"/>
                </a:cubicBezTo>
                <a:cubicBezTo>
                  <a:pt x="694164" y="785417"/>
                  <a:pt x="691375" y="785273"/>
                  <a:pt x="688778" y="784936"/>
                </a:cubicBezTo>
                <a:cubicBezTo>
                  <a:pt x="686374" y="785032"/>
                  <a:pt x="683826" y="784840"/>
                  <a:pt x="681614" y="785273"/>
                </a:cubicBezTo>
                <a:cubicBezTo>
                  <a:pt x="672429" y="786428"/>
                  <a:pt x="663966" y="788930"/>
                  <a:pt x="655695" y="791865"/>
                </a:cubicBezTo>
                <a:cubicBezTo>
                  <a:pt x="639202" y="797880"/>
                  <a:pt x="623334" y="805483"/>
                  <a:pt x="608090" y="814434"/>
                </a:cubicBezTo>
                <a:cubicBezTo>
                  <a:pt x="592895" y="823384"/>
                  <a:pt x="577941" y="833634"/>
                  <a:pt x="564861" y="846001"/>
                </a:cubicBezTo>
                <a:lnTo>
                  <a:pt x="555004" y="855095"/>
                </a:lnTo>
                <a:cubicBezTo>
                  <a:pt x="551734" y="858127"/>
                  <a:pt x="548704" y="861447"/>
                  <a:pt x="545531" y="864623"/>
                </a:cubicBezTo>
                <a:cubicBezTo>
                  <a:pt x="539135" y="870927"/>
                  <a:pt x="533173" y="877712"/>
                  <a:pt x="527162" y="884449"/>
                </a:cubicBezTo>
                <a:cubicBezTo>
                  <a:pt x="525527" y="886277"/>
                  <a:pt x="523988" y="888154"/>
                  <a:pt x="522401" y="889982"/>
                </a:cubicBezTo>
                <a:cubicBezTo>
                  <a:pt x="524036" y="887913"/>
                  <a:pt x="525575" y="885796"/>
                  <a:pt x="527210" y="883727"/>
                </a:cubicBezTo>
                <a:cubicBezTo>
                  <a:pt x="535914" y="872419"/>
                  <a:pt x="545387" y="861351"/>
                  <a:pt x="555004" y="849995"/>
                </a:cubicBezTo>
                <a:cubicBezTo>
                  <a:pt x="559957" y="844461"/>
                  <a:pt x="564909" y="838879"/>
                  <a:pt x="569958" y="833201"/>
                </a:cubicBezTo>
                <a:cubicBezTo>
                  <a:pt x="572507" y="830362"/>
                  <a:pt x="575055" y="827522"/>
                  <a:pt x="577652" y="824635"/>
                </a:cubicBezTo>
                <a:cubicBezTo>
                  <a:pt x="580345" y="821652"/>
                  <a:pt x="582701" y="818428"/>
                  <a:pt x="585057" y="815733"/>
                </a:cubicBezTo>
                <a:cubicBezTo>
                  <a:pt x="587414" y="813038"/>
                  <a:pt x="590010" y="810536"/>
                  <a:pt x="592991" y="808082"/>
                </a:cubicBezTo>
                <a:cubicBezTo>
                  <a:pt x="595829" y="805580"/>
                  <a:pt x="598810" y="803222"/>
                  <a:pt x="601887" y="800912"/>
                </a:cubicBezTo>
                <a:cubicBezTo>
                  <a:pt x="608042" y="796389"/>
                  <a:pt x="614486" y="792106"/>
                  <a:pt x="621362" y="788449"/>
                </a:cubicBezTo>
                <a:cubicBezTo>
                  <a:pt x="634970" y="780894"/>
                  <a:pt x="649877" y="775071"/>
                  <a:pt x="665409" y="770741"/>
                </a:cubicBezTo>
                <a:cubicBezTo>
                  <a:pt x="680940" y="766458"/>
                  <a:pt x="697193" y="763619"/>
                  <a:pt x="713735" y="762705"/>
                </a:cubicBezTo>
                <a:cubicBezTo>
                  <a:pt x="722006" y="762223"/>
                  <a:pt x="730325" y="762223"/>
                  <a:pt x="738595" y="762897"/>
                </a:cubicBezTo>
                <a:cubicBezTo>
                  <a:pt x="742683" y="763330"/>
                  <a:pt x="746818" y="763763"/>
                  <a:pt x="750761" y="764629"/>
                </a:cubicBezTo>
                <a:cubicBezTo>
                  <a:pt x="754656" y="765447"/>
                  <a:pt x="758647" y="766602"/>
                  <a:pt x="761532" y="768238"/>
                </a:cubicBezTo>
                <a:cubicBezTo>
                  <a:pt x="763071" y="769008"/>
                  <a:pt x="763792" y="770067"/>
                  <a:pt x="763696" y="770067"/>
                </a:cubicBezTo>
                <a:lnTo>
                  <a:pt x="763792" y="770067"/>
                </a:lnTo>
                <a:cubicBezTo>
                  <a:pt x="763792" y="770067"/>
                  <a:pt x="763792" y="770693"/>
                  <a:pt x="763792" y="770693"/>
                </a:cubicBezTo>
                <a:lnTo>
                  <a:pt x="763792" y="772040"/>
                </a:lnTo>
                <a:cubicBezTo>
                  <a:pt x="763888" y="772906"/>
                  <a:pt x="763937" y="773820"/>
                  <a:pt x="763792" y="774879"/>
                </a:cubicBezTo>
                <a:cubicBezTo>
                  <a:pt x="763552" y="778825"/>
                  <a:pt x="762927" y="783011"/>
                  <a:pt x="762061" y="787198"/>
                </a:cubicBezTo>
                <a:cubicBezTo>
                  <a:pt x="760378" y="795571"/>
                  <a:pt x="758166" y="804040"/>
                  <a:pt x="755762" y="812557"/>
                </a:cubicBezTo>
                <a:cubicBezTo>
                  <a:pt x="751050" y="829640"/>
                  <a:pt x="745472" y="846722"/>
                  <a:pt x="741336" y="864912"/>
                </a:cubicBezTo>
                <a:cubicBezTo>
                  <a:pt x="740807" y="867173"/>
                  <a:pt x="740423" y="869579"/>
                  <a:pt x="739990" y="871889"/>
                </a:cubicBezTo>
                <a:cubicBezTo>
                  <a:pt x="739653" y="874247"/>
                  <a:pt x="739269" y="876894"/>
                  <a:pt x="739220" y="879204"/>
                </a:cubicBezTo>
                <a:cubicBezTo>
                  <a:pt x="739124" y="883871"/>
                  <a:pt x="738788" y="888587"/>
                  <a:pt x="738932" y="893303"/>
                </a:cubicBezTo>
                <a:cubicBezTo>
                  <a:pt x="738932" y="902734"/>
                  <a:pt x="739797" y="912214"/>
                  <a:pt x="741096" y="921549"/>
                </a:cubicBezTo>
                <a:cubicBezTo>
                  <a:pt x="742394" y="930933"/>
                  <a:pt x="744221" y="940124"/>
                  <a:pt x="745472" y="949170"/>
                </a:cubicBezTo>
                <a:cubicBezTo>
                  <a:pt x="746722" y="958217"/>
                  <a:pt x="747203" y="967215"/>
                  <a:pt x="746530" y="976262"/>
                </a:cubicBezTo>
                <a:cubicBezTo>
                  <a:pt x="745039" y="994355"/>
                  <a:pt x="739797" y="1012400"/>
                  <a:pt x="732681" y="1030012"/>
                </a:cubicBezTo>
                <a:cubicBezTo>
                  <a:pt x="729651" y="1038962"/>
                  <a:pt x="725468" y="1047624"/>
                  <a:pt x="721669" y="1056430"/>
                </a:cubicBezTo>
                <a:cubicBezTo>
                  <a:pt x="717967" y="1065284"/>
                  <a:pt x="713543" y="1073898"/>
                  <a:pt x="709263" y="1082607"/>
                </a:cubicBezTo>
                <a:cubicBezTo>
                  <a:pt x="691904" y="1117350"/>
                  <a:pt x="672574" y="1151852"/>
                  <a:pt x="651945" y="1186114"/>
                </a:cubicBezTo>
                <a:cubicBezTo>
                  <a:pt x="610687" y="1254685"/>
                  <a:pt x="567458" y="1319984"/>
                  <a:pt x="524613" y="1382203"/>
                </a:cubicBezTo>
                <a:cubicBezTo>
                  <a:pt x="503167" y="1413337"/>
                  <a:pt x="481817" y="1443653"/>
                  <a:pt x="460515" y="1473103"/>
                </a:cubicBezTo>
                <a:cubicBezTo>
                  <a:pt x="449840" y="1487827"/>
                  <a:pt x="439357" y="1502456"/>
                  <a:pt x="428634" y="1516459"/>
                </a:cubicBezTo>
                <a:cubicBezTo>
                  <a:pt x="417863" y="1530510"/>
                  <a:pt x="406851" y="1544128"/>
                  <a:pt x="395599" y="1557265"/>
                </a:cubicBezTo>
                <a:cubicBezTo>
                  <a:pt x="373143" y="1583586"/>
                  <a:pt x="350062" y="1608224"/>
                  <a:pt x="326019" y="1630407"/>
                </a:cubicBezTo>
                <a:cubicBezTo>
                  <a:pt x="313998" y="1641475"/>
                  <a:pt x="301784" y="1651917"/>
                  <a:pt x="289137" y="1661300"/>
                </a:cubicBezTo>
                <a:cubicBezTo>
                  <a:pt x="276491" y="1670636"/>
                  <a:pt x="263459" y="1679153"/>
                  <a:pt x="249755" y="1684976"/>
                </a:cubicBezTo>
                <a:cubicBezTo>
                  <a:pt x="242927" y="1687815"/>
                  <a:pt x="235906" y="1690028"/>
                  <a:pt x="229030" y="1690606"/>
                </a:cubicBezTo>
                <a:cubicBezTo>
                  <a:pt x="225616" y="1690894"/>
                  <a:pt x="222250" y="1690606"/>
                  <a:pt x="219076" y="1689980"/>
                </a:cubicBezTo>
                <a:cubicBezTo>
                  <a:pt x="215951" y="1689210"/>
                  <a:pt x="213114" y="1687863"/>
                  <a:pt x="210565" y="1685986"/>
                </a:cubicBezTo>
                <a:cubicBezTo>
                  <a:pt x="205516" y="1682185"/>
                  <a:pt x="202054" y="1676266"/>
                  <a:pt x="199890" y="1669866"/>
                </a:cubicBezTo>
                <a:cubicBezTo>
                  <a:pt x="197630" y="1663418"/>
                  <a:pt x="196476" y="1656488"/>
                  <a:pt x="195851" y="1649607"/>
                </a:cubicBezTo>
                <a:cubicBezTo>
                  <a:pt x="194600" y="1635749"/>
                  <a:pt x="195322" y="1621794"/>
                  <a:pt x="196716" y="1608272"/>
                </a:cubicBezTo>
                <a:cubicBezTo>
                  <a:pt x="198111" y="1594750"/>
                  <a:pt x="200178" y="1581517"/>
                  <a:pt x="202535" y="1568669"/>
                </a:cubicBezTo>
                <a:cubicBezTo>
                  <a:pt x="212008" y="1517325"/>
                  <a:pt x="229559" y="1472910"/>
                  <a:pt x="245091" y="1434318"/>
                </a:cubicBezTo>
                <a:cubicBezTo>
                  <a:pt x="260863" y="1395725"/>
                  <a:pt x="275625" y="1362907"/>
                  <a:pt x="287406" y="1335960"/>
                </a:cubicBezTo>
                <a:cubicBezTo>
                  <a:pt x="299283" y="1309061"/>
                  <a:pt x="308468" y="1288177"/>
                  <a:pt x="314575" y="1273933"/>
                </a:cubicBezTo>
                <a:cubicBezTo>
                  <a:pt x="317556" y="1266811"/>
                  <a:pt x="319816" y="1261326"/>
                  <a:pt x="321355" y="1257669"/>
                </a:cubicBezTo>
                <a:cubicBezTo>
                  <a:pt x="322845" y="1253963"/>
                  <a:pt x="323519" y="1252039"/>
                  <a:pt x="323326" y="1251990"/>
                </a:cubicBezTo>
                <a:cubicBezTo>
                  <a:pt x="323182" y="1251894"/>
                  <a:pt x="322172" y="1253675"/>
                  <a:pt x="320345" y="1257235"/>
                </a:cubicBezTo>
                <a:cubicBezTo>
                  <a:pt x="318614" y="1260796"/>
                  <a:pt x="316017" y="1266090"/>
                  <a:pt x="312603" y="1273067"/>
                </a:cubicBezTo>
                <a:cubicBezTo>
                  <a:pt x="305967" y="1287070"/>
                  <a:pt x="296206" y="1307714"/>
                  <a:pt x="283607" y="1334276"/>
                </a:cubicBezTo>
                <a:cubicBezTo>
                  <a:pt x="271201" y="1360934"/>
                  <a:pt x="255910" y="1393512"/>
                  <a:pt x="239561" y="1432056"/>
                </a:cubicBezTo>
                <a:cubicBezTo>
                  <a:pt x="223452" y="1470552"/>
                  <a:pt x="205227" y="1515111"/>
                  <a:pt x="195081" y="1567274"/>
                </a:cubicBezTo>
                <a:cubicBezTo>
                  <a:pt x="192581" y="1580266"/>
                  <a:pt x="190321" y="1593643"/>
                  <a:pt x="188782" y="1607454"/>
                </a:cubicBezTo>
                <a:cubicBezTo>
                  <a:pt x="187291" y="1621265"/>
                  <a:pt x="186378" y="1635556"/>
                  <a:pt x="187580" y="1650329"/>
                </a:cubicBezTo>
                <a:cubicBezTo>
                  <a:pt x="188253" y="1657691"/>
                  <a:pt x="189407" y="1665198"/>
                  <a:pt x="191908" y="1672609"/>
                </a:cubicBezTo>
                <a:cubicBezTo>
                  <a:pt x="194360" y="1679971"/>
                  <a:pt x="198447" y="1687526"/>
                  <a:pt x="205372" y="1692819"/>
                </a:cubicBezTo>
                <a:cubicBezTo>
                  <a:pt x="208834" y="1695370"/>
                  <a:pt x="212825" y="1697343"/>
                  <a:pt x="217008" y="1698353"/>
                </a:cubicBezTo>
                <a:cubicBezTo>
                  <a:pt x="221192" y="1699315"/>
                  <a:pt x="225472" y="1699556"/>
                  <a:pt x="229607" y="1699267"/>
                </a:cubicBezTo>
                <a:cubicBezTo>
                  <a:pt x="237878" y="1698642"/>
                  <a:pt x="245668" y="1696188"/>
                  <a:pt x="253121" y="1693156"/>
                </a:cubicBezTo>
                <a:cubicBezTo>
                  <a:pt x="267931" y="1686949"/>
                  <a:pt x="281443" y="1678142"/>
                  <a:pt x="294475" y="1668615"/>
                </a:cubicBezTo>
                <a:cubicBezTo>
                  <a:pt x="307506" y="1659039"/>
                  <a:pt x="320008" y="1648452"/>
                  <a:pt x="332270" y="1637289"/>
                </a:cubicBezTo>
                <a:cubicBezTo>
                  <a:pt x="356746" y="1614913"/>
                  <a:pt x="380212" y="1590131"/>
                  <a:pt x="402956" y="1563665"/>
                </a:cubicBezTo>
                <a:cubicBezTo>
                  <a:pt x="414353" y="1550432"/>
                  <a:pt x="425509" y="1536717"/>
                  <a:pt x="436472" y="1522570"/>
                </a:cubicBezTo>
                <a:cubicBezTo>
                  <a:pt x="447436" y="1508375"/>
                  <a:pt x="457918" y="1493794"/>
                  <a:pt x="468690" y="1479069"/>
                </a:cubicBezTo>
                <a:cubicBezTo>
                  <a:pt x="479269" y="1464489"/>
                  <a:pt x="489895" y="1449668"/>
                  <a:pt x="500522" y="1434703"/>
                </a:cubicBezTo>
                <a:cubicBezTo>
                  <a:pt x="500426" y="1434895"/>
                  <a:pt x="500282" y="1435039"/>
                  <a:pt x="500186" y="1435232"/>
                </a:cubicBezTo>
                <a:cubicBezTo>
                  <a:pt x="481432" y="1463960"/>
                  <a:pt x="463256" y="1491629"/>
                  <a:pt x="444983" y="1517758"/>
                </a:cubicBezTo>
                <a:cubicBezTo>
                  <a:pt x="435895" y="1530847"/>
                  <a:pt x="426711" y="1543454"/>
                  <a:pt x="417526" y="1555677"/>
                </a:cubicBezTo>
                <a:cubicBezTo>
                  <a:pt x="408102" y="1567755"/>
                  <a:pt x="398917" y="1579641"/>
                  <a:pt x="389877" y="1591237"/>
                </a:cubicBezTo>
                <a:cubicBezTo>
                  <a:pt x="353909" y="1637673"/>
                  <a:pt x="320633" y="1680067"/>
                  <a:pt x="285050" y="1712452"/>
                </a:cubicBezTo>
                <a:cubicBezTo>
                  <a:pt x="267258" y="1728428"/>
                  <a:pt x="248697" y="1742287"/>
                  <a:pt x="228645" y="1748687"/>
                </a:cubicBezTo>
                <a:cubicBezTo>
                  <a:pt x="223644" y="1750082"/>
                  <a:pt x="218595" y="1751237"/>
                  <a:pt x="213594" y="1751285"/>
                </a:cubicBezTo>
                <a:cubicBezTo>
                  <a:pt x="208593" y="1751670"/>
                  <a:pt x="203977" y="1750611"/>
                  <a:pt x="200034" y="1748013"/>
                </a:cubicBezTo>
                <a:cubicBezTo>
                  <a:pt x="192196" y="1742720"/>
                  <a:pt x="187532" y="1733914"/>
                  <a:pt x="183877" y="1725637"/>
                </a:cubicBezTo>
                <a:cubicBezTo>
                  <a:pt x="176713" y="1708699"/>
                  <a:pt x="172962" y="1691809"/>
                  <a:pt x="168490" y="1676747"/>
                </a:cubicBezTo>
                <a:cubicBezTo>
                  <a:pt x="166278" y="1669192"/>
                  <a:pt x="164066" y="1661974"/>
                  <a:pt x="161181" y="1655382"/>
                </a:cubicBezTo>
                <a:cubicBezTo>
                  <a:pt x="158248" y="1648741"/>
                  <a:pt x="154689" y="1642967"/>
                  <a:pt x="151227" y="1637625"/>
                </a:cubicBezTo>
                <a:cubicBezTo>
                  <a:pt x="144158" y="1626991"/>
                  <a:pt x="137282" y="1618137"/>
                  <a:pt x="133483" y="1609331"/>
                </a:cubicBezTo>
                <a:cubicBezTo>
                  <a:pt x="129492" y="1600621"/>
                  <a:pt x="127954" y="1592633"/>
                  <a:pt x="127136" y="1586185"/>
                </a:cubicBezTo>
                <a:cubicBezTo>
                  <a:pt x="126271" y="1579737"/>
                  <a:pt x="126126" y="1574828"/>
                  <a:pt x="126030" y="1571508"/>
                </a:cubicBezTo>
                <a:cubicBezTo>
                  <a:pt x="125982" y="1569872"/>
                  <a:pt x="125934" y="1568621"/>
                  <a:pt x="125886" y="1567803"/>
                </a:cubicBezTo>
                <a:cubicBezTo>
                  <a:pt x="125886" y="1566985"/>
                  <a:pt x="125790" y="1566552"/>
                  <a:pt x="125742" y="1566552"/>
                </a:cubicBezTo>
                <a:cubicBezTo>
                  <a:pt x="125742" y="1566552"/>
                  <a:pt x="124876" y="1573241"/>
                  <a:pt x="126030" y="1586329"/>
                </a:cubicBezTo>
                <a:cubicBezTo>
                  <a:pt x="126703" y="1592826"/>
                  <a:pt x="128098" y="1601006"/>
                  <a:pt x="131993" y="1610004"/>
                </a:cubicBezTo>
                <a:cubicBezTo>
                  <a:pt x="135743" y="1619099"/>
                  <a:pt x="142620" y="1628194"/>
                  <a:pt x="149448" y="1638828"/>
                </a:cubicBezTo>
                <a:cubicBezTo>
                  <a:pt x="152814" y="1644170"/>
                  <a:pt x="156228" y="1649992"/>
                  <a:pt x="159017" y="1656392"/>
                </a:cubicBezTo>
                <a:cubicBezTo>
                  <a:pt x="161758" y="1662840"/>
                  <a:pt x="163874" y="1670010"/>
                  <a:pt x="165989" y="1677565"/>
                </a:cubicBezTo>
                <a:cubicBezTo>
                  <a:pt x="170317" y="1692627"/>
                  <a:pt x="173827" y="1709517"/>
                  <a:pt x="181040" y="1726985"/>
                </a:cubicBezTo>
                <a:cubicBezTo>
                  <a:pt x="184791" y="1735502"/>
                  <a:pt x="189359" y="1744837"/>
                  <a:pt x="198255" y="1750996"/>
                </a:cubicBezTo>
                <a:cubicBezTo>
                  <a:pt x="202631" y="1754028"/>
                  <a:pt x="208449" y="1755375"/>
                  <a:pt x="213787" y="1754990"/>
                </a:cubicBezTo>
                <a:cubicBezTo>
                  <a:pt x="219172" y="1754990"/>
                  <a:pt x="224510" y="1753787"/>
                  <a:pt x="229799" y="1752344"/>
                </a:cubicBezTo>
                <a:cubicBezTo>
                  <a:pt x="250861" y="1745751"/>
                  <a:pt x="269759" y="1731700"/>
                  <a:pt x="287887" y="1715676"/>
                </a:cubicBezTo>
                <a:cubicBezTo>
                  <a:pt x="324096" y="1683099"/>
                  <a:pt x="357708" y="1640753"/>
                  <a:pt x="393916" y="1594462"/>
                </a:cubicBezTo>
                <a:cubicBezTo>
                  <a:pt x="403004" y="1582913"/>
                  <a:pt x="412285" y="1571075"/>
                  <a:pt x="421758" y="1558997"/>
                </a:cubicBezTo>
                <a:cubicBezTo>
                  <a:pt x="431038" y="1546775"/>
                  <a:pt x="440367" y="1534119"/>
                  <a:pt x="449551" y="1521030"/>
                </a:cubicBezTo>
                <a:cubicBezTo>
                  <a:pt x="467968" y="1494901"/>
                  <a:pt x="486337" y="1467280"/>
                  <a:pt x="505187" y="1438600"/>
                </a:cubicBezTo>
                <a:cubicBezTo>
                  <a:pt x="542982" y="1381289"/>
                  <a:pt x="582605" y="1319455"/>
                  <a:pt x="627709" y="1256129"/>
                </a:cubicBezTo>
                <a:cubicBezTo>
                  <a:pt x="650358" y="1224562"/>
                  <a:pt x="674401" y="1192610"/>
                  <a:pt x="701233" y="1161717"/>
                </a:cubicBezTo>
                <a:cubicBezTo>
                  <a:pt x="714697" y="1146367"/>
                  <a:pt x="728834" y="1131161"/>
                  <a:pt x="744558" y="1117543"/>
                </a:cubicBezTo>
                <a:cubicBezTo>
                  <a:pt x="752444" y="1110758"/>
                  <a:pt x="760715" y="1104358"/>
                  <a:pt x="769611" y="1099257"/>
                </a:cubicBezTo>
                <a:cubicBezTo>
                  <a:pt x="778507" y="1094349"/>
                  <a:pt x="788316" y="1090836"/>
                  <a:pt x="797933" y="1092568"/>
                </a:cubicBezTo>
                <a:cubicBezTo>
                  <a:pt x="800337" y="1092761"/>
                  <a:pt x="802598" y="1093675"/>
                  <a:pt x="804954" y="1094397"/>
                </a:cubicBezTo>
                <a:cubicBezTo>
                  <a:pt x="807118" y="1095504"/>
                  <a:pt x="809426" y="1096370"/>
                  <a:pt x="811445" y="1097861"/>
                </a:cubicBezTo>
                <a:cubicBezTo>
                  <a:pt x="815677" y="1100460"/>
                  <a:pt x="819380" y="1104117"/>
                  <a:pt x="822842" y="1107967"/>
                </a:cubicBezTo>
                <a:cubicBezTo>
                  <a:pt x="829670" y="1115858"/>
                  <a:pt x="835296" y="1125146"/>
                  <a:pt x="840393" y="1134722"/>
                </a:cubicBezTo>
                <a:cubicBezTo>
                  <a:pt x="850587" y="1154018"/>
                  <a:pt x="859002" y="1174806"/>
                  <a:pt x="868956" y="1195257"/>
                </a:cubicBezTo>
                <a:cubicBezTo>
                  <a:pt x="873957" y="1205506"/>
                  <a:pt x="879294" y="1215708"/>
                  <a:pt x="885690" y="1225524"/>
                </a:cubicBezTo>
                <a:cubicBezTo>
                  <a:pt x="892133" y="1235245"/>
                  <a:pt x="899490" y="1244820"/>
                  <a:pt x="909252" y="1252279"/>
                </a:cubicBezTo>
                <a:cubicBezTo>
                  <a:pt x="914060" y="1256032"/>
                  <a:pt x="919687" y="1259064"/>
                  <a:pt x="925216" y="1261278"/>
                </a:cubicBezTo>
                <a:cubicBezTo>
                  <a:pt x="927957" y="1262577"/>
                  <a:pt x="930794" y="1263539"/>
                  <a:pt x="933680" y="1264453"/>
                </a:cubicBezTo>
                <a:cubicBezTo>
                  <a:pt x="936517" y="1265416"/>
                  <a:pt x="939402" y="1266330"/>
                  <a:pt x="942335" y="1266956"/>
                </a:cubicBezTo>
                <a:cubicBezTo>
                  <a:pt x="953972" y="1269987"/>
                  <a:pt x="965801" y="1271527"/>
                  <a:pt x="977678" y="1272634"/>
                </a:cubicBezTo>
                <a:cubicBezTo>
                  <a:pt x="1001384" y="1274847"/>
                  <a:pt x="1025235" y="1275184"/>
                  <a:pt x="1049182" y="1276484"/>
                </a:cubicBezTo>
                <a:cubicBezTo>
                  <a:pt x="1073080" y="1277735"/>
                  <a:pt x="1097171" y="1279708"/>
                  <a:pt x="1121070" y="1283750"/>
                </a:cubicBezTo>
                <a:cubicBezTo>
                  <a:pt x="1144584" y="1287888"/>
                  <a:pt x="1167473" y="1297223"/>
                  <a:pt x="1190698" y="1306270"/>
                </a:cubicBezTo>
                <a:cubicBezTo>
                  <a:pt x="1213924" y="1315317"/>
                  <a:pt x="1237630" y="1324652"/>
                  <a:pt x="1262779" y="1330571"/>
                </a:cubicBezTo>
                <a:cubicBezTo>
                  <a:pt x="1275281" y="1333795"/>
                  <a:pt x="1288264" y="1335431"/>
                  <a:pt x="1301344" y="1336441"/>
                </a:cubicBezTo>
                <a:lnTo>
                  <a:pt x="1311249" y="1336441"/>
                </a:lnTo>
                <a:cubicBezTo>
                  <a:pt x="1311249" y="1336441"/>
                  <a:pt x="1316202" y="1336441"/>
                  <a:pt x="1316202" y="1336441"/>
                </a:cubicBezTo>
                <a:cubicBezTo>
                  <a:pt x="1317837" y="1336345"/>
                  <a:pt x="1319520" y="1336153"/>
                  <a:pt x="1321155" y="1336008"/>
                </a:cubicBezTo>
                <a:lnTo>
                  <a:pt x="1331061" y="1334998"/>
                </a:lnTo>
                <a:cubicBezTo>
                  <a:pt x="1334330" y="1334468"/>
                  <a:pt x="1337600" y="1333650"/>
                  <a:pt x="1340870" y="1332977"/>
                </a:cubicBezTo>
                <a:cubicBezTo>
                  <a:pt x="1353950" y="1330186"/>
                  <a:pt x="1366500" y="1325085"/>
                  <a:pt x="1378185" y="1318685"/>
                </a:cubicBezTo>
                <a:cubicBezTo>
                  <a:pt x="1389870" y="1312333"/>
                  <a:pt x="1401122" y="1305067"/>
                  <a:pt x="1411604" y="1296935"/>
                </a:cubicBezTo>
                <a:cubicBezTo>
                  <a:pt x="1432906" y="1280911"/>
                  <a:pt x="1452045" y="1262192"/>
                  <a:pt x="1470510" y="1242703"/>
                </a:cubicBezTo>
                <a:cubicBezTo>
                  <a:pt x="1488878" y="1223166"/>
                  <a:pt x="1506237" y="1202427"/>
                  <a:pt x="1523163" y="1181206"/>
                </a:cubicBezTo>
                <a:cubicBezTo>
                  <a:pt x="1557016" y="1138716"/>
                  <a:pt x="1588464" y="1093483"/>
                  <a:pt x="1621355" y="1048827"/>
                </a:cubicBezTo>
                <a:cubicBezTo>
                  <a:pt x="1629625" y="1037711"/>
                  <a:pt x="1638041" y="1026644"/>
                  <a:pt x="1647081" y="1016298"/>
                </a:cubicBezTo>
                <a:cubicBezTo>
                  <a:pt x="1656217" y="1006241"/>
                  <a:pt x="1666411" y="996520"/>
                  <a:pt x="1676894" y="987378"/>
                </a:cubicBezTo>
                <a:cubicBezTo>
                  <a:pt x="1697859" y="968899"/>
                  <a:pt x="1720412" y="951865"/>
                  <a:pt x="1743445" y="935023"/>
                </a:cubicBezTo>
                <a:cubicBezTo>
                  <a:pt x="1766478" y="918229"/>
                  <a:pt x="1789992" y="901676"/>
                  <a:pt x="1813121" y="884160"/>
                </a:cubicBezTo>
                <a:cubicBezTo>
                  <a:pt x="1836202" y="866548"/>
                  <a:pt x="1859091" y="848118"/>
                  <a:pt x="1879527" y="826416"/>
                </a:cubicBezTo>
                <a:cubicBezTo>
                  <a:pt x="1889674" y="815540"/>
                  <a:pt x="1899146" y="803799"/>
                  <a:pt x="1907033" y="790807"/>
                </a:cubicBezTo>
                <a:cubicBezTo>
                  <a:pt x="1914871" y="777862"/>
                  <a:pt x="1921218" y="763619"/>
                  <a:pt x="1924199" y="748413"/>
                </a:cubicBezTo>
                <a:cubicBezTo>
                  <a:pt x="1925642" y="740762"/>
                  <a:pt x="1926555" y="733159"/>
                  <a:pt x="1926459" y="725171"/>
                </a:cubicBezTo>
                <a:cubicBezTo>
                  <a:pt x="1926219" y="717039"/>
                  <a:pt x="1924295" y="709099"/>
                  <a:pt x="1921218" y="701784"/>
                </a:cubicBezTo>
                <a:cubicBezTo>
                  <a:pt x="1915063" y="687012"/>
                  <a:pt x="1904676" y="674789"/>
                  <a:pt x="1893088" y="664588"/>
                </a:cubicBezTo>
                <a:cubicBezTo>
                  <a:pt x="1869622" y="644185"/>
                  <a:pt x="1840866" y="631288"/>
                  <a:pt x="1811149" y="623397"/>
                </a:cubicBezTo>
                <a:cubicBezTo>
                  <a:pt x="1781288" y="615649"/>
                  <a:pt x="1750032" y="613147"/>
                  <a:pt x="1719065" y="616034"/>
                </a:cubicBezTo>
                <a:cubicBezTo>
                  <a:pt x="1688242" y="619355"/>
                  <a:pt x="1657804" y="625947"/>
                  <a:pt x="1628279" y="636052"/>
                </a:cubicBezTo>
                <a:cubicBezTo>
                  <a:pt x="1598754" y="646061"/>
                  <a:pt x="1570288" y="659150"/>
                  <a:pt x="1542783" y="673971"/>
                </a:cubicBezTo>
                <a:cubicBezTo>
                  <a:pt x="1487724" y="703661"/>
                  <a:pt x="1435743" y="739029"/>
                  <a:pt x="1381214" y="770500"/>
                </a:cubicBezTo>
                <a:cubicBezTo>
                  <a:pt x="1353998" y="786332"/>
                  <a:pt x="1325915" y="800623"/>
                  <a:pt x="1297256" y="814482"/>
                </a:cubicBezTo>
                <a:cubicBezTo>
                  <a:pt x="1268645" y="828292"/>
                  <a:pt x="1239601" y="841525"/>
                  <a:pt x="1210125" y="853940"/>
                </a:cubicBezTo>
                <a:cubicBezTo>
                  <a:pt x="1180648" y="866355"/>
                  <a:pt x="1150739" y="878049"/>
                  <a:pt x="1120252" y="888298"/>
                </a:cubicBezTo>
                <a:cubicBezTo>
                  <a:pt x="1089814" y="898452"/>
                  <a:pt x="1058703" y="907450"/>
                  <a:pt x="1027062" y="912118"/>
                </a:cubicBezTo>
                <a:cubicBezTo>
                  <a:pt x="1019176" y="913513"/>
                  <a:pt x="1011242" y="913850"/>
                  <a:pt x="1003356" y="914379"/>
                </a:cubicBezTo>
                <a:cubicBezTo>
                  <a:pt x="999413" y="914668"/>
                  <a:pt x="995518" y="914235"/>
                  <a:pt x="991623" y="914187"/>
                </a:cubicBezTo>
                <a:cubicBezTo>
                  <a:pt x="989796" y="914091"/>
                  <a:pt x="987439" y="914091"/>
                  <a:pt x="986045" y="913946"/>
                </a:cubicBezTo>
                <a:cubicBezTo>
                  <a:pt x="984795" y="913754"/>
                  <a:pt x="982871" y="913128"/>
                  <a:pt x="981140" y="912551"/>
                </a:cubicBezTo>
                <a:cubicBezTo>
                  <a:pt x="966570" y="907017"/>
                  <a:pt x="951904" y="899318"/>
                  <a:pt x="937526" y="891859"/>
                </a:cubicBezTo>
                <a:cubicBezTo>
                  <a:pt x="908771" y="876557"/>
                  <a:pt x="880016" y="860533"/>
                  <a:pt x="852655" y="842873"/>
                </a:cubicBezTo>
                <a:lnTo>
                  <a:pt x="849000" y="840371"/>
                </a:lnTo>
                <a:lnTo>
                  <a:pt x="846019" y="838205"/>
                </a:lnTo>
                <a:lnTo>
                  <a:pt x="846500" y="837676"/>
                </a:lnTo>
                <a:lnTo>
                  <a:pt x="846788" y="837387"/>
                </a:lnTo>
                <a:lnTo>
                  <a:pt x="848135" y="836280"/>
                </a:lnTo>
                <a:cubicBezTo>
                  <a:pt x="849145" y="835558"/>
                  <a:pt x="850010" y="834500"/>
                  <a:pt x="851116" y="833971"/>
                </a:cubicBezTo>
                <a:cubicBezTo>
                  <a:pt x="852222" y="833441"/>
                  <a:pt x="853184" y="832671"/>
                  <a:pt x="854338" y="832238"/>
                </a:cubicBezTo>
                <a:cubicBezTo>
                  <a:pt x="855492" y="831901"/>
                  <a:pt x="856598" y="831420"/>
                  <a:pt x="857800" y="831083"/>
                </a:cubicBezTo>
                <a:cubicBezTo>
                  <a:pt x="862609" y="829880"/>
                  <a:pt x="868331" y="830217"/>
                  <a:pt x="874342" y="830554"/>
                </a:cubicBezTo>
                <a:cubicBezTo>
                  <a:pt x="880352" y="830891"/>
                  <a:pt x="886603" y="831420"/>
                  <a:pt x="892951" y="831131"/>
                </a:cubicBezTo>
                <a:cubicBezTo>
                  <a:pt x="905694" y="830939"/>
                  <a:pt x="918436" y="827763"/>
                  <a:pt x="930025" y="822807"/>
                </a:cubicBezTo>
                <a:cubicBezTo>
                  <a:pt x="941758" y="817995"/>
                  <a:pt x="952096" y="810777"/>
                  <a:pt x="962146" y="803847"/>
                </a:cubicBezTo>
                <a:cubicBezTo>
                  <a:pt x="981861" y="789267"/>
                  <a:pt x="999942" y="773195"/>
                  <a:pt x="1017397" y="756497"/>
                </a:cubicBezTo>
                <a:cubicBezTo>
                  <a:pt x="1034756" y="739751"/>
                  <a:pt x="1051394" y="722380"/>
                  <a:pt x="1067310" y="704383"/>
                </a:cubicBezTo>
                <a:cubicBezTo>
                  <a:pt x="1083178" y="686386"/>
                  <a:pt x="1098422" y="667860"/>
                  <a:pt x="1112174" y="648130"/>
                </a:cubicBezTo>
                <a:cubicBezTo>
                  <a:pt x="1115492" y="643078"/>
                  <a:pt x="1118858" y="638121"/>
                  <a:pt x="1122080" y="633021"/>
                </a:cubicBezTo>
                <a:lnTo>
                  <a:pt x="1126648" y="625129"/>
                </a:lnTo>
                <a:cubicBezTo>
                  <a:pt x="1128187" y="622531"/>
                  <a:pt x="1129677" y="619884"/>
                  <a:pt x="1130927" y="617045"/>
                </a:cubicBezTo>
                <a:cubicBezTo>
                  <a:pt x="1136698" y="606651"/>
                  <a:pt x="1140929" y="593081"/>
                  <a:pt x="1139294" y="580185"/>
                </a:cubicBezTo>
                <a:cubicBezTo>
                  <a:pt x="1137948" y="567240"/>
                  <a:pt x="1132851" y="555836"/>
                  <a:pt x="1128619" y="545057"/>
                </a:cubicBezTo>
                <a:cubicBezTo>
                  <a:pt x="1124244" y="534278"/>
                  <a:pt x="1120878" y="523644"/>
                  <a:pt x="1120685" y="512817"/>
                </a:cubicBezTo>
                <a:cubicBezTo>
                  <a:pt x="1120445" y="502038"/>
                  <a:pt x="1122993" y="491162"/>
                  <a:pt x="1127850" y="481153"/>
                </a:cubicBezTo>
                <a:cubicBezTo>
                  <a:pt x="1128427" y="479902"/>
                  <a:pt x="1128908" y="478603"/>
                  <a:pt x="1129533" y="477352"/>
                </a:cubicBezTo>
                <a:lnTo>
                  <a:pt x="1131649" y="473695"/>
                </a:lnTo>
                <a:lnTo>
                  <a:pt x="1135880" y="466381"/>
                </a:lnTo>
                <a:cubicBezTo>
                  <a:pt x="1139054" y="461665"/>
                  <a:pt x="1142324" y="456997"/>
                  <a:pt x="1145642" y="452378"/>
                </a:cubicBezTo>
                <a:cubicBezTo>
                  <a:pt x="1159539" y="434188"/>
                  <a:pt x="1175503" y="417394"/>
                  <a:pt x="1191948" y="401322"/>
                </a:cubicBezTo>
                <a:cubicBezTo>
                  <a:pt x="1195891" y="397473"/>
                  <a:pt x="1199979" y="393719"/>
                  <a:pt x="1204018" y="389918"/>
                </a:cubicBezTo>
                <a:cubicBezTo>
                  <a:pt x="1193006" y="401178"/>
                  <a:pt x="1182379" y="412919"/>
                  <a:pt x="1172618" y="425382"/>
                </a:cubicBezTo>
                <a:cubicBezTo>
                  <a:pt x="1169781" y="428799"/>
                  <a:pt x="1167232" y="432552"/>
                  <a:pt x="1164636" y="436209"/>
                </a:cubicBezTo>
                <a:cubicBezTo>
                  <a:pt x="1161943" y="439818"/>
                  <a:pt x="1159635" y="443716"/>
                  <a:pt x="1157279" y="447614"/>
                </a:cubicBezTo>
                <a:cubicBezTo>
                  <a:pt x="1152566" y="455361"/>
                  <a:pt x="1148575" y="463734"/>
                  <a:pt x="1145834" y="472829"/>
                </a:cubicBezTo>
                <a:cubicBezTo>
                  <a:pt x="1143334" y="482020"/>
                  <a:pt x="1142997" y="491884"/>
                  <a:pt x="1144632" y="501171"/>
                </a:cubicBezTo>
                <a:cubicBezTo>
                  <a:pt x="1146219" y="510507"/>
                  <a:pt x="1149729" y="519217"/>
                  <a:pt x="1153432" y="527253"/>
                </a:cubicBezTo>
                <a:cubicBezTo>
                  <a:pt x="1157134" y="535337"/>
                  <a:pt x="1161077" y="542988"/>
                  <a:pt x="1163722" y="550783"/>
                </a:cubicBezTo>
                <a:cubicBezTo>
                  <a:pt x="1166367" y="558531"/>
                  <a:pt x="1167473" y="566326"/>
                  <a:pt x="1165982" y="573833"/>
                </a:cubicBezTo>
                <a:lnTo>
                  <a:pt x="1165453" y="576672"/>
                </a:lnTo>
                <a:cubicBezTo>
                  <a:pt x="1165213" y="577634"/>
                  <a:pt x="1164828" y="578645"/>
                  <a:pt x="1164491" y="579655"/>
                </a:cubicBezTo>
                <a:lnTo>
                  <a:pt x="1162472" y="585622"/>
                </a:lnTo>
                <a:lnTo>
                  <a:pt x="1160452" y="591589"/>
                </a:lnTo>
                <a:cubicBezTo>
                  <a:pt x="1159731" y="593562"/>
                  <a:pt x="1158769" y="595487"/>
                  <a:pt x="1157904" y="597412"/>
                </a:cubicBezTo>
                <a:cubicBezTo>
                  <a:pt x="1156124" y="601261"/>
                  <a:pt x="1154538" y="605159"/>
                  <a:pt x="1152614" y="608961"/>
                </a:cubicBezTo>
                <a:lnTo>
                  <a:pt x="1146459" y="620173"/>
                </a:lnTo>
                <a:cubicBezTo>
                  <a:pt x="1137852" y="634897"/>
                  <a:pt x="1128235" y="649141"/>
                  <a:pt x="1117752" y="662759"/>
                </a:cubicBezTo>
                <a:cubicBezTo>
                  <a:pt x="1097075" y="690284"/>
                  <a:pt x="1074090" y="716076"/>
                  <a:pt x="1053077" y="743745"/>
                </a:cubicBezTo>
                <a:cubicBezTo>
                  <a:pt x="1042642" y="757604"/>
                  <a:pt x="1032640" y="772088"/>
                  <a:pt x="1024850" y="788064"/>
                </a:cubicBezTo>
                <a:cubicBezTo>
                  <a:pt x="1020907" y="795956"/>
                  <a:pt x="1017878" y="804665"/>
                  <a:pt x="1016002" y="813519"/>
                </a:cubicBezTo>
                <a:cubicBezTo>
                  <a:pt x="1014127" y="822325"/>
                  <a:pt x="1013502" y="831805"/>
                  <a:pt x="1015906" y="841285"/>
                </a:cubicBezTo>
                <a:cubicBezTo>
                  <a:pt x="1018118" y="850764"/>
                  <a:pt x="1024658" y="859619"/>
                  <a:pt x="1032977" y="864527"/>
                </a:cubicBezTo>
                <a:cubicBezTo>
                  <a:pt x="1041296" y="869579"/>
                  <a:pt x="1050432" y="871697"/>
                  <a:pt x="1059280" y="872804"/>
                </a:cubicBezTo>
                <a:cubicBezTo>
                  <a:pt x="1068176" y="873814"/>
                  <a:pt x="1077023" y="873958"/>
                  <a:pt x="1085727" y="873285"/>
                </a:cubicBezTo>
                <a:cubicBezTo>
                  <a:pt x="1094430" y="872755"/>
                  <a:pt x="1103038" y="871601"/>
                  <a:pt x="1111549" y="870157"/>
                </a:cubicBezTo>
                <a:cubicBezTo>
                  <a:pt x="1145546" y="864190"/>
                  <a:pt x="1178100" y="853844"/>
                  <a:pt x="1209933" y="842247"/>
                </a:cubicBezTo>
                <a:cubicBezTo>
                  <a:pt x="1241717" y="830410"/>
                  <a:pt x="1272781" y="817417"/>
                  <a:pt x="1302930" y="802356"/>
                </a:cubicBezTo>
                <a:cubicBezTo>
                  <a:pt x="1333080" y="787150"/>
                  <a:pt x="1361595" y="769634"/>
                  <a:pt x="1389773" y="752070"/>
                </a:cubicBezTo>
                <a:cubicBezTo>
                  <a:pt x="1417904" y="734458"/>
                  <a:pt x="1445697" y="716605"/>
                  <a:pt x="1473779" y="699619"/>
                </a:cubicBezTo>
                <a:cubicBezTo>
                  <a:pt x="1529751" y="665646"/>
                  <a:pt x="1587502" y="634705"/>
                  <a:pt x="1649004" y="616997"/>
                </a:cubicBezTo>
                <a:cubicBezTo>
                  <a:pt x="1679683" y="608095"/>
                  <a:pt x="1711323" y="602609"/>
                  <a:pt x="1742868" y="599433"/>
                </a:cubicBezTo>
                <a:cubicBezTo>
                  <a:pt x="1774412" y="596449"/>
                  <a:pt x="1806148" y="596257"/>
                  <a:pt x="1837212" y="600155"/>
                </a:cubicBezTo>
                <a:cubicBezTo>
                  <a:pt x="1868083" y="604245"/>
                  <a:pt x="1898762" y="612185"/>
                  <a:pt x="1925017" y="627824"/>
                </a:cubicBezTo>
                <a:cubicBezTo>
                  <a:pt x="1938000" y="635667"/>
                  <a:pt x="1949733" y="645484"/>
                  <a:pt x="1958773" y="657370"/>
                </a:cubicBezTo>
                <a:cubicBezTo>
                  <a:pt x="1967524" y="669351"/>
                  <a:pt x="1973535" y="683258"/>
                  <a:pt x="1975699" y="697935"/>
                </a:cubicBezTo>
                <a:cubicBezTo>
                  <a:pt x="1977815" y="712611"/>
                  <a:pt x="1976709" y="727721"/>
                  <a:pt x="1972910" y="742109"/>
                </a:cubicBezTo>
                <a:cubicBezTo>
                  <a:pt x="1969111" y="756497"/>
                  <a:pt x="1962620" y="770163"/>
                  <a:pt x="1954637" y="782867"/>
                </a:cubicBezTo>
                <a:cubicBezTo>
                  <a:pt x="1938433" y="808226"/>
                  <a:pt x="1917034" y="830121"/>
                  <a:pt x="1894674" y="850428"/>
                </a:cubicBezTo>
                <a:cubicBezTo>
                  <a:pt x="1872266" y="870734"/>
                  <a:pt x="1848656" y="889694"/>
                  <a:pt x="1825142" y="908509"/>
                </a:cubicBezTo>
                <a:cubicBezTo>
                  <a:pt x="1801628" y="927276"/>
                  <a:pt x="1778115" y="945946"/>
                  <a:pt x="1755177" y="965050"/>
                </a:cubicBezTo>
                <a:cubicBezTo>
                  <a:pt x="1732289" y="984202"/>
                  <a:pt x="1709977" y="1003931"/>
                  <a:pt x="1688771" y="1024526"/>
                </a:cubicBezTo>
                <a:cubicBezTo>
                  <a:pt x="1667565" y="1045218"/>
                  <a:pt x="1647802" y="1067017"/>
                  <a:pt x="1628664" y="1089007"/>
                </a:cubicBezTo>
                <a:cubicBezTo>
                  <a:pt x="1590339" y="1133085"/>
                  <a:pt x="1556439" y="1179858"/>
                  <a:pt x="1524173" y="1226487"/>
                </a:cubicBezTo>
                <a:cubicBezTo>
                  <a:pt x="1516095" y="1238180"/>
                  <a:pt x="1508065" y="1249825"/>
                  <a:pt x="1500082" y="1261422"/>
                </a:cubicBezTo>
                <a:cubicBezTo>
                  <a:pt x="1492100" y="1273308"/>
                  <a:pt x="1484935" y="1285386"/>
                  <a:pt x="1477771" y="1297416"/>
                </a:cubicBezTo>
                <a:cubicBezTo>
                  <a:pt x="1463489" y="1321524"/>
                  <a:pt x="1449592" y="1345536"/>
                  <a:pt x="1435118" y="1368874"/>
                </a:cubicBezTo>
                <a:cubicBezTo>
                  <a:pt x="1420596" y="1392164"/>
                  <a:pt x="1405642" y="1415118"/>
                  <a:pt x="1388764" y="1435954"/>
                </a:cubicBezTo>
                <a:cubicBezTo>
                  <a:pt x="1380301" y="1446300"/>
                  <a:pt x="1371260" y="1456260"/>
                  <a:pt x="1361018" y="1464104"/>
                </a:cubicBezTo>
                <a:cubicBezTo>
                  <a:pt x="1355873" y="1467857"/>
                  <a:pt x="1350391" y="1471226"/>
                  <a:pt x="1344813" y="1472525"/>
                </a:cubicBezTo>
                <a:cubicBezTo>
                  <a:pt x="1339235" y="1473824"/>
                  <a:pt x="1333032" y="1473247"/>
                  <a:pt x="1327022" y="1471659"/>
                </a:cubicBezTo>
                <a:cubicBezTo>
                  <a:pt x="1314952" y="1468146"/>
                  <a:pt x="1303459" y="1461602"/>
                  <a:pt x="1292688" y="1454336"/>
                </a:cubicBezTo>
                <a:cubicBezTo>
                  <a:pt x="1281821" y="1447021"/>
                  <a:pt x="1271482" y="1438937"/>
                  <a:pt x="1261336" y="1430612"/>
                </a:cubicBezTo>
                <a:cubicBezTo>
                  <a:pt x="1241092" y="1413963"/>
                  <a:pt x="1221714" y="1396351"/>
                  <a:pt x="1201950" y="1379413"/>
                </a:cubicBezTo>
                <a:cubicBezTo>
                  <a:pt x="1182091" y="1362619"/>
                  <a:pt x="1162231" y="1345728"/>
                  <a:pt x="1138910" y="1333410"/>
                </a:cubicBezTo>
                <a:cubicBezTo>
                  <a:pt x="1133043" y="1330522"/>
                  <a:pt x="1126600" y="1327876"/>
                  <a:pt x="1120397" y="1326336"/>
                </a:cubicBezTo>
                <a:lnTo>
                  <a:pt x="1111068" y="1323689"/>
                </a:lnTo>
                <a:lnTo>
                  <a:pt x="1101643" y="1321620"/>
                </a:lnTo>
                <a:cubicBezTo>
                  <a:pt x="1089093" y="1318877"/>
                  <a:pt x="1076446" y="1317241"/>
                  <a:pt x="1063896" y="1315798"/>
                </a:cubicBezTo>
                <a:cubicBezTo>
                  <a:pt x="1038747" y="1313151"/>
                  <a:pt x="1013790" y="1312141"/>
                  <a:pt x="989170" y="1311082"/>
                </a:cubicBezTo>
                <a:cubicBezTo>
                  <a:pt x="964551" y="1309927"/>
                  <a:pt x="940123" y="1309061"/>
                  <a:pt x="916561" y="1305259"/>
                </a:cubicBezTo>
                <a:cubicBezTo>
                  <a:pt x="910646" y="1304441"/>
                  <a:pt x="904924" y="1302998"/>
                  <a:pt x="899202" y="1301699"/>
                </a:cubicBezTo>
                <a:cubicBezTo>
                  <a:pt x="893672" y="1299966"/>
                  <a:pt x="888046" y="1298330"/>
                  <a:pt x="883045" y="1295828"/>
                </a:cubicBezTo>
                <a:cubicBezTo>
                  <a:pt x="872995" y="1290583"/>
                  <a:pt x="864244" y="1282884"/>
                  <a:pt x="856694" y="1274077"/>
                </a:cubicBezTo>
                <a:cubicBezTo>
                  <a:pt x="841499" y="1256465"/>
                  <a:pt x="830199" y="1235726"/>
                  <a:pt x="817168" y="1216141"/>
                </a:cubicBezTo>
                <a:cubicBezTo>
                  <a:pt x="810676" y="1206324"/>
                  <a:pt x="803655" y="1196700"/>
                  <a:pt x="795240" y="1188231"/>
                </a:cubicBezTo>
                <a:cubicBezTo>
                  <a:pt x="790913" y="1184045"/>
                  <a:pt x="786200" y="1180195"/>
                  <a:pt x="781007" y="1177019"/>
                </a:cubicBezTo>
                <a:cubicBezTo>
                  <a:pt x="775718" y="1173940"/>
                  <a:pt x="769851" y="1171678"/>
                  <a:pt x="763792" y="1170523"/>
                </a:cubicBezTo>
                <a:cubicBezTo>
                  <a:pt x="757685" y="1169368"/>
                  <a:pt x="751530" y="1169705"/>
                  <a:pt x="745520" y="1170523"/>
                </a:cubicBezTo>
                <a:cubicBezTo>
                  <a:pt x="739653" y="1171678"/>
                  <a:pt x="733787" y="1173506"/>
                  <a:pt x="728497" y="1176105"/>
                </a:cubicBezTo>
                <a:cubicBezTo>
                  <a:pt x="717822" y="1181206"/>
                  <a:pt x="708397" y="1187991"/>
                  <a:pt x="699742" y="1195305"/>
                </a:cubicBezTo>
                <a:cubicBezTo>
                  <a:pt x="682287" y="1209933"/>
                  <a:pt x="667284" y="1226535"/>
                  <a:pt x="653003" y="1243281"/>
                </a:cubicBezTo>
                <a:cubicBezTo>
                  <a:pt x="638769" y="1260075"/>
                  <a:pt x="625497" y="1277302"/>
                  <a:pt x="612707" y="1294577"/>
                </a:cubicBezTo>
                <a:cubicBezTo>
                  <a:pt x="561784" y="1363774"/>
                  <a:pt x="519035" y="1433740"/>
                  <a:pt x="475518" y="1497933"/>
                </a:cubicBezTo>
                <a:cubicBezTo>
                  <a:pt x="430413" y="1560970"/>
                  <a:pt x="387617" y="1620928"/>
                  <a:pt x="344147" y="1674485"/>
                </a:cubicBezTo>
                <a:cubicBezTo>
                  <a:pt x="322316" y="1701192"/>
                  <a:pt x="300389" y="1726503"/>
                  <a:pt x="277164" y="1748783"/>
                </a:cubicBezTo>
                <a:cubicBezTo>
                  <a:pt x="265527" y="1759899"/>
                  <a:pt x="253554" y="1770293"/>
                  <a:pt x="240859" y="1779002"/>
                </a:cubicBezTo>
                <a:cubicBezTo>
                  <a:pt x="237733" y="1781264"/>
                  <a:pt x="234367" y="1783093"/>
                  <a:pt x="231194" y="1785162"/>
                </a:cubicBezTo>
                <a:cubicBezTo>
                  <a:pt x="227828" y="1786846"/>
                  <a:pt x="224558" y="1788867"/>
                  <a:pt x="221096" y="1790166"/>
                </a:cubicBezTo>
                <a:cubicBezTo>
                  <a:pt x="214316" y="1793198"/>
                  <a:pt x="207103" y="1795171"/>
                  <a:pt x="200082" y="1795075"/>
                </a:cubicBezTo>
                <a:cubicBezTo>
                  <a:pt x="192966" y="1795075"/>
                  <a:pt x="186137" y="1792620"/>
                  <a:pt x="180175" y="1788915"/>
                </a:cubicBezTo>
                <a:cubicBezTo>
                  <a:pt x="174164" y="1785210"/>
                  <a:pt x="168971" y="1780302"/>
                  <a:pt x="164403" y="1774912"/>
                </a:cubicBezTo>
                <a:cubicBezTo>
                  <a:pt x="155266" y="1764085"/>
                  <a:pt x="148679" y="1751526"/>
                  <a:pt x="143197" y="1738966"/>
                </a:cubicBezTo>
                <a:cubicBezTo>
                  <a:pt x="132377" y="1713655"/>
                  <a:pt x="125934" y="1687718"/>
                  <a:pt x="121991" y="1662792"/>
                </a:cubicBezTo>
                <a:cubicBezTo>
                  <a:pt x="120019" y="1650329"/>
                  <a:pt x="118817" y="1638010"/>
                  <a:pt x="118481" y="1626028"/>
                </a:cubicBezTo>
                <a:cubicBezTo>
                  <a:pt x="118192" y="1613998"/>
                  <a:pt x="118481" y="1602257"/>
                  <a:pt x="119106" y="1590853"/>
                </a:cubicBezTo>
                <a:cubicBezTo>
                  <a:pt x="120308" y="1567996"/>
                  <a:pt x="122856" y="1546438"/>
                  <a:pt x="126367" y="1526372"/>
                </a:cubicBezTo>
                <a:lnTo>
                  <a:pt x="123289" y="1525602"/>
                </a:lnTo>
                <a:cubicBezTo>
                  <a:pt x="120308" y="1534696"/>
                  <a:pt x="117423" y="1543550"/>
                  <a:pt x="114634" y="1552164"/>
                </a:cubicBezTo>
                <a:cubicBezTo>
                  <a:pt x="113912" y="1554329"/>
                  <a:pt x="113239" y="1556447"/>
                  <a:pt x="112566" y="1558564"/>
                </a:cubicBezTo>
                <a:cubicBezTo>
                  <a:pt x="111989" y="1561162"/>
                  <a:pt x="111989" y="1563087"/>
                  <a:pt x="111701" y="1565349"/>
                </a:cubicBezTo>
                <a:cubicBezTo>
                  <a:pt x="111220" y="1569728"/>
                  <a:pt x="110739" y="1574011"/>
                  <a:pt x="110306" y="1578197"/>
                </a:cubicBezTo>
                <a:cubicBezTo>
                  <a:pt x="110306" y="1578438"/>
                  <a:pt x="110258" y="1578678"/>
                  <a:pt x="110210" y="1578967"/>
                </a:cubicBezTo>
                <a:lnTo>
                  <a:pt x="102612" y="1577379"/>
                </a:lnTo>
                <a:cubicBezTo>
                  <a:pt x="99968" y="1586137"/>
                  <a:pt x="97323" y="1594895"/>
                  <a:pt x="94678" y="1603653"/>
                </a:cubicBezTo>
                <a:lnTo>
                  <a:pt x="92707" y="1610245"/>
                </a:lnTo>
                <a:lnTo>
                  <a:pt x="92226" y="1611929"/>
                </a:lnTo>
                <a:cubicBezTo>
                  <a:pt x="92082" y="1612458"/>
                  <a:pt x="91889" y="1613036"/>
                  <a:pt x="91889" y="1613565"/>
                </a:cubicBezTo>
                <a:lnTo>
                  <a:pt x="91793" y="1614576"/>
                </a:lnTo>
                <a:lnTo>
                  <a:pt x="91505" y="1617992"/>
                </a:lnTo>
                <a:lnTo>
                  <a:pt x="90254" y="1631755"/>
                </a:lnTo>
                <a:cubicBezTo>
                  <a:pt x="90014" y="1634209"/>
                  <a:pt x="89822" y="1636759"/>
                  <a:pt x="89581" y="1639213"/>
                </a:cubicBezTo>
                <a:lnTo>
                  <a:pt x="85734" y="1638395"/>
                </a:lnTo>
                <a:cubicBezTo>
                  <a:pt x="84244" y="1643833"/>
                  <a:pt x="82753" y="1649270"/>
                  <a:pt x="81214" y="1654756"/>
                </a:cubicBezTo>
                <a:lnTo>
                  <a:pt x="78954" y="1662985"/>
                </a:lnTo>
                <a:lnTo>
                  <a:pt x="78377" y="1665054"/>
                </a:lnTo>
                <a:cubicBezTo>
                  <a:pt x="78185" y="1665535"/>
                  <a:pt x="77896" y="1667027"/>
                  <a:pt x="77848" y="1667508"/>
                </a:cubicBezTo>
                <a:lnTo>
                  <a:pt x="77175" y="1671743"/>
                </a:lnTo>
                <a:cubicBezTo>
                  <a:pt x="75396" y="1683051"/>
                  <a:pt x="73617" y="1694503"/>
                  <a:pt x="71789" y="1706004"/>
                </a:cubicBezTo>
                <a:cubicBezTo>
                  <a:pt x="71116" y="1710335"/>
                  <a:pt x="70443" y="1714666"/>
                  <a:pt x="69722" y="1719045"/>
                </a:cubicBezTo>
                <a:cubicBezTo>
                  <a:pt x="69577" y="1718660"/>
                  <a:pt x="69433" y="1718419"/>
                  <a:pt x="69241" y="1718419"/>
                </a:cubicBezTo>
                <a:cubicBezTo>
                  <a:pt x="66404" y="1717697"/>
                  <a:pt x="54719" y="1759851"/>
                  <a:pt x="43130" y="1812638"/>
                </a:cubicBezTo>
                <a:lnTo>
                  <a:pt x="52555" y="1816921"/>
                </a:lnTo>
                <a:lnTo>
                  <a:pt x="52747" y="1816680"/>
                </a:lnTo>
                <a:cubicBezTo>
                  <a:pt x="54478" y="1814130"/>
                  <a:pt x="54863" y="1812735"/>
                  <a:pt x="55632" y="1810858"/>
                </a:cubicBezTo>
                <a:cubicBezTo>
                  <a:pt x="56210" y="1809174"/>
                  <a:pt x="56787" y="1807538"/>
                  <a:pt x="57267" y="1805902"/>
                </a:cubicBezTo>
                <a:cubicBezTo>
                  <a:pt x="58277" y="1802629"/>
                  <a:pt x="59143" y="1799454"/>
                  <a:pt x="59912" y="1796326"/>
                </a:cubicBezTo>
                <a:cubicBezTo>
                  <a:pt x="60008" y="1795941"/>
                  <a:pt x="60104" y="1795556"/>
                  <a:pt x="60201" y="1795123"/>
                </a:cubicBezTo>
                <a:cubicBezTo>
                  <a:pt x="57893" y="1812927"/>
                  <a:pt x="55392" y="1830924"/>
                  <a:pt x="52218" y="1848969"/>
                </a:cubicBezTo>
                <a:cubicBezTo>
                  <a:pt x="51112" y="1855032"/>
                  <a:pt x="50055" y="1861143"/>
                  <a:pt x="48708" y="1867158"/>
                </a:cubicBezTo>
                <a:cubicBezTo>
                  <a:pt x="48035" y="1870190"/>
                  <a:pt x="47458" y="1873222"/>
                  <a:pt x="46640" y="1876157"/>
                </a:cubicBezTo>
                <a:cubicBezTo>
                  <a:pt x="45919" y="1878996"/>
                  <a:pt x="45054" y="1882605"/>
                  <a:pt x="44525" y="1884097"/>
                </a:cubicBezTo>
                <a:lnTo>
                  <a:pt x="43611" y="1887032"/>
                </a:lnTo>
                <a:cubicBezTo>
                  <a:pt x="43419" y="1887706"/>
                  <a:pt x="43467" y="1887465"/>
                  <a:pt x="43371" y="1887754"/>
                </a:cubicBezTo>
                <a:lnTo>
                  <a:pt x="43082" y="1888139"/>
                </a:lnTo>
                <a:lnTo>
                  <a:pt x="42745" y="1887850"/>
                </a:lnTo>
                <a:lnTo>
                  <a:pt x="42601" y="1887369"/>
                </a:lnTo>
                <a:lnTo>
                  <a:pt x="42457" y="1886262"/>
                </a:lnTo>
                <a:cubicBezTo>
                  <a:pt x="42024" y="1883279"/>
                  <a:pt x="41736" y="1880199"/>
                  <a:pt x="41543" y="1877119"/>
                </a:cubicBezTo>
                <a:lnTo>
                  <a:pt x="31974" y="1876638"/>
                </a:lnTo>
                <a:cubicBezTo>
                  <a:pt x="30195" y="1888139"/>
                  <a:pt x="28368" y="1899736"/>
                  <a:pt x="26541" y="1911381"/>
                </a:cubicBezTo>
                <a:lnTo>
                  <a:pt x="25194" y="1920139"/>
                </a:lnTo>
                <a:lnTo>
                  <a:pt x="24521" y="1924518"/>
                </a:lnTo>
                <a:lnTo>
                  <a:pt x="24136" y="1927020"/>
                </a:lnTo>
                <a:lnTo>
                  <a:pt x="24136" y="1929570"/>
                </a:lnTo>
                <a:cubicBezTo>
                  <a:pt x="24136" y="1935489"/>
                  <a:pt x="24136" y="1941408"/>
                  <a:pt x="24184" y="1947375"/>
                </a:cubicBezTo>
                <a:cubicBezTo>
                  <a:pt x="24184" y="1950503"/>
                  <a:pt x="24184" y="1953679"/>
                  <a:pt x="24184" y="1956855"/>
                </a:cubicBezTo>
                <a:lnTo>
                  <a:pt x="21540" y="1956662"/>
                </a:lnTo>
                <a:cubicBezTo>
                  <a:pt x="20241" y="1966623"/>
                  <a:pt x="18799" y="1977209"/>
                  <a:pt x="17356" y="1988325"/>
                </a:cubicBezTo>
                <a:cubicBezTo>
                  <a:pt x="16971" y="1991116"/>
                  <a:pt x="16635" y="1993955"/>
                  <a:pt x="16250" y="1996794"/>
                </a:cubicBezTo>
                <a:cubicBezTo>
                  <a:pt x="16058" y="1998238"/>
                  <a:pt x="15866" y="1999681"/>
                  <a:pt x="15673" y="2001125"/>
                </a:cubicBezTo>
                <a:lnTo>
                  <a:pt x="15385" y="2003290"/>
                </a:lnTo>
                <a:cubicBezTo>
                  <a:pt x="15385" y="2003290"/>
                  <a:pt x="15240" y="2004253"/>
                  <a:pt x="15240" y="2004830"/>
                </a:cubicBezTo>
                <a:lnTo>
                  <a:pt x="15240" y="2005937"/>
                </a:lnTo>
                <a:cubicBezTo>
                  <a:pt x="15192" y="2011856"/>
                  <a:pt x="15144" y="2017871"/>
                  <a:pt x="15096" y="2024078"/>
                </a:cubicBezTo>
                <a:cubicBezTo>
                  <a:pt x="15096" y="2030430"/>
                  <a:pt x="15000" y="2036926"/>
                  <a:pt x="14952" y="2043519"/>
                </a:cubicBezTo>
                <a:cubicBezTo>
                  <a:pt x="14183" y="2045877"/>
                  <a:pt x="13077" y="2052902"/>
                  <a:pt x="11682" y="2064018"/>
                </a:cubicBezTo>
                <a:cubicBezTo>
                  <a:pt x="10865" y="2070996"/>
                  <a:pt x="9903" y="2079513"/>
                  <a:pt x="8749" y="2089425"/>
                </a:cubicBezTo>
                <a:cubicBezTo>
                  <a:pt x="8508" y="2091928"/>
                  <a:pt x="8220" y="2094478"/>
                  <a:pt x="7931" y="2097125"/>
                </a:cubicBezTo>
                <a:cubicBezTo>
                  <a:pt x="7835" y="2099771"/>
                  <a:pt x="7787" y="2102514"/>
                  <a:pt x="7691" y="2105305"/>
                </a:cubicBezTo>
                <a:cubicBezTo>
                  <a:pt x="7547" y="2110935"/>
                  <a:pt x="7402" y="2116854"/>
                  <a:pt x="7258" y="2123110"/>
                </a:cubicBezTo>
                <a:cubicBezTo>
                  <a:pt x="7066" y="2133359"/>
                  <a:pt x="6873" y="2144427"/>
                  <a:pt x="6633" y="2156216"/>
                </a:cubicBezTo>
                <a:cubicBezTo>
                  <a:pt x="5575" y="2159104"/>
                  <a:pt x="4517" y="2164878"/>
                  <a:pt x="3556" y="2172914"/>
                </a:cubicBezTo>
                <a:cubicBezTo>
                  <a:pt x="2257" y="2184511"/>
                  <a:pt x="1344" y="2200583"/>
                  <a:pt x="959" y="2218340"/>
                </a:cubicBezTo>
                <a:cubicBezTo>
                  <a:pt x="93" y="2218340"/>
                  <a:pt x="-676" y="2218291"/>
                  <a:pt x="959" y="2218340"/>
                </a:cubicBezTo>
                <a:cubicBezTo>
                  <a:pt x="959" y="2218388"/>
                  <a:pt x="959" y="2218484"/>
                  <a:pt x="959" y="2218532"/>
                </a:cubicBezTo>
                <a:cubicBezTo>
                  <a:pt x="2257" y="2218532"/>
                  <a:pt x="3459" y="2218628"/>
                  <a:pt x="4469" y="2218628"/>
                </a:cubicBezTo>
                <a:cubicBezTo>
                  <a:pt x="3748" y="2232679"/>
                  <a:pt x="2979" y="2247260"/>
                  <a:pt x="2209" y="2262273"/>
                </a:cubicBezTo>
                <a:cubicBezTo>
                  <a:pt x="1969" y="2266748"/>
                  <a:pt x="1776" y="2271272"/>
                  <a:pt x="1536" y="2275795"/>
                </a:cubicBezTo>
                <a:cubicBezTo>
                  <a:pt x="1440" y="2278057"/>
                  <a:pt x="1296" y="2280366"/>
                  <a:pt x="1199" y="2282628"/>
                </a:cubicBezTo>
                <a:cubicBezTo>
                  <a:pt x="1151" y="2283494"/>
                  <a:pt x="1055" y="2285708"/>
                  <a:pt x="1103" y="2286574"/>
                </a:cubicBezTo>
                <a:lnTo>
                  <a:pt x="1199" y="2290039"/>
                </a:lnTo>
                <a:cubicBezTo>
                  <a:pt x="1392" y="2299326"/>
                  <a:pt x="1632" y="2308757"/>
                  <a:pt x="1824" y="2318285"/>
                </a:cubicBezTo>
                <a:lnTo>
                  <a:pt x="1824" y="2318285"/>
                </a:lnTo>
                <a:cubicBezTo>
                  <a:pt x="1824" y="2318285"/>
                  <a:pt x="5719" y="2318381"/>
                  <a:pt x="5719" y="2318381"/>
                </a:cubicBezTo>
                <a:cubicBezTo>
                  <a:pt x="5094" y="2326754"/>
                  <a:pt x="4469" y="2335079"/>
                  <a:pt x="3892" y="2343356"/>
                </a:cubicBezTo>
                <a:lnTo>
                  <a:pt x="3411" y="2349707"/>
                </a:lnTo>
                <a:lnTo>
                  <a:pt x="3267" y="2351296"/>
                </a:lnTo>
                <a:cubicBezTo>
                  <a:pt x="3219" y="2351729"/>
                  <a:pt x="3219" y="2352354"/>
                  <a:pt x="3267" y="2352787"/>
                </a:cubicBezTo>
                <a:lnTo>
                  <a:pt x="3267" y="2353557"/>
                </a:lnTo>
                <a:cubicBezTo>
                  <a:pt x="3267" y="2353557"/>
                  <a:pt x="3507" y="2356733"/>
                  <a:pt x="3507" y="2356733"/>
                </a:cubicBezTo>
                <a:cubicBezTo>
                  <a:pt x="3748" y="2360920"/>
                  <a:pt x="3988" y="2365154"/>
                  <a:pt x="4229" y="2369292"/>
                </a:cubicBezTo>
                <a:cubicBezTo>
                  <a:pt x="4710" y="2377617"/>
                  <a:pt x="5190" y="2385894"/>
                  <a:pt x="5671" y="2394074"/>
                </a:cubicBezTo>
                <a:lnTo>
                  <a:pt x="10143" y="2394074"/>
                </a:lnTo>
                <a:cubicBezTo>
                  <a:pt x="9999" y="2396625"/>
                  <a:pt x="9903" y="2399127"/>
                  <a:pt x="9759" y="2401677"/>
                </a:cubicBezTo>
                <a:cubicBezTo>
                  <a:pt x="9422" y="2408318"/>
                  <a:pt x="9134" y="2414958"/>
                  <a:pt x="8797" y="2421647"/>
                </a:cubicBezTo>
                <a:lnTo>
                  <a:pt x="8556" y="2426652"/>
                </a:lnTo>
                <a:lnTo>
                  <a:pt x="8460" y="2429154"/>
                </a:lnTo>
                <a:lnTo>
                  <a:pt x="8460" y="2430405"/>
                </a:lnTo>
                <a:cubicBezTo>
                  <a:pt x="8460" y="2430405"/>
                  <a:pt x="8364" y="2431031"/>
                  <a:pt x="8364" y="2431031"/>
                </a:cubicBezTo>
                <a:lnTo>
                  <a:pt x="8364" y="2432234"/>
                </a:lnTo>
                <a:cubicBezTo>
                  <a:pt x="8364" y="2432234"/>
                  <a:pt x="9326" y="2442339"/>
                  <a:pt x="9326" y="2442339"/>
                </a:cubicBezTo>
                <a:cubicBezTo>
                  <a:pt x="10576" y="2455668"/>
                  <a:pt x="11826" y="2469045"/>
                  <a:pt x="13077" y="2482471"/>
                </a:cubicBezTo>
                <a:lnTo>
                  <a:pt x="23704" y="2482086"/>
                </a:lnTo>
                <a:cubicBezTo>
                  <a:pt x="23944" y="2475013"/>
                  <a:pt x="24281" y="2467891"/>
                  <a:pt x="24569" y="2460769"/>
                </a:cubicBezTo>
                <a:cubicBezTo>
                  <a:pt x="24184" y="2476600"/>
                  <a:pt x="23896" y="2491951"/>
                  <a:pt x="23752" y="2506772"/>
                </a:cubicBezTo>
                <a:cubicBezTo>
                  <a:pt x="23752" y="2516781"/>
                  <a:pt x="23655" y="2526549"/>
                  <a:pt x="23655" y="2536077"/>
                </a:cubicBezTo>
                <a:cubicBezTo>
                  <a:pt x="23655" y="2540841"/>
                  <a:pt x="23704" y="2545557"/>
                  <a:pt x="23752" y="2550176"/>
                </a:cubicBezTo>
                <a:cubicBezTo>
                  <a:pt x="23752" y="2552486"/>
                  <a:pt x="23800" y="2554796"/>
                  <a:pt x="23848" y="2557057"/>
                </a:cubicBezTo>
                <a:cubicBezTo>
                  <a:pt x="23848" y="2557635"/>
                  <a:pt x="23848" y="2558068"/>
                  <a:pt x="23944" y="2559175"/>
                </a:cubicBezTo>
                <a:lnTo>
                  <a:pt x="24232" y="2560955"/>
                </a:lnTo>
                <a:lnTo>
                  <a:pt x="24809" y="2564275"/>
                </a:lnTo>
                <a:cubicBezTo>
                  <a:pt x="30964" y="2599740"/>
                  <a:pt x="36350" y="2631018"/>
                  <a:pt x="40918" y="2657244"/>
                </a:cubicBezTo>
                <a:lnTo>
                  <a:pt x="46544" y="2656714"/>
                </a:lnTo>
                <a:cubicBezTo>
                  <a:pt x="45919" y="2627650"/>
                  <a:pt x="45583" y="2604841"/>
                  <a:pt x="46737" y="2589298"/>
                </a:cubicBezTo>
                <a:cubicBezTo>
                  <a:pt x="47746" y="2573755"/>
                  <a:pt x="49622" y="2565574"/>
                  <a:pt x="48997" y="2565430"/>
                </a:cubicBezTo>
                <a:cubicBezTo>
                  <a:pt x="48756" y="2565382"/>
                  <a:pt x="47987" y="2567355"/>
                  <a:pt x="46977" y="2571301"/>
                </a:cubicBezTo>
                <a:cubicBezTo>
                  <a:pt x="45919" y="2575247"/>
                  <a:pt x="44765" y="2581214"/>
                  <a:pt x="43755" y="2589009"/>
                </a:cubicBezTo>
                <a:cubicBezTo>
                  <a:pt x="42553" y="2597911"/>
                  <a:pt x="41880" y="2609268"/>
                  <a:pt x="41447" y="2622693"/>
                </a:cubicBezTo>
                <a:cubicBezTo>
                  <a:pt x="38706" y="2604504"/>
                  <a:pt x="35725" y="2584630"/>
                  <a:pt x="32455" y="2563217"/>
                </a:cubicBezTo>
                <a:cubicBezTo>
                  <a:pt x="32215" y="2561099"/>
                  <a:pt x="31541" y="2558501"/>
                  <a:pt x="31686" y="2557009"/>
                </a:cubicBezTo>
                <a:cubicBezTo>
                  <a:pt x="31686" y="2554747"/>
                  <a:pt x="31686" y="2552438"/>
                  <a:pt x="31686" y="2550128"/>
                </a:cubicBezTo>
                <a:cubicBezTo>
                  <a:pt x="31686" y="2545508"/>
                  <a:pt x="31782" y="2540841"/>
                  <a:pt x="31830" y="2536077"/>
                </a:cubicBezTo>
                <a:cubicBezTo>
                  <a:pt x="32022" y="2526597"/>
                  <a:pt x="32167" y="2516829"/>
                  <a:pt x="32359" y="2506868"/>
                </a:cubicBezTo>
                <a:cubicBezTo>
                  <a:pt x="32840" y="2486898"/>
                  <a:pt x="33513" y="2466014"/>
                  <a:pt x="34330" y="2444216"/>
                </a:cubicBezTo>
                <a:cubicBezTo>
                  <a:pt x="35244" y="2422465"/>
                  <a:pt x="36206" y="2399849"/>
                  <a:pt x="37216" y="2376510"/>
                </a:cubicBezTo>
                <a:cubicBezTo>
                  <a:pt x="38274" y="2353220"/>
                  <a:pt x="39572" y="2329064"/>
                  <a:pt x="40293" y="2304282"/>
                </a:cubicBezTo>
                <a:cubicBezTo>
                  <a:pt x="41976" y="2254815"/>
                  <a:pt x="43178" y="2202845"/>
                  <a:pt x="46304" y="2149431"/>
                </a:cubicBezTo>
                <a:cubicBezTo>
                  <a:pt x="47602" y="2128836"/>
                  <a:pt x="49045" y="2108385"/>
                  <a:pt x="52026" y="2088848"/>
                </a:cubicBezTo>
                <a:cubicBezTo>
                  <a:pt x="52988" y="2084132"/>
                  <a:pt x="53709" y="2079128"/>
                  <a:pt x="55200" y="2075038"/>
                </a:cubicBezTo>
                <a:cubicBezTo>
                  <a:pt x="55584" y="2073835"/>
                  <a:pt x="55681" y="2073257"/>
                  <a:pt x="56402" y="2071284"/>
                </a:cubicBezTo>
                <a:lnTo>
                  <a:pt x="56402" y="2071284"/>
                </a:lnTo>
                <a:cubicBezTo>
                  <a:pt x="56402" y="2071284"/>
                  <a:pt x="56402" y="2071188"/>
                  <a:pt x="56402" y="2071188"/>
                </a:cubicBezTo>
                <a:lnTo>
                  <a:pt x="56498" y="2071380"/>
                </a:lnTo>
                <a:cubicBezTo>
                  <a:pt x="56402" y="2071092"/>
                  <a:pt x="56979" y="2072728"/>
                  <a:pt x="57315" y="2073594"/>
                </a:cubicBezTo>
                <a:cubicBezTo>
                  <a:pt x="57700" y="2074605"/>
                  <a:pt x="57989" y="2075759"/>
                  <a:pt x="58373" y="2076818"/>
                </a:cubicBezTo>
                <a:cubicBezTo>
                  <a:pt x="59672" y="2081245"/>
                  <a:pt x="60633" y="2085961"/>
                  <a:pt x="61499" y="2090629"/>
                </a:cubicBezTo>
                <a:cubicBezTo>
                  <a:pt x="64769" y="2109492"/>
                  <a:pt x="66308" y="2128595"/>
                  <a:pt x="67558" y="2147266"/>
                </a:cubicBezTo>
                <a:cubicBezTo>
                  <a:pt x="68760" y="2165937"/>
                  <a:pt x="69529" y="2184319"/>
                  <a:pt x="70058" y="2202219"/>
                </a:cubicBezTo>
                <a:cubicBezTo>
                  <a:pt x="72078" y="2273918"/>
                  <a:pt x="71308" y="2338640"/>
                  <a:pt x="70251" y="2392919"/>
                </a:cubicBezTo>
                <a:cubicBezTo>
                  <a:pt x="69674" y="2420059"/>
                  <a:pt x="68904" y="2444600"/>
                  <a:pt x="67991" y="2466158"/>
                </a:cubicBezTo>
                <a:cubicBezTo>
                  <a:pt x="67510" y="2476937"/>
                  <a:pt x="67029" y="2486946"/>
                  <a:pt x="66452" y="2496137"/>
                </a:cubicBezTo>
                <a:cubicBezTo>
                  <a:pt x="65779" y="2505280"/>
                  <a:pt x="65442" y="2513845"/>
                  <a:pt x="63903" y="2520919"/>
                </a:cubicBezTo>
                <a:cubicBezTo>
                  <a:pt x="62365" y="2528089"/>
                  <a:pt x="59527" y="2534104"/>
                  <a:pt x="57027" y="2539397"/>
                </a:cubicBezTo>
                <a:cubicBezTo>
                  <a:pt x="54527" y="2544690"/>
                  <a:pt x="52603" y="2549358"/>
                  <a:pt x="51353" y="2553208"/>
                </a:cubicBezTo>
                <a:cubicBezTo>
                  <a:pt x="48949" y="2560955"/>
                  <a:pt x="48516" y="2565190"/>
                  <a:pt x="48804" y="2565238"/>
                </a:cubicBezTo>
                <a:cubicBezTo>
                  <a:pt x="49237" y="2565334"/>
                  <a:pt x="50343" y="2561244"/>
                  <a:pt x="53372" y="2553929"/>
                </a:cubicBezTo>
                <a:cubicBezTo>
                  <a:pt x="54911" y="2550272"/>
                  <a:pt x="57075" y="2545893"/>
                  <a:pt x="59864" y="2540793"/>
                </a:cubicBezTo>
                <a:cubicBezTo>
                  <a:pt x="62653" y="2535692"/>
                  <a:pt x="65971" y="2529484"/>
                  <a:pt x="67942" y="2521882"/>
                </a:cubicBezTo>
                <a:cubicBezTo>
                  <a:pt x="69914" y="2514182"/>
                  <a:pt x="70539" y="2505761"/>
                  <a:pt x="71501" y="2496522"/>
                </a:cubicBezTo>
                <a:cubicBezTo>
                  <a:pt x="72414" y="2487283"/>
                  <a:pt x="73184" y="2477226"/>
                  <a:pt x="73905" y="2466447"/>
                </a:cubicBezTo>
                <a:cubicBezTo>
                  <a:pt x="75396" y="2444889"/>
                  <a:pt x="76646" y="2420300"/>
                  <a:pt x="77752" y="2393112"/>
                </a:cubicBezTo>
                <a:cubicBezTo>
                  <a:pt x="78473" y="2374441"/>
                  <a:pt x="79098" y="2354471"/>
                  <a:pt x="79579" y="2333491"/>
                </a:cubicBezTo>
                <a:cubicBezTo>
                  <a:pt x="79579" y="2359668"/>
                  <a:pt x="79531" y="2385509"/>
                  <a:pt x="79387" y="2410916"/>
                </a:cubicBezTo>
                <a:cubicBezTo>
                  <a:pt x="79002" y="2460769"/>
                  <a:pt x="78618" y="2509226"/>
                  <a:pt x="76742" y="2555710"/>
                </a:cubicBezTo>
                <a:cubicBezTo>
                  <a:pt x="76406" y="2567259"/>
                  <a:pt x="74915" y="2578375"/>
                  <a:pt x="72799" y="2589538"/>
                </a:cubicBezTo>
                <a:cubicBezTo>
                  <a:pt x="70635" y="2600654"/>
                  <a:pt x="67942" y="2611674"/>
                  <a:pt x="65779" y="2622838"/>
                </a:cubicBezTo>
                <a:cubicBezTo>
                  <a:pt x="63519" y="2633953"/>
                  <a:pt x="62076" y="2645358"/>
                  <a:pt x="61259" y="2656377"/>
                </a:cubicBezTo>
                <a:cubicBezTo>
                  <a:pt x="60393" y="2667445"/>
                  <a:pt x="59864" y="2678368"/>
                  <a:pt x="59431" y="2689195"/>
                </a:cubicBezTo>
                <a:cubicBezTo>
                  <a:pt x="59047" y="2700022"/>
                  <a:pt x="58806" y="2710705"/>
                  <a:pt x="58662" y="2721292"/>
                </a:cubicBezTo>
                <a:cubicBezTo>
                  <a:pt x="58662" y="2726585"/>
                  <a:pt x="58614" y="2731830"/>
                  <a:pt x="58566" y="2737075"/>
                </a:cubicBezTo>
                <a:lnTo>
                  <a:pt x="58566" y="2744918"/>
                </a:lnTo>
                <a:cubicBezTo>
                  <a:pt x="58566" y="2744918"/>
                  <a:pt x="58566" y="2746891"/>
                  <a:pt x="58566" y="2746891"/>
                </a:cubicBezTo>
                <a:lnTo>
                  <a:pt x="58566" y="2747902"/>
                </a:lnTo>
                <a:cubicBezTo>
                  <a:pt x="58566" y="2748431"/>
                  <a:pt x="58566" y="2749057"/>
                  <a:pt x="58758" y="2749538"/>
                </a:cubicBezTo>
                <a:lnTo>
                  <a:pt x="59720" y="2753436"/>
                </a:lnTo>
                <a:cubicBezTo>
                  <a:pt x="64673" y="2773502"/>
                  <a:pt x="69529" y="2793135"/>
                  <a:pt x="74242" y="2812238"/>
                </a:cubicBezTo>
                <a:lnTo>
                  <a:pt x="81503" y="2811661"/>
                </a:lnTo>
                <a:cubicBezTo>
                  <a:pt x="83522" y="2793472"/>
                  <a:pt x="86552" y="2775330"/>
                  <a:pt x="88090" y="2757574"/>
                </a:cubicBezTo>
                <a:cubicBezTo>
                  <a:pt x="89725" y="2739866"/>
                  <a:pt x="90399" y="2722543"/>
                  <a:pt x="90879" y="2705797"/>
                </a:cubicBezTo>
                <a:cubicBezTo>
                  <a:pt x="91697" y="2672257"/>
                  <a:pt x="91456" y="2640642"/>
                  <a:pt x="91168" y="2611144"/>
                </a:cubicBezTo>
                <a:cubicBezTo>
                  <a:pt x="90495" y="2552101"/>
                  <a:pt x="89437" y="2501382"/>
                  <a:pt x="88619" y="2459903"/>
                </a:cubicBezTo>
                <a:cubicBezTo>
                  <a:pt x="88523" y="2455668"/>
                  <a:pt x="88427" y="2451626"/>
                  <a:pt x="88331" y="2447584"/>
                </a:cubicBezTo>
                <a:cubicBezTo>
                  <a:pt x="88475" y="2435458"/>
                  <a:pt x="88619" y="2423283"/>
                  <a:pt x="88764" y="2410965"/>
                </a:cubicBezTo>
                <a:cubicBezTo>
                  <a:pt x="88860" y="2400234"/>
                  <a:pt x="88956" y="2389455"/>
                  <a:pt x="89004" y="2378580"/>
                </a:cubicBezTo>
                <a:cubicBezTo>
                  <a:pt x="89293" y="2389503"/>
                  <a:pt x="89677" y="2400330"/>
                  <a:pt x="90062" y="2411061"/>
                </a:cubicBezTo>
                <a:cubicBezTo>
                  <a:pt x="92082" y="2463367"/>
                  <a:pt x="95015" y="2513075"/>
                  <a:pt x="97852" y="2559800"/>
                </a:cubicBezTo>
                <a:cubicBezTo>
                  <a:pt x="100593" y="2606525"/>
                  <a:pt x="103574" y="2650314"/>
                  <a:pt x="103911" y="2690735"/>
                </a:cubicBezTo>
                <a:cubicBezTo>
                  <a:pt x="104103" y="2710994"/>
                  <a:pt x="103718" y="2730386"/>
                  <a:pt x="102516" y="2748864"/>
                </a:cubicBezTo>
                <a:cubicBezTo>
                  <a:pt x="101314" y="2767343"/>
                  <a:pt x="99102" y="2784858"/>
                  <a:pt x="95255" y="2801027"/>
                </a:cubicBezTo>
                <a:cubicBezTo>
                  <a:pt x="93332" y="2809111"/>
                  <a:pt x="90831" y="2816810"/>
                  <a:pt x="88187" y="2824268"/>
                </a:cubicBezTo>
                <a:cubicBezTo>
                  <a:pt x="86888" y="2828022"/>
                  <a:pt x="85542" y="2831727"/>
                  <a:pt x="84340" y="2835481"/>
                </a:cubicBezTo>
                <a:lnTo>
                  <a:pt x="83426" y="2838368"/>
                </a:lnTo>
                <a:cubicBezTo>
                  <a:pt x="83234" y="2839041"/>
                  <a:pt x="82945" y="2839715"/>
                  <a:pt x="82849" y="2840389"/>
                </a:cubicBezTo>
                <a:lnTo>
                  <a:pt x="83426" y="2842410"/>
                </a:lnTo>
                <a:cubicBezTo>
                  <a:pt x="83955" y="2844238"/>
                  <a:pt x="84484" y="2846067"/>
                  <a:pt x="85013" y="2847896"/>
                </a:cubicBezTo>
                <a:cubicBezTo>
                  <a:pt x="87129" y="2855114"/>
                  <a:pt x="89148" y="2862091"/>
                  <a:pt x="91120" y="2868828"/>
                </a:cubicBezTo>
                <a:cubicBezTo>
                  <a:pt x="92178" y="2872389"/>
                  <a:pt x="93188" y="2875853"/>
                  <a:pt x="94197" y="2879270"/>
                </a:cubicBezTo>
                <a:cubicBezTo>
                  <a:pt x="94871" y="2881580"/>
                  <a:pt x="95544" y="2883841"/>
                  <a:pt x="96169" y="2886103"/>
                </a:cubicBezTo>
                <a:lnTo>
                  <a:pt x="97131" y="2889471"/>
                </a:lnTo>
                <a:lnTo>
                  <a:pt x="97611" y="2891107"/>
                </a:lnTo>
                <a:lnTo>
                  <a:pt x="97852" y="2891877"/>
                </a:lnTo>
                <a:lnTo>
                  <a:pt x="98188" y="2892022"/>
                </a:lnTo>
                <a:cubicBezTo>
                  <a:pt x="100064" y="2888990"/>
                  <a:pt x="102083" y="2886007"/>
                  <a:pt x="104199" y="2883071"/>
                </a:cubicBezTo>
                <a:cubicBezTo>
                  <a:pt x="106603" y="2880232"/>
                  <a:pt x="107854" y="2879126"/>
                  <a:pt x="109489" y="2877441"/>
                </a:cubicBezTo>
                <a:cubicBezTo>
                  <a:pt x="112710" y="2874265"/>
                  <a:pt x="115644" y="2870656"/>
                  <a:pt x="117856" y="2866855"/>
                </a:cubicBezTo>
                <a:cubicBezTo>
                  <a:pt x="122135" y="2859107"/>
                  <a:pt x="123914" y="2851168"/>
                  <a:pt x="125309" y="2843902"/>
                </a:cubicBezTo>
                <a:cubicBezTo>
                  <a:pt x="127713" y="2829273"/>
                  <a:pt x="127761" y="2816810"/>
                  <a:pt x="127954" y="2806753"/>
                </a:cubicBezTo>
                <a:cubicBezTo>
                  <a:pt x="127954" y="2796696"/>
                  <a:pt x="127713" y="2789044"/>
                  <a:pt x="127377" y="2783896"/>
                </a:cubicBezTo>
                <a:cubicBezTo>
                  <a:pt x="127088" y="2778747"/>
                  <a:pt x="126848" y="2776100"/>
                  <a:pt x="126655" y="2776100"/>
                </a:cubicBezTo>
                <a:cubicBezTo>
                  <a:pt x="126463" y="2776100"/>
                  <a:pt x="126319" y="2778747"/>
                  <a:pt x="126222" y="2783896"/>
                </a:cubicBezTo>
                <a:cubicBezTo>
                  <a:pt x="126174" y="2789044"/>
                  <a:pt x="126078" y="2796696"/>
                  <a:pt x="125645" y="2806657"/>
                </a:cubicBezTo>
                <a:cubicBezTo>
                  <a:pt x="125116" y="2816618"/>
                  <a:pt x="124684" y="2829032"/>
                  <a:pt x="121991" y="2843276"/>
                </a:cubicBezTo>
                <a:cubicBezTo>
                  <a:pt x="120500" y="2850302"/>
                  <a:pt x="118577" y="2857904"/>
                  <a:pt x="114490" y="2864882"/>
                </a:cubicBezTo>
                <a:cubicBezTo>
                  <a:pt x="112422" y="2868347"/>
                  <a:pt x="109777" y="2871474"/>
                  <a:pt x="106555" y="2874506"/>
                </a:cubicBezTo>
                <a:cubicBezTo>
                  <a:pt x="102757" y="2878211"/>
                  <a:pt x="101362" y="2879462"/>
                  <a:pt x="99920" y="2881965"/>
                </a:cubicBezTo>
                <a:lnTo>
                  <a:pt x="99727" y="2882253"/>
                </a:lnTo>
                <a:lnTo>
                  <a:pt x="99631" y="2881965"/>
                </a:lnTo>
                <a:lnTo>
                  <a:pt x="99439" y="2881243"/>
                </a:lnTo>
                <a:lnTo>
                  <a:pt x="99054" y="2879799"/>
                </a:lnTo>
                <a:cubicBezTo>
                  <a:pt x="98814" y="2878885"/>
                  <a:pt x="98525" y="2877923"/>
                  <a:pt x="98285" y="2876960"/>
                </a:cubicBezTo>
                <a:cubicBezTo>
                  <a:pt x="97419" y="2873880"/>
                  <a:pt x="96554" y="2870705"/>
                  <a:pt x="95688" y="2867528"/>
                </a:cubicBezTo>
                <a:cubicBezTo>
                  <a:pt x="93813" y="2860792"/>
                  <a:pt x="91889" y="2853766"/>
                  <a:pt x="89918" y="2846548"/>
                </a:cubicBezTo>
                <a:cubicBezTo>
                  <a:pt x="89437" y="2844768"/>
                  <a:pt x="88908" y="2842939"/>
                  <a:pt x="88427" y="2841159"/>
                </a:cubicBezTo>
                <a:lnTo>
                  <a:pt x="88235" y="2840437"/>
                </a:lnTo>
                <a:lnTo>
                  <a:pt x="88475" y="2839715"/>
                </a:lnTo>
                <a:lnTo>
                  <a:pt x="89341" y="2837117"/>
                </a:lnTo>
                <a:cubicBezTo>
                  <a:pt x="90639" y="2833508"/>
                  <a:pt x="91937" y="2829802"/>
                  <a:pt x="93284" y="2826097"/>
                </a:cubicBezTo>
                <a:cubicBezTo>
                  <a:pt x="96025" y="2818590"/>
                  <a:pt x="98717" y="2810699"/>
                  <a:pt x="100833" y="2802422"/>
                </a:cubicBezTo>
                <a:cubicBezTo>
                  <a:pt x="105017" y="2785821"/>
                  <a:pt x="107469" y="2768016"/>
                  <a:pt x="108863" y="2749345"/>
                </a:cubicBezTo>
                <a:cubicBezTo>
                  <a:pt x="110306" y="2730675"/>
                  <a:pt x="110883" y="2711090"/>
                  <a:pt x="110883" y="2690735"/>
                </a:cubicBezTo>
                <a:cubicBezTo>
                  <a:pt x="110931" y="2649929"/>
                  <a:pt x="108286" y="2606092"/>
                  <a:pt x="105882" y="2559367"/>
                </a:cubicBezTo>
                <a:cubicBezTo>
                  <a:pt x="103382" y="2512642"/>
                  <a:pt x="100737" y="2462982"/>
                  <a:pt x="99006" y="2410772"/>
                </a:cubicBezTo>
                <a:cubicBezTo>
                  <a:pt x="98814" y="2404372"/>
                  <a:pt x="98573" y="2397972"/>
                  <a:pt x="98429" y="2391524"/>
                </a:cubicBezTo>
                <a:cubicBezTo>
                  <a:pt x="98862" y="2402495"/>
                  <a:pt x="99342" y="2413322"/>
                  <a:pt x="99871" y="2423861"/>
                </a:cubicBezTo>
                <a:cubicBezTo>
                  <a:pt x="102709" y="2478669"/>
                  <a:pt x="106555" y="2528041"/>
                  <a:pt x="110114" y="2571301"/>
                </a:cubicBezTo>
                <a:cubicBezTo>
                  <a:pt x="113768" y="2614513"/>
                  <a:pt x="116894" y="2651710"/>
                  <a:pt x="119490" y="2682025"/>
                </a:cubicBezTo>
                <a:cubicBezTo>
                  <a:pt x="121991" y="2712341"/>
                  <a:pt x="123722" y="2735872"/>
                  <a:pt x="124780" y="2751848"/>
                </a:cubicBezTo>
                <a:cubicBezTo>
                  <a:pt x="125309" y="2759836"/>
                  <a:pt x="125742" y="2765899"/>
                  <a:pt x="125982" y="2769989"/>
                </a:cubicBezTo>
                <a:cubicBezTo>
                  <a:pt x="126319" y="2774079"/>
                  <a:pt x="126559" y="2776148"/>
                  <a:pt x="126751" y="2776148"/>
                </a:cubicBezTo>
                <a:cubicBezTo>
                  <a:pt x="126944" y="2776148"/>
                  <a:pt x="127040" y="2774031"/>
                  <a:pt x="127040" y="2769941"/>
                </a:cubicBezTo>
                <a:cubicBezTo>
                  <a:pt x="126992" y="2765851"/>
                  <a:pt x="126896" y="2759739"/>
                  <a:pt x="126799" y="2751751"/>
                </a:cubicBezTo>
                <a:cubicBezTo>
                  <a:pt x="126367" y="2735776"/>
                  <a:pt x="125309" y="2712149"/>
                  <a:pt x="123385" y="2681737"/>
                </a:cubicBezTo>
                <a:cubicBezTo>
                  <a:pt x="121318" y="2651373"/>
                  <a:pt x="118721" y="2614128"/>
                  <a:pt x="115788" y="2570868"/>
                </a:cubicBezTo>
                <a:cubicBezTo>
                  <a:pt x="112758" y="2527608"/>
                  <a:pt x="109441" y="2478237"/>
                  <a:pt x="107084" y="2423524"/>
                </a:cubicBezTo>
                <a:cubicBezTo>
                  <a:pt x="104872" y="2368859"/>
                  <a:pt x="103141" y="2308709"/>
                  <a:pt x="106603" y="2244324"/>
                </a:cubicBezTo>
                <a:cubicBezTo>
                  <a:pt x="107084" y="2236288"/>
                  <a:pt x="107565" y="2228156"/>
                  <a:pt x="108046" y="2219976"/>
                </a:cubicBezTo>
                <a:cubicBezTo>
                  <a:pt x="108479" y="2215404"/>
                  <a:pt x="108912" y="2210785"/>
                  <a:pt x="109344" y="2206213"/>
                </a:cubicBezTo>
                <a:cubicBezTo>
                  <a:pt x="108383" y="2217425"/>
                  <a:pt x="107758" y="2228637"/>
                  <a:pt x="107373" y="2239849"/>
                </a:cubicBezTo>
                <a:cubicBezTo>
                  <a:pt x="105642" y="2291723"/>
                  <a:pt x="107565" y="2343981"/>
                  <a:pt x="110691" y="2396480"/>
                </a:cubicBezTo>
                <a:cubicBezTo>
                  <a:pt x="111893" y="2430597"/>
                  <a:pt x="114009" y="2464570"/>
                  <a:pt x="116653" y="2498351"/>
                </a:cubicBezTo>
                <a:cubicBezTo>
                  <a:pt x="120356" y="2544498"/>
                  <a:pt x="124684" y="2590405"/>
                  <a:pt x="129588" y="2636022"/>
                </a:cubicBezTo>
                <a:cubicBezTo>
                  <a:pt x="129733" y="2637996"/>
                  <a:pt x="129925" y="2639968"/>
                  <a:pt x="130117" y="2641941"/>
                </a:cubicBezTo>
                <a:cubicBezTo>
                  <a:pt x="132954" y="2676010"/>
                  <a:pt x="135743" y="2710272"/>
                  <a:pt x="137907" y="2744678"/>
                </a:cubicBezTo>
                <a:cubicBezTo>
                  <a:pt x="139975" y="2779084"/>
                  <a:pt x="141850" y="2813730"/>
                  <a:pt x="140841" y="2848233"/>
                </a:cubicBezTo>
                <a:cubicBezTo>
                  <a:pt x="140215" y="2865363"/>
                  <a:pt x="139398" y="2882975"/>
                  <a:pt x="134926" y="2898807"/>
                </a:cubicBezTo>
                <a:cubicBezTo>
                  <a:pt x="132954" y="2906795"/>
                  <a:pt x="128963" y="2913965"/>
                  <a:pt x="123530" y="2915071"/>
                </a:cubicBezTo>
                <a:cubicBezTo>
                  <a:pt x="122135" y="2915360"/>
                  <a:pt x="120500" y="2915456"/>
                  <a:pt x="118673" y="2915264"/>
                </a:cubicBezTo>
                <a:cubicBezTo>
                  <a:pt x="118288" y="2915264"/>
                  <a:pt x="115547" y="2914831"/>
                  <a:pt x="113480" y="2914494"/>
                </a:cubicBezTo>
                <a:lnTo>
                  <a:pt x="110306" y="2914061"/>
                </a:lnTo>
                <a:lnTo>
                  <a:pt x="107373" y="2913868"/>
                </a:lnTo>
                <a:lnTo>
                  <a:pt x="104488" y="2913676"/>
                </a:lnTo>
                <a:cubicBezTo>
                  <a:pt x="103766" y="2913868"/>
                  <a:pt x="101795" y="2913050"/>
                  <a:pt x="102035" y="2914013"/>
                </a:cubicBezTo>
                <a:lnTo>
                  <a:pt x="103382" y="2919691"/>
                </a:lnTo>
                <a:cubicBezTo>
                  <a:pt x="103766" y="2921519"/>
                  <a:pt x="104632" y="2923781"/>
                  <a:pt x="105257" y="2925802"/>
                </a:cubicBezTo>
                <a:lnTo>
                  <a:pt x="106748" y="2930470"/>
                </a:lnTo>
                <a:lnTo>
                  <a:pt x="110787" y="2943077"/>
                </a:lnTo>
                <a:lnTo>
                  <a:pt x="112807" y="2949381"/>
                </a:lnTo>
                <a:lnTo>
                  <a:pt x="113816" y="2952557"/>
                </a:lnTo>
                <a:lnTo>
                  <a:pt x="114538" y="2954867"/>
                </a:lnTo>
                <a:cubicBezTo>
                  <a:pt x="114874" y="2955877"/>
                  <a:pt x="115163" y="2956936"/>
                  <a:pt x="115644" y="2957802"/>
                </a:cubicBezTo>
                <a:cubicBezTo>
                  <a:pt x="116028" y="2958764"/>
                  <a:pt x="116365" y="2959823"/>
                  <a:pt x="117615" y="2959631"/>
                </a:cubicBezTo>
                <a:lnTo>
                  <a:pt x="120693" y="2960112"/>
                </a:lnTo>
                <a:lnTo>
                  <a:pt x="122328" y="2960497"/>
                </a:lnTo>
                <a:lnTo>
                  <a:pt x="123482" y="2960978"/>
                </a:lnTo>
                <a:cubicBezTo>
                  <a:pt x="125068" y="2961651"/>
                  <a:pt x="126944" y="2962710"/>
                  <a:pt x="128771" y="2963721"/>
                </a:cubicBezTo>
                <a:cubicBezTo>
                  <a:pt x="132522" y="2965838"/>
                  <a:pt x="136465" y="2968292"/>
                  <a:pt x="141225" y="2970121"/>
                </a:cubicBezTo>
                <a:cubicBezTo>
                  <a:pt x="143630" y="2970987"/>
                  <a:pt x="146178" y="2971901"/>
                  <a:pt x="149352" y="2971901"/>
                </a:cubicBezTo>
                <a:cubicBezTo>
                  <a:pt x="152381" y="2972190"/>
                  <a:pt x="155891" y="2971179"/>
                  <a:pt x="158728" y="2969447"/>
                </a:cubicBezTo>
                <a:cubicBezTo>
                  <a:pt x="164210" y="2965597"/>
                  <a:pt x="166374" y="2959967"/>
                  <a:pt x="167624" y="2955300"/>
                </a:cubicBezTo>
                <a:cubicBezTo>
                  <a:pt x="169981" y="2945724"/>
                  <a:pt x="170221" y="2936677"/>
                  <a:pt x="170413" y="2927631"/>
                </a:cubicBezTo>
                <a:cubicBezTo>
                  <a:pt x="170558" y="2909538"/>
                  <a:pt x="169211" y="2891733"/>
                  <a:pt x="167672" y="2873929"/>
                </a:cubicBezTo>
                <a:cubicBezTo>
                  <a:pt x="166086" y="2856124"/>
                  <a:pt x="164162" y="2838368"/>
                  <a:pt x="162143" y="2820563"/>
                </a:cubicBezTo>
                <a:cubicBezTo>
                  <a:pt x="160844" y="2809977"/>
                  <a:pt x="159546" y="2799342"/>
                  <a:pt x="158248" y="2788756"/>
                </a:cubicBezTo>
                <a:cubicBezTo>
                  <a:pt x="163249" y="2818013"/>
                  <a:pt x="168346" y="2846596"/>
                  <a:pt x="173106" y="2874506"/>
                </a:cubicBezTo>
                <a:cubicBezTo>
                  <a:pt x="176520" y="2894283"/>
                  <a:pt x="179694" y="2913676"/>
                  <a:pt x="182483" y="2932779"/>
                </a:cubicBezTo>
                <a:cubicBezTo>
                  <a:pt x="185320" y="2951835"/>
                  <a:pt x="187724" y="2970650"/>
                  <a:pt x="188878" y="2988936"/>
                </a:cubicBezTo>
                <a:lnTo>
                  <a:pt x="189263" y="2995769"/>
                </a:lnTo>
                <a:lnTo>
                  <a:pt x="189263" y="3002458"/>
                </a:lnTo>
                <a:cubicBezTo>
                  <a:pt x="189359" y="3006981"/>
                  <a:pt x="188638" y="3011119"/>
                  <a:pt x="188013" y="3015161"/>
                </a:cubicBezTo>
                <a:cubicBezTo>
                  <a:pt x="187532" y="3017038"/>
                  <a:pt x="186811" y="3018770"/>
                  <a:pt x="186041" y="3019829"/>
                </a:cubicBezTo>
                <a:cubicBezTo>
                  <a:pt x="185176" y="3020743"/>
                  <a:pt x="184887" y="3020936"/>
                  <a:pt x="183637" y="3020840"/>
                </a:cubicBezTo>
                <a:cubicBezTo>
                  <a:pt x="180992" y="3020503"/>
                  <a:pt x="177242" y="3017952"/>
                  <a:pt x="174116" y="3015306"/>
                </a:cubicBezTo>
                <a:cubicBezTo>
                  <a:pt x="167624" y="3009868"/>
                  <a:pt x="161662" y="3003324"/>
                  <a:pt x="155507" y="2997116"/>
                </a:cubicBezTo>
                <a:cubicBezTo>
                  <a:pt x="152429" y="2993988"/>
                  <a:pt x="149304" y="2990860"/>
                  <a:pt x="145793" y="2987925"/>
                </a:cubicBezTo>
                <a:cubicBezTo>
                  <a:pt x="145457" y="2987636"/>
                  <a:pt x="144639" y="2987011"/>
                  <a:pt x="143966" y="2986530"/>
                </a:cubicBezTo>
                <a:cubicBezTo>
                  <a:pt x="143245" y="2986001"/>
                  <a:pt x="142572" y="2985471"/>
                  <a:pt x="141850" y="2984990"/>
                </a:cubicBezTo>
                <a:cubicBezTo>
                  <a:pt x="140360" y="2984172"/>
                  <a:pt x="138869" y="2983161"/>
                  <a:pt x="137426" y="2982776"/>
                </a:cubicBezTo>
                <a:cubicBezTo>
                  <a:pt x="134541" y="2981718"/>
                  <a:pt x="132089" y="2981814"/>
                  <a:pt x="129540" y="2983017"/>
                </a:cubicBezTo>
                <a:cubicBezTo>
                  <a:pt x="129011" y="2983354"/>
                  <a:pt x="128434" y="2983739"/>
                  <a:pt x="128146" y="2984268"/>
                </a:cubicBezTo>
                <a:lnTo>
                  <a:pt x="128050" y="2985808"/>
                </a:lnTo>
                <a:lnTo>
                  <a:pt x="127905" y="2988839"/>
                </a:lnTo>
                <a:cubicBezTo>
                  <a:pt x="127761" y="2989225"/>
                  <a:pt x="128146" y="2990139"/>
                  <a:pt x="128434" y="2990909"/>
                </a:cubicBezTo>
                <a:lnTo>
                  <a:pt x="129300" y="2993266"/>
                </a:lnTo>
                <a:lnTo>
                  <a:pt x="130935" y="2997790"/>
                </a:lnTo>
                <a:cubicBezTo>
                  <a:pt x="132281" y="3001447"/>
                  <a:pt x="133580" y="3005152"/>
                  <a:pt x="134926" y="3008761"/>
                </a:cubicBezTo>
                <a:cubicBezTo>
                  <a:pt x="137667" y="3016316"/>
                  <a:pt x="140360" y="3023775"/>
                  <a:pt x="143053" y="3031137"/>
                </a:cubicBezTo>
                <a:cubicBezTo>
                  <a:pt x="143630" y="3031667"/>
                  <a:pt x="144207" y="3032436"/>
                  <a:pt x="144832" y="3032725"/>
                </a:cubicBezTo>
                <a:cubicBezTo>
                  <a:pt x="145457" y="3033110"/>
                  <a:pt x="146130" y="3033543"/>
                  <a:pt x="146851" y="3034073"/>
                </a:cubicBezTo>
                <a:cubicBezTo>
                  <a:pt x="148775" y="3035083"/>
                  <a:pt x="151323" y="3037345"/>
                  <a:pt x="153391" y="3039414"/>
                </a:cubicBezTo>
                <a:cubicBezTo>
                  <a:pt x="155555" y="3041627"/>
                  <a:pt x="157719" y="3043889"/>
                  <a:pt x="159690" y="3046199"/>
                </a:cubicBezTo>
                <a:cubicBezTo>
                  <a:pt x="163633" y="3050866"/>
                  <a:pt x="167095" y="3055871"/>
                  <a:pt x="170221" y="3061068"/>
                </a:cubicBezTo>
                <a:cubicBezTo>
                  <a:pt x="176424" y="3071462"/>
                  <a:pt x="181377" y="3082433"/>
                  <a:pt x="185849" y="3093260"/>
                </a:cubicBezTo>
                <a:cubicBezTo>
                  <a:pt x="194745" y="3114914"/>
                  <a:pt x="201333" y="3136376"/>
                  <a:pt x="207439" y="3156683"/>
                </a:cubicBezTo>
                <a:cubicBezTo>
                  <a:pt x="213450" y="3176989"/>
                  <a:pt x="218740" y="3196285"/>
                  <a:pt x="223740" y="3214282"/>
                </a:cubicBezTo>
                <a:cubicBezTo>
                  <a:pt x="224366" y="3216544"/>
                  <a:pt x="224991" y="3218758"/>
                  <a:pt x="225616" y="3220971"/>
                </a:cubicBezTo>
                <a:lnTo>
                  <a:pt x="226529" y="3224291"/>
                </a:lnTo>
                <a:cubicBezTo>
                  <a:pt x="226626" y="3224676"/>
                  <a:pt x="226962" y="3225879"/>
                  <a:pt x="227299" y="3226312"/>
                </a:cubicBezTo>
                <a:lnTo>
                  <a:pt x="228068" y="3227852"/>
                </a:lnTo>
                <a:cubicBezTo>
                  <a:pt x="230088" y="3231894"/>
                  <a:pt x="232107" y="3235840"/>
                  <a:pt x="234031" y="3239738"/>
                </a:cubicBezTo>
                <a:cubicBezTo>
                  <a:pt x="237926" y="3247534"/>
                  <a:pt x="241677" y="3254992"/>
                  <a:pt x="245283" y="3262162"/>
                </a:cubicBezTo>
                <a:lnTo>
                  <a:pt x="249274" y="3260430"/>
                </a:lnTo>
                <a:cubicBezTo>
                  <a:pt x="234608" y="3221452"/>
                  <a:pt x="229367" y="3189164"/>
                  <a:pt x="228309" y="3167317"/>
                </a:cubicBezTo>
                <a:cubicBezTo>
                  <a:pt x="227876" y="3156442"/>
                  <a:pt x="228597" y="3147828"/>
                  <a:pt x="231386" y="3143161"/>
                </a:cubicBezTo>
                <a:cubicBezTo>
                  <a:pt x="232829" y="3140851"/>
                  <a:pt x="234896" y="3140129"/>
                  <a:pt x="236243" y="3140226"/>
                </a:cubicBezTo>
                <a:cubicBezTo>
                  <a:pt x="237589" y="3140226"/>
                  <a:pt x="238359" y="3140466"/>
                  <a:pt x="238359" y="3140322"/>
                </a:cubicBezTo>
                <a:cubicBezTo>
                  <a:pt x="238359" y="3140322"/>
                  <a:pt x="237733" y="3139841"/>
                  <a:pt x="236243" y="3139648"/>
                </a:cubicBezTo>
                <a:cubicBezTo>
                  <a:pt x="234800" y="3139359"/>
                  <a:pt x="232156" y="3139985"/>
                  <a:pt x="230424" y="3142535"/>
                </a:cubicBezTo>
                <a:cubicBezTo>
                  <a:pt x="226962" y="3147540"/>
                  <a:pt x="225952" y="3156346"/>
                  <a:pt x="226001" y="3167365"/>
                </a:cubicBezTo>
                <a:cubicBezTo>
                  <a:pt x="226241" y="3183967"/>
                  <a:pt x="228886" y="3206535"/>
                  <a:pt x="236195" y="3233483"/>
                </a:cubicBezTo>
                <a:cubicBezTo>
                  <a:pt x="234944" y="3230884"/>
                  <a:pt x="233694" y="3228334"/>
                  <a:pt x="232444" y="3225687"/>
                </a:cubicBezTo>
                <a:lnTo>
                  <a:pt x="231723" y="3224147"/>
                </a:lnTo>
                <a:cubicBezTo>
                  <a:pt x="231434" y="3223618"/>
                  <a:pt x="231482" y="3223666"/>
                  <a:pt x="231290" y="3222992"/>
                </a:cubicBezTo>
                <a:lnTo>
                  <a:pt x="230424" y="3219672"/>
                </a:lnTo>
                <a:cubicBezTo>
                  <a:pt x="229847" y="3217458"/>
                  <a:pt x="229270" y="3215197"/>
                  <a:pt x="228645" y="3212935"/>
                </a:cubicBezTo>
                <a:cubicBezTo>
                  <a:pt x="223885" y="3194842"/>
                  <a:pt x="218836" y="3175497"/>
                  <a:pt x="213017" y="3155046"/>
                </a:cubicBezTo>
                <a:cubicBezTo>
                  <a:pt x="207151" y="3134595"/>
                  <a:pt x="200707" y="3112941"/>
                  <a:pt x="191860" y="3090806"/>
                </a:cubicBezTo>
                <a:cubicBezTo>
                  <a:pt x="187388" y="3079787"/>
                  <a:pt x="182483" y="3068526"/>
                  <a:pt x="176087" y="3057603"/>
                </a:cubicBezTo>
                <a:cubicBezTo>
                  <a:pt x="172914" y="3052118"/>
                  <a:pt x="169259" y="3046776"/>
                  <a:pt x="165028" y="3041724"/>
                </a:cubicBezTo>
                <a:cubicBezTo>
                  <a:pt x="162912" y="3039173"/>
                  <a:pt x="160700" y="3036815"/>
                  <a:pt x="158392" y="3034457"/>
                </a:cubicBezTo>
                <a:cubicBezTo>
                  <a:pt x="155891" y="3032099"/>
                  <a:pt x="153776" y="3029742"/>
                  <a:pt x="149929" y="3027721"/>
                </a:cubicBezTo>
                <a:lnTo>
                  <a:pt x="149448" y="3027528"/>
                </a:lnTo>
                <a:lnTo>
                  <a:pt x="149207" y="3027095"/>
                </a:lnTo>
                <a:cubicBezTo>
                  <a:pt x="146803" y="3020262"/>
                  <a:pt x="144351" y="3013333"/>
                  <a:pt x="141850" y="3006355"/>
                </a:cubicBezTo>
                <a:cubicBezTo>
                  <a:pt x="140552" y="3002698"/>
                  <a:pt x="139254" y="2999041"/>
                  <a:pt x="137955" y="2995384"/>
                </a:cubicBezTo>
                <a:lnTo>
                  <a:pt x="137330" y="2993507"/>
                </a:lnTo>
                <a:lnTo>
                  <a:pt x="137042" y="2992689"/>
                </a:lnTo>
                <a:lnTo>
                  <a:pt x="136898" y="2992256"/>
                </a:lnTo>
                <a:lnTo>
                  <a:pt x="137234" y="2992016"/>
                </a:lnTo>
                <a:cubicBezTo>
                  <a:pt x="137859" y="2991775"/>
                  <a:pt x="138484" y="2992063"/>
                  <a:pt x="139061" y="2992400"/>
                </a:cubicBezTo>
                <a:cubicBezTo>
                  <a:pt x="139686" y="2992785"/>
                  <a:pt x="139879" y="2992882"/>
                  <a:pt x="140985" y="2993844"/>
                </a:cubicBezTo>
                <a:cubicBezTo>
                  <a:pt x="144062" y="2996443"/>
                  <a:pt x="147092" y="2999474"/>
                  <a:pt x="150073" y="3002554"/>
                </a:cubicBezTo>
                <a:cubicBezTo>
                  <a:pt x="156132" y="3008713"/>
                  <a:pt x="161998" y="3015354"/>
                  <a:pt x="169115" y="3021417"/>
                </a:cubicBezTo>
                <a:cubicBezTo>
                  <a:pt x="172818" y="3024304"/>
                  <a:pt x="176424" y="3027624"/>
                  <a:pt x="182771" y="3028779"/>
                </a:cubicBezTo>
                <a:cubicBezTo>
                  <a:pt x="184406" y="3028972"/>
                  <a:pt x="186282" y="3028779"/>
                  <a:pt x="188061" y="3028106"/>
                </a:cubicBezTo>
                <a:cubicBezTo>
                  <a:pt x="189840" y="3027336"/>
                  <a:pt x="191186" y="3026181"/>
                  <a:pt x="192292" y="3024881"/>
                </a:cubicBezTo>
                <a:cubicBezTo>
                  <a:pt x="194264" y="3022331"/>
                  <a:pt x="195178" y="3019733"/>
                  <a:pt x="195851" y="3017231"/>
                </a:cubicBezTo>
                <a:cubicBezTo>
                  <a:pt x="196716" y="3012322"/>
                  <a:pt x="197534" y="3007366"/>
                  <a:pt x="197389" y="3002698"/>
                </a:cubicBezTo>
                <a:lnTo>
                  <a:pt x="197486" y="2995576"/>
                </a:lnTo>
                <a:lnTo>
                  <a:pt x="197149" y="2988503"/>
                </a:lnTo>
                <a:cubicBezTo>
                  <a:pt x="196091" y="2969688"/>
                  <a:pt x="193735" y="2950777"/>
                  <a:pt x="190994" y="2931529"/>
                </a:cubicBezTo>
                <a:cubicBezTo>
                  <a:pt x="188253" y="2912328"/>
                  <a:pt x="185176" y="2892840"/>
                  <a:pt x="181858" y="2873014"/>
                </a:cubicBezTo>
                <a:cubicBezTo>
                  <a:pt x="175318" y="2833411"/>
                  <a:pt x="168057" y="2792509"/>
                  <a:pt x="161421" y="2750356"/>
                </a:cubicBezTo>
                <a:cubicBezTo>
                  <a:pt x="154785" y="2708203"/>
                  <a:pt x="149736" y="2664509"/>
                  <a:pt x="144928" y="2619614"/>
                </a:cubicBezTo>
                <a:cubicBezTo>
                  <a:pt x="142427" y="2595650"/>
                  <a:pt x="140167" y="2571349"/>
                  <a:pt x="138100" y="2546711"/>
                </a:cubicBezTo>
                <a:cubicBezTo>
                  <a:pt x="144014" y="2598489"/>
                  <a:pt x="153295" y="2666146"/>
                  <a:pt x="166663" y="2746218"/>
                </a:cubicBezTo>
                <a:cubicBezTo>
                  <a:pt x="174693" y="2794386"/>
                  <a:pt x="184166" y="2847030"/>
                  <a:pt x="195755" y="2903330"/>
                </a:cubicBezTo>
                <a:cubicBezTo>
                  <a:pt x="201621" y="2931480"/>
                  <a:pt x="207968" y="2960497"/>
                  <a:pt x="215566" y="2990235"/>
                </a:cubicBezTo>
                <a:cubicBezTo>
                  <a:pt x="219461" y="3005104"/>
                  <a:pt x="223404" y="3020166"/>
                  <a:pt x="228501" y="3035276"/>
                </a:cubicBezTo>
                <a:cubicBezTo>
                  <a:pt x="229799" y="3039077"/>
                  <a:pt x="231242" y="3042830"/>
                  <a:pt x="232588" y="3046632"/>
                </a:cubicBezTo>
                <a:cubicBezTo>
                  <a:pt x="234319" y="3050433"/>
                  <a:pt x="235522" y="3054187"/>
                  <a:pt x="237830" y="3058036"/>
                </a:cubicBezTo>
                <a:cubicBezTo>
                  <a:pt x="242109" y="3065591"/>
                  <a:pt x="246966" y="3071895"/>
                  <a:pt x="252736" y="3078295"/>
                </a:cubicBezTo>
                <a:cubicBezTo>
                  <a:pt x="258507" y="3084454"/>
                  <a:pt x="265335" y="3090469"/>
                  <a:pt x="274471" y="3093597"/>
                </a:cubicBezTo>
                <a:cubicBezTo>
                  <a:pt x="279039" y="3094944"/>
                  <a:pt x="284136" y="3095666"/>
                  <a:pt x="288993" y="3094608"/>
                </a:cubicBezTo>
                <a:cubicBezTo>
                  <a:pt x="293802" y="3093645"/>
                  <a:pt x="298274" y="3091672"/>
                  <a:pt x="302120" y="3089122"/>
                </a:cubicBezTo>
                <a:cubicBezTo>
                  <a:pt x="309766" y="3083925"/>
                  <a:pt x="315681" y="3077284"/>
                  <a:pt x="320922" y="3070500"/>
                </a:cubicBezTo>
                <a:cubicBezTo>
                  <a:pt x="326211" y="3063714"/>
                  <a:pt x="330876" y="3056593"/>
                  <a:pt x="335636" y="3049712"/>
                </a:cubicBezTo>
                <a:cubicBezTo>
                  <a:pt x="337992" y="3046247"/>
                  <a:pt x="340397" y="3042830"/>
                  <a:pt x="342897" y="3039703"/>
                </a:cubicBezTo>
                <a:cubicBezTo>
                  <a:pt x="345350" y="3036575"/>
                  <a:pt x="348042" y="3033495"/>
                  <a:pt x="350639" y="3031763"/>
                </a:cubicBezTo>
                <a:cubicBezTo>
                  <a:pt x="351264" y="3031426"/>
                  <a:pt x="351937" y="3030896"/>
                  <a:pt x="352370" y="3030848"/>
                </a:cubicBezTo>
                <a:cubicBezTo>
                  <a:pt x="352707" y="3030608"/>
                  <a:pt x="353668" y="3030464"/>
                  <a:pt x="354582" y="3030319"/>
                </a:cubicBezTo>
                <a:cubicBezTo>
                  <a:pt x="356313" y="3029934"/>
                  <a:pt x="358333" y="3029886"/>
                  <a:pt x="360208" y="3029742"/>
                </a:cubicBezTo>
                <a:cubicBezTo>
                  <a:pt x="364151" y="3029693"/>
                  <a:pt x="368190" y="3029886"/>
                  <a:pt x="372326" y="3030367"/>
                </a:cubicBezTo>
                <a:cubicBezTo>
                  <a:pt x="388867" y="3032292"/>
                  <a:pt x="405793" y="3036575"/>
                  <a:pt x="423056" y="3040039"/>
                </a:cubicBezTo>
                <a:cubicBezTo>
                  <a:pt x="440367" y="3043408"/>
                  <a:pt x="458207" y="3046969"/>
                  <a:pt x="477201" y="3045477"/>
                </a:cubicBezTo>
                <a:cubicBezTo>
                  <a:pt x="486578" y="3044707"/>
                  <a:pt x="496868" y="3041916"/>
                  <a:pt x="504946" y="3034746"/>
                </a:cubicBezTo>
                <a:cubicBezTo>
                  <a:pt x="508889" y="3031137"/>
                  <a:pt x="511871" y="3026614"/>
                  <a:pt x="513890" y="3021850"/>
                </a:cubicBezTo>
                <a:cubicBezTo>
                  <a:pt x="514852" y="3019444"/>
                  <a:pt x="515525" y="3016990"/>
                  <a:pt x="516198" y="3014536"/>
                </a:cubicBezTo>
                <a:cubicBezTo>
                  <a:pt x="516583" y="3012082"/>
                  <a:pt x="517160" y="3009627"/>
                  <a:pt x="517353" y="3007173"/>
                </a:cubicBezTo>
                <a:cubicBezTo>
                  <a:pt x="517449" y="3004767"/>
                  <a:pt x="517737" y="3002265"/>
                  <a:pt x="517689" y="2999859"/>
                </a:cubicBezTo>
                <a:lnTo>
                  <a:pt x="517353" y="2992834"/>
                </a:lnTo>
                <a:cubicBezTo>
                  <a:pt x="517016" y="2988166"/>
                  <a:pt x="517112" y="2983402"/>
                  <a:pt x="516391" y="2978783"/>
                </a:cubicBezTo>
                <a:cubicBezTo>
                  <a:pt x="515044" y="2969543"/>
                  <a:pt x="513842" y="2960208"/>
                  <a:pt x="511438" y="2951161"/>
                </a:cubicBezTo>
                <a:cubicBezTo>
                  <a:pt x="507447" y="2932828"/>
                  <a:pt x="501292" y="2915119"/>
                  <a:pt x="494800" y="2897459"/>
                </a:cubicBezTo>
                <a:cubicBezTo>
                  <a:pt x="480519" y="2860647"/>
                  <a:pt x="463256" y="2825808"/>
                  <a:pt x="445608" y="2792028"/>
                </a:cubicBezTo>
                <a:cubicBezTo>
                  <a:pt x="428057" y="2758248"/>
                  <a:pt x="409400" y="2725622"/>
                  <a:pt x="394012" y="2692708"/>
                </a:cubicBezTo>
                <a:cubicBezTo>
                  <a:pt x="363863" y="2626110"/>
                  <a:pt x="340589" y="2559271"/>
                  <a:pt x="323230" y="2494790"/>
                </a:cubicBezTo>
                <a:cubicBezTo>
                  <a:pt x="314719" y="2462501"/>
                  <a:pt x="307506" y="2430742"/>
                  <a:pt x="302505" y="2399704"/>
                </a:cubicBezTo>
                <a:cubicBezTo>
                  <a:pt x="301159" y="2391957"/>
                  <a:pt x="300149" y="2384258"/>
                  <a:pt x="299091" y="2376607"/>
                </a:cubicBezTo>
                <a:cubicBezTo>
                  <a:pt x="298177" y="2369052"/>
                  <a:pt x="297648" y="2361545"/>
                  <a:pt x="297456" y="2353990"/>
                </a:cubicBezTo>
                <a:cubicBezTo>
                  <a:pt x="297023" y="2338880"/>
                  <a:pt x="297264" y="2323867"/>
                  <a:pt x="297456" y="2309094"/>
                </a:cubicBezTo>
                <a:cubicBezTo>
                  <a:pt x="297648" y="2294321"/>
                  <a:pt x="297793" y="2279789"/>
                  <a:pt x="297360" y="2265545"/>
                </a:cubicBezTo>
                <a:cubicBezTo>
                  <a:pt x="296927" y="2251254"/>
                  <a:pt x="296062" y="2237203"/>
                  <a:pt x="293465" y="2223440"/>
                </a:cubicBezTo>
                <a:cubicBezTo>
                  <a:pt x="292263" y="2216559"/>
                  <a:pt x="290243" y="2209822"/>
                  <a:pt x="287406" y="2203278"/>
                </a:cubicBezTo>
                <a:cubicBezTo>
                  <a:pt x="285819" y="2200054"/>
                  <a:pt x="283944" y="2196782"/>
                  <a:pt x="281155" y="2193991"/>
                </a:cubicBezTo>
                <a:cubicBezTo>
                  <a:pt x="279953" y="2192499"/>
                  <a:pt x="278029" y="2191489"/>
                  <a:pt x="276491" y="2190334"/>
                </a:cubicBezTo>
                <a:cubicBezTo>
                  <a:pt x="274663" y="2189564"/>
                  <a:pt x="272740" y="2188553"/>
                  <a:pt x="270768" y="2188313"/>
                </a:cubicBezTo>
                <a:cubicBezTo>
                  <a:pt x="262642" y="2186917"/>
                  <a:pt x="255718" y="2190045"/>
                  <a:pt x="249995" y="2193173"/>
                </a:cubicBezTo>
                <a:cubicBezTo>
                  <a:pt x="247062" y="2194761"/>
                  <a:pt x="244369" y="2196541"/>
                  <a:pt x="241725" y="2198273"/>
                </a:cubicBezTo>
                <a:lnTo>
                  <a:pt x="237926" y="2200728"/>
                </a:lnTo>
                <a:cubicBezTo>
                  <a:pt x="236627" y="2201546"/>
                  <a:pt x="235618" y="2202075"/>
                  <a:pt x="235329" y="2202027"/>
                </a:cubicBezTo>
                <a:cubicBezTo>
                  <a:pt x="213354" y="2202749"/>
                  <a:pt x="190561" y="2206117"/>
                  <a:pt x="173058" y="2218147"/>
                </a:cubicBezTo>
                <a:cubicBezTo>
                  <a:pt x="164403" y="2224162"/>
                  <a:pt x="157526" y="2231909"/>
                  <a:pt x="152333" y="2240138"/>
                </a:cubicBezTo>
                <a:cubicBezTo>
                  <a:pt x="147140" y="2248415"/>
                  <a:pt x="143533" y="2257124"/>
                  <a:pt x="140744" y="2265642"/>
                </a:cubicBezTo>
                <a:cubicBezTo>
                  <a:pt x="135166" y="2282724"/>
                  <a:pt x="132762" y="2299181"/>
                  <a:pt x="130983" y="2314243"/>
                </a:cubicBezTo>
                <a:cubicBezTo>
                  <a:pt x="130646" y="2317323"/>
                  <a:pt x="130358" y="2320258"/>
                  <a:pt x="130117" y="2323241"/>
                </a:cubicBezTo>
                <a:cubicBezTo>
                  <a:pt x="130839" y="2303272"/>
                  <a:pt x="132089" y="2283206"/>
                  <a:pt x="134349" y="2263139"/>
                </a:cubicBezTo>
                <a:cubicBezTo>
                  <a:pt x="135792" y="2250821"/>
                  <a:pt x="137571" y="2238502"/>
                  <a:pt x="140215" y="2226424"/>
                </a:cubicBezTo>
                <a:cubicBezTo>
                  <a:pt x="142860" y="2214346"/>
                  <a:pt x="146082" y="2202316"/>
                  <a:pt x="150987" y="2191200"/>
                </a:cubicBezTo>
                <a:cubicBezTo>
                  <a:pt x="153631" y="2185714"/>
                  <a:pt x="156084" y="2180421"/>
                  <a:pt x="159979" y="2176234"/>
                </a:cubicBezTo>
                <a:cubicBezTo>
                  <a:pt x="163729" y="2171952"/>
                  <a:pt x="168346" y="2168343"/>
                  <a:pt x="173491" y="2165215"/>
                </a:cubicBezTo>
                <a:cubicBezTo>
                  <a:pt x="183781" y="2159007"/>
                  <a:pt x="196043" y="2154725"/>
                  <a:pt x="207872" y="2148710"/>
                </a:cubicBezTo>
                <a:cubicBezTo>
                  <a:pt x="219653" y="2142791"/>
                  <a:pt x="231338" y="2135236"/>
                  <a:pt x="240811" y="2125419"/>
                </a:cubicBezTo>
                <a:cubicBezTo>
                  <a:pt x="250476" y="2115844"/>
                  <a:pt x="258074" y="2104872"/>
                  <a:pt x="266056" y="2094959"/>
                </a:cubicBezTo>
                <a:cubicBezTo>
                  <a:pt x="273942" y="2085047"/>
                  <a:pt x="282646" y="2076433"/>
                  <a:pt x="293176" y="2070659"/>
                </a:cubicBezTo>
                <a:cubicBezTo>
                  <a:pt x="294427" y="2069841"/>
                  <a:pt x="295869" y="2069311"/>
                  <a:pt x="297216" y="2068638"/>
                </a:cubicBezTo>
                <a:lnTo>
                  <a:pt x="301640" y="2066520"/>
                </a:lnTo>
                <a:lnTo>
                  <a:pt x="310247" y="2061901"/>
                </a:lnTo>
                <a:cubicBezTo>
                  <a:pt x="315729" y="2058966"/>
                  <a:pt x="321210" y="2056463"/>
                  <a:pt x="326548" y="2055501"/>
                </a:cubicBezTo>
                <a:cubicBezTo>
                  <a:pt x="331885" y="2054538"/>
                  <a:pt x="336598" y="2055164"/>
                  <a:pt x="339916" y="2058484"/>
                </a:cubicBezTo>
                <a:cubicBezTo>
                  <a:pt x="343330" y="2061612"/>
                  <a:pt x="345878" y="2067001"/>
                  <a:pt x="347225" y="2072391"/>
                </a:cubicBezTo>
                <a:cubicBezTo>
                  <a:pt x="349822" y="2083603"/>
                  <a:pt x="349533" y="2096259"/>
                  <a:pt x="348667" y="2108529"/>
                </a:cubicBezTo>
                <a:cubicBezTo>
                  <a:pt x="346792" y="2133263"/>
                  <a:pt x="342224" y="2157804"/>
                  <a:pt x="337127" y="2181961"/>
                </a:cubicBezTo>
                <a:cubicBezTo>
                  <a:pt x="331934" y="2206117"/>
                  <a:pt x="325923" y="2229985"/>
                  <a:pt x="319624" y="2253515"/>
                </a:cubicBezTo>
                <a:cubicBezTo>
                  <a:pt x="317989" y="2259386"/>
                  <a:pt x="316402" y="2265257"/>
                  <a:pt x="314815" y="2271127"/>
                </a:cubicBezTo>
                <a:lnTo>
                  <a:pt x="312363" y="2279933"/>
                </a:lnTo>
                <a:cubicBezTo>
                  <a:pt x="312026" y="2281473"/>
                  <a:pt x="311449" y="2282676"/>
                  <a:pt x="311209" y="2285419"/>
                </a:cubicBezTo>
                <a:lnTo>
                  <a:pt x="311016" y="2289991"/>
                </a:lnTo>
                <a:cubicBezTo>
                  <a:pt x="310776" y="2296102"/>
                  <a:pt x="310535" y="2302165"/>
                  <a:pt x="310295" y="2308228"/>
                </a:cubicBezTo>
                <a:lnTo>
                  <a:pt x="309958" y="2317323"/>
                </a:lnTo>
                <a:lnTo>
                  <a:pt x="309958" y="2326417"/>
                </a:lnTo>
                <a:cubicBezTo>
                  <a:pt x="310055" y="2338496"/>
                  <a:pt x="309958" y="2350526"/>
                  <a:pt x="310776" y="2362459"/>
                </a:cubicBezTo>
                <a:cubicBezTo>
                  <a:pt x="311064" y="2368426"/>
                  <a:pt x="311401" y="2374393"/>
                  <a:pt x="311689" y="2380360"/>
                </a:cubicBezTo>
                <a:cubicBezTo>
                  <a:pt x="312266" y="2386279"/>
                  <a:pt x="312795" y="2392198"/>
                  <a:pt x="313372" y="2398116"/>
                </a:cubicBezTo>
                <a:cubicBezTo>
                  <a:pt x="314238" y="2409954"/>
                  <a:pt x="316210" y="2421551"/>
                  <a:pt x="317748" y="2433196"/>
                </a:cubicBezTo>
                <a:cubicBezTo>
                  <a:pt x="319479" y="2444793"/>
                  <a:pt x="321739" y="2456246"/>
                  <a:pt x="323903" y="2467602"/>
                </a:cubicBezTo>
                <a:cubicBezTo>
                  <a:pt x="326548" y="2478862"/>
                  <a:pt x="328664" y="2490218"/>
                  <a:pt x="331789" y="2501238"/>
                </a:cubicBezTo>
                <a:cubicBezTo>
                  <a:pt x="333232" y="2506772"/>
                  <a:pt x="334723" y="2512306"/>
                  <a:pt x="336165" y="2517791"/>
                </a:cubicBezTo>
                <a:cubicBezTo>
                  <a:pt x="337800" y="2523229"/>
                  <a:pt x="339435" y="2528666"/>
                  <a:pt x="341070" y="2534056"/>
                </a:cubicBezTo>
                <a:cubicBezTo>
                  <a:pt x="354149" y="2577316"/>
                  <a:pt x="370979" y="2618074"/>
                  <a:pt x="388194" y="2657051"/>
                </a:cubicBezTo>
                <a:cubicBezTo>
                  <a:pt x="405457" y="2696028"/>
                  <a:pt x="423249" y="2733370"/>
                  <a:pt x="440511" y="2769364"/>
                </a:cubicBezTo>
                <a:cubicBezTo>
                  <a:pt x="457726" y="2805357"/>
                  <a:pt x="474316" y="2840148"/>
                  <a:pt x="488934" y="2874121"/>
                </a:cubicBezTo>
                <a:cubicBezTo>
                  <a:pt x="503504" y="2908046"/>
                  <a:pt x="516295" y="2941249"/>
                  <a:pt x="523796" y="2973922"/>
                </a:cubicBezTo>
                <a:cubicBezTo>
                  <a:pt x="527402" y="2990235"/>
                  <a:pt x="529566" y="3006548"/>
                  <a:pt x="528028" y="3022043"/>
                </a:cubicBezTo>
                <a:cubicBezTo>
                  <a:pt x="527787" y="3023967"/>
                  <a:pt x="527354" y="3025844"/>
                  <a:pt x="527066" y="3027721"/>
                </a:cubicBezTo>
                <a:cubicBezTo>
                  <a:pt x="526777" y="3029597"/>
                  <a:pt x="526441" y="3031474"/>
                  <a:pt x="525768" y="3033254"/>
                </a:cubicBezTo>
                <a:lnTo>
                  <a:pt x="524036" y="3038596"/>
                </a:lnTo>
                <a:lnTo>
                  <a:pt x="521536" y="3043504"/>
                </a:lnTo>
                <a:cubicBezTo>
                  <a:pt x="517978" y="3049760"/>
                  <a:pt x="513073" y="3055293"/>
                  <a:pt x="506822" y="3058710"/>
                </a:cubicBezTo>
                <a:cubicBezTo>
                  <a:pt x="494560" y="3066169"/>
                  <a:pt x="479605" y="3067805"/>
                  <a:pt x="465660" y="3067564"/>
                </a:cubicBezTo>
                <a:cubicBezTo>
                  <a:pt x="451379" y="3067420"/>
                  <a:pt x="437290" y="3066794"/>
                  <a:pt x="423729" y="3067372"/>
                </a:cubicBezTo>
                <a:cubicBezTo>
                  <a:pt x="410169" y="3067853"/>
                  <a:pt x="396946" y="3068912"/>
                  <a:pt x="384443" y="3071703"/>
                </a:cubicBezTo>
                <a:cubicBezTo>
                  <a:pt x="371989" y="3074445"/>
                  <a:pt x="360208" y="3079257"/>
                  <a:pt x="350591" y="3086427"/>
                </a:cubicBezTo>
                <a:cubicBezTo>
                  <a:pt x="340926" y="3093501"/>
                  <a:pt x="333665" y="3102547"/>
                  <a:pt x="328039" y="3111642"/>
                </a:cubicBezTo>
                <a:cubicBezTo>
                  <a:pt x="325057" y="3116117"/>
                  <a:pt x="322797" y="3120833"/>
                  <a:pt x="320441" y="3125308"/>
                </a:cubicBezTo>
                <a:cubicBezTo>
                  <a:pt x="318277" y="3130024"/>
                  <a:pt x="316498" y="3134692"/>
                  <a:pt x="315152" y="3139311"/>
                </a:cubicBezTo>
                <a:cubicBezTo>
                  <a:pt x="312315" y="3148502"/>
                  <a:pt x="310680" y="3157356"/>
                  <a:pt x="307795" y="3165007"/>
                </a:cubicBezTo>
                <a:cubicBezTo>
                  <a:pt x="306400" y="3168809"/>
                  <a:pt x="304573" y="3172322"/>
                  <a:pt x="301928" y="3174631"/>
                </a:cubicBezTo>
                <a:cubicBezTo>
                  <a:pt x="299331" y="3176941"/>
                  <a:pt x="295965" y="3177759"/>
                  <a:pt x="292599" y="3177615"/>
                </a:cubicBezTo>
                <a:cubicBezTo>
                  <a:pt x="285627" y="3177326"/>
                  <a:pt x="280289" y="3173091"/>
                  <a:pt x="275385" y="3169531"/>
                </a:cubicBezTo>
                <a:cubicBezTo>
                  <a:pt x="270528" y="3165826"/>
                  <a:pt x="266296" y="3162168"/>
                  <a:pt x="262546" y="3158896"/>
                </a:cubicBezTo>
                <a:cubicBezTo>
                  <a:pt x="255044" y="3152304"/>
                  <a:pt x="249322" y="3147251"/>
                  <a:pt x="245187" y="3144172"/>
                </a:cubicBezTo>
                <a:cubicBezTo>
                  <a:pt x="241099" y="3140995"/>
                  <a:pt x="238407" y="3140226"/>
                  <a:pt x="238359" y="3140418"/>
                </a:cubicBezTo>
                <a:cubicBezTo>
                  <a:pt x="238311" y="3140610"/>
                  <a:pt x="240667" y="3141621"/>
                  <a:pt x="244514" y="3145038"/>
                </a:cubicBezTo>
                <a:cubicBezTo>
                  <a:pt x="248409" y="3148358"/>
                  <a:pt x="253842" y="3153651"/>
                  <a:pt x="261151" y="3160532"/>
                </a:cubicBezTo>
                <a:cubicBezTo>
                  <a:pt x="264806" y="3163949"/>
                  <a:pt x="268941" y="3167750"/>
                  <a:pt x="273798" y="3171696"/>
                </a:cubicBezTo>
                <a:cubicBezTo>
                  <a:pt x="276202" y="3173669"/>
                  <a:pt x="278895" y="3175594"/>
                  <a:pt x="281876" y="3177422"/>
                </a:cubicBezTo>
                <a:cubicBezTo>
                  <a:pt x="283415" y="3178289"/>
                  <a:pt x="285002" y="3179155"/>
                  <a:pt x="286877" y="3179732"/>
                </a:cubicBezTo>
                <a:cubicBezTo>
                  <a:pt x="288704" y="3180310"/>
                  <a:pt x="290532" y="3180550"/>
                  <a:pt x="292455" y="3180887"/>
                </a:cubicBezTo>
                <a:cubicBezTo>
                  <a:pt x="296350" y="3181176"/>
                  <a:pt x="300870" y="3180262"/>
                  <a:pt x="304236" y="3177326"/>
                </a:cubicBezTo>
                <a:cubicBezTo>
                  <a:pt x="307602" y="3174439"/>
                  <a:pt x="309718" y="3170493"/>
                  <a:pt x="311257" y="3166499"/>
                </a:cubicBezTo>
                <a:cubicBezTo>
                  <a:pt x="314478" y="3158415"/>
                  <a:pt x="316258" y="3149609"/>
                  <a:pt x="319191" y="3140707"/>
                </a:cubicBezTo>
                <a:cubicBezTo>
                  <a:pt x="320585" y="3136232"/>
                  <a:pt x="322365" y="3131805"/>
                  <a:pt x="324432" y="3127425"/>
                </a:cubicBezTo>
                <a:cubicBezTo>
                  <a:pt x="326836" y="3123095"/>
                  <a:pt x="329097" y="3118572"/>
                  <a:pt x="332030" y="3114289"/>
                </a:cubicBezTo>
                <a:cubicBezTo>
                  <a:pt x="337608" y="3105627"/>
                  <a:pt x="344580" y="3097206"/>
                  <a:pt x="353668" y="3090710"/>
                </a:cubicBezTo>
                <a:cubicBezTo>
                  <a:pt x="362709" y="3084166"/>
                  <a:pt x="373768" y="3079787"/>
                  <a:pt x="385742" y="3077284"/>
                </a:cubicBezTo>
                <a:cubicBezTo>
                  <a:pt x="397763" y="3074734"/>
                  <a:pt x="410602" y="3073820"/>
                  <a:pt x="423970" y="3073483"/>
                </a:cubicBezTo>
                <a:cubicBezTo>
                  <a:pt x="437386" y="3073098"/>
                  <a:pt x="451138" y="3073820"/>
                  <a:pt x="465660" y="3074109"/>
                </a:cubicBezTo>
                <a:cubicBezTo>
                  <a:pt x="480182" y="3074445"/>
                  <a:pt x="496195" y="3073050"/>
                  <a:pt x="510428" y="3064677"/>
                </a:cubicBezTo>
                <a:cubicBezTo>
                  <a:pt x="517641" y="3060779"/>
                  <a:pt x="523556" y="3054331"/>
                  <a:pt x="527739" y="3047065"/>
                </a:cubicBezTo>
                <a:lnTo>
                  <a:pt x="530624" y="3041435"/>
                </a:lnTo>
                <a:lnTo>
                  <a:pt x="532596" y="3035420"/>
                </a:lnTo>
                <a:cubicBezTo>
                  <a:pt x="533365" y="3033447"/>
                  <a:pt x="533750" y="3031378"/>
                  <a:pt x="534086" y="3029309"/>
                </a:cubicBezTo>
                <a:cubicBezTo>
                  <a:pt x="534471" y="3027239"/>
                  <a:pt x="534904" y="3025170"/>
                  <a:pt x="535192" y="3023101"/>
                </a:cubicBezTo>
                <a:cubicBezTo>
                  <a:pt x="536972" y="3006355"/>
                  <a:pt x="534760" y="2989369"/>
                  <a:pt x="531201" y="2972575"/>
                </a:cubicBezTo>
                <a:cubicBezTo>
                  <a:pt x="523748" y="2938939"/>
                  <a:pt x="511005" y="2905351"/>
                  <a:pt x="496579" y="2871137"/>
                </a:cubicBezTo>
                <a:cubicBezTo>
                  <a:pt x="482106" y="2836876"/>
                  <a:pt x="465612" y="2801941"/>
                  <a:pt x="448590" y="2765851"/>
                </a:cubicBezTo>
                <a:cubicBezTo>
                  <a:pt x="431519" y="2729761"/>
                  <a:pt x="413920" y="2692419"/>
                  <a:pt x="396849" y="2653538"/>
                </a:cubicBezTo>
                <a:cubicBezTo>
                  <a:pt x="379875" y="2614657"/>
                  <a:pt x="363334" y="2574236"/>
                  <a:pt x="350543" y="2531457"/>
                </a:cubicBezTo>
                <a:cubicBezTo>
                  <a:pt x="348956" y="2526116"/>
                  <a:pt x="347369" y="2520775"/>
                  <a:pt x="345734" y="2515385"/>
                </a:cubicBezTo>
                <a:cubicBezTo>
                  <a:pt x="344340" y="2509948"/>
                  <a:pt x="342897" y="2504510"/>
                  <a:pt x="341455" y="2499073"/>
                </a:cubicBezTo>
                <a:cubicBezTo>
                  <a:pt x="338377" y="2488197"/>
                  <a:pt x="336357" y="2477034"/>
                  <a:pt x="333761" y="2465918"/>
                </a:cubicBezTo>
                <a:cubicBezTo>
                  <a:pt x="331645" y="2454706"/>
                  <a:pt x="329481" y="2443446"/>
                  <a:pt x="327798" y="2431993"/>
                </a:cubicBezTo>
                <a:cubicBezTo>
                  <a:pt x="326308" y="2420540"/>
                  <a:pt x="324432" y="2409088"/>
                  <a:pt x="323567" y="2397443"/>
                </a:cubicBezTo>
                <a:cubicBezTo>
                  <a:pt x="323038" y="2391620"/>
                  <a:pt x="322509" y="2385798"/>
                  <a:pt x="321980" y="2379975"/>
                </a:cubicBezTo>
                <a:cubicBezTo>
                  <a:pt x="321691" y="2374104"/>
                  <a:pt x="321403" y="2368234"/>
                  <a:pt x="321114" y="2362363"/>
                </a:cubicBezTo>
                <a:cubicBezTo>
                  <a:pt x="320345" y="2350574"/>
                  <a:pt x="320489" y="2338736"/>
                  <a:pt x="320441" y="2326850"/>
                </a:cubicBezTo>
                <a:lnTo>
                  <a:pt x="320441" y="2317900"/>
                </a:lnTo>
                <a:cubicBezTo>
                  <a:pt x="320441" y="2317900"/>
                  <a:pt x="320778" y="2308950"/>
                  <a:pt x="320778" y="2308950"/>
                </a:cubicBezTo>
                <a:cubicBezTo>
                  <a:pt x="321018" y="2302983"/>
                  <a:pt x="321259" y="2296968"/>
                  <a:pt x="321499" y="2290953"/>
                </a:cubicBezTo>
                <a:lnTo>
                  <a:pt x="321691" y="2286430"/>
                </a:lnTo>
                <a:cubicBezTo>
                  <a:pt x="321691" y="2286141"/>
                  <a:pt x="322172" y="2284457"/>
                  <a:pt x="322509" y="2283061"/>
                </a:cubicBezTo>
                <a:lnTo>
                  <a:pt x="324961" y="2274303"/>
                </a:lnTo>
                <a:cubicBezTo>
                  <a:pt x="326596" y="2268433"/>
                  <a:pt x="328183" y="2262562"/>
                  <a:pt x="329818" y="2256643"/>
                </a:cubicBezTo>
                <a:cubicBezTo>
                  <a:pt x="336213" y="2233016"/>
                  <a:pt x="342320" y="2209004"/>
                  <a:pt x="347561" y="2184607"/>
                </a:cubicBezTo>
                <a:cubicBezTo>
                  <a:pt x="352755" y="2160162"/>
                  <a:pt x="357419" y="2135380"/>
                  <a:pt x="359391" y="2109732"/>
                </a:cubicBezTo>
                <a:cubicBezTo>
                  <a:pt x="360208" y="2096884"/>
                  <a:pt x="360737" y="2083844"/>
                  <a:pt x="357659" y="2070226"/>
                </a:cubicBezTo>
                <a:cubicBezTo>
                  <a:pt x="355880" y="2063392"/>
                  <a:pt x="353043" y="2056608"/>
                  <a:pt x="347129" y="2050978"/>
                </a:cubicBezTo>
                <a:cubicBezTo>
                  <a:pt x="345782" y="2049486"/>
                  <a:pt x="343811" y="2048572"/>
                  <a:pt x="342128" y="2047417"/>
                </a:cubicBezTo>
                <a:cubicBezTo>
                  <a:pt x="340252" y="2046599"/>
                  <a:pt x="338281" y="2045781"/>
                  <a:pt x="336309" y="2045347"/>
                </a:cubicBezTo>
                <a:cubicBezTo>
                  <a:pt x="334338" y="2045059"/>
                  <a:pt x="332270" y="2044626"/>
                  <a:pt x="330395" y="2044818"/>
                </a:cubicBezTo>
                <a:lnTo>
                  <a:pt x="327510" y="2044914"/>
                </a:lnTo>
                <a:lnTo>
                  <a:pt x="324769" y="2045396"/>
                </a:lnTo>
                <a:cubicBezTo>
                  <a:pt x="317460" y="2046743"/>
                  <a:pt x="311209" y="2049775"/>
                  <a:pt x="305390" y="2052854"/>
                </a:cubicBezTo>
                <a:lnTo>
                  <a:pt x="297023" y="2057329"/>
                </a:lnTo>
                <a:lnTo>
                  <a:pt x="292744" y="2059399"/>
                </a:lnTo>
                <a:cubicBezTo>
                  <a:pt x="291205" y="2060169"/>
                  <a:pt x="289618" y="2060794"/>
                  <a:pt x="288175" y="2061708"/>
                </a:cubicBezTo>
                <a:cubicBezTo>
                  <a:pt x="276058" y="2068301"/>
                  <a:pt x="266056" y="2078310"/>
                  <a:pt x="257881" y="2088656"/>
                </a:cubicBezTo>
                <a:cubicBezTo>
                  <a:pt x="249563" y="2099050"/>
                  <a:pt x="242205" y="2109588"/>
                  <a:pt x="233406" y="2118298"/>
                </a:cubicBezTo>
                <a:cubicBezTo>
                  <a:pt x="224798" y="2127200"/>
                  <a:pt x="214412" y="2133937"/>
                  <a:pt x="203256" y="2139567"/>
                </a:cubicBezTo>
                <a:cubicBezTo>
                  <a:pt x="192100" y="2145293"/>
                  <a:pt x="179934" y="2149480"/>
                  <a:pt x="168201" y="2156457"/>
                </a:cubicBezTo>
                <a:cubicBezTo>
                  <a:pt x="162383" y="2159970"/>
                  <a:pt x="156805" y="2164301"/>
                  <a:pt x="152141" y="2169642"/>
                </a:cubicBezTo>
                <a:lnTo>
                  <a:pt x="148823" y="2173780"/>
                </a:lnTo>
                <a:lnTo>
                  <a:pt x="146034" y="2178207"/>
                </a:lnTo>
                <a:cubicBezTo>
                  <a:pt x="144255" y="2181191"/>
                  <a:pt x="143004" y="2184222"/>
                  <a:pt x="141466" y="2187254"/>
                </a:cubicBezTo>
                <a:cubicBezTo>
                  <a:pt x="136080" y="2199428"/>
                  <a:pt x="132762" y="2212036"/>
                  <a:pt x="130069" y="2224595"/>
                </a:cubicBezTo>
                <a:cubicBezTo>
                  <a:pt x="127328" y="2237155"/>
                  <a:pt x="125549" y="2249762"/>
                  <a:pt x="124059" y="2262321"/>
                </a:cubicBezTo>
                <a:cubicBezTo>
                  <a:pt x="123385" y="2268288"/>
                  <a:pt x="122808" y="2274255"/>
                  <a:pt x="122279" y="2280174"/>
                </a:cubicBezTo>
                <a:cubicBezTo>
                  <a:pt x="122279" y="2279548"/>
                  <a:pt x="122328" y="2278923"/>
                  <a:pt x="122376" y="2278297"/>
                </a:cubicBezTo>
                <a:cubicBezTo>
                  <a:pt x="125549" y="2233160"/>
                  <a:pt x="132137" y="2187783"/>
                  <a:pt x="150554" y="2147362"/>
                </a:cubicBezTo>
                <a:cubicBezTo>
                  <a:pt x="155362" y="2137450"/>
                  <a:pt x="160940" y="2128066"/>
                  <a:pt x="167769" y="2119645"/>
                </a:cubicBezTo>
                <a:cubicBezTo>
                  <a:pt x="174549" y="2111176"/>
                  <a:pt x="182627" y="2103814"/>
                  <a:pt x="191283" y="2096788"/>
                </a:cubicBezTo>
                <a:cubicBezTo>
                  <a:pt x="199938" y="2089762"/>
                  <a:pt x="208978" y="2082977"/>
                  <a:pt x="217826" y="2075759"/>
                </a:cubicBezTo>
                <a:cubicBezTo>
                  <a:pt x="226674" y="2068686"/>
                  <a:pt x="235281" y="2060746"/>
                  <a:pt x="243311" y="2053143"/>
                </a:cubicBezTo>
                <a:cubicBezTo>
                  <a:pt x="259757" y="2038322"/>
                  <a:pt x="277452" y="2024608"/>
                  <a:pt x="295965" y="2012818"/>
                </a:cubicBezTo>
                <a:cubicBezTo>
                  <a:pt x="305246" y="2006948"/>
                  <a:pt x="314863" y="2001606"/>
                  <a:pt x="324769" y="1997420"/>
                </a:cubicBezTo>
                <a:cubicBezTo>
                  <a:pt x="334626" y="1993233"/>
                  <a:pt x="345013" y="1990009"/>
                  <a:pt x="354967" y="1990106"/>
                </a:cubicBezTo>
                <a:cubicBezTo>
                  <a:pt x="359871" y="1990250"/>
                  <a:pt x="364728" y="1990972"/>
                  <a:pt x="368671" y="1993233"/>
                </a:cubicBezTo>
                <a:cubicBezTo>
                  <a:pt x="372662" y="1995447"/>
                  <a:pt x="376124" y="1998575"/>
                  <a:pt x="378673" y="2002713"/>
                </a:cubicBezTo>
                <a:cubicBezTo>
                  <a:pt x="383866" y="2010942"/>
                  <a:pt x="385934" y="2021480"/>
                  <a:pt x="386800" y="2032259"/>
                </a:cubicBezTo>
                <a:cubicBezTo>
                  <a:pt x="389011" y="2053624"/>
                  <a:pt x="387569" y="2075567"/>
                  <a:pt x="384059" y="2097077"/>
                </a:cubicBezTo>
                <a:cubicBezTo>
                  <a:pt x="377134" y="2140240"/>
                  <a:pt x="364392" y="2182394"/>
                  <a:pt x="352322" y="2224499"/>
                </a:cubicBezTo>
                <a:cubicBezTo>
                  <a:pt x="346359" y="2245576"/>
                  <a:pt x="340204" y="2266652"/>
                  <a:pt x="335396" y="2288114"/>
                </a:cubicBezTo>
                <a:cubicBezTo>
                  <a:pt x="330635" y="2309479"/>
                  <a:pt x="326788" y="2331614"/>
                  <a:pt x="327173" y="2353798"/>
                </a:cubicBezTo>
                <a:cubicBezTo>
                  <a:pt x="327317" y="2397539"/>
                  <a:pt x="332607" y="2440991"/>
                  <a:pt x="341887" y="2483145"/>
                </a:cubicBezTo>
                <a:cubicBezTo>
                  <a:pt x="351168" y="2525346"/>
                  <a:pt x="364392" y="2566296"/>
                  <a:pt x="379875" y="2605947"/>
                </a:cubicBezTo>
                <a:cubicBezTo>
                  <a:pt x="395359" y="2645646"/>
                  <a:pt x="413247" y="2683950"/>
                  <a:pt x="431327" y="2721724"/>
                </a:cubicBezTo>
                <a:cubicBezTo>
                  <a:pt x="440415" y="2740588"/>
                  <a:pt x="449503" y="2759354"/>
                  <a:pt x="458592" y="2778073"/>
                </a:cubicBezTo>
                <a:cubicBezTo>
                  <a:pt x="467680" y="2796888"/>
                  <a:pt x="477297" y="2815366"/>
                  <a:pt x="486770" y="2833700"/>
                </a:cubicBezTo>
                <a:cubicBezTo>
                  <a:pt x="505812" y="2870320"/>
                  <a:pt x="524181" y="2906891"/>
                  <a:pt x="538077" y="2944809"/>
                </a:cubicBezTo>
                <a:cubicBezTo>
                  <a:pt x="544858" y="2963817"/>
                  <a:pt x="550484" y="2983113"/>
                  <a:pt x="554282" y="3002650"/>
                </a:cubicBezTo>
                <a:lnTo>
                  <a:pt x="556783" y="3017375"/>
                </a:lnTo>
                <a:lnTo>
                  <a:pt x="558322" y="3032148"/>
                </a:lnTo>
                <a:cubicBezTo>
                  <a:pt x="558899" y="3037056"/>
                  <a:pt x="558754" y="3042012"/>
                  <a:pt x="558995" y="3046921"/>
                </a:cubicBezTo>
                <a:cubicBezTo>
                  <a:pt x="558995" y="3049375"/>
                  <a:pt x="559235" y="3051877"/>
                  <a:pt x="559139" y="3054283"/>
                </a:cubicBezTo>
                <a:cubicBezTo>
                  <a:pt x="558947" y="3056641"/>
                  <a:pt x="558947" y="3058999"/>
                  <a:pt x="558658" y="3061308"/>
                </a:cubicBezTo>
                <a:cubicBezTo>
                  <a:pt x="557552" y="3070547"/>
                  <a:pt x="554090" y="3079113"/>
                  <a:pt x="548079" y="3085417"/>
                </a:cubicBezTo>
                <a:cubicBezTo>
                  <a:pt x="541828" y="3091528"/>
                  <a:pt x="533365" y="3095474"/>
                  <a:pt x="524181" y="3097302"/>
                </a:cubicBezTo>
                <a:cubicBezTo>
                  <a:pt x="505716" y="3101104"/>
                  <a:pt x="485904" y="3099372"/>
                  <a:pt x="466574" y="3096869"/>
                </a:cubicBezTo>
                <a:cubicBezTo>
                  <a:pt x="456861" y="3095570"/>
                  <a:pt x="447147" y="3093982"/>
                  <a:pt x="437386" y="3092490"/>
                </a:cubicBezTo>
                <a:cubicBezTo>
                  <a:pt x="427576" y="3091047"/>
                  <a:pt x="417863" y="3089314"/>
                  <a:pt x="407188" y="3089411"/>
                </a:cubicBezTo>
                <a:cubicBezTo>
                  <a:pt x="395743" y="3089795"/>
                  <a:pt x="385838" y="3095041"/>
                  <a:pt x="377615" y="3101152"/>
                </a:cubicBezTo>
                <a:cubicBezTo>
                  <a:pt x="369296" y="3107359"/>
                  <a:pt x="362180" y="3114722"/>
                  <a:pt x="355976" y="3122662"/>
                </a:cubicBezTo>
                <a:cubicBezTo>
                  <a:pt x="349822" y="3130650"/>
                  <a:pt x="344484" y="3139215"/>
                  <a:pt x="340156" y="3148358"/>
                </a:cubicBezTo>
                <a:cubicBezTo>
                  <a:pt x="337944" y="3152881"/>
                  <a:pt x="336165" y="3157741"/>
                  <a:pt x="334626" y="3162505"/>
                </a:cubicBezTo>
                <a:cubicBezTo>
                  <a:pt x="333136" y="3167076"/>
                  <a:pt x="331741" y="3171841"/>
                  <a:pt x="330443" y="3176604"/>
                </a:cubicBezTo>
                <a:cubicBezTo>
                  <a:pt x="325250" y="3195708"/>
                  <a:pt x="323422" y="3215822"/>
                  <a:pt x="325057" y="3235455"/>
                </a:cubicBezTo>
                <a:cubicBezTo>
                  <a:pt x="326788" y="3255088"/>
                  <a:pt x="331501" y="3274240"/>
                  <a:pt x="338473" y="3292285"/>
                </a:cubicBezTo>
                <a:cubicBezTo>
                  <a:pt x="345398" y="3310330"/>
                  <a:pt x="353716" y="3327509"/>
                  <a:pt x="362516" y="3344255"/>
                </a:cubicBezTo>
                <a:cubicBezTo>
                  <a:pt x="380260" y="3377795"/>
                  <a:pt x="400215" y="3409602"/>
                  <a:pt x="422143" y="3439677"/>
                </a:cubicBezTo>
                <a:cubicBezTo>
                  <a:pt x="433154" y="3454691"/>
                  <a:pt x="444743" y="3469223"/>
                  <a:pt x="457678" y="3482649"/>
                </a:cubicBezTo>
                <a:cubicBezTo>
                  <a:pt x="461092" y="3485873"/>
                  <a:pt x="464218" y="3489337"/>
                  <a:pt x="467824" y="3492321"/>
                </a:cubicBezTo>
                <a:lnTo>
                  <a:pt x="478595" y="3501271"/>
                </a:lnTo>
                <a:cubicBezTo>
                  <a:pt x="486193" y="3506660"/>
                  <a:pt x="493742" y="3512194"/>
                  <a:pt x="501869" y="3516525"/>
                </a:cubicBezTo>
                <a:cubicBezTo>
                  <a:pt x="517881" y="3525716"/>
                  <a:pt x="534711" y="3532982"/>
                  <a:pt x="551445" y="3539575"/>
                </a:cubicBezTo>
                <a:cubicBezTo>
                  <a:pt x="568131" y="3546264"/>
                  <a:pt x="584721" y="3552711"/>
                  <a:pt x="600637" y="3560074"/>
                </a:cubicBezTo>
                <a:cubicBezTo>
                  <a:pt x="616457" y="3567629"/>
                  <a:pt x="631508" y="3576387"/>
                  <a:pt x="645405" y="3586588"/>
                </a:cubicBezTo>
                <a:cubicBezTo>
                  <a:pt x="648819" y="3589235"/>
                  <a:pt x="652041" y="3592074"/>
                  <a:pt x="655359" y="3594768"/>
                </a:cubicBezTo>
                <a:lnTo>
                  <a:pt x="660312" y="3598859"/>
                </a:lnTo>
                <a:lnTo>
                  <a:pt x="664880" y="3603382"/>
                </a:lnTo>
                <a:lnTo>
                  <a:pt x="673968" y="3612477"/>
                </a:lnTo>
                <a:cubicBezTo>
                  <a:pt x="676853" y="3615653"/>
                  <a:pt x="679450" y="3619021"/>
                  <a:pt x="682239" y="3622293"/>
                </a:cubicBezTo>
                <a:cubicBezTo>
                  <a:pt x="684883" y="3625662"/>
                  <a:pt x="687913" y="3628693"/>
                  <a:pt x="690173" y="3632302"/>
                </a:cubicBezTo>
                <a:lnTo>
                  <a:pt x="697434" y="3642841"/>
                </a:lnTo>
                <a:cubicBezTo>
                  <a:pt x="699886" y="3646305"/>
                  <a:pt x="702291" y="3649818"/>
                  <a:pt x="704310" y="3653523"/>
                </a:cubicBezTo>
                <a:cubicBezTo>
                  <a:pt x="706522" y="3657132"/>
                  <a:pt x="708397" y="3660886"/>
                  <a:pt x="710369" y="3664591"/>
                </a:cubicBezTo>
                <a:cubicBezTo>
                  <a:pt x="717870" y="3679604"/>
                  <a:pt x="723352" y="3695580"/>
                  <a:pt x="725324" y="3711845"/>
                </a:cubicBezTo>
                <a:cubicBezTo>
                  <a:pt x="727199" y="3727965"/>
                  <a:pt x="725612" y="3744903"/>
                  <a:pt x="717678" y="3758281"/>
                </a:cubicBezTo>
                <a:cubicBezTo>
                  <a:pt x="713831" y="3764969"/>
                  <a:pt x="708061" y="3770263"/>
                  <a:pt x="701377" y="3773535"/>
                </a:cubicBezTo>
                <a:cubicBezTo>
                  <a:pt x="694693" y="3776903"/>
                  <a:pt x="686903" y="3777673"/>
                  <a:pt x="679306" y="3776807"/>
                </a:cubicBezTo>
                <a:cubicBezTo>
                  <a:pt x="663918" y="3774979"/>
                  <a:pt x="649637" y="3766702"/>
                  <a:pt x="637134" y="3756933"/>
                </a:cubicBezTo>
                <a:cubicBezTo>
                  <a:pt x="624392" y="3746877"/>
                  <a:pt x="612659" y="3735953"/>
                  <a:pt x="602176" y="3723923"/>
                </a:cubicBezTo>
                <a:cubicBezTo>
                  <a:pt x="591693" y="3711845"/>
                  <a:pt x="582220" y="3698949"/>
                  <a:pt x="572795" y="3686053"/>
                </a:cubicBezTo>
                <a:cubicBezTo>
                  <a:pt x="563371" y="3673108"/>
                  <a:pt x="553994" y="3660260"/>
                  <a:pt x="544665" y="3647508"/>
                </a:cubicBezTo>
                <a:cubicBezTo>
                  <a:pt x="507014" y="3596597"/>
                  <a:pt x="467632" y="3549343"/>
                  <a:pt x="430894" y="3502426"/>
                </a:cubicBezTo>
                <a:cubicBezTo>
                  <a:pt x="412670" y="3478895"/>
                  <a:pt x="394637" y="3455653"/>
                  <a:pt x="380308" y="3430919"/>
                </a:cubicBezTo>
                <a:cubicBezTo>
                  <a:pt x="366074" y="3405897"/>
                  <a:pt x="353572" y="3380393"/>
                  <a:pt x="342320" y="3354793"/>
                </a:cubicBezTo>
                <a:cubicBezTo>
                  <a:pt x="330924" y="3329290"/>
                  <a:pt x="320826" y="3303545"/>
                  <a:pt x="308516" y="3279149"/>
                </a:cubicBezTo>
                <a:cubicBezTo>
                  <a:pt x="302361" y="3266974"/>
                  <a:pt x="295581" y="3255137"/>
                  <a:pt x="287647" y="3244117"/>
                </a:cubicBezTo>
                <a:lnTo>
                  <a:pt x="281540" y="3236033"/>
                </a:lnTo>
                <a:cubicBezTo>
                  <a:pt x="279376" y="3233434"/>
                  <a:pt x="277260" y="3230836"/>
                  <a:pt x="275000" y="3228382"/>
                </a:cubicBezTo>
                <a:cubicBezTo>
                  <a:pt x="272740" y="3225879"/>
                  <a:pt x="270384" y="3223425"/>
                  <a:pt x="267883" y="3221116"/>
                </a:cubicBezTo>
                <a:cubicBezTo>
                  <a:pt x="265239" y="3218854"/>
                  <a:pt x="262786" y="3216496"/>
                  <a:pt x="258987" y="3214812"/>
                </a:cubicBezTo>
                <a:cubicBezTo>
                  <a:pt x="256872" y="3213898"/>
                  <a:pt x="254083" y="3213320"/>
                  <a:pt x="251678" y="3214330"/>
                </a:cubicBezTo>
                <a:cubicBezTo>
                  <a:pt x="249274" y="3215245"/>
                  <a:pt x="247735" y="3217891"/>
                  <a:pt x="247110" y="3220057"/>
                </a:cubicBezTo>
                <a:cubicBezTo>
                  <a:pt x="245956" y="3224243"/>
                  <a:pt x="246197" y="3227515"/>
                  <a:pt x="246293" y="3230980"/>
                </a:cubicBezTo>
                <a:cubicBezTo>
                  <a:pt x="246774" y="3237765"/>
                  <a:pt x="247976" y="3244213"/>
                  <a:pt x="249418" y="3250565"/>
                </a:cubicBezTo>
                <a:cubicBezTo>
                  <a:pt x="252255" y="3263221"/>
                  <a:pt x="255910" y="3275491"/>
                  <a:pt x="259853" y="3287521"/>
                </a:cubicBezTo>
                <a:lnTo>
                  <a:pt x="262834" y="3296472"/>
                </a:lnTo>
                <a:lnTo>
                  <a:pt x="264373" y="3300899"/>
                </a:lnTo>
                <a:lnTo>
                  <a:pt x="264806" y="3302198"/>
                </a:lnTo>
                <a:cubicBezTo>
                  <a:pt x="265094" y="3302824"/>
                  <a:pt x="265335" y="3303160"/>
                  <a:pt x="265479" y="3303497"/>
                </a:cubicBezTo>
                <a:lnTo>
                  <a:pt x="266585" y="3305566"/>
                </a:lnTo>
                <a:cubicBezTo>
                  <a:pt x="269566" y="3311052"/>
                  <a:pt x="272548" y="3316490"/>
                  <a:pt x="275529" y="3321879"/>
                </a:cubicBezTo>
                <a:cubicBezTo>
                  <a:pt x="281443" y="3332706"/>
                  <a:pt x="287310" y="3343389"/>
                  <a:pt x="293128" y="3354023"/>
                </a:cubicBezTo>
                <a:lnTo>
                  <a:pt x="298610" y="3351521"/>
                </a:lnTo>
                <a:cubicBezTo>
                  <a:pt x="294956" y="3341127"/>
                  <a:pt x="291493" y="3330685"/>
                  <a:pt x="289233" y="3320339"/>
                </a:cubicBezTo>
                <a:lnTo>
                  <a:pt x="288753" y="3317885"/>
                </a:lnTo>
                <a:cubicBezTo>
                  <a:pt x="288656" y="3317308"/>
                  <a:pt x="288608" y="3316682"/>
                  <a:pt x="288560" y="3316057"/>
                </a:cubicBezTo>
                <a:cubicBezTo>
                  <a:pt x="288560" y="3315479"/>
                  <a:pt x="288560" y="3314805"/>
                  <a:pt x="288897" y="3314276"/>
                </a:cubicBezTo>
                <a:cubicBezTo>
                  <a:pt x="289330" y="3313747"/>
                  <a:pt x="290051" y="3314132"/>
                  <a:pt x="290532" y="3314469"/>
                </a:cubicBezTo>
                <a:cubicBezTo>
                  <a:pt x="291542" y="3315190"/>
                  <a:pt x="292263" y="3316057"/>
                  <a:pt x="293128" y="3317067"/>
                </a:cubicBezTo>
                <a:cubicBezTo>
                  <a:pt x="294667" y="3319136"/>
                  <a:pt x="296254" y="3320917"/>
                  <a:pt x="297696" y="3323178"/>
                </a:cubicBezTo>
                <a:cubicBezTo>
                  <a:pt x="309574" y="3340550"/>
                  <a:pt x="319672" y="3358980"/>
                  <a:pt x="329722" y="3376736"/>
                </a:cubicBezTo>
                <a:cubicBezTo>
                  <a:pt x="339723" y="3394589"/>
                  <a:pt x="349485" y="3412056"/>
                  <a:pt x="359054" y="3429139"/>
                </a:cubicBezTo>
                <a:cubicBezTo>
                  <a:pt x="363718" y="3437368"/>
                  <a:pt x="368431" y="3445500"/>
                  <a:pt x="373239" y="3453440"/>
                </a:cubicBezTo>
                <a:cubicBezTo>
                  <a:pt x="369681" y="3448243"/>
                  <a:pt x="366026" y="3442998"/>
                  <a:pt x="362324" y="3437560"/>
                </a:cubicBezTo>
                <a:cubicBezTo>
                  <a:pt x="357948" y="3431304"/>
                  <a:pt x="352995" y="3424038"/>
                  <a:pt x="349004" y="3418841"/>
                </a:cubicBezTo>
                <a:cubicBezTo>
                  <a:pt x="346936" y="3416050"/>
                  <a:pt x="344821" y="3413259"/>
                  <a:pt x="342657" y="3410372"/>
                </a:cubicBezTo>
                <a:cubicBezTo>
                  <a:pt x="341214" y="3408736"/>
                  <a:pt x="339772" y="3407100"/>
                  <a:pt x="338281" y="3405464"/>
                </a:cubicBezTo>
                <a:cubicBezTo>
                  <a:pt x="336598" y="3403491"/>
                  <a:pt x="335877" y="3403010"/>
                  <a:pt x="334819" y="3402095"/>
                </a:cubicBezTo>
                <a:lnTo>
                  <a:pt x="333328" y="3400844"/>
                </a:lnTo>
                <a:lnTo>
                  <a:pt x="332078" y="3399930"/>
                </a:lnTo>
                <a:cubicBezTo>
                  <a:pt x="331260" y="3399304"/>
                  <a:pt x="330395" y="3398823"/>
                  <a:pt x="329577" y="3398390"/>
                </a:cubicBezTo>
                <a:cubicBezTo>
                  <a:pt x="329097" y="3398198"/>
                  <a:pt x="328616" y="3398005"/>
                  <a:pt x="327991" y="3397957"/>
                </a:cubicBezTo>
                <a:cubicBezTo>
                  <a:pt x="327365" y="3397957"/>
                  <a:pt x="326548" y="3397813"/>
                  <a:pt x="325202" y="3398679"/>
                </a:cubicBezTo>
                <a:cubicBezTo>
                  <a:pt x="324144" y="3399593"/>
                  <a:pt x="323326" y="3400459"/>
                  <a:pt x="323374" y="3401566"/>
                </a:cubicBezTo>
                <a:lnTo>
                  <a:pt x="325538" y="3405319"/>
                </a:lnTo>
                <a:cubicBezTo>
                  <a:pt x="326981" y="3407822"/>
                  <a:pt x="328471" y="3410372"/>
                  <a:pt x="329914" y="3412922"/>
                </a:cubicBezTo>
                <a:cubicBezTo>
                  <a:pt x="332847" y="3418023"/>
                  <a:pt x="335877" y="3423268"/>
                  <a:pt x="338906" y="3428513"/>
                </a:cubicBezTo>
                <a:cubicBezTo>
                  <a:pt x="345013" y="3439148"/>
                  <a:pt x="351264" y="3450071"/>
                  <a:pt x="357708" y="3461283"/>
                </a:cubicBezTo>
                <a:cubicBezTo>
                  <a:pt x="364151" y="3472592"/>
                  <a:pt x="370739" y="3484188"/>
                  <a:pt x="377519" y="3496026"/>
                </a:cubicBezTo>
                <a:cubicBezTo>
                  <a:pt x="381799" y="3501030"/>
                  <a:pt x="386126" y="3506083"/>
                  <a:pt x="390502" y="3511184"/>
                </a:cubicBezTo>
                <a:cubicBezTo>
                  <a:pt x="394637" y="3516188"/>
                  <a:pt x="398821" y="3521241"/>
                  <a:pt x="403004" y="3526390"/>
                </a:cubicBezTo>
                <a:cubicBezTo>
                  <a:pt x="414064" y="3540056"/>
                  <a:pt x="425172" y="3554251"/>
                  <a:pt x="436376" y="3568832"/>
                </a:cubicBezTo>
                <a:cubicBezTo>
                  <a:pt x="434549" y="3567340"/>
                  <a:pt x="433347" y="3566715"/>
                  <a:pt x="432914" y="3567052"/>
                </a:cubicBezTo>
                <a:cubicBezTo>
                  <a:pt x="431712" y="3567918"/>
                  <a:pt x="435991" y="3575809"/>
                  <a:pt x="443877" y="3587935"/>
                </a:cubicBezTo>
                <a:cubicBezTo>
                  <a:pt x="447820" y="3593999"/>
                  <a:pt x="452677" y="3601072"/>
                  <a:pt x="458159" y="3608868"/>
                </a:cubicBezTo>
                <a:cubicBezTo>
                  <a:pt x="460948" y="3612766"/>
                  <a:pt x="463881" y="3616808"/>
                  <a:pt x="466910" y="3621042"/>
                </a:cubicBezTo>
                <a:cubicBezTo>
                  <a:pt x="468449" y="3623111"/>
                  <a:pt x="469988" y="3625277"/>
                  <a:pt x="471575" y="3627442"/>
                </a:cubicBezTo>
                <a:lnTo>
                  <a:pt x="473979" y="3630714"/>
                </a:lnTo>
                <a:lnTo>
                  <a:pt x="475181" y="3632350"/>
                </a:lnTo>
                <a:lnTo>
                  <a:pt x="475806" y="3633169"/>
                </a:lnTo>
                <a:lnTo>
                  <a:pt x="476095" y="3633601"/>
                </a:lnTo>
                <a:lnTo>
                  <a:pt x="476239" y="3633794"/>
                </a:lnTo>
                <a:lnTo>
                  <a:pt x="476335" y="3633890"/>
                </a:lnTo>
                <a:lnTo>
                  <a:pt x="476335" y="3633890"/>
                </a:lnTo>
                <a:cubicBezTo>
                  <a:pt x="476335" y="3633890"/>
                  <a:pt x="476335" y="3633987"/>
                  <a:pt x="476335" y="3633987"/>
                </a:cubicBezTo>
                <a:cubicBezTo>
                  <a:pt x="479894" y="3631340"/>
                  <a:pt x="469507" y="3639087"/>
                  <a:pt x="481769" y="3629992"/>
                </a:cubicBezTo>
                <a:cubicBezTo>
                  <a:pt x="490857" y="3642648"/>
                  <a:pt x="499561" y="3655256"/>
                  <a:pt x="507639" y="3667815"/>
                </a:cubicBezTo>
                <a:cubicBezTo>
                  <a:pt x="511823" y="3674071"/>
                  <a:pt x="515958" y="3680278"/>
                  <a:pt x="519997" y="3686389"/>
                </a:cubicBezTo>
                <a:lnTo>
                  <a:pt x="523027" y="3690961"/>
                </a:lnTo>
                <a:lnTo>
                  <a:pt x="524565" y="3693222"/>
                </a:lnTo>
                <a:lnTo>
                  <a:pt x="524950" y="3693800"/>
                </a:lnTo>
                <a:lnTo>
                  <a:pt x="525719" y="3694907"/>
                </a:lnTo>
                <a:lnTo>
                  <a:pt x="526681" y="3696013"/>
                </a:lnTo>
                <a:cubicBezTo>
                  <a:pt x="529085" y="3698804"/>
                  <a:pt x="531442" y="3701547"/>
                  <a:pt x="533798" y="3704242"/>
                </a:cubicBezTo>
                <a:cubicBezTo>
                  <a:pt x="543223" y="3715165"/>
                  <a:pt x="552455" y="3725800"/>
                  <a:pt x="561351" y="3736097"/>
                </a:cubicBezTo>
                <a:lnTo>
                  <a:pt x="569189" y="3730708"/>
                </a:lnTo>
                <a:cubicBezTo>
                  <a:pt x="552984" y="3700440"/>
                  <a:pt x="534375" y="3675177"/>
                  <a:pt x="518026" y="3652705"/>
                </a:cubicBezTo>
                <a:cubicBezTo>
                  <a:pt x="501532" y="3630329"/>
                  <a:pt x="486626" y="3611129"/>
                  <a:pt x="474220" y="3595346"/>
                </a:cubicBezTo>
                <a:cubicBezTo>
                  <a:pt x="461813" y="3579563"/>
                  <a:pt x="451860" y="3567196"/>
                  <a:pt x="444935" y="3558871"/>
                </a:cubicBezTo>
                <a:cubicBezTo>
                  <a:pt x="438011" y="3550546"/>
                  <a:pt x="434068" y="3546215"/>
                  <a:pt x="433635" y="3546552"/>
                </a:cubicBezTo>
                <a:cubicBezTo>
                  <a:pt x="433395" y="3546745"/>
                  <a:pt x="434404" y="3548525"/>
                  <a:pt x="436424" y="3551701"/>
                </a:cubicBezTo>
                <a:cubicBezTo>
                  <a:pt x="427913" y="3540826"/>
                  <a:pt x="419450" y="3530191"/>
                  <a:pt x="410987" y="3519797"/>
                </a:cubicBezTo>
                <a:cubicBezTo>
                  <a:pt x="406707" y="3514649"/>
                  <a:pt x="402475" y="3509596"/>
                  <a:pt x="398244" y="3504543"/>
                </a:cubicBezTo>
                <a:cubicBezTo>
                  <a:pt x="396080" y="3502041"/>
                  <a:pt x="393964" y="3499587"/>
                  <a:pt x="391848" y="3497133"/>
                </a:cubicBezTo>
                <a:cubicBezTo>
                  <a:pt x="389829" y="3494871"/>
                  <a:pt x="387857" y="3492609"/>
                  <a:pt x="385838" y="3490396"/>
                </a:cubicBezTo>
                <a:cubicBezTo>
                  <a:pt x="383337" y="3486546"/>
                  <a:pt x="380885" y="3482793"/>
                  <a:pt x="378529" y="3479136"/>
                </a:cubicBezTo>
                <a:cubicBezTo>
                  <a:pt x="375740" y="3474853"/>
                  <a:pt x="373047" y="3470715"/>
                  <a:pt x="370402" y="3466673"/>
                </a:cubicBezTo>
                <a:cubicBezTo>
                  <a:pt x="368912" y="3464363"/>
                  <a:pt x="367421" y="3462101"/>
                  <a:pt x="365978" y="3459888"/>
                </a:cubicBezTo>
                <a:cubicBezTo>
                  <a:pt x="365209" y="3458685"/>
                  <a:pt x="364440" y="3457530"/>
                  <a:pt x="363670" y="3456327"/>
                </a:cubicBezTo>
                <a:lnTo>
                  <a:pt x="362468" y="3454498"/>
                </a:lnTo>
                <a:cubicBezTo>
                  <a:pt x="362276" y="3454065"/>
                  <a:pt x="362228" y="3453728"/>
                  <a:pt x="362276" y="3453391"/>
                </a:cubicBezTo>
                <a:cubicBezTo>
                  <a:pt x="362853" y="3452814"/>
                  <a:pt x="363045" y="3453391"/>
                  <a:pt x="363430" y="3453632"/>
                </a:cubicBezTo>
                <a:cubicBezTo>
                  <a:pt x="363766" y="3453969"/>
                  <a:pt x="364151" y="3454402"/>
                  <a:pt x="364632" y="3454931"/>
                </a:cubicBezTo>
                <a:cubicBezTo>
                  <a:pt x="365546" y="3455990"/>
                  <a:pt x="366748" y="3457482"/>
                  <a:pt x="368190" y="3459359"/>
                </a:cubicBezTo>
                <a:cubicBezTo>
                  <a:pt x="369152" y="3460658"/>
                  <a:pt x="370114" y="3461909"/>
                  <a:pt x="371075" y="3463160"/>
                </a:cubicBezTo>
                <a:lnTo>
                  <a:pt x="371893" y="3464218"/>
                </a:lnTo>
                <a:lnTo>
                  <a:pt x="373768" y="3466817"/>
                </a:lnTo>
                <a:cubicBezTo>
                  <a:pt x="375018" y="3468549"/>
                  <a:pt x="376221" y="3470282"/>
                  <a:pt x="377471" y="3471966"/>
                </a:cubicBezTo>
                <a:cubicBezTo>
                  <a:pt x="382328" y="3478751"/>
                  <a:pt x="386896" y="3485103"/>
                  <a:pt x="391175" y="3491118"/>
                </a:cubicBezTo>
                <a:cubicBezTo>
                  <a:pt x="399735" y="3503051"/>
                  <a:pt x="407188" y="3513301"/>
                  <a:pt x="413343" y="3521626"/>
                </a:cubicBezTo>
                <a:cubicBezTo>
                  <a:pt x="425653" y="3538275"/>
                  <a:pt x="433106" y="3547033"/>
                  <a:pt x="433731" y="3546552"/>
                </a:cubicBezTo>
                <a:cubicBezTo>
                  <a:pt x="434308" y="3546119"/>
                  <a:pt x="428009" y="3536591"/>
                  <a:pt x="416757" y="3519220"/>
                </a:cubicBezTo>
                <a:cubicBezTo>
                  <a:pt x="413295" y="3513975"/>
                  <a:pt x="409352" y="3507912"/>
                  <a:pt x="405024" y="3501319"/>
                </a:cubicBezTo>
                <a:cubicBezTo>
                  <a:pt x="441713" y="3553337"/>
                  <a:pt x="478980" y="3597752"/>
                  <a:pt x="511294" y="3638173"/>
                </a:cubicBezTo>
                <a:cubicBezTo>
                  <a:pt x="529807" y="3661271"/>
                  <a:pt x="546733" y="3683117"/>
                  <a:pt x="561640" y="3703905"/>
                </a:cubicBezTo>
                <a:cubicBezTo>
                  <a:pt x="565438" y="3709054"/>
                  <a:pt x="569045" y="3714155"/>
                  <a:pt x="572507" y="3719255"/>
                </a:cubicBezTo>
                <a:cubicBezTo>
                  <a:pt x="576017" y="3724308"/>
                  <a:pt x="579479" y="3729216"/>
                  <a:pt x="582653" y="3734125"/>
                </a:cubicBezTo>
                <a:cubicBezTo>
                  <a:pt x="585875" y="3739033"/>
                  <a:pt x="589048" y="3743797"/>
                  <a:pt x="592126" y="3748512"/>
                </a:cubicBezTo>
                <a:cubicBezTo>
                  <a:pt x="595059" y="3753180"/>
                  <a:pt x="597415" y="3758088"/>
                  <a:pt x="599579" y="3762948"/>
                </a:cubicBezTo>
                <a:cubicBezTo>
                  <a:pt x="601743" y="3767809"/>
                  <a:pt x="603715" y="3772669"/>
                  <a:pt x="605686" y="3777385"/>
                </a:cubicBezTo>
                <a:lnTo>
                  <a:pt x="607177" y="3780897"/>
                </a:lnTo>
                <a:cubicBezTo>
                  <a:pt x="607465" y="3781379"/>
                  <a:pt x="607610" y="3782389"/>
                  <a:pt x="608235" y="3782822"/>
                </a:cubicBezTo>
                <a:lnTo>
                  <a:pt x="609629" y="3784218"/>
                </a:lnTo>
                <a:cubicBezTo>
                  <a:pt x="611360" y="3785998"/>
                  <a:pt x="613091" y="3787730"/>
                  <a:pt x="614774" y="3789463"/>
                </a:cubicBezTo>
                <a:cubicBezTo>
                  <a:pt x="621506" y="3796392"/>
                  <a:pt x="627902" y="3802936"/>
                  <a:pt x="633864" y="3809048"/>
                </a:cubicBezTo>
                <a:cubicBezTo>
                  <a:pt x="639875" y="3815207"/>
                  <a:pt x="645453" y="3820933"/>
                  <a:pt x="650694" y="3826275"/>
                </a:cubicBezTo>
                <a:cubicBezTo>
                  <a:pt x="653339" y="3828970"/>
                  <a:pt x="655840" y="3831568"/>
                  <a:pt x="658292" y="3834070"/>
                </a:cubicBezTo>
                <a:cubicBezTo>
                  <a:pt x="659686" y="3835514"/>
                  <a:pt x="661081" y="3836909"/>
                  <a:pt x="662427" y="3838305"/>
                </a:cubicBezTo>
                <a:lnTo>
                  <a:pt x="664399" y="3840326"/>
                </a:lnTo>
                <a:lnTo>
                  <a:pt x="665361" y="3841336"/>
                </a:lnTo>
                <a:lnTo>
                  <a:pt x="665697" y="3840566"/>
                </a:lnTo>
                <a:cubicBezTo>
                  <a:pt x="665890" y="3839219"/>
                  <a:pt x="665938" y="3837920"/>
                  <a:pt x="666322" y="3836620"/>
                </a:cubicBezTo>
                <a:cubicBezTo>
                  <a:pt x="666611" y="3835321"/>
                  <a:pt x="666899" y="3833974"/>
                  <a:pt x="667476" y="3832963"/>
                </a:cubicBezTo>
                <a:cubicBezTo>
                  <a:pt x="668390" y="3831039"/>
                  <a:pt x="669688" y="3829836"/>
                  <a:pt x="671131" y="3828729"/>
                </a:cubicBezTo>
                <a:cubicBezTo>
                  <a:pt x="674064" y="3826563"/>
                  <a:pt x="677526" y="3825553"/>
                  <a:pt x="680604" y="3824639"/>
                </a:cubicBezTo>
                <a:cubicBezTo>
                  <a:pt x="686903" y="3822954"/>
                  <a:pt x="692337" y="3821848"/>
                  <a:pt x="696568" y="3820500"/>
                </a:cubicBezTo>
                <a:cubicBezTo>
                  <a:pt x="705080" y="3817902"/>
                  <a:pt x="708974" y="3815496"/>
                  <a:pt x="708974" y="3815496"/>
                </a:cubicBezTo>
                <a:cubicBezTo>
                  <a:pt x="708974" y="3815448"/>
                  <a:pt x="707868" y="3815832"/>
                  <a:pt x="705801" y="3816651"/>
                </a:cubicBezTo>
                <a:cubicBezTo>
                  <a:pt x="703733" y="3817469"/>
                  <a:pt x="700559" y="3818527"/>
                  <a:pt x="696328" y="3819682"/>
                </a:cubicBezTo>
                <a:cubicBezTo>
                  <a:pt x="692096" y="3820837"/>
                  <a:pt x="686663" y="3821799"/>
                  <a:pt x="680267" y="3823387"/>
                </a:cubicBezTo>
                <a:cubicBezTo>
                  <a:pt x="677094" y="3824254"/>
                  <a:pt x="673535" y="3825216"/>
                  <a:pt x="670217" y="3827526"/>
                </a:cubicBezTo>
                <a:cubicBezTo>
                  <a:pt x="668679" y="3828681"/>
                  <a:pt x="666996" y="3830269"/>
                  <a:pt x="666130" y="3832049"/>
                </a:cubicBezTo>
                <a:cubicBezTo>
                  <a:pt x="665264" y="3833541"/>
                  <a:pt x="664832" y="3835321"/>
                  <a:pt x="664639" y="3837102"/>
                </a:cubicBezTo>
                <a:lnTo>
                  <a:pt x="664495" y="3838064"/>
                </a:lnTo>
                <a:lnTo>
                  <a:pt x="663774" y="3837294"/>
                </a:lnTo>
                <a:lnTo>
                  <a:pt x="662331" y="3835754"/>
                </a:lnTo>
                <a:cubicBezTo>
                  <a:pt x="661370" y="3834744"/>
                  <a:pt x="660408" y="3833733"/>
                  <a:pt x="659398" y="3832675"/>
                </a:cubicBezTo>
                <a:cubicBezTo>
                  <a:pt x="657042" y="3830173"/>
                  <a:pt x="654589" y="3827574"/>
                  <a:pt x="651993" y="3824879"/>
                </a:cubicBezTo>
                <a:cubicBezTo>
                  <a:pt x="646848" y="3819442"/>
                  <a:pt x="641318" y="3813667"/>
                  <a:pt x="635403" y="3807460"/>
                </a:cubicBezTo>
                <a:cubicBezTo>
                  <a:pt x="629489" y="3801252"/>
                  <a:pt x="623189" y="3794660"/>
                  <a:pt x="616554" y="3787682"/>
                </a:cubicBezTo>
                <a:cubicBezTo>
                  <a:pt x="614871" y="3785950"/>
                  <a:pt x="613188" y="3784170"/>
                  <a:pt x="611505" y="3782389"/>
                </a:cubicBezTo>
                <a:cubicBezTo>
                  <a:pt x="610543" y="3781379"/>
                  <a:pt x="609870" y="3780897"/>
                  <a:pt x="609581" y="3779791"/>
                </a:cubicBezTo>
                <a:lnTo>
                  <a:pt x="608139" y="3776278"/>
                </a:lnTo>
                <a:cubicBezTo>
                  <a:pt x="606215" y="3771562"/>
                  <a:pt x="604292" y="3766702"/>
                  <a:pt x="602176" y="3761745"/>
                </a:cubicBezTo>
                <a:cubicBezTo>
                  <a:pt x="600012" y="3756789"/>
                  <a:pt x="597656" y="3751785"/>
                  <a:pt x="594626" y="3746877"/>
                </a:cubicBezTo>
                <a:cubicBezTo>
                  <a:pt x="591549" y="3742161"/>
                  <a:pt x="588423" y="3737300"/>
                  <a:pt x="585202" y="3732344"/>
                </a:cubicBezTo>
                <a:cubicBezTo>
                  <a:pt x="582028" y="3727388"/>
                  <a:pt x="578566" y="3722431"/>
                  <a:pt x="575104" y="3717331"/>
                </a:cubicBezTo>
                <a:cubicBezTo>
                  <a:pt x="571641" y="3712230"/>
                  <a:pt x="568083" y="3707081"/>
                  <a:pt x="564332" y="3701884"/>
                </a:cubicBezTo>
                <a:cubicBezTo>
                  <a:pt x="549522" y="3680952"/>
                  <a:pt x="532692" y="3658961"/>
                  <a:pt x="514275" y="3635671"/>
                </a:cubicBezTo>
                <a:cubicBezTo>
                  <a:pt x="477537" y="3589138"/>
                  <a:pt x="434453" y="3537506"/>
                  <a:pt x="393243" y="3475479"/>
                </a:cubicBezTo>
                <a:cubicBezTo>
                  <a:pt x="382664" y="3460128"/>
                  <a:pt x="373191" y="3443720"/>
                  <a:pt x="363574" y="3426685"/>
                </a:cubicBezTo>
                <a:cubicBezTo>
                  <a:pt x="354101" y="3409554"/>
                  <a:pt x="344388" y="3392086"/>
                  <a:pt x="334482" y="3374186"/>
                </a:cubicBezTo>
                <a:cubicBezTo>
                  <a:pt x="324432" y="3356333"/>
                  <a:pt x="314478" y="3337951"/>
                  <a:pt x="302313" y="3320002"/>
                </a:cubicBezTo>
                <a:cubicBezTo>
                  <a:pt x="300870" y="3317741"/>
                  <a:pt x="298947" y="3315479"/>
                  <a:pt x="297264" y="3313266"/>
                </a:cubicBezTo>
                <a:cubicBezTo>
                  <a:pt x="294715" y="3310186"/>
                  <a:pt x="291590" y="3307010"/>
                  <a:pt x="288849" y="3306144"/>
                </a:cubicBezTo>
                <a:cubicBezTo>
                  <a:pt x="287502" y="3305663"/>
                  <a:pt x="285819" y="3305326"/>
                  <a:pt x="284425" y="3306481"/>
                </a:cubicBezTo>
                <a:cubicBezTo>
                  <a:pt x="283271" y="3307587"/>
                  <a:pt x="282790" y="3308935"/>
                  <a:pt x="282453" y="3310523"/>
                </a:cubicBezTo>
                <a:cubicBezTo>
                  <a:pt x="282117" y="3312111"/>
                  <a:pt x="282213" y="3314132"/>
                  <a:pt x="282357" y="3316153"/>
                </a:cubicBezTo>
                <a:cubicBezTo>
                  <a:pt x="282598" y="3318270"/>
                  <a:pt x="282934" y="3320243"/>
                  <a:pt x="283271" y="3321687"/>
                </a:cubicBezTo>
                <a:cubicBezTo>
                  <a:pt x="283511" y="3322890"/>
                  <a:pt x="283848" y="3324093"/>
                  <a:pt x="284136" y="3325296"/>
                </a:cubicBezTo>
                <a:cubicBezTo>
                  <a:pt x="283030" y="3323226"/>
                  <a:pt x="281924" y="3321205"/>
                  <a:pt x="280770" y="3319088"/>
                </a:cubicBezTo>
                <a:cubicBezTo>
                  <a:pt x="277837" y="3313699"/>
                  <a:pt x="274856" y="3308261"/>
                  <a:pt x="271922" y="3302775"/>
                </a:cubicBezTo>
                <a:lnTo>
                  <a:pt x="270817" y="3300706"/>
                </a:lnTo>
                <a:lnTo>
                  <a:pt x="270432" y="3299936"/>
                </a:lnTo>
                <a:lnTo>
                  <a:pt x="270095" y="3299022"/>
                </a:lnTo>
                <a:lnTo>
                  <a:pt x="268605" y="3294595"/>
                </a:lnTo>
                <a:lnTo>
                  <a:pt x="265671" y="3285693"/>
                </a:lnTo>
                <a:cubicBezTo>
                  <a:pt x="261873" y="3273807"/>
                  <a:pt x="258266" y="3261681"/>
                  <a:pt x="255525" y="3249314"/>
                </a:cubicBezTo>
                <a:cubicBezTo>
                  <a:pt x="254179" y="3243154"/>
                  <a:pt x="253073" y="3236899"/>
                  <a:pt x="252640" y="3230740"/>
                </a:cubicBezTo>
                <a:cubicBezTo>
                  <a:pt x="252448" y="3227756"/>
                  <a:pt x="252544" y="3224436"/>
                  <a:pt x="253121" y="3222367"/>
                </a:cubicBezTo>
                <a:cubicBezTo>
                  <a:pt x="253506" y="3220731"/>
                  <a:pt x="254708" y="3220201"/>
                  <a:pt x="256295" y="3221067"/>
                </a:cubicBezTo>
                <a:cubicBezTo>
                  <a:pt x="260911" y="3223377"/>
                  <a:pt x="265671" y="3228382"/>
                  <a:pt x="269903" y="3233049"/>
                </a:cubicBezTo>
                <a:cubicBezTo>
                  <a:pt x="272067" y="3235455"/>
                  <a:pt x="274134" y="3237958"/>
                  <a:pt x="276202" y="3240460"/>
                </a:cubicBezTo>
                <a:lnTo>
                  <a:pt x="282069" y="3248255"/>
                </a:lnTo>
                <a:cubicBezTo>
                  <a:pt x="289666" y="3258890"/>
                  <a:pt x="296254" y="3270439"/>
                  <a:pt x="302265" y="3282421"/>
                </a:cubicBezTo>
                <a:cubicBezTo>
                  <a:pt x="314286" y="3306433"/>
                  <a:pt x="324288" y="3332177"/>
                  <a:pt x="335684" y="3357825"/>
                </a:cubicBezTo>
                <a:cubicBezTo>
                  <a:pt x="346936" y="3383569"/>
                  <a:pt x="359487" y="3409362"/>
                  <a:pt x="373816" y="3434721"/>
                </a:cubicBezTo>
                <a:cubicBezTo>
                  <a:pt x="388483" y="3460177"/>
                  <a:pt x="406563" y="3483563"/>
                  <a:pt x="424787" y="3507238"/>
                </a:cubicBezTo>
                <a:cubicBezTo>
                  <a:pt x="461525" y="3554396"/>
                  <a:pt x="500715" y="3601698"/>
                  <a:pt x="538077" y="3652465"/>
                </a:cubicBezTo>
                <a:cubicBezTo>
                  <a:pt x="547358" y="3665216"/>
                  <a:pt x="556687" y="3678064"/>
                  <a:pt x="566063" y="3691009"/>
                </a:cubicBezTo>
                <a:cubicBezTo>
                  <a:pt x="575488" y="3703953"/>
                  <a:pt x="585057" y="3717042"/>
                  <a:pt x="595829" y="3729505"/>
                </a:cubicBezTo>
                <a:cubicBezTo>
                  <a:pt x="606600" y="3741920"/>
                  <a:pt x="618814" y="3753324"/>
                  <a:pt x="631797" y="3763622"/>
                </a:cubicBezTo>
                <a:cubicBezTo>
                  <a:pt x="644972" y="3773920"/>
                  <a:pt x="660264" y="3783111"/>
                  <a:pt x="678103" y="3785324"/>
                </a:cubicBezTo>
                <a:cubicBezTo>
                  <a:pt x="686903" y="3786383"/>
                  <a:pt x="696424" y="3785469"/>
                  <a:pt x="704743" y="3781330"/>
                </a:cubicBezTo>
                <a:cubicBezTo>
                  <a:pt x="713062" y="3777336"/>
                  <a:pt x="720130" y="3770744"/>
                  <a:pt x="724699" y="3762852"/>
                </a:cubicBezTo>
                <a:cubicBezTo>
                  <a:pt x="734027" y="3747021"/>
                  <a:pt x="735566" y="3728398"/>
                  <a:pt x="733594" y="3711027"/>
                </a:cubicBezTo>
                <a:cubicBezTo>
                  <a:pt x="731479" y="3693511"/>
                  <a:pt x="725708" y="3676621"/>
                  <a:pt x="717870" y="3660886"/>
                </a:cubicBezTo>
                <a:cubicBezTo>
                  <a:pt x="715851" y="3656988"/>
                  <a:pt x="713879" y="3653042"/>
                  <a:pt x="711571" y="3649289"/>
                </a:cubicBezTo>
                <a:cubicBezTo>
                  <a:pt x="709455" y="3645439"/>
                  <a:pt x="706955" y="3641782"/>
                  <a:pt x="704454" y="3638173"/>
                </a:cubicBezTo>
                <a:lnTo>
                  <a:pt x="697001" y="3627298"/>
                </a:lnTo>
                <a:cubicBezTo>
                  <a:pt x="694645" y="3623545"/>
                  <a:pt x="691519" y="3620368"/>
                  <a:pt x="688778" y="3616904"/>
                </a:cubicBezTo>
                <a:cubicBezTo>
                  <a:pt x="685941" y="3613535"/>
                  <a:pt x="683200" y="3610023"/>
                  <a:pt x="680219" y="3606702"/>
                </a:cubicBezTo>
                <a:lnTo>
                  <a:pt x="670794" y="3597223"/>
                </a:lnTo>
                <a:lnTo>
                  <a:pt x="666034" y="3592507"/>
                </a:lnTo>
                <a:lnTo>
                  <a:pt x="660889" y="3588224"/>
                </a:lnTo>
                <a:cubicBezTo>
                  <a:pt x="657426" y="3585385"/>
                  <a:pt x="654060" y="3582450"/>
                  <a:pt x="650550" y="3579659"/>
                </a:cubicBezTo>
                <a:cubicBezTo>
                  <a:pt x="636124" y="3568976"/>
                  <a:pt x="620497" y="3559930"/>
                  <a:pt x="604292" y="3552134"/>
                </a:cubicBezTo>
                <a:cubicBezTo>
                  <a:pt x="587991" y="3544531"/>
                  <a:pt x="571257" y="3538035"/>
                  <a:pt x="554667" y="3531346"/>
                </a:cubicBezTo>
                <a:cubicBezTo>
                  <a:pt x="538029" y="3524754"/>
                  <a:pt x="521680" y="3517632"/>
                  <a:pt x="506245" y="3508730"/>
                </a:cubicBezTo>
                <a:cubicBezTo>
                  <a:pt x="498407" y="3504495"/>
                  <a:pt x="491242" y="3499250"/>
                  <a:pt x="483981" y="3494101"/>
                </a:cubicBezTo>
                <a:lnTo>
                  <a:pt x="473739" y="3485584"/>
                </a:lnTo>
                <a:cubicBezTo>
                  <a:pt x="470276" y="3482745"/>
                  <a:pt x="467295" y="3479425"/>
                  <a:pt x="464073" y="3476345"/>
                </a:cubicBezTo>
                <a:cubicBezTo>
                  <a:pt x="451571" y="3463400"/>
                  <a:pt x="440223" y="3449061"/>
                  <a:pt x="429404" y="3434288"/>
                </a:cubicBezTo>
                <a:cubicBezTo>
                  <a:pt x="407861" y="3404598"/>
                  <a:pt x="388098" y="3373031"/>
                  <a:pt x="370643" y="3339924"/>
                </a:cubicBezTo>
                <a:cubicBezTo>
                  <a:pt x="353428" y="3306866"/>
                  <a:pt x="337271" y="3272171"/>
                  <a:pt x="334386" y="3234733"/>
                </a:cubicBezTo>
                <a:cubicBezTo>
                  <a:pt x="332895" y="3216159"/>
                  <a:pt x="334626" y="3197344"/>
                  <a:pt x="339579" y="3179155"/>
                </a:cubicBezTo>
                <a:cubicBezTo>
                  <a:pt x="340829" y="3174583"/>
                  <a:pt x="342176" y="3170060"/>
                  <a:pt x="343667" y="3165441"/>
                </a:cubicBezTo>
                <a:cubicBezTo>
                  <a:pt x="345109" y="3161014"/>
                  <a:pt x="346696" y="3156731"/>
                  <a:pt x="348764" y="3152544"/>
                </a:cubicBezTo>
                <a:cubicBezTo>
                  <a:pt x="352755" y="3144123"/>
                  <a:pt x="357756" y="3136135"/>
                  <a:pt x="363478" y="3128677"/>
                </a:cubicBezTo>
                <a:cubicBezTo>
                  <a:pt x="369248" y="3121266"/>
                  <a:pt x="375836" y="3114529"/>
                  <a:pt x="383241" y="3108996"/>
                </a:cubicBezTo>
                <a:cubicBezTo>
                  <a:pt x="390550" y="3103510"/>
                  <a:pt x="399013" y="3099372"/>
                  <a:pt x="407332" y="3099179"/>
                </a:cubicBezTo>
                <a:cubicBezTo>
                  <a:pt x="416276" y="3099083"/>
                  <a:pt x="426134" y="3100719"/>
                  <a:pt x="435751" y="3102162"/>
                </a:cubicBezTo>
                <a:cubicBezTo>
                  <a:pt x="445464" y="3103654"/>
                  <a:pt x="455226" y="3105290"/>
                  <a:pt x="465131" y="3106590"/>
                </a:cubicBezTo>
                <a:cubicBezTo>
                  <a:pt x="484895" y="3109092"/>
                  <a:pt x="505331" y="3111113"/>
                  <a:pt x="526104" y="3106926"/>
                </a:cubicBezTo>
                <a:cubicBezTo>
                  <a:pt x="536394" y="3104857"/>
                  <a:pt x="546877" y="3100286"/>
                  <a:pt x="555004" y="3092346"/>
                </a:cubicBezTo>
                <a:cubicBezTo>
                  <a:pt x="562938" y="3084166"/>
                  <a:pt x="567169" y="3073146"/>
                  <a:pt x="568420" y="3062463"/>
                </a:cubicBezTo>
                <a:cubicBezTo>
                  <a:pt x="570968" y="3020551"/>
                  <a:pt x="561111" y="2980178"/>
                  <a:pt x="547406" y="2941345"/>
                </a:cubicBezTo>
                <a:cubicBezTo>
                  <a:pt x="533269" y="2902656"/>
                  <a:pt x="514660" y="2865652"/>
                  <a:pt x="495666" y="2828984"/>
                </a:cubicBezTo>
                <a:cubicBezTo>
                  <a:pt x="486193" y="2810603"/>
                  <a:pt x="476672" y="2792269"/>
                  <a:pt x="467680" y="2773598"/>
                </a:cubicBezTo>
                <a:cubicBezTo>
                  <a:pt x="458640" y="2754879"/>
                  <a:pt x="449600" y="2736064"/>
                  <a:pt x="440463" y="2717249"/>
                </a:cubicBezTo>
                <a:cubicBezTo>
                  <a:pt x="422431" y="2679523"/>
                  <a:pt x="404687" y="2641412"/>
                  <a:pt x="389396" y="2602146"/>
                </a:cubicBezTo>
                <a:cubicBezTo>
                  <a:pt x="374105" y="2562880"/>
                  <a:pt x="361074" y="2522411"/>
                  <a:pt x="351985" y="2480835"/>
                </a:cubicBezTo>
                <a:cubicBezTo>
                  <a:pt x="342849" y="2439307"/>
                  <a:pt x="337752" y="2396625"/>
                  <a:pt x="337608" y="2353653"/>
                </a:cubicBezTo>
                <a:cubicBezTo>
                  <a:pt x="337271" y="2332432"/>
                  <a:pt x="340926" y="2311452"/>
                  <a:pt x="345638" y="2290327"/>
                </a:cubicBezTo>
                <a:cubicBezTo>
                  <a:pt x="350350" y="2269251"/>
                  <a:pt x="356457" y="2248318"/>
                  <a:pt x="362420" y="2227290"/>
                </a:cubicBezTo>
                <a:cubicBezTo>
                  <a:pt x="374490" y="2185233"/>
                  <a:pt x="387328" y="2142839"/>
                  <a:pt x="394445" y="2098617"/>
                </a:cubicBezTo>
                <a:cubicBezTo>
                  <a:pt x="398003" y="2076529"/>
                  <a:pt x="399590" y="2053768"/>
                  <a:pt x="397234" y="2031008"/>
                </a:cubicBezTo>
                <a:cubicBezTo>
                  <a:pt x="396272" y="2019796"/>
                  <a:pt x="394253" y="2007669"/>
                  <a:pt x="387521" y="1996939"/>
                </a:cubicBezTo>
                <a:cubicBezTo>
                  <a:pt x="384203" y="1991549"/>
                  <a:pt x="379250" y="1986930"/>
                  <a:pt x="373528" y="1983754"/>
                </a:cubicBezTo>
                <a:cubicBezTo>
                  <a:pt x="367709" y="1980530"/>
                  <a:pt x="361170" y="1979615"/>
                  <a:pt x="355015" y="1979423"/>
                </a:cubicBezTo>
                <a:cubicBezTo>
                  <a:pt x="342561" y="1979423"/>
                  <a:pt x="331164" y="1983128"/>
                  <a:pt x="320537" y="1987555"/>
                </a:cubicBezTo>
                <a:cubicBezTo>
                  <a:pt x="309862" y="1992079"/>
                  <a:pt x="299860" y="1997660"/>
                  <a:pt x="290195" y="2003772"/>
                </a:cubicBezTo>
                <a:cubicBezTo>
                  <a:pt x="270913" y="2016042"/>
                  <a:pt x="253025" y="2029949"/>
                  <a:pt x="236002" y="2045251"/>
                </a:cubicBezTo>
                <a:cubicBezTo>
                  <a:pt x="227684" y="2053095"/>
                  <a:pt x="219749" y="2060457"/>
                  <a:pt x="210950" y="2067483"/>
                </a:cubicBezTo>
                <a:cubicBezTo>
                  <a:pt x="202342" y="2074556"/>
                  <a:pt x="193302" y="2081293"/>
                  <a:pt x="184406" y="2088511"/>
                </a:cubicBezTo>
                <a:cubicBezTo>
                  <a:pt x="175510" y="2095729"/>
                  <a:pt x="166759" y="2103669"/>
                  <a:pt x="159354" y="2112908"/>
                </a:cubicBezTo>
                <a:cubicBezTo>
                  <a:pt x="151900" y="2122099"/>
                  <a:pt x="145890" y="2132301"/>
                  <a:pt x="140792" y="2142839"/>
                </a:cubicBezTo>
                <a:cubicBezTo>
                  <a:pt x="129733" y="2167140"/>
                  <a:pt x="122856" y="2192692"/>
                  <a:pt x="118384" y="2218676"/>
                </a:cubicBezTo>
                <a:cubicBezTo>
                  <a:pt x="119971" y="2193509"/>
                  <a:pt x="123049" y="2168631"/>
                  <a:pt x="129252" y="2144716"/>
                </a:cubicBezTo>
                <a:cubicBezTo>
                  <a:pt x="137667" y="2113871"/>
                  <a:pt x="150025" y="2084229"/>
                  <a:pt x="164403" y="2055934"/>
                </a:cubicBezTo>
                <a:cubicBezTo>
                  <a:pt x="178973" y="2027784"/>
                  <a:pt x="195226" y="2000355"/>
                  <a:pt x="214941" y="1976487"/>
                </a:cubicBezTo>
                <a:cubicBezTo>
                  <a:pt x="217345" y="1973456"/>
                  <a:pt x="220038" y="1970809"/>
                  <a:pt x="222586" y="1967970"/>
                </a:cubicBezTo>
                <a:cubicBezTo>
                  <a:pt x="225327" y="1965468"/>
                  <a:pt x="227924" y="1962821"/>
                  <a:pt x="230953" y="1960656"/>
                </a:cubicBezTo>
                <a:cubicBezTo>
                  <a:pt x="236916" y="1956133"/>
                  <a:pt x="243504" y="1952235"/>
                  <a:pt x="250284" y="1948722"/>
                </a:cubicBezTo>
                <a:cubicBezTo>
                  <a:pt x="263892" y="1941793"/>
                  <a:pt x="278414" y="1936596"/>
                  <a:pt x="293225" y="1932746"/>
                </a:cubicBezTo>
                <a:cubicBezTo>
                  <a:pt x="308035" y="1928993"/>
                  <a:pt x="323134" y="1926635"/>
                  <a:pt x="338185" y="1926298"/>
                </a:cubicBezTo>
                <a:cubicBezTo>
                  <a:pt x="353187" y="1925961"/>
                  <a:pt x="368286" y="1927549"/>
                  <a:pt x="381943" y="1932698"/>
                </a:cubicBezTo>
                <a:cubicBezTo>
                  <a:pt x="388723" y="1935297"/>
                  <a:pt x="395118" y="1938713"/>
                  <a:pt x="400696" y="1943092"/>
                </a:cubicBezTo>
                <a:cubicBezTo>
                  <a:pt x="406178" y="1947615"/>
                  <a:pt x="410698" y="1953053"/>
                  <a:pt x="414208" y="1959212"/>
                </a:cubicBezTo>
                <a:cubicBezTo>
                  <a:pt x="417815" y="1965276"/>
                  <a:pt x="419738" y="1972253"/>
                  <a:pt x="421181" y="1979279"/>
                </a:cubicBezTo>
                <a:cubicBezTo>
                  <a:pt x="422527" y="1986256"/>
                  <a:pt x="422527" y="1993955"/>
                  <a:pt x="423008" y="2001366"/>
                </a:cubicBezTo>
                <a:cubicBezTo>
                  <a:pt x="424451" y="2031248"/>
                  <a:pt x="421421" y="2061035"/>
                  <a:pt x="415122" y="2089907"/>
                </a:cubicBezTo>
                <a:cubicBezTo>
                  <a:pt x="408871" y="2118827"/>
                  <a:pt x="399494" y="2146833"/>
                  <a:pt x="389781" y="2174598"/>
                </a:cubicBezTo>
                <a:cubicBezTo>
                  <a:pt x="380019" y="2202316"/>
                  <a:pt x="369969" y="2229888"/>
                  <a:pt x="362228" y="2258087"/>
                </a:cubicBezTo>
                <a:cubicBezTo>
                  <a:pt x="354438" y="2286237"/>
                  <a:pt x="349293" y="2315109"/>
                  <a:pt x="348619" y="2344078"/>
                </a:cubicBezTo>
                <a:cubicBezTo>
                  <a:pt x="348331" y="2347687"/>
                  <a:pt x="348331" y="2351296"/>
                  <a:pt x="348427" y="2354856"/>
                </a:cubicBezTo>
                <a:lnTo>
                  <a:pt x="348571" y="2365587"/>
                </a:lnTo>
                <a:cubicBezTo>
                  <a:pt x="348764" y="2372709"/>
                  <a:pt x="348571" y="2379879"/>
                  <a:pt x="349100" y="2386953"/>
                </a:cubicBezTo>
                <a:cubicBezTo>
                  <a:pt x="350110" y="2401148"/>
                  <a:pt x="350687" y="2415295"/>
                  <a:pt x="352659" y="2429250"/>
                </a:cubicBezTo>
                <a:cubicBezTo>
                  <a:pt x="355592" y="2457304"/>
                  <a:pt x="361170" y="2484733"/>
                  <a:pt x="367661" y="2511632"/>
                </a:cubicBezTo>
                <a:cubicBezTo>
                  <a:pt x="374297" y="2538483"/>
                  <a:pt x="382808" y="2564564"/>
                  <a:pt x="391945" y="2590068"/>
                </a:cubicBezTo>
                <a:cubicBezTo>
                  <a:pt x="401514" y="2615427"/>
                  <a:pt x="411660" y="2640257"/>
                  <a:pt x="422672" y="2664365"/>
                </a:cubicBezTo>
                <a:cubicBezTo>
                  <a:pt x="444599" y="2712678"/>
                  <a:pt x="468305" y="2758777"/>
                  <a:pt x="490521" y="2804395"/>
                </a:cubicBezTo>
                <a:cubicBezTo>
                  <a:pt x="513506" y="2849772"/>
                  <a:pt x="537789" y="2892936"/>
                  <a:pt x="556446" y="2937447"/>
                </a:cubicBezTo>
                <a:cubicBezTo>
                  <a:pt x="575104" y="2981718"/>
                  <a:pt x="589193" y="3027336"/>
                  <a:pt x="590491" y="3072906"/>
                </a:cubicBezTo>
                <a:cubicBezTo>
                  <a:pt x="591260" y="3084262"/>
                  <a:pt x="590635" y="3095426"/>
                  <a:pt x="587173" y="3105627"/>
                </a:cubicBezTo>
                <a:cubicBezTo>
                  <a:pt x="583759" y="3115684"/>
                  <a:pt x="577267" y="3124538"/>
                  <a:pt x="568035" y="3129447"/>
                </a:cubicBezTo>
                <a:cubicBezTo>
                  <a:pt x="558995" y="3134692"/>
                  <a:pt x="548127" y="3136520"/>
                  <a:pt x="537500" y="3137146"/>
                </a:cubicBezTo>
                <a:cubicBezTo>
                  <a:pt x="526777" y="3137723"/>
                  <a:pt x="515958" y="3136809"/>
                  <a:pt x="505235" y="3135462"/>
                </a:cubicBezTo>
                <a:cubicBezTo>
                  <a:pt x="483789" y="3132767"/>
                  <a:pt x="463016" y="3127474"/>
                  <a:pt x="441713" y="3124442"/>
                </a:cubicBezTo>
                <a:cubicBezTo>
                  <a:pt x="436328" y="3123816"/>
                  <a:pt x="430942" y="3123239"/>
                  <a:pt x="425076" y="3123865"/>
                </a:cubicBezTo>
                <a:cubicBezTo>
                  <a:pt x="419305" y="3124731"/>
                  <a:pt x="413824" y="3126944"/>
                  <a:pt x="409256" y="3130120"/>
                </a:cubicBezTo>
                <a:cubicBezTo>
                  <a:pt x="399879" y="3136280"/>
                  <a:pt x="393099" y="3144989"/>
                  <a:pt x="387569" y="3153940"/>
                </a:cubicBezTo>
                <a:cubicBezTo>
                  <a:pt x="376605" y="3172129"/>
                  <a:pt x="371027" y="3192388"/>
                  <a:pt x="368046" y="3212310"/>
                </a:cubicBezTo>
                <a:cubicBezTo>
                  <a:pt x="365257" y="3232327"/>
                  <a:pt x="365497" y="3252346"/>
                  <a:pt x="367806" y="3271690"/>
                </a:cubicBezTo>
                <a:cubicBezTo>
                  <a:pt x="372758" y="3310378"/>
                  <a:pt x="386222" y="3346228"/>
                  <a:pt x="404110" y="3377458"/>
                </a:cubicBezTo>
                <a:cubicBezTo>
                  <a:pt x="422143" y="3408736"/>
                  <a:pt x="443781" y="3436068"/>
                  <a:pt x="467824" y="3459070"/>
                </a:cubicBezTo>
                <a:cubicBezTo>
                  <a:pt x="479749" y="3470763"/>
                  <a:pt x="493261" y="3480050"/>
                  <a:pt x="506533" y="3488712"/>
                </a:cubicBezTo>
                <a:cubicBezTo>
                  <a:pt x="520141" y="3496892"/>
                  <a:pt x="533750" y="3504303"/>
                  <a:pt x="547358" y="3510799"/>
                </a:cubicBezTo>
                <a:cubicBezTo>
                  <a:pt x="574430" y="3523984"/>
                  <a:pt x="600589" y="3535484"/>
                  <a:pt x="623911" y="3549102"/>
                </a:cubicBezTo>
                <a:cubicBezTo>
                  <a:pt x="670939" y="3575761"/>
                  <a:pt x="704070" y="3612332"/>
                  <a:pt x="724843" y="3648134"/>
                </a:cubicBezTo>
                <a:cubicBezTo>
                  <a:pt x="727488" y="3652609"/>
                  <a:pt x="730036" y="3656988"/>
                  <a:pt x="732585" y="3661271"/>
                </a:cubicBezTo>
                <a:cubicBezTo>
                  <a:pt x="734748" y="3665746"/>
                  <a:pt x="736864" y="3670173"/>
                  <a:pt x="738980" y="3674455"/>
                </a:cubicBezTo>
                <a:cubicBezTo>
                  <a:pt x="740038" y="3676621"/>
                  <a:pt x="741048" y="3678738"/>
                  <a:pt x="742058" y="3680856"/>
                </a:cubicBezTo>
                <a:cubicBezTo>
                  <a:pt x="742875" y="3683069"/>
                  <a:pt x="743692" y="3685235"/>
                  <a:pt x="744462" y="3687352"/>
                </a:cubicBezTo>
                <a:cubicBezTo>
                  <a:pt x="746001" y="3691634"/>
                  <a:pt x="747684" y="3695821"/>
                  <a:pt x="749078" y="3699959"/>
                </a:cubicBezTo>
                <a:cubicBezTo>
                  <a:pt x="754031" y="3716705"/>
                  <a:pt x="756002" y="3732585"/>
                  <a:pt x="754993" y="3746684"/>
                </a:cubicBezTo>
                <a:cubicBezTo>
                  <a:pt x="754031" y="3760831"/>
                  <a:pt x="749318" y="3772669"/>
                  <a:pt x="744029" y="3781956"/>
                </a:cubicBezTo>
                <a:cubicBezTo>
                  <a:pt x="741529" y="3786720"/>
                  <a:pt x="738307" y="3790473"/>
                  <a:pt x="735566" y="3794082"/>
                </a:cubicBezTo>
                <a:cubicBezTo>
                  <a:pt x="732440" y="3797306"/>
                  <a:pt x="729796" y="3800434"/>
                  <a:pt x="726959" y="3802696"/>
                </a:cubicBezTo>
                <a:cubicBezTo>
                  <a:pt x="721573" y="3807604"/>
                  <a:pt x="716861" y="3810491"/>
                  <a:pt x="713783" y="3812512"/>
                </a:cubicBezTo>
                <a:cubicBezTo>
                  <a:pt x="710609" y="3814389"/>
                  <a:pt x="708926" y="3815255"/>
                  <a:pt x="709023" y="3815351"/>
                </a:cubicBezTo>
                <a:cubicBezTo>
                  <a:pt x="709023" y="3815351"/>
                  <a:pt x="709455" y="3815207"/>
                  <a:pt x="710321" y="3814822"/>
                </a:cubicBezTo>
                <a:cubicBezTo>
                  <a:pt x="711138" y="3814389"/>
                  <a:pt x="712437" y="3813860"/>
                  <a:pt x="714072" y="3812945"/>
                </a:cubicBezTo>
                <a:cubicBezTo>
                  <a:pt x="717293" y="3811069"/>
                  <a:pt x="722150" y="3808326"/>
                  <a:pt x="727728" y="3803514"/>
                </a:cubicBezTo>
                <a:cubicBezTo>
                  <a:pt x="730661" y="3801300"/>
                  <a:pt x="733402" y="3798172"/>
                  <a:pt x="736672" y="3794949"/>
                </a:cubicBezTo>
                <a:cubicBezTo>
                  <a:pt x="739509" y="3791340"/>
                  <a:pt x="742827" y="3787538"/>
                  <a:pt x="745472" y="3782774"/>
                </a:cubicBezTo>
                <a:cubicBezTo>
                  <a:pt x="751001" y="3773439"/>
                  <a:pt x="756002" y="3761313"/>
                  <a:pt x="757156" y="3746877"/>
                </a:cubicBezTo>
                <a:cubicBezTo>
                  <a:pt x="758359" y="3732488"/>
                  <a:pt x="756531" y="3716272"/>
                  <a:pt x="751675" y="3699189"/>
                </a:cubicBezTo>
                <a:cubicBezTo>
                  <a:pt x="750328" y="3694955"/>
                  <a:pt x="748645" y="3690720"/>
                  <a:pt x="747107" y="3686389"/>
                </a:cubicBezTo>
                <a:cubicBezTo>
                  <a:pt x="746337" y="3684224"/>
                  <a:pt x="745520" y="3682010"/>
                  <a:pt x="744702" y="3679749"/>
                </a:cubicBezTo>
                <a:cubicBezTo>
                  <a:pt x="743692" y="3677632"/>
                  <a:pt x="742683" y="3675466"/>
                  <a:pt x="741625" y="3673252"/>
                </a:cubicBezTo>
                <a:cubicBezTo>
                  <a:pt x="739557" y="3668874"/>
                  <a:pt x="737441" y="3664398"/>
                  <a:pt x="735277" y="3659875"/>
                </a:cubicBezTo>
                <a:cubicBezTo>
                  <a:pt x="732777" y="3655496"/>
                  <a:pt x="730180" y="3651069"/>
                  <a:pt x="727584" y="3646546"/>
                </a:cubicBezTo>
                <a:cubicBezTo>
                  <a:pt x="710850" y="3617144"/>
                  <a:pt x="685701" y="3586973"/>
                  <a:pt x="651560" y="3562095"/>
                </a:cubicBezTo>
                <a:cubicBezTo>
                  <a:pt x="655647" y="3564693"/>
                  <a:pt x="659686" y="3567388"/>
                  <a:pt x="663678" y="3570131"/>
                </a:cubicBezTo>
                <a:cubicBezTo>
                  <a:pt x="680748" y="3581969"/>
                  <a:pt x="696520" y="3595539"/>
                  <a:pt x="710129" y="3611129"/>
                </a:cubicBezTo>
                <a:cubicBezTo>
                  <a:pt x="713591" y="3614979"/>
                  <a:pt x="716668" y="3619117"/>
                  <a:pt x="719986" y="3623111"/>
                </a:cubicBezTo>
                <a:cubicBezTo>
                  <a:pt x="723112" y="3627250"/>
                  <a:pt x="726045" y="3631532"/>
                  <a:pt x="729122" y="3635719"/>
                </a:cubicBezTo>
                <a:cubicBezTo>
                  <a:pt x="731959" y="3640050"/>
                  <a:pt x="734652" y="3644525"/>
                  <a:pt x="737441" y="3648904"/>
                </a:cubicBezTo>
                <a:cubicBezTo>
                  <a:pt x="738788" y="3651117"/>
                  <a:pt x="740230" y="3653283"/>
                  <a:pt x="741529" y="3655544"/>
                </a:cubicBezTo>
                <a:lnTo>
                  <a:pt x="745087" y="3662425"/>
                </a:lnTo>
                <a:cubicBezTo>
                  <a:pt x="754800" y="3680663"/>
                  <a:pt x="762254" y="3700200"/>
                  <a:pt x="765091" y="3720458"/>
                </a:cubicBezTo>
                <a:cubicBezTo>
                  <a:pt x="767928" y="3740621"/>
                  <a:pt x="766437" y="3761409"/>
                  <a:pt x="759176" y="3780320"/>
                </a:cubicBezTo>
                <a:cubicBezTo>
                  <a:pt x="757397" y="3785036"/>
                  <a:pt x="755281" y="3789655"/>
                  <a:pt x="752925" y="3794178"/>
                </a:cubicBezTo>
                <a:cubicBezTo>
                  <a:pt x="750521" y="3798750"/>
                  <a:pt x="747924" y="3802888"/>
                  <a:pt x="744991" y="3807748"/>
                </a:cubicBezTo>
                <a:cubicBezTo>
                  <a:pt x="742586" y="3811839"/>
                  <a:pt x="739605" y="3815640"/>
                  <a:pt x="736143" y="3818960"/>
                </a:cubicBezTo>
                <a:cubicBezTo>
                  <a:pt x="732585" y="3822233"/>
                  <a:pt x="728642" y="3825168"/>
                  <a:pt x="724362" y="3827863"/>
                </a:cubicBezTo>
                <a:cubicBezTo>
                  <a:pt x="720082" y="3830509"/>
                  <a:pt x="715466" y="3832867"/>
                  <a:pt x="710706" y="3835514"/>
                </a:cubicBezTo>
                <a:cubicBezTo>
                  <a:pt x="708349" y="3836813"/>
                  <a:pt x="705897" y="3838208"/>
                  <a:pt x="703445" y="3839893"/>
                </a:cubicBezTo>
                <a:cubicBezTo>
                  <a:pt x="702242" y="3840663"/>
                  <a:pt x="700944" y="3841818"/>
                  <a:pt x="699742" y="3842780"/>
                </a:cubicBezTo>
                <a:cubicBezTo>
                  <a:pt x="698588" y="3844127"/>
                  <a:pt x="697242" y="3845138"/>
                  <a:pt x="696328" y="3846966"/>
                </a:cubicBezTo>
                <a:cubicBezTo>
                  <a:pt x="695847" y="3847833"/>
                  <a:pt x="695270" y="3848602"/>
                  <a:pt x="694982" y="3849613"/>
                </a:cubicBezTo>
                <a:cubicBezTo>
                  <a:pt x="694693" y="3850624"/>
                  <a:pt x="694404" y="3851634"/>
                  <a:pt x="694212" y="3852645"/>
                </a:cubicBezTo>
                <a:cubicBezTo>
                  <a:pt x="693875" y="3854666"/>
                  <a:pt x="694020" y="3856542"/>
                  <a:pt x="694260" y="3858082"/>
                </a:cubicBezTo>
                <a:cubicBezTo>
                  <a:pt x="694741" y="3861306"/>
                  <a:pt x="695559" y="3864097"/>
                  <a:pt x="696472" y="3866744"/>
                </a:cubicBezTo>
                <a:cubicBezTo>
                  <a:pt x="698299" y="3872037"/>
                  <a:pt x="700415" y="3876993"/>
                  <a:pt x="702194" y="3881757"/>
                </a:cubicBezTo>
                <a:cubicBezTo>
                  <a:pt x="702675" y="3882912"/>
                  <a:pt x="702916" y="3884356"/>
                  <a:pt x="704070" y="3885077"/>
                </a:cubicBezTo>
                <a:lnTo>
                  <a:pt x="705897" y="3886762"/>
                </a:lnTo>
                <a:lnTo>
                  <a:pt x="708830" y="3889457"/>
                </a:lnTo>
                <a:lnTo>
                  <a:pt x="714697" y="3894846"/>
                </a:lnTo>
                <a:lnTo>
                  <a:pt x="726430" y="3905673"/>
                </a:lnTo>
                <a:lnTo>
                  <a:pt x="749847" y="3927279"/>
                </a:lnTo>
                <a:lnTo>
                  <a:pt x="758118" y="3920783"/>
                </a:lnTo>
                <a:cubicBezTo>
                  <a:pt x="752059" y="3909715"/>
                  <a:pt x="745520" y="3898984"/>
                  <a:pt x="742731" y="3888013"/>
                </a:cubicBezTo>
                <a:cubicBezTo>
                  <a:pt x="741577" y="3882768"/>
                  <a:pt x="741384" y="3876993"/>
                  <a:pt x="742586" y="3871652"/>
                </a:cubicBezTo>
                <a:cubicBezTo>
                  <a:pt x="743741" y="3866214"/>
                  <a:pt x="746097" y="3861017"/>
                  <a:pt x="749126" y="3855965"/>
                </a:cubicBezTo>
                <a:cubicBezTo>
                  <a:pt x="755233" y="3845908"/>
                  <a:pt x="763840" y="3836717"/>
                  <a:pt x="771919" y="3826900"/>
                </a:cubicBezTo>
                <a:cubicBezTo>
                  <a:pt x="780045" y="3817084"/>
                  <a:pt x="787931" y="3806545"/>
                  <a:pt x="793606" y="3794515"/>
                </a:cubicBezTo>
                <a:cubicBezTo>
                  <a:pt x="799424" y="3782582"/>
                  <a:pt x="802598" y="3769349"/>
                  <a:pt x="803319" y="3756116"/>
                </a:cubicBezTo>
                <a:cubicBezTo>
                  <a:pt x="804040" y="3742882"/>
                  <a:pt x="802309" y="3729698"/>
                  <a:pt x="799183" y="3717138"/>
                </a:cubicBezTo>
                <a:cubicBezTo>
                  <a:pt x="792788" y="3691923"/>
                  <a:pt x="781921" y="3668489"/>
                  <a:pt x="769034" y="3646402"/>
                </a:cubicBezTo>
                <a:cubicBezTo>
                  <a:pt x="764994" y="3639713"/>
                  <a:pt x="761051" y="3633024"/>
                  <a:pt x="756531" y="3626672"/>
                </a:cubicBezTo>
                <a:cubicBezTo>
                  <a:pt x="752300" y="3620128"/>
                  <a:pt x="747443" y="3614017"/>
                  <a:pt x="742731" y="3607809"/>
                </a:cubicBezTo>
                <a:cubicBezTo>
                  <a:pt x="732921" y="3595731"/>
                  <a:pt x="722679" y="3583941"/>
                  <a:pt x="711379" y="3573307"/>
                </a:cubicBezTo>
                <a:cubicBezTo>
                  <a:pt x="689115" y="3551653"/>
                  <a:pt x="664159" y="3532982"/>
                  <a:pt x="638385" y="3516140"/>
                </a:cubicBezTo>
                <a:cubicBezTo>
                  <a:pt x="612611" y="3499202"/>
                  <a:pt x="585875" y="3484092"/>
                  <a:pt x="559668" y="3468501"/>
                </a:cubicBezTo>
                <a:cubicBezTo>
                  <a:pt x="533509" y="3452910"/>
                  <a:pt x="507639" y="3436838"/>
                  <a:pt x="484750" y="3417349"/>
                </a:cubicBezTo>
                <a:cubicBezTo>
                  <a:pt x="473354" y="3407629"/>
                  <a:pt x="462583" y="3397139"/>
                  <a:pt x="453350" y="3385494"/>
                </a:cubicBezTo>
                <a:cubicBezTo>
                  <a:pt x="444070" y="3373849"/>
                  <a:pt x="436280" y="3361241"/>
                  <a:pt x="429932" y="3347672"/>
                </a:cubicBezTo>
                <a:cubicBezTo>
                  <a:pt x="417190" y="3320580"/>
                  <a:pt x="407284" y="3291611"/>
                  <a:pt x="406082" y="3262114"/>
                </a:cubicBezTo>
                <a:cubicBezTo>
                  <a:pt x="405601" y="3247437"/>
                  <a:pt x="407284" y="3232664"/>
                  <a:pt x="412381" y="3219287"/>
                </a:cubicBezTo>
                <a:cubicBezTo>
                  <a:pt x="415218" y="3212743"/>
                  <a:pt x="418392" y="3206295"/>
                  <a:pt x="422912" y="3200953"/>
                </a:cubicBezTo>
                <a:cubicBezTo>
                  <a:pt x="427384" y="3195612"/>
                  <a:pt x="432577" y="3191137"/>
                  <a:pt x="438780" y="3188490"/>
                </a:cubicBezTo>
                <a:cubicBezTo>
                  <a:pt x="451523" y="3182860"/>
                  <a:pt x="466574" y="3182138"/>
                  <a:pt x="481336" y="3182523"/>
                </a:cubicBezTo>
                <a:cubicBezTo>
                  <a:pt x="496195" y="3183101"/>
                  <a:pt x="511197" y="3185122"/>
                  <a:pt x="526248" y="3187191"/>
                </a:cubicBezTo>
                <a:cubicBezTo>
                  <a:pt x="541299" y="3189260"/>
                  <a:pt x="556494" y="3191522"/>
                  <a:pt x="571978" y="3192725"/>
                </a:cubicBezTo>
                <a:cubicBezTo>
                  <a:pt x="579720" y="3193302"/>
                  <a:pt x="587558" y="3193591"/>
                  <a:pt x="595444" y="3193158"/>
                </a:cubicBezTo>
                <a:cubicBezTo>
                  <a:pt x="603330" y="3192869"/>
                  <a:pt x="611408" y="3191618"/>
                  <a:pt x="619246" y="3189164"/>
                </a:cubicBezTo>
                <a:cubicBezTo>
                  <a:pt x="623237" y="3188009"/>
                  <a:pt x="626988" y="3186132"/>
                  <a:pt x="630739" y="3184207"/>
                </a:cubicBezTo>
                <a:lnTo>
                  <a:pt x="636028" y="3180598"/>
                </a:lnTo>
                <a:cubicBezTo>
                  <a:pt x="637807" y="3179395"/>
                  <a:pt x="639202" y="3177759"/>
                  <a:pt x="640789" y="3176316"/>
                </a:cubicBezTo>
                <a:cubicBezTo>
                  <a:pt x="646655" y="3170156"/>
                  <a:pt x="651223" y="3162601"/>
                  <a:pt x="653435" y="3154662"/>
                </a:cubicBezTo>
                <a:cubicBezTo>
                  <a:pt x="654205" y="3152737"/>
                  <a:pt x="654638" y="3150716"/>
                  <a:pt x="655022" y="3148743"/>
                </a:cubicBezTo>
                <a:lnTo>
                  <a:pt x="656272" y="3142776"/>
                </a:lnTo>
                <a:cubicBezTo>
                  <a:pt x="656657" y="3138782"/>
                  <a:pt x="657186" y="3134788"/>
                  <a:pt x="657378" y="3130842"/>
                </a:cubicBezTo>
                <a:cubicBezTo>
                  <a:pt x="657378" y="3126896"/>
                  <a:pt x="657475" y="3122902"/>
                  <a:pt x="657378" y="3119004"/>
                </a:cubicBezTo>
                <a:lnTo>
                  <a:pt x="656561" y="3107263"/>
                </a:lnTo>
                <a:cubicBezTo>
                  <a:pt x="653243" y="3076274"/>
                  <a:pt x="644732" y="3046439"/>
                  <a:pt x="634538" y="3017519"/>
                </a:cubicBezTo>
                <a:cubicBezTo>
                  <a:pt x="624247" y="2988599"/>
                  <a:pt x="612178" y="2960497"/>
                  <a:pt x="599339" y="2932828"/>
                </a:cubicBezTo>
                <a:cubicBezTo>
                  <a:pt x="575488" y="2881243"/>
                  <a:pt x="548656" y="2831342"/>
                  <a:pt x="523075" y="2781009"/>
                </a:cubicBezTo>
                <a:cubicBezTo>
                  <a:pt x="528076" y="2789670"/>
                  <a:pt x="533125" y="2798332"/>
                  <a:pt x="538174" y="2806945"/>
                </a:cubicBezTo>
                <a:cubicBezTo>
                  <a:pt x="563274" y="2849868"/>
                  <a:pt x="588904" y="2892166"/>
                  <a:pt x="611649" y="2935715"/>
                </a:cubicBezTo>
                <a:cubicBezTo>
                  <a:pt x="623093" y="2957417"/>
                  <a:pt x="633768" y="2979504"/>
                  <a:pt x="643145" y="3002024"/>
                </a:cubicBezTo>
                <a:cubicBezTo>
                  <a:pt x="652522" y="3024497"/>
                  <a:pt x="660985" y="3047402"/>
                  <a:pt x="667236" y="3070788"/>
                </a:cubicBezTo>
                <a:cubicBezTo>
                  <a:pt x="673487" y="3094175"/>
                  <a:pt x="678440" y="3117898"/>
                  <a:pt x="680748" y="3141862"/>
                </a:cubicBezTo>
                <a:cubicBezTo>
                  <a:pt x="681902" y="3153747"/>
                  <a:pt x="682479" y="3165633"/>
                  <a:pt x="680748" y="3177037"/>
                </a:cubicBezTo>
                <a:cubicBezTo>
                  <a:pt x="679065" y="3188394"/>
                  <a:pt x="674497" y="3198932"/>
                  <a:pt x="666515" y="3205909"/>
                </a:cubicBezTo>
                <a:cubicBezTo>
                  <a:pt x="658244" y="3212598"/>
                  <a:pt x="647040" y="3215582"/>
                  <a:pt x="635547" y="3215967"/>
                </a:cubicBezTo>
                <a:cubicBezTo>
                  <a:pt x="624007" y="3216496"/>
                  <a:pt x="612178" y="3215245"/>
                  <a:pt x="600397" y="3213416"/>
                </a:cubicBezTo>
                <a:cubicBezTo>
                  <a:pt x="576835" y="3209711"/>
                  <a:pt x="553369" y="3203889"/>
                  <a:pt x="529422" y="3199702"/>
                </a:cubicBezTo>
                <a:cubicBezTo>
                  <a:pt x="517449" y="3197633"/>
                  <a:pt x="505331" y="3195901"/>
                  <a:pt x="492973" y="3195371"/>
                </a:cubicBezTo>
                <a:cubicBezTo>
                  <a:pt x="489895" y="3195275"/>
                  <a:pt x="486818" y="3195082"/>
                  <a:pt x="483692" y="3195227"/>
                </a:cubicBezTo>
                <a:cubicBezTo>
                  <a:pt x="480567" y="3195227"/>
                  <a:pt x="477489" y="3195371"/>
                  <a:pt x="474316" y="3195708"/>
                </a:cubicBezTo>
                <a:cubicBezTo>
                  <a:pt x="472729" y="3195853"/>
                  <a:pt x="471190" y="3195901"/>
                  <a:pt x="469603" y="3196189"/>
                </a:cubicBezTo>
                <a:lnTo>
                  <a:pt x="464747" y="3197152"/>
                </a:lnTo>
                <a:cubicBezTo>
                  <a:pt x="461477" y="3197777"/>
                  <a:pt x="458495" y="3199125"/>
                  <a:pt x="455370" y="3200183"/>
                </a:cubicBezTo>
                <a:cubicBezTo>
                  <a:pt x="443396" y="3205477"/>
                  <a:pt x="433395" y="3214571"/>
                  <a:pt x="426663" y="3225543"/>
                </a:cubicBezTo>
                <a:cubicBezTo>
                  <a:pt x="419834" y="3236466"/>
                  <a:pt x="416324" y="3249025"/>
                  <a:pt x="415074" y="3261440"/>
                </a:cubicBezTo>
                <a:cubicBezTo>
                  <a:pt x="413535" y="3273951"/>
                  <a:pt x="415218" y="3286367"/>
                  <a:pt x="417190" y="3298493"/>
                </a:cubicBezTo>
                <a:cubicBezTo>
                  <a:pt x="419786" y="3310475"/>
                  <a:pt x="423200" y="3322264"/>
                  <a:pt x="427769" y="3333476"/>
                </a:cubicBezTo>
                <a:cubicBezTo>
                  <a:pt x="436568" y="3356044"/>
                  <a:pt x="448830" y="3377458"/>
                  <a:pt x="464554" y="3395936"/>
                </a:cubicBezTo>
                <a:cubicBezTo>
                  <a:pt x="472488" y="3405127"/>
                  <a:pt x="481096" y="3413692"/>
                  <a:pt x="490280" y="3421440"/>
                </a:cubicBezTo>
                <a:cubicBezTo>
                  <a:pt x="499561" y="3429139"/>
                  <a:pt x="509130" y="3436405"/>
                  <a:pt x="519180" y="3442853"/>
                </a:cubicBezTo>
                <a:cubicBezTo>
                  <a:pt x="539087" y="3456038"/>
                  <a:pt x="560053" y="3467106"/>
                  <a:pt x="580297" y="3478703"/>
                </a:cubicBezTo>
                <a:cubicBezTo>
                  <a:pt x="620785" y="3502137"/>
                  <a:pt x="661129" y="3525909"/>
                  <a:pt x="696905" y="3554925"/>
                </a:cubicBezTo>
                <a:cubicBezTo>
                  <a:pt x="714793" y="3569409"/>
                  <a:pt x="731238" y="3585481"/>
                  <a:pt x="745712" y="3603093"/>
                </a:cubicBezTo>
                <a:cubicBezTo>
                  <a:pt x="749367" y="3607472"/>
                  <a:pt x="752685" y="3612092"/>
                  <a:pt x="756147" y="3616615"/>
                </a:cubicBezTo>
                <a:cubicBezTo>
                  <a:pt x="759320" y="3621331"/>
                  <a:pt x="762686" y="3625902"/>
                  <a:pt x="765668" y="3630763"/>
                </a:cubicBezTo>
                <a:lnTo>
                  <a:pt x="774708" y="3645343"/>
                </a:lnTo>
                <a:lnTo>
                  <a:pt x="783123" y="3660260"/>
                </a:lnTo>
                <a:cubicBezTo>
                  <a:pt x="793846" y="3680326"/>
                  <a:pt x="803319" y="3701114"/>
                  <a:pt x="808512" y="3722912"/>
                </a:cubicBezTo>
                <a:cubicBezTo>
                  <a:pt x="813850" y="3744567"/>
                  <a:pt x="814763" y="3767279"/>
                  <a:pt x="808224" y="3788260"/>
                </a:cubicBezTo>
                <a:cubicBezTo>
                  <a:pt x="801972" y="3809433"/>
                  <a:pt x="788460" y="3827478"/>
                  <a:pt x="775285" y="3846100"/>
                </a:cubicBezTo>
                <a:cubicBezTo>
                  <a:pt x="768745" y="3855483"/>
                  <a:pt x="762254" y="3865541"/>
                  <a:pt x="758455" y="3877186"/>
                </a:cubicBezTo>
                <a:cubicBezTo>
                  <a:pt x="754704" y="3888927"/>
                  <a:pt x="755281" y="3902064"/>
                  <a:pt x="759368" y="3913517"/>
                </a:cubicBezTo>
                <a:cubicBezTo>
                  <a:pt x="761821" y="3919580"/>
                  <a:pt x="764706" y="3924247"/>
                  <a:pt x="767639" y="3929300"/>
                </a:cubicBezTo>
                <a:cubicBezTo>
                  <a:pt x="770572" y="3934208"/>
                  <a:pt x="773602" y="3939020"/>
                  <a:pt x="776679" y="3943832"/>
                </a:cubicBezTo>
                <a:cubicBezTo>
                  <a:pt x="779757" y="3948596"/>
                  <a:pt x="782882" y="3953312"/>
                  <a:pt x="786104" y="3958028"/>
                </a:cubicBezTo>
                <a:cubicBezTo>
                  <a:pt x="786585" y="3959086"/>
                  <a:pt x="788076" y="3960193"/>
                  <a:pt x="788412" y="3960434"/>
                </a:cubicBezTo>
                <a:lnTo>
                  <a:pt x="790047" y="3961781"/>
                </a:lnTo>
                <a:lnTo>
                  <a:pt x="793317" y="3964476"/>
                </a:lnTo>
                <a:lnTo>
                  <a:pt x="799857" y="3969865"/>
                </a:lnTo>
                <a:cubicBezTo>
                  <a:pt x="817216" y="3984253"/>
                  <a:pt x="834575" y="3998545"/>
                  <a:pt x="851885" y="4012885"/>
                </a:cubicBezTo>
                <a:lnTo>
                  <a:pt x="858137" y="4006100"/>
                </a:lnTo>
                <a:cubicBezTo>
                  <a:pt x="844192" y="3991086"/>
                  <a:pt x="830391" y="3975832"/>
                  <a:pt x="818322" y="3959664"/>
                </a:cubicBezTo>
                <a:cubicBezTo>
                  <a:pt x="806925" y="3943736"/>
                  <a:pt x="796779" y="3925113"/>
                  <a:pt x="796587" y="3906299"/>
                </a:cubicBezTo>
                <a:cubicBezTo>
                  <a:pt x="796491" y="3896915"/>
                  <a:pt x="799376" y="3887772"/>
                  <a:pt x="803944" y="3879111"/>
                </a:cubicBezTo>
                <a:cubicBezTo>
                  <a:pt x="808416" y="3870401"/>
                  <a:pt x="814186" y="3862076"/>
                  <a:pt x="819572" y="3853318"/>
                </a:cubicBezTo>
                <a:cubicBezTo>
                  <a:pt x="825006" y="3844609"/>
                  <a:pt x="830103" y="3835417"/>
                  <a:pt x="834094" y="3825745"/>
                </a:cubicBezTo>
                <a:cubicBezTo>
                  <a:pt x="838133" y="3816073"/>
                  <a:pt x="841018" y="3805920"/>
                  <a:pt x="842749" y="3795622"/>
                </a:cubicBezTo>
                <a:cubicBezTo>
                  <a:pt x="844480" y="3785324"/>
                  <a:pt x="845153" y="3774882"/>
                  <a:pt x="844769" y="3764537"/>
                </a:cubicBezTo>
                <a:cubicBezTo>
                  <a:pt x="844480" y="3754191"/>
                  <a:pt x="843470" y="3743893"/>
                  <a:pt x="841643" y="3733836"/>
                </a:cubicBezTo>
                <a:cubicBezTo>
                  <a:pt x="839768" y="3723779"/>
                  <a:pt x="838085" y="3713722"/>
                  <a:pt x="835104" y="3703905"/>
                </a:cubicBezTo>
                <a:cubicBezTo>
                  <a:pt x="832747" y="3693944"/>
                  <a:pt x="829093" y="3684416"/>
                  <a:pt x="825679" y="3674840"/>
                </a:cubicBezTo>
                <a:cubicBezTo>
                  <a:pt x="817937" y="3656026"/>
                  <a:pt x="809137" y="3637596"/>
                  <a:pt x="797597" y="3620898"/>
                </a:cubicBezTo>
                <a:lnTo>
                  <a:pt x="793461" y="3614546"/>
                </a:lnTo>
                <a:lnTo>
                  <a:pt x="788941" y="3608483"/>
                </a:lnTo>
                <a:cubicBezTo>
                  <a:pt x="785912" y="3604441"/>
                  <a:pt x="782930" y="3600351"/>
                  <a:pt x="779805" y="3596405"/>
                </a:cubicBezTo>
                <a:cubicBezTo>
                  <a:pt x="773169" y="3588802"/>
                  <a:pt x="766918" y="3580910"/>
                  <a:pt x="759753" y="3573884"/>
                </a:cubicBezTo>
                <a:cubicBezTo>
                  <a:pt x="746049" y="3559160"/>
                  <a:pt x="730757" y="3546264"/>
                  <a:pt x="715370" y="3533608"/>
                </a:cubicBezTo>
                <a:cubicBezTo>
                  <a:pt x="699646" y="3521433"/>
                  <a:pt x="683633" y="3509740"/>
                  <a:pt x="666947" y="3499154"/>
                </a:cubicBezTo>
                <a:cubicBezTo>
                  <a:pt x="650454" y="3488279"/>
                  <a:pt x="633480" y="3478366"/>
                  <a:pt x="616409" y="3468694"/>
                </a:cubicBezTo>
                <a:cubicBezTo>
                  <a:pt x="607850" y="3463689"/>
                  <a:pt x="598810" y="3459647"/>
                  <a:pt x="590347" y="3455124"/>
                </a:cubicBezTo>
                <a:cubicBezTo>
                  <a:pt x="581739" y="3450697"/>
                  <a:pt x="573276" y="3446029"/>
                  <a:pt x="564957" y="3441217"/>
                </a:cubicBezTo>
                <a:cubicBezTo>
                  <a:pt x="548368" y="3431497"/>
                  <a:pt x="532307" y="3420910"/>
                  <a:pt x="517449" y="3408977"/>
                </a:cubicBezTo>
                <a:cubicBezTo>
                  <a:pt x="502638" y="3397043"/>
                  <a:pt x="488934" y="3383762"/>
                  <a:pt x="477970" y="3368604"/>
                </a:cubicBezTo>
                <a:lnTo>
                  <a:pt x="473931" y="3362877"/>
                </a:lnTo>
                <a:cubicBezTo>
                  <a:pt x="472536" y="3361001"/>
                  <a:pt x="471575" y="3358884"/>
                  <a:pt x="470373" y="3356911"/>
                </a:cubicBezTo>
                <a:lnTo>
                  <a:pt x="466910" y="3350896"/>
                </a:lnTo>
                <a:cubicBezTo>
                  <a:pt x="465805" y="3348826"/>
                  <a:pt x="464891" y="3346661"/>
                  <a:pt x="463833" y="3344544"/>
                </a:cubicBezTo>
                <a:cubicBezTo>
                  <a:pt x="461813" y="3340261"/>
                  <a:pt x="459746" y="3335978"/>
                  <a:pt x="458063" y="3331599"/>
                </a:cubicBezTo>
                <a:lnTo>
                  <a:pt x="455370" y="3325055"/>
                </a:lnTo>
                <a:lnTo>
                  <a:pt x="453062" y="3318414"/>
                </a:lnTo>
                <a:cubicBezTo>
                  <a:pt x="449888" y="3309609"/>
                  <a:pt x="447676" y="3300562"/>
                  <a:pt x="446618" y="3291564"/>
                </a:cubicBezTo>
                <a:cubicBezTo>
                  <a:pt x="445608" y="3282613"/>
                  <a:pt x="446185" y="3273470"/>
                  <a:pt x="450032" y="3266108"/>
                </a:cubicBezTo>
                <a:cubicBezTo>
                  <a:pt x="453783" y="3258697"/>
                  <a:pt x="460755" y="3253404"/>
                  <a:pt x="469122" y="3250757"/>
                </a:cubicBezTo>
                <a:cubicBezTo>
                  <a:pt x="477441" y="3247966"/>
                  <a:pt x="486578" y="3247100"/>
                  <a:pt x="495714" y="3247052"/>
                </a:cubicBezTo>
                <a:cubicBezTo>
                  <a:pt x="514083" y="3247052"/>
                  <a:pt x="532596" y="3250276"/>
                  <a:pt x="550724" y="3254126"/>
                </a:cubicBezTo>
                <a:cubicBezTo>
                  <a:pt x="568949" y="3258072"/>
                  <a:pt x="586933" y="3263028"/>
                  <a:pt x="604821" y="3268129"/>
                </a:cubicBezTo>
                <a:cubicBezTo>
                  <a:pt x="609293" y="3269428"/>
                  <a:pt x="613668" y="3270727"/>
                  <a:pt x="618525" y="3271882"/>
                </a:cubicBezTo>
                <a:cubicBezTo>
                  <a:pt x="623237" y="3272941"/>
                  <a:pt x="627950" y="3273759"/>
                  <a:pt x="632566" y="3274481"/>
                </a:cubicBezTo>
                <a:cubicBezTo>
                  <a:pt x="641847" y="3275876"/>
                  <a:pt x="650983" y="3277079"/>
                  <a:pt x="659975" y="3278812"/>
                </a:cubicBezTo>
                <a:cubicBezTo>
                  <a:pt x="677863" y="3282180"/>
                  <a:pt x="695270" y="3287714"/>
                  <a:pt x="710561" y="3297049"/>
                </a:cubicBezTo>
                <a:cubicBezTo>
                  <a:pt x="718207" y="3301621"/>
                  <a:pt x="725516" y="3306962"/>
                  <a:pt x="731815" y="3313121"/>
                </a:cubicBezTo>
                <a:cubicBezTo>
                  <a:pt x="733354" y="3314661"/>
                  <a:pt x="734989" y="3316153"/>
                  <a:pt x="736480" y="3317789"/>
                </a:cubicBezTo>
                <a:lnTo>
                  <a:pt x="740759" y="3322890"/>
                </a:lnTo>
                <a:cubicBezTo>
                  <a:pt x="743741" y="3326162"/>
                  <a:pt x="746097" y="3330060"/>
                  <a:pt x="748789" y="3333669"/>
                </a:cubicBezTo>
                <a:cubicBezTo>
                  <a:pt x="758984" y="3348538"/>
                  <a:pt x="767543" y="3364658"/>
                  <a:pt x="775862" y="3380778"/>
                </a:cubicBezTo>
                <a:cubicBezTo>
                  <a:pt x="784085" y="3397043"/>
                  <a:pt x="792259" y="3413308"/>
                  <a:pt x="800434" y="3429476"/>
                </a:cubicBezTo>
                <a:cubicBezTo>
                  <a:pt x="808704" y="3445644"/>
                  <a:pt x="817216" y="3461716"/>
                  <a:pt x="826785" y="3477211"/>
                </a:cubicBezTo>
                <a:cubicBezTo>
                  <a:pt x="831593" y="3484910"/>
                  <a:pt x="836450" y="3492609"/>
                  <a:pt x="841836" y="3499972"/>
                </a:cubicBezTo>
                <a:lnTo>
                  <a:pt x="845827" y="3505506"/>
                </a:lnTo>
                <a:lnTo>
                  <a:pt x="850203" y="3510751"/>
                </a:lnTo>
                <a:lnTo>
                  <a:pt x="859002" y="3521193"/>
                </a:lnTo>
                <a:cubicBezTo>
                  <a:pt x="883574" y="3547948"/>
                  <a:pt x="911656" y="3570324"/>
                  <a:pt x="939786" y="3591833"/>
                </a:cubicBezTo>
                <a:cubicBezTo>
                  <a:pt x="996431" y="3634468"/>
                  <a:pt x="1055048" y="3672434"/>
                  <a:pt x="1110972" y="3712278"/>
                </a:cubicBezTo>
                <a:cubicBezTo>
                  <a:pt x="1117896" y="3717331"/>
                  <a:pt x="1124821" y="3722383"/>
                  <a:pt x="1131745" y="3727388"/>
                </a:cubicBezTo>
                <a:cubicBezTo>
                  <a:pt x="1138525" y="3732585"/>
                  <a:pt x="1145353" y="3737685"/>
                  <a:pt x="1151989" y="3742931"/>
                </a:cubicBezTo>
                <a:cubicBezTo>
                  <a:pt x="1158433" y="3748416"/>
                  <a:pt x="1165309" y="3753469"/>
                  <a:pt x="1171416" y="3759243"/>
                </a:cubicBezTo>
                <a:lnTo>
                  <a:pt x="1180696" y="3767712"/>
                </a:lnTo>
                <a:cubicBezTo>
                  <a:pt x="1183774" y="3770600"/>
                  <a:pt x="1186515" y="3773776"/>
                  <a:pt x="1189448" y="3776759"/>
                </a:cubicBezTo>
                <a:cubicBezTo>
                  <a:pt x="1212818" y="3800915"/>
                  <a:pt x="1232196" y="3828296"/>
                  <a:pt x="1249507" y="3856735"/>
                </a:cubicBezTo>
                <a:cubicBezTo>
                  <a:pt x="1266914" y="3885126"/>
                  <a:pt x="1282542" y="3914527"/>
                  <a:pt x="1301296" y="3942052"/>
                </a:cubicBezTo>
                <a:cubicBezTo>
                  <a:pt x="1305912" y="3948933"/>
                  <a:pt x="1311105" y="3955477"/>
                  <a:pt x="1316010" y="3962166"/>
                </a:cubicBezTo>
                <a:cubicBezTo>
                  <a:pt x="1321395" y="3968518"/>
                  <a:pt x="1326733" y="3974870"/>
                  <a:pt x="1332311" y="3980981"/>
                </a:cubicBezTo>
                <a:lnTo>
                  <a:pt x="1341207" y="3989642"/>
                </a:lnTo>
                <a:cubicBezTo>
                  <a:pt x="1344236" y="3992434"/>
                  <a:pt x="1346929" y="3995610"/>
                  <a:pt x="1350295" y="3998064"/>
                </a:cubicBezTo>
                <a:lnTo>
                  <a:pt x="1359960" y="4005811"/>
                </a:lnTo>
                <a:cubicBezTo>
                  <a:pt x="1363230" y="4008361"/>
                  <a:pt x="1366308" y="4011104"/>
                  <a:pt x="1369866" y="4013221"/>
                </a:cubicBezTo>
                <a:lnTo>
                  <a:pt x="1380252" y="4019910"/>
                </a:lnTo>
                <a:cubicBezTo>
                  <a:pt x="1383763" y="4022028"/>
                  <a:pt x="1387033" y="4024578"/>
                  <a:pt x="1390783" y="4026262"/>
                </a:cubicBezTo>
                <a:cubicBezTo>
                  <a:pt x="1398092" y="4029967"/>
                  <a:pt x="1405353" y="4033721"/>
                  <a:pt x="1412710" y="4037282"/>
                </a:cubicBezTo>
                <a:cubicBezTo>
                  <a:pt x="1420308" y="4040217"/>
                  <a:pt x="1427857" y="4043200"/>
                  <a:pt x="1435455" y="4046136"/>
                </a:cubicBezTo>
                <a:cubicBezTo>
                  <a:pt x="1439206" y="4047724"/>
                  <a:pt x="1443053" y="4048878"/>
                  <a:pt x="1446899" y="4050081"/>
                </a:cubicBezTo>
                <a:lnTo>
                  <a:pt x="1458392" y="4053690"/>
                </a:lnTo>
                <a:cubicBezTo>
                  <a:pt x="1489119" y="4063074"/>
                  <a:pt x="1520711" y="4069715"/>
                  <a:pt x="1552736" y="4070340"/>
                </a:cubicBezTo>
                <a:cubicBezTo>
                  <a:pt x="1568701" y="4070436"/>
                  <a:pt x="1584713" y="4068897"/>
                  <a:pt x="1600197" y="4065143"/>
                </a:cubicBezTo>
                <a:cubicBezTo>
                  <a:pt x="1615681" y="4061390"/>
                  <a:pt x="1630443" y="4055375"/>
                  <a:pt x="1644388" y="4048301"/>
                </a:cubicBezTo>
                <a:cubicBezTo>
                  <a:pt x="1658333" y="4041227"/>
                  <a:pt x="1671556" y="4033191"/>
                  <a:pt x="1684876" y="4025733"/>
                </a:cubicBezTo>
                <a:cubicBezTo>
                  <a:pt x="1698196" y="4018274"/>
                  <a:pt x="1711660" y="4011441"/>
                  <a:pt x="1725701" y="4006148"/>
                </a:cubicBezTo>
                <a:cubicBezTo>
                  <a:pt x="1739694" y="4000855"/>
                  <a:pt x="1754168" y="3997101"/>
                  <a:pt x="1768834" y="3994695"/>
                </a:cubicBezTo>
                <a:cubicBezTo>
                  <a:pt x="1783548" y="3992674"/>
                  <a:pt x="1798359" y="3991664"/>
                  <a:pt x="1813169" y="3992001"/>
                </a:cubicBezTo>
                <a:cubicBezTo>
                  <a:pt x="1842742" y="3992482"/>
                  <a:pt x="1872026" y="3997149"/>
                  <a:pt x="1900493" y="4003501"/>
                </a:cubicBezTo>
                <a:cubicBezTo>
                  <a:pt x="1907561" y="4005234"/>
                  <a:pt x="1914486" y="4007206"/>
                  <a:pt x="1921410" y="4009131"/>
                </a:cubicBezTo>
                <a:lnTo>
                  <a:pt x="1931460" y="4012933"/>
                </a:lnTo>
                <a:lnTo>
                  <a:pt x="1936461" y="4014810"/>
                </a:lnTo>
                <a:cubicBezTo>
                  <a:pt x="1938096" y="4015531"/>
                  <a:pt x="1939635" y="4016397"/>
                  <a:pt x="1941222" y="4017167"/>
                </a:cubicBezTo>
                <a:lnTo>
                  <a:pt x="1950743" y="4021979"/>
                </a:lnTo>
                <a:lnTo>
                  <a:pt x="1959638" y="4027754"/>
                </a:lnTo>
                <a:cubicBezTo>
                  <a:pt x="1962716" y="4029534"/>
                  <a:pt x="1965216" y="4032036"/>
                  <a:pt x="1968005" y="4034202"/>
                </a:cubicBezTo>
                <a:lnTo>
                  <a:pt x="1972093" y="4037570"/>
                </a:lnTo>
                <a:cubicBezTo>
                  <a:pt x="1973391" y="4038773"/>
                  <a:pt x="1974593" y="4040073"/>
                  <a:pt x="1975843" y="4041324"/>
                </a:cubicBezTo>
                <a:cubicBezTo>
                  <a:pt x="1985941" y="4051188"/>
                  <a:pt x="1994212" y="4062689"/>
                  <a:pt x="2001906" y="4074623"/>
                </a:cubicBezTo>
                <a:cubicBezTo>
                  <a:pt x="2009648" y="4086557"/>
                  <a:pt x="2017197" y="4098731"/>
                  <a:pt x="2025756" y="4110232"/>
                </a:cubicBezTo>
                <a:cubicBezTo>
                  <a:pt x="2034219" y="4121829"/>
                  <a:pt x="2044270" y="4132223"/>
                  <a:pt x="2055041" y="4141558"/>
                </a:cubicBezTo>
                <a:cubicBezTo>
                  <a:pt x="2060715" y="4145889"/>
                  <a:pt x="2066149" y="4150508"/>
                  <a:pt x="2072207" y="4154262"/>
                </a:cubicBezTo>
                <a:cubicBezTo>
                  <a:pt x="2078170" y="4158111"/>
                  <a:pt x="2084373" y="4161576"/>
                  <a:pt x="2090672" y="4164655"/>
                </a:cubicBezTo>
                <a:cubicBezTo>
                  <a:pt x="2115965" y="4177119"/>
                  <a:pt x="2142749" y="4184818"/>
                  <a:pt x="2169196" y="4191362"/>
                </a:cubicBezTo>
                <a:cubicBezTo>
                  <a:pt x="2195692" y="4197907"/>
                  <a:pt x="2222139" y="4203056"/>
                  <a:pt x="2247817" y="4209744"/>
                </a:cubicBezTo>
                <a:cubicBezTo>
                  <a:pt x="2260608" y="4213113"/>
                  <a:pt x="2273206" y="4216963"/>
                  <a:pt x="2285179" y="4221967"/>
                </a:cubicBezTo>
                <a:cubicBezTo>
                  <a:pt x="2296960" y="4227068"/>
                  <a:pt x="2308501" y="4233516"/>
                  <a:pt x="2316339" y="4242899"/>
                </a:cubicBezTo>
                <a:cubicBezTo>
                  <a:pt x="2324177" y="4252379"/>
                  <a:pt x="2327687" y="4264986"/>
                  <a:pt x="2327543" y="4277305"/>
                </a:cubicBezTo>
                <a:cubicBezTo>
                  <a:pt x="2327543" y="4289672"/>
                  <a:pt x="2324177" y="4302039"/>
                  <a:pt x="2318359" y="4312866"/>
                </a:cubicBezTo>
                <a:cubicBezTo>
                  <a:pt x="2312156" y="4323500"/>
                  <a:pt x="2304414" y="4333413"/>
                  <a:pt x="2295422" y="4342027"/>
                </a:cubicBezTo>
                <a:cubicBezTo>
                  <a:pt x="2286718" y="4350929"/>
                  <a:pt x="2277005" y="4358724"/>
                  <a:pt x="2267147" y="4366183"/>
                </a:cubicBezTo>
                <a:cubicBezTo>
                  <a:pt x="2247240" y="4380860"/>
                  <a:pt x="2225745" y="4392890"/>
                  <a:pt x="2203722" y="4402754"/>
                </a:cubicBezTo>
                <a:lnTo>
                  <a:pt x="2195451" y="4406508"/>
                </a:lnTo>
                <a:lnTo>
                  <a:pt x="2187036" y="4409780"/>
                </a:lnTo>
                <a:cubicBezTo>
                  <a:pt x="2181410" y="4411849"/>
                  <a:pt x="2175928" y="4414351"/>
                  <a:pt x="2170158" y="4415987"/>
                </a:cubicBezTo>
                <a:cubicBezTo>
                  <a:pt x="2164484" y="4417816"/>
                  <a:pt x="2158810" y="4419596"/>
                  <a:pt x="2153136" y="4421425"/>
                </a:cubicBezTo>
                <a:cubicBezTo>
                  <a:pt x="2147366" y="4422869"/>
                  <a:pt x="2141643" y="4424360"/>
                  <a:pt x="2135921" y="4425804"/>
                </a:cubicBezTo>
                <a:cubicBezTo>
                  <a:pt x="2089903" y="4436727"/>
                  <a:pt x="2043212" y="4437882"/>
                  <a:pt x="1998684" y="4431530"/>
                </a:cubicBezTo>
                <a:cubicBezTo>
                  <a:pt x="1954012" y="4426093"/>
                  <a:pt x="1911456" y="4414592"/>
                  <a:pt x="1871257" y="4400444"/>
                </a:cubicBezTo>
                <a:cubicBezTo>
                  <a:pt x="1831057" y="4386153"/>
                  <a:pt x="1793069" y="4369407"/>
                  <a:pt x="1756139" y="4353191"/>
                </a:cubicBezTo>
                <a:cubicBezTo>
                  <a:pt x="1719306" y="4336926"/>
                  <a:pt x="1683289" y="4321528"/>
                  <a:pt x="1648042" y="4307861"/>
                </a:cubicBezTo>
                <a:cubicBezTo>
                  <a:pt x="1577693" y="4280289"/>
                  <a:pt x="1511911" y="4254833"/>
                  <a:pt x="1453583" y="4225624"/>
                </a:cubicBezTo>
                <a:cubicBezTo>
                  <a:pt x="1395207" y="4196656"/>
                  <a:pt x="1342697" y="4167062"/>
                  <a:pt x="1291390" y="4147669"/>
                </a:cubicBezTo>
                <a:cubicBezTo>
                  <a:pt x="1265808" y="4137949"/>
                  <a:pt x="1240515" y="4130924"/>
                  <a:pt x="1215943" y="4128181"/>
                </a:cubicBezTo>
                <a:cubicBezTo>
                  <a:pt x="1203633" y="4126978"/>
                  <a:pt x="1191468" y="4127074"/>
                  <a:pt x="1179927" y="4129384"/>
                </a:cubicBezTo>
                <a:cubicBezTo>
                  <a:pt x="1168386" y="4131549"/>
                  <a:pt x="1157856" y="4136120"/>
                  <a:pt x="1147758" y="4139874"/>
                </a:cubicBezTo>
                <a:cubicBezTo>
                  <a:pt x="1137660" y="4143723"/>
                  <a:pt x="1127225" y="4144734"/>
                  <a:pt x="1117127" y="4145504"/>
                </a:cubicBezTo>
                <a:cubicBezTo>
                  <a:pt x="1107029" y="4146370"/>
                  <a:pt x="1097123" y="4146418"/>
                  <a:pt x="1087650" y="4148776"/>
                </a:cubicBezTo>
                <a:cubicBezTo>
                  <a:pt x="1085342" y="4149498"/>
                  <a:pt x="1082890" y="4150268"/>
                  <a:pt x="1081014" y="4152385"/>
                </a:cubicBezTo>
                <a:cubicBezTo>
                  <a:pt x="1079043" y="4154502"/>
                  <a:pt x="1079524" y="4157823"/>
                  <a:pt x="1080582" y="4159892"/>
                </a:cubicBezTo>
                <a:cubicBezTo>
                  <a:pt x="1082890" y="4164223"/>
                  <a:pt x="1085871" y="4167447"/>
                  <a:pt x="1088804" y="4170815"/>
                </a:cubicBezTo>
                <a:cubicBezTo>
                  <a:pt x="1090295" y="4172451"/>
                  <a:pt x="1091786" y="4174039"/>
                  <a:pt x="1093276" y="4175579"/>
                </a:cubicBezTo>
                <a:cubicBezTo>
                  <a:pt x="1093998" y="4176445"/>
                  <a:pt x="1095200" y="4177119"/>
                  <a:pt x="1096017" y="4177552"/>
                </a:cubicBezTo>
                <a:lnTo>
                  <a:pt x="1098758" y="4179140"/>
                </a:lnTo>
                <a:cubicBezTo>
                  <a:pt x="1102413" y="4181209"/>
                  <a:pt x="1105971" y="4183230"/>
                  <a:pt x="1109481" y="4185251"/>
                </a:cubicBezTo>
                <a:cubicBezTo>
                  <a:pt x="1137419" y="4201131"/>
                  <a:pt x="1160308" y="4214171"/>
                  <a:pt x="1178004" y="4224228"/>
                </a:cubicBezTo>
                <a:lnTo>
                  <a:pt x="1178581" y="4223314"/>
                </a:lnTo>
                <a:cubicBezTo>
                  <a:pt x="1165117" y="4213161"/>
                  <a:pt x="1155403" y="4204836"/>
                  <a:pt x="1149296" y="4198917"/>
                </a:cubicBezTo>
                <a:cubicBezTo>
                  <a:pt x="1146219" y="4195982"/>
                  <a:pt x="1144055" y="4193576"/>
                  <a:pt x="1142709" y="4191940"/>
                </a:cubicBezTo>
                <a:cubicBezTo>
                  <a:pt x="1141314" y="4190304"/>
                  <a:pt x="1140737" y="4189389"/>
                  <a:pt x="1140689" y="4189437"/>
                </a:cubicBezTo>
                <a:cubicBezTo>
                  <a:pt x="1140689" y="4189437"/>
                  <a:pt x="1141170" y="4190400"/>
                  <a:pt x="1142516" y="4192132"/>
                </a:cubicBezTo>
                <a:cubicBezTo>
                  <a:pt x="1143815" y="4193864"/>
                  <a:pt x="1145930" y="4196319"/>
                  <a:pt x="1148960" y="4199350"/>
                </a:cubicBezTo>
                <a:cubicBezTo>
                  <a:pt x="1154009" y="4204451"/>
                  <a:pt x="1161654" y="4211236"/>
                  <a:pt x="1171897" y="4219416"/>
                </a:cubicBezTo>
                <a:cubicBezTo>
                  <a:pt x="1155355" y="4209841"/>
                  <a:pt x="1134822" y="4197907"/>
                  <a:pt x="1110443" y="4183808"/>
                </a:cubicBezTo>
                <a:cubicBezTo>
                  <a:pt x="1106981" y="4181787"/>
                  <a:pt x="1103422" y="4179765"/>
                  <a:pt x="1099768" y="4177648"/>
                </a:cubicBezTo>
                <a:lnTo>
                  <a:pt x="1097027" y="4176060"/>
                </a:lnTo>
                <a:cubicBezTo>
                  <a:pt x="1096017" y="4175483"/>
                  <a:pt x="1095296" y="4175146"/>
                  <a:pt x="1094623" y="4174328"/>
                </a:cubicBezTo>
                <a:cubicBezTo>
                  <a:pt x="1093132" y="4172788"/>
                  <a:pt x="1091641" y="4171248"/>
                  <a:pt x="1090199" y="4169612"/>
                </a:cubicBezTo>
                <a:cubicBezTo>
                  <a:pt x="1087410" y="4166388"/>
                  <a:pt x="1084332" y="4162875"/>
                  <a:pt x="1082361" y="4159122"/>
                </a:cubicBezTo>
                <a:cubicBezTo>
                  <a:pt x="1081495" y="4157245"/>
                  <a:pt x="1081255" y="4155176"/>
                  <a:pt x="1082601" y="4153684"/>
                </a:cubicBezTo>
                <a:cubicBezTo>
                  <a:pt x="1083852" y="4152289"/>
                  <a:pt x="1086063" y="4151422"/>
                  <a:pt x="1088227" y="4150797"/>
                </a:cubicBezTo>
                <a:cubicBezTo>
                  <a:pt x="1106308" y="4146659"/>
                  <a:pt x="1127561" y="4149835"/>
                  <a:pt x="1148575" y="4142135"/>
                </a:cubicBezTo>
                <a:cubicBezTo>
                  <a:pt x="1158865" y="4138334"/>
                  <a:pt x="1169156" y="4133955"/>
                  <a:pt x="1180408" y="4131886"/>
                </a:cubicBezTo>
                <a:cubicBezTo>
                  <a:pt x="1191660" y="4129672"/>
                  <a:pt x="1203585" y="4129624"/>
                  <a:pt x="1215655" y="4130875"/>
                </a:cubicBezTo>
                <a:cubicBezTo>
                  <a:pt x="1239842" y="4133714"/>
                  <a:pt x="1264943" y="4140788"/>
                  <a:pt x="1290332" y="4150508"/>
                </a:cubicBezTo>
                <a:cubicBezTo>
                  <a:pt x="1341255" y="4169997"/>
                  <a:pt x="1393572" y="4199687"/>
                  <a:pt x="1451948" y="4228896"/>
                </a:cubicBezTo>
                <a:cubicBezTo>
                  <a:pt x="1510373" y="4258346"/>
                  <a:pt x="1576202" y="4284042"/>
                  <a:pt x="1646504" y="4311807"/>
                </a:cubicBezTo>
                <a:cubicBezTo>
                  <a:pt x="1681702" y="4325522"/>
                  <a:pt x="1717526" y="4340968"/>
                  <a:pt x="1754360" y="4357329"/>
                </a:cubicBezTo>
                <a:cubicBezTo>
                  <a:pt x="1791194" y="4373642"/>
                  <a:pt x="1829278" y="4390532"/>
                  <a:pt x="1869670" y="4404968"/>
                </a:cubicBezTo>
                <a:cubicBezTo>
                  <a:pt x="1910062" y="4419308"/>
                  <a:pt x="1952954" y="4430953"/>
                  <a:pt x="1998059" y="4436535"/>
                </a:cubicBezTo>
                <a:cubicBezTo>
                  <a:pt x="2042875" y="4443031"/>
                  <a:pt x="2090528" y="4441972"/>
                  <a:pt x="2137171" y="4431001"/>
                </a:cubicBezTo>
                <a:cubicBezTo>
                  <a:pt x="2142990" y="4429557"/>
                  <a:pt x="2148808" y="4428066"/>
                  <a:pt x="2154626" y="4426622"/>
                </a:cubicBezTo>
                <a:cubicBezTo>
                  <a:pt x="2160349" y="4424793"/>
                  <a:pt x="2166119" y="4422965"/>
                  <a:pt x="2171889" y="4421136"/>
                </a:cubicBezTo>
                <a:cubicBezTo>
                  <a:pt x="2177708" y="4419452"/>
                  <a:pt x="2183286" y="4416950"/>
                  <a:pt x="2189008" y="4414880"/>
                </a:cubicBezTo>
                <a:lnTo>
                  <a:pt x="2197567" y="4411560"/>
                </a:lnTo>
                <a:lnTo>
                  <a:pt x="2205934" y="4407807"/>
                </a:lnTo>
                <a:cubicBezTo>
                  <a:pt x="2228342" y="4397798"/>
                  <a:pt x="2250125" y="4385624"/>
                  <a:pt x="2270465" y="4370754"/>
                </a:cubicBezTo>
                <a:cubicBezTo>
                  <a:pt x="2280515" y="4363199"/>
                  <a:pt x="2290469" y="4355260"/>
                  <a:pt x="2299413" y="4346117"/>
                </a:cubicBezTo>
                <a:cubicBezTo>
                  <a:pt x="2308645" y="4337263"/>
                  <a:pt x="2316772" y="4327061"/>
                  <a:pt x="2323408" y="4315657"/>
                </a:cubicBezTo>
                <a:cubicBezTo>
                  <a:pt x="2329659" y="4304060"/>
                  <a:pt x="2333313" y="4290875"/>
                  <a:pt x="2333361" y="4277401"/>
                </a:cubicBezTo>
                <a:cubicBezTo>
                  <a:pt x="2333506" y="4264024"/>
                  <a:pt x="2329707" y="4250069"/>
                  <a:pt x="2320907" y="4239290"/>
                </a:cubicBezTo>
                <a:cubicBezTo>
                  <a:pt x="2311915" y="4228559"/>
                  <a:pt x="2299749" y="4221967"/>
                  <a:pt x="2287536" y="4216577"/>
                </a:cubicBezTo>
                <a:cubicBezTo>
                  <a:pt x="2275178" y="4211332"/>
                  <a:pt x="2262339" y="4207435"/>
                  <a:pt x="2249404" y="4204018"/>
                </a:cubicBezTo>
                <a:cubicBezTo>
                  <a:pt x="2223485" y="4197185"/>
                  <a:pt x="2197038" y="4191988"/>
                  <a:pt x="2170735" y="4185443"/>
                </a:cubicBezTo>
                <a:cubicBezTo>
                  <a:pt x="2144480" y="4178899"/>
                  <a:pt x="2118081" y="4171248"/>
                  <a:pt x="2093509" y="4159122"/>
                </a:cubicBezTo>
                <a:cubicBezTo>
                  <a:pt x="2087402" y="4156090"/>
                  <a:pt x="2081392" y="4152722"/>
                  <a:pt x="2075670" y="4149016"/>
                </a:cubicBezTo>
                <a:cubicBezTo>
                  <a:pt x="2069851" y="4145407"/>
                  <a:pt x="2064610" y="4140932"/>
                  <a:pt x="2059128" y="4136794"/>
                </a:cubicBezTo>
                <a:cubicBezTo>
                  <a:pt x="2048790" y="4127747"/>
                  <a:pt x="2039124" y="4117787"/>
                  <a:pt x="2030902" y="4106478"/>
                </a:cubicBezTo>
                <a:cubicBezTo>
                  <a:pt x="2022583" y="4095266"/>
                  <a:pt x="2015178" y="4083188"/>
                  <a:pt x="2007340" y="4071158"/>
                </a:cubicBezTo>
                <a:cubicBezTo>
                  <a:pt x="1999598" y="4059080"/>
                  <a:pt x="1991038" y="4047098"/>
                  <a:pt x="1980460" y="4036752"/>
                </a:cubicBezTo>
                <a:cubicBezTo>
                  <a:pt x="1979161" y="4035453"/>
                  <a:pt x="1977911" y="4034106"/>
                  <a:pt x="1976565" y="4032855"/>
                </a:cubicBezTo>
                <a:lnTo>
                  <a:pt x="1972285" y="4029294"/>
                </a:lnTo>
                <a:cubicBezTo>
                  <a:pt x="1969352" y="4026984"/>
                  <a:pt x="1966707" y="4024385"/>
                  <a:pt x="1963485" y="4022509"/>
                </a:cubicBezTo>
                <a:lnTo>
                  <a:pt x="1954157" y="4016397"/>
                </a:lnTo>
                <a:lnTo>
                  <a:pt x="1944203" y="4011345"/>
                </a:lnTo>
                <a:cubicBezTo>
                  <a:pt x="1942520" y="4010527"/>
                  <a:pt x="1940885" y="4009612"/>
                  <a:pt x="1939202" y="4008843"/>
                </a:cubicBezTo>
                <a:lnTo>
                  <a:pt x="1934009" y="4006870"/>
                </a:lnTo>
                <a:lnTo>
                  <a:pt x="1923574" y="4002924"/>
                </a:lnTo>
                <a:cubicBezTo>
                  <a:pt x="1916457" y="4000903"/>
                  <a:pt x="1909244" y="3998834"/>
                  <a:pt x="1902080" y="3997101"/>
                </a:cubicBezTo>
                <a:cubicBezTo>
                  <a:pt x="1873324" y="3990605"/>
                  <a:pt x="1843655" y="3985841"/>
                  <a:pt x="1813458" y="3985312"/>
                </a:cubicBezTo>
                <a:cubicBezTo>
                  <a:pt x="1798359" y="3984927"/>
                  <a:pt x="1783115" y="3985937"/>
                  <a:pt x="1767968" y="3988007"/>
                </a:cubicBezTo>
                <a:cubicBezTo>
                  <a:pt x="1752869" y="3990461"/>
                  <a:pt x="1737867" y="3994262"/>
                  <a:pt x="1723441" y="3999748"/>
                </a:cubicBezTo>
                <a:cubicBezTo>
                  <a:pt x="1694301" y="4010430"/>
                  <a:pt x="1668575" y="4028187"/>
                  <a:pt x="1641407" y="4042094"/>
                </a:cubicBezTo>
                <a:cubicBezTo>
                  <a:pt x="1627798" y="4049023"/>
                  <a:pt x="1613565" y="4054749"/>
                  <a:pt x="1598706" y="4058358"/>
                </a:cubicBezTo>
                <a:cubicBezTo>
                  <a:pt x="1583848" y="4061967"/>
                  <a:pt x="1568460" y="4063411"/>
                  <a:pt x="1553025" y="4063314"/>
                </a:cubicBezTo>
                <a:cubicBezTo>
                  <a:pt x="1522058" y="4062689"/>
                  <a:pt x="1490994" y="4056145"/>
                  <a:pt x="1460700" y="4046857"/>
                </a:cubicBezTo>
                <a:lnTo>
                  <a:pt x="1449352" y="4043248"/>
                </a:lnTo>
                <a:cubicBezTo>
                  <a:pt x="1445553" y="4042045"/>
                  <a:pt x="1441754" y="4040891"/>
                  <a:pt x="1438100" y="4039351"/>
                </a:cubicBezTo>
                <a:cubicBezTo>
                  <a:pt x="1430695" y="4036464"/>
                  <a:pt x="1423337" y="4033576"/>
                  <a:pt x="1415932" y="4030689"/>
                </a:cubicBezTo>
                <a:cubicBezTo>
                  <a:pt x="1408864" y="4027128"/>
                  <a:pt x="1401747" y="4023519"/>
                  <a:pt x="1394630" y="4019910"/>
                </a:cubicBezTo>
                <a:cubicBezTo>
                  <a:pt x="1390976" y="4018274"/>
                  <a:pt x="1387850" y="4015772"/>
                  <a:pt x="1384436" y="4013703"/>
                </a:cubicBezTo>
                <a:lnTo>
                  <a:pt x="1374386" y="4007206"/>
                </a:lnTo>
                <a:cubicBezTo>
                  <a:pt x="1348035" y="3989065"/>
                  <a:pt x="1325867" y="3964957"/>
                  <a:pt x="1307739" y="3937817"/>
                </a:cubicBezTo>
                <a:cubicBezTo>
                  <a:pt x="1289370" y="3910774"/>
                  <a:pt x="1273790" y="3881420"/>
                  <a:pt x="1256287" y="3852789"/>
                </a:cubicBezTo>
                <a:cubicBezTo>
                  <a:pt x="1238880" y="3824109"/>
                  <a:pt x="1219117" y="3796152"/>
                  <a:pt x="1195314" y="3771466"/>
                </a:cubicBezTo>
                <a:cubicBezTo>
                  <a:pt x="1192333" y="3768386"/>
                  <a:pt x="1189496" y="3765162"/>
                  <a:pt x="1186370" y="3762179"/>
                </a:cubicBezTo>
                <a:lnTo>
                  <a:pt x="1176849" y="3753469"/>
                </a:lnTo>
                <a:cubicBezTo>
                  <a:pt x="1170550" y="3747550"/>
                  <a:pt x="1163674" y="3742449"/>
                  <a:pt x="1157134" y="3736867"/>
                </a:cubicBezTo>
                <a:cubicBezTo>
                  <a:pt x="1150402" y="3731526"/>
                  <a:pt x="1143526" y="3726377"/>
                  <a:pt x="1136698" y="3721132"/>
                </a:cubicBezTo>
                <a:cubicBezTo>
                  <a:pt x="1129773" y="3716080"/>
                  <a:pt x="1122801" y="3710979"/>
                  <a:pt x="1115829" y="3705926"/>
                </a:cubicBezTo>
                <a:cubicBezTo>
                  <a:pt x="1059761" y="3665842"/>
                  <a:pt x="1001192" y="3627875"/>
                  <a:pt x="944932" y="3585433"/>
                </a:cubicBezTo>
                <a:cubicBezTo>
                  <a:pt x="917042" y="3564020"/>
                  <a:pt x="889200" y="3541788"/>
                  <a:pt x="865350" y="3515707"/>
                </a:cubicBezTo>
                <a:lnTo>
                  <a:pt x="856886" y="3505602"/>
                </a:lnTo>
                <a:lnTo>
                  <a:pt x="852655" y="3500549"/>
                </a:lnTo>
                <a:lnTo>
                  <a:pt x="848808" y="3495160"/>
                </a:lnTo>
                <a:cubicBezTo>
                  <a:pt x="843567" y="3488038"/>
                  <a:pt x="838806" y="3480483"/>
                  <a:pt x="834094" y="3472928"/>
                </a:cubicBezTo>
                <a:cubicBezTo>
                  <a:pt x="824765" y="3457722"/>
                  <a:pt x="816350" y="3441795"/>
                  <a:pt x="808127" y="3425722"/>
                </a:cubicBezTo>
                <a:cubicBezTo>
                  <a:pt x="799953" y="3409506"/>
                  <a:pt x="791778" y="3393289"/>
                  <a:pt x="783604" y="3376977"/>
                </a:cubicBezTo>
                <a:cubicBezTo>
                  <a:pt x="775237" y="3360712"/>
                  <a:pt x="766629" y="3344399"/>
                  <a:pt x="756050" y="3328953"/>
                </a:cubicBezTo>
                <a:cubicBezTo>
                  <a:pt x="753213" y="3325200"/>
                  <a:pt x="750809" y="3321205"/>
                  <a:pt x="747635" y="3317645"/>
                </a:cubicBezTo>
                <a:lnTo>
                  <a:pt x="743067" y="3312207"/>
                </a:lnTo>
                <a:cubicBezTo>
                  <a:pt x="741480" y="3310427"/>
                  <a:pt x="739653" y="3308790"/>
                  <a:pt x="737970" y="3307106"/>
                </a:cubicBezTo>
                <a:cubicBezTo>
                  <a:pt x="731094" y="3300418"/>
                  <a:pt x="723448" y="3294836"/>
                  <a:pt x="715274" y="3289879"/>
                </a:cubicBezTo>
                <a:cubicBezTo>
                  <a:pt x="698973" y="3279918"/>
                  <a:pt x="680508" y="3274048"/>
                  <a:pt x="661995" y="3270535"/>
                </a:cubicBezTo>
                <a:cubicBezTo>
                  <a:pt x="652714" y="3268754"/>
                  <a:pt x="643434" y="3267551"/>
                  <a:pt x="634297" y="3266156"/>
                </a:cubicBezTo>
                <a:cubicBezTo>
                  <a:pt x="629729" y="3265434"/>
                  <a:pt x="625257" y="3264664"/>
                  <a:pt x="620881" y="3263654"/>
                </a:cubicBezTo>
                <a:cubicBezTo>
                  <a:pt x="616650" y="3262643"/>
                  <a:pt x="612082" y="3261248"/>
                  <a:pt x="607610" y="3259996"/>
                </a:cubicBezTo>
                <a:cubicBezTo>
                  <a:pt x="589625" y="3254848"/>
                  <a:pt x="571497" y="3249843"/>
                  <a:pt x="552984" y="3245801"/>
                </a:cubicBezTo>
                <a:cubicBezTo>
                  <a:pt x="534471" y="3241855"/>
                  <a:pt x="515621" y="3238487"/>
                  <a:pt x="496147" y="3238487"/>
                </a:cubicBezTo>
                <a:cubicBezTo>
                  <a:pt x="486433" y="3238535"/>
                  <a:pt x="476528" y="3239401"/>
                  <a:pt x="466814" y="3242625"/>
                </a:cubicBezTo>
                <a:cubicBezTo>
                  <a:pt x="457149" y="3245560"/>
                  <a:pt x="447724" y="3252442"/>
                  <a:pt x="442868" y="3262114"/>
                </a:cubicBezTo>
                <a:cubicBezTo>
                  <a:pt x="437915" y="3271738"/>
                  <a:pt x="437482" y="3282517"/>
                  <a:pt x="438540" y="3292382"/>
                </a:cubicBezTo>
                <a:cubicBezTo>
                  <a:pt x="439646" y="3302342"/>
                  <a:pt x="442098" y="3311918"/>
                  <a:pt x="445368" y="3321109"/>
                </a:cubicBezTo>
                <a:lnTo>
                  <a:pt x="447820" y="3328038"/>
                </a:lnTo>
                <a:lnTo>
                  <a:pt x="450609" y="3334775"/>
                </a:lnTo>
                <a:cubicBezTo>
                  <a:pt x="452389" y="3339299"/>
                  <a:pt x="454456" y="3343678"/>
                  <a:pt x="456524" y="3348105"/>
                </a:cubicBezTo>
                <a:cubicBezTo>
                  <a:pt x="457582" y="3350318"/>
                  <a:pt x="458495" y="3352532"/>
                  <a:pt x="459698" y="3354697"/>
                </a:cubicBezTo>
                <a:lnTo>
                  <a:pt x="463352" y="3361145"/>
                </a:lnTo>
                <a:cubicBezTo>
                  <a:pt x="464650" y="3363262"/>
                  <a:pt x="465708" y="3365524"/>
                  <a:pt x="467151" y="3367545"/>
                </a:cubicBezTo>
                <a:lnTo>
                  <a:pt x="471431" y="3373608"/>
                </a:lnTo>
                <a:cubicBezTo>
                  <a:pt x="483019" y="3389632"/>
                  <a:pt x="497253" y="3403395"/>
                  <a:pt x="512496" y="3415665"/>
                </a:cubicBezTo>
                <a:cubicBezTo>
                  <a:pt x="527787" y="3427936"/>
                  <a:pt x="544136" y="3438811"/>
                  <a:pt x="561014" y="3448676"/>
                </a:cubicBezTo>
                <a:cubicBezTo>
                  <a:pt x="569478" y="3453584"/>
                  <a:pt x="578085" y="3458348"/>
                  <a:pt x="586788" y="3462823"/>
                </a:cubicBezTo>
                <a:cubicBezTo>
                  <a:pt x="595492" y="3467443"/>
                  <a:pt x="604292" y="3471389"/>
                  <a:pt x="612611" y="3476297"/>
                </a:cubicBezTo>
                <a:cubicBezTo>
                  <a:pt x="629489" y="3485921"/>
                  <a:pt x="646367" y="3495737"/>
                  <a:pt x="662620" y="3506516"/>
                </a:cubicBezTo>
                <a:cubicBezTo>
                  <a:pt x="679113" y="3517006"/>
                  <a:pt x="694837" y="3528555"/>
                  <a:pt x="710321" y="3540537"/>
                </a:cubicBezTo>
                <a:cubicBezTo>
                  <a:pt x="725420" y="3552952"/>
                  <a:pt x="740423" y="3565656"/>
                  <a:pt x="753790" y="3579996"/>
                </a:cubicBezTo>
                <a:cubicBezTo>
                  <a:pt x="760811" y="3586877"/>
                  <a:pt x="766870" y="3594576"/>
                  <a:pt x="773313" y="3601986"/>
                </a:cubicBezTo>
                <a:cubicBezTo>
                  <a:pt x="776343" y="3605836"/>
                  <a:pt x="779228" y="3609830"/>
                  <a:pt x="782161" y="3613728"/>
                </a:cubicBezTo>
                <a:lnTo>
                  <a:pt x="786585" y="3619647"/>
                </a:lnTo>
                <a:lnTo>
                  <a:pt x="790576" y="3625854"/>
                </a:lnTo>
                <a:cubicBezTo>
                  <a:pt x="801732" y="3642023"/>
                  <a:pt x="810243" y="3659923"/>
                  <a:pt x="817745" y="3678113"/>
                </a:cubicBezTo>
                <a:cubicBezTo>
                  <a:pt x="821014" y="3687400"/>
                  <a:pt x="824573" y="3696639"/>
                  <a:pt x="826833" y="3706263"/>
                </a:cubicBezTo>
                <a:cubicBezTo>
                  <a:pt x="829718" y="3715743"/>
                  <a:pt x="831305" y="3725559"/>
                  <a:pt x="833132" y="3735279"/>
                </a:cubicBezTo>
                <a:cubicBezTo>
                  <a:pt x="834911" y="3745048"/>
                  <a:pt x="835873" y="3754864"/>
                  <a:pt x="836113" y="3764729"/>
                </a:cubicBezTo>
                <a:cubicBezTo>
                  <a:pt x="836450" y="3774593"/>
                  <a:pt x="835825" y="3784410"/>
                  <a:pt x="834190" y="3794082"/>
                </a:cubicBezTo>
                <a:cubicBezTo>
                  <a:pt x="831064" y="3813475"/>
                  <a:pt x="822986" y="3831568"/>
                  <a:pt x="812215" y="3848506"/>
                </a:cubicBezTo>
                <a:cubicBezTo>
                  <a:pt x="806925" y="3857072"/>
                  <a:pt x="801107" y="3865493"/>
                  <a:pt x="796202" y="3874924"/>
                </a:cubicBezTo>
                <a:cubicBezTo>
                  <a:pt x="791249" y="3884211"/>
                  <a:pt x="787691" y="3895183"/>
                  <a:pt x="787835" y="3906299"/>
                </a:cubicBezTo>
                <a:cubicBezTo>
                  <a:pt x="787883" y="3917414"/>
                  <a:pt x="790961" y="3928097"/>
                  <a:pt x="795289" y="3937817"/>
                </a:cubicBezTo>
                <a:cubicBezTo>
                  <a:pt x="797549" y="3942629"/>
                  <a:pt x="799905" y="3947393"/>
                  <a:pt x="802598" y="3951916"/>
                </a:cubicBezTo>
                <a:cubicBezTo>
                  <a:pt x="805146" y="3956536"/>
                  <a:pt x="808272" y="3960963"/>
                  <a:pt x="811349" y="3965198"/>
                </a:cubicBezTo>
                <a:cubicBezTo>
                  <a:pt x="812648" y="3966930"/>
                  <a:pt x="813994" y="3968566"/>
                  <a:pt x="815340" y="3970298"/>
                </a:cubicBezTo>
                <a:cubicBezTo>
                  <a:pt x="812311" y="3967796"/>
                  <a:pt x="809330" y="3965342"/>
                  <a:pt x="806300" y="3962840"/>
                </a:cubicBezTo>
                <a:lnTo>
                  <a:pt x="794327" y="3952879"/>
                </a:lnTo>
                <a:cubicBezTo>
                  <a:pt x="791201" y="3948259"/>
                  <a:pt x="788076" y="3943592"/>
                  <a:pt x="785046" y="3938876"/>
                </a:cubicBezTo>
                <a:cubicBezTo>
                  <a:pt x="782017" y="3934160"/>
                  <a:pt x="779036" y="3929444"/>
                  <a:pt x="776198" y="3924632"/>
                </a:cubicBezTo>
                <a:cubicBezTo>
                  <a:pt x="773409" y="3919916"/>
                  <a:pt x="770428" y="3914864"/>
                  <a:pt x="768697" y="3910437"/>
                </a:cubicBezTo>
                <a:cubicBezTo>
                  <a:pt x="765235" y="3900572"/>
                  <a:pt x="764754" y="3889986"/>
                  <a:pt x="767928" y="3880073"/>
                </a:cubicBezTo>
                <a:cubicBezTo>
                  <a:pt x="771149" y="3870112"/>
                  <a:pt x="777064" y="3860729"/>
                  <a:pt x="783507" y="3851538"/>
                </a:cubicBezTo>
                <a:cubicBezTo>
                  <a:pt x="796443" y="3833300"/>
                  <a:pt x="810964" y="3814148"/>
                  <a:pt x="817793" y="3791099"/>
                </a:cubicBezTo>
                <a:cubicBezTo>
                  <a:pt x="824957" y="3768194"/>
                  <a:pt x="823851" y="3743508"/>
                  <a:pt x="818225" y="3720747"/>
                </a:cubicBezTo>
                <a:cubicBezTo>
                  <a:pt x="812792" y="3697794"/>
                  <a:pt x="802982" y="3676332"/>
                  <a:pt x="792019" y="3655785"/>
                </a:cubicBezTo>
                <a:lnTo>
                  <a:pt x="783411" y="3640579"/>
                </a:lnTo>
                <a:lnTo>
                  <a:pt x="774179" y="3625710"/>
                </a:lnTo>
                <a:cubicBezTo>
                  <a:pt x="771101" y="3620753"/>
                  <a:pt x="767639" y="3615990"/>
                  <a:pt x="764369" y="3611081"/>
                </a:cubicBezTo>
                <a:cubicBezTo>
                  <a:pt x="760763" y="3606414"/>
                  <a:pt x="757349" y="3601602"/>
                  <a:pt x="753598" y="3597127"/>
                </a:cubicBezTo>
                <a:cubicBezTo>
                  <a:pt x="738643" y="3578937"/>
                  <a:pt x="721717" y="3562384"/>
                  <a:pt x="703445" y="3547563"/>
                </a:cubicBezTo>
                <a:cubicBezTo>
                  <a:pt x="666851" y="3517873"/>
                  <a:pt x="626267" y="3494005"/>
                  <a:pt x="585586" y="3470426"/>
                </a:cubicBezTo>
                <a:cubicBezTo>
                  <a:pt x="565150" y="3458733"/>
                  <a:pt x="544425" y="3447713"/>
                  <a:pt x="524998" y="3434865"/>
                </a:cubicBezTo>
                <a:cubicBezTo>
                  <a:pt x="515189" y="3428562"/>
                  <a:pt x="505956" y="3421536"/>
                  <a:pt x="497060" y="3414125"/>
                </a:cubicBezTo>
                <a:cubicBezTo>
                  <a:pt x="488212" y="3406619"/>
                  <a:pt x="480038" y="3398438"/>
                  <a:pt x="472488" y="3389680"/>
                </a:cubicBezTo>
                <a:cubicBezTo>
                  <a:pt x="457534" y="3372069"/>
                  <a:pt x="445849" y="3351714"/>
                  <a:pt x="437386" y="3329963"/>
                </a:cubicBezTo>
                <a:cubicBezTo>
                  <a:pt x="433010" y="3319136"/>
                  <a:pt x="429740" y="3307972"/>
                  <a:pt x="427336" y="3296664"/>
                </a:cubicBezTo>
                <a:cubicBezTo>
                  <a:pt x="425509" y="3285308"/>
                  <a:pt x="423970" y="3273759"/>
                  <a:pt x="425364" y="3262451"/>
                </a:cubicBezTo>
                <a:cubicBezTo>
                  <a:pt x="426518" y="3251191"/>
                  <a:pt x="429692" y="3240171"/>
                  <a:pt x="435559" y="3230740"/>
                </a:cubicBezTo>
                <a:cubicBezTo>
                  <a:pt x="441377" y="3221308"/>
                  <a:pt x="449840" y="3213657"/>
                  <a:pt x="459842" y="3209230"/>
                </a:cubicBezTo>
                <a:cubicBezTo>
                  <a:pt x="465035" y="3207305"/>
                  <a:pt x="469940" y="3205765"/>
                  <a:pt x="475758" y="3205525"/>
                </a:cubicBezTo>
                <a:cubicBezTo>
                  <a:pt x="478595" y="3205188"/>
                  <a:pt x="481480" y="3205092"/>
                  <a:pt x="484366" y="3205092"/>
                </a:cubicBezTo>
                <a:cubicBezTo>
                  <a:pt x="487251" y="3204947"/>
                  <a:pt x="490184" y="3205092"/>
                  <a:pt x="493069" y="3205236"/>
                </a:cubicBezTo>
                <a:cubicBezTo>
                  <a:pt x="504754" y="3205765"/>
                  <a:pt x="516487" y="3207401"/>
                  <a:pt x="528220" y="3209470"/>
                </a:cubicBezTo>
                <a:cubicBezTo>
                  <a:pt x="551734" y="3213561"/>
                  <a:pt x="575152" y="3219431"/>
                  <a:pt x="599387" y="3223281"/>
                </a:cubicBezTo>
                <a:cubicBezTo>
                  <a:pt x="611505" y="3225109"/>
                  <a:pt x="623863" y="3226505"/>
                  <a:pt x="636509" y="3225928"/>
                </a:cubicBezTo>
                <a:cubicBezTo>
                  <a:pt x="649011" y="3225446"/>
                  <a:pt x="662620" y="3222319"/>
                  <a:pt x="673343" y="3213561"/>
                </a:cubicBezTo>
                <a:cubicBezTo>
                  <a:pt x="683826" y="3204466"/>
                  <a:pt x="689163" y="3191185"/>
                  <a:pt x="691038" y="3178625"/>
                </a:cubicBezTo>
                <a:cubicBezTo>
                  <a:pt x="692962" y="3165922"/>
                  <a:pt x="692385" y="3153266"/>
                  <a:pt x="691183" y="3140899"/>
                </a:cubicBezTo>
                <a:cubicBezTo>
                  <a:pt x="688827" y="3116310"/>
                  <a:pt x="683778" y="3092057"/>
                  <a:pt x="677382" y="3068141"/>
                </a:cubicBezTo>
                <a:cubicBezTo>
                  <a:pt x="671035" y="3044226"/>
                  <a:pt x="662427" y="3020984"/>
                  <a:pt x="652906" y="2998127"/>
                </a:cubicBezTo>
                <a:cubicBezTo>
                  <a:pt x="643385" y="2975270"/>
                  <a:pt x="632614" y="2952942"/>
                  <a:pt x="621074" y="2931047"/>
                </a:cubicBezTo>
                <a:cubicBezTo>
                  <a:pt x="598137" y="2887113"/>
                  <a:pt x="572459" y="2844671"/>
                  <a:pt x="547406" y="2801845"/>
                </a:cubicBezTo>
                <a:cubicBezTo>
                  <a:pt x="522353" y="2759018"/>
                  <a:pt x="497589" y="2715806"/>
                  <a:pt x="476239" y="2670765"/>
                </a:cubicBezTo>
                <a:cubicBezTo>
                  <a:pt x="454649" y="2625917"/>
                  <a:pt x="436616" y="2579144"/>
                  <a:pt x="423729" y="2530784"/>
                </a:cubicBezTo>
                <a:cubicBezTo>
                  <a:pt x="411179" y="2482375"/>
                  <a:pt x="403341" y="2432474"/>
                  <a:pt x="402764" y="2382092"/>
                </a:cubicBezTo>
                <a:cubicBezTo>
                  <a:pt x="401466" y="2331807"/>
                  <a:pt x="407813" y="2281329"/>
                  <a:pt x="422143" y="2232824"/>
                </a:cubicBezTo>
                <a:cubicBezTo>
                  <a:pt x="436039" y="2184126"/>
                  <a:pt x="458351" y="2137931"/>
                  <a:pt x="477249" y="2089859"/>
                </a:cubicBezTo>
                <a:cubicBezTo>
                  <a:pt x="496291" y="2041835"/>
                  <a:pt x="510476" y="1991116"/>
                  <a:pt x="515862" y="1939098"/>
                </a:cubicBezTo>
                <a:lnTo>
                  <a:pt x="517016" y="1929378"/>
                </a:lnTo>
                <a:cubicBezTo>
                  <a:pt x="517353" y="1926154"/>
                  <a:pt x="517401" y="1922882"/>
                  <a:pt x="517593" y="1919610"/>
                </a:cubicBezTo>
                <a:lnTo>
                  <a:pt x="518555" y="1900025"/>
                </a:lnTo>
                <a:lnTo>
                  <a:pt x="519035" y="1890208"/>
                </a:lnTo>
                <a:cubicBezTo>
                  <a:pt x="519276" y="1886936"/>
                  <a:pt x="518939" y="1883567"/>
                  <a:pt x="518891" y="1880247"/>
                </a:cubicBezTo>
                <a:lnTo>
                  <a:pt x="518555" y="1870238"/>
                </a:lnTo>
                <a:lnTo>
                  <a:pt x="517304" y="1860277"/>
                </a:lnTo>
                <a:cubicBezTo>
                  <a:pt x="514179" y="1833619"/>
                  <a:pt x="502879" y="1808115"/>
                  <a:pt x="488116" y="1786317"/>
                </a:cubicBezTo>
                <a:cubicBezTo>
                  <a:pt x="480903" y="1775249"/>
                  <a:pt x="472969" y="1764855"/>
                  <a:pt x="466382" y="1754076"/>
                </a:cubicBezTo>
                <a:cubicBezTo>
                  <a:pt x="459794" y="1743345"/>
                  <a:pt x="455081" y="1731941"/>
                  <a:pt x="455178" y="1720103"/>
                </a:cubicBezTo>
                <a:cubicBezTo>
                  <a:pt x="455178" y="1708170"/>
                  <a:pt x="458447" y="1695610"/>
                  <a:pt x="462919" y="1683869"/>
                </a:cubicBezTo>
                <a:cubicBezTo>
                  <a:pt x="467439" y="1672031"/>
                  <a:pt x="473306" y="1660627"/>
                  <a:pt x="479894" y="1649559"/>
                </a:cubicBezTo>
                <a:cubicBezTo>
                  <a:pt x="493117" y="1627472"/>
                  <a:pt x="509082" y="1606877"/>
                  <a:pt x="526296" y="1587436"/>
                </a:cubicBezTo>
                <a:cubicBezTo>
                  <a:pt x="543559" y="1567996"/>
                  <a:pt x="562120" y="1549517"/>
                  <a:pt x="581884" y="1532675"/>
                </a:cubicBezTo>
                <a:cubicBezTo>
                  <a:pt x="586837" y="1528537"/>
                  <a:pt x="591886" y="1524447"/>
                  <a:pt x="597079" y="1520741"/>
                </a:cubicBezTo>
                <a:cubicBezTo>
                  <a:pt x="599627" y="1518913"/>
                  <a:pt x="602320" y="1517132"/>
                  <a:pt x="604724" y="1515833"/>
                </a:cubicBezTo>
                <a:lnTo>
                  <a:pt x="606215" y="1515160"/>
                </a:lnTo>
                <a:lnTo>
                  <a:pt x="608187" y="1514775"/>
                </a:lnTo>
                <a:cubicBezTo>
                  <a:pt x="609485" y="1514486"/>
                  <a:pt x="610735" y="1514149"/>
                  <a:pt x="612178" y="1514245"/>
                </a:cubicBezTo>
                <a:cubicBezTo>
                  <a:pt x="617708" y="1513812"/>
                  <a:pt x="623766" y="1515304"/>
                  <a:pt x="629729" y="1517132"/>
                </a:cubicBezTo>
                <a:cubicBezTo>
                  <a:pt x="635692" y="1518913"/>
                  <a:pt x="641654" y="1521560"/>
                  <a:pt x="647617" y="1524062"/>
                </a:cubicBezTo>
                <a:cubicBezTo>
                  <a:pt x="671371" y="1534648"/>
                  <a:pt x="695559" y="1547256"/>
                  <a:pt x="722583" y="1552597"/>
                </a:cubicBezTo>
                <a:cubicBezTo>
                  <a:pt x="736143" y="1555244"/>
                  <a:pt x="749511" y="1556013"/>
                  <a:pt x="762927" y="1556495"/>
                </a:cubicBezTo>
                <a:cubicBezTo>
                  <a:pt x="776295" y="1556928"/>
                  <a:pt x="789662" y="1556832"/>
                  <a:pt x="802934" y="1556639"/>
                </a:cubicBezTo>
                <a:cubicBezTo>
                  <a:pt x="829526" y="1556254"/>
                  <a:pt x="856021" y="1555340"/>
                  <a:pt x="882276" y="1556687"/>
                </a:cubicBezTo>
                <a:cubicBezTo>
                  <a:pt x="895355" y="1557457"/>
                  <a:pt x="908386" y="1558756"/>
                  <a:pt x="920889" y="1561692"/>
                </a:cubicBezTo>
                <a:cubicBezTo>
                  <a:pt x="933343" y="1564723"/>
                  <a:pt x="945268" y="1569102"/>
                  <a:pt x="954308" y="1577620"/>
                </a:cubicBezTo>
                <a:cubicBezTo>
                  <a:pt x="963877" y="1585800"/>
                  <a:pt x="971523" y="1596386"/>
                  <a:pt x="978207" y="1607454"/>
                </a:cubicBezTo>
                <a:cubicBezTo>
                  <a:pt x="984891" y="1618570"/>
                  <a:pt x="990421" y="1630552"/>
                  <a:pt x="995277" y="1642774"/>
                </a:cubicBezTo>
                <a:cubicBezTo>
                  <a:pt x="1004991" y="1667315"/>
                  <a:pt x="1012107" y="1692964"/>
                  <a:pt x="1018214" y="1718948"/>
                </a:cubicBezTo>
                <a:cubicBezTo>
                  <a:pt x="1024225" y="1744933"/>
                  <a:pt x="1029130" y="1771255"/>
                  <a:pt x="1033602" y="1797721"/>
                </a:cubicBezTo>
                <a:cubicBezTo>
                  <a:pt x="1035766" y="1811002"/>
                  <a:pt x="1037881" y="1824235"/>
                  <a:pt x="1040045" y="1837516"/>
                </a:cubicBezTo>
                <a:cubicBezTo>
                  <a:pt x="1042113" y="1850894"/>
                  <a:pt x="1044421" y="1864031"/>
                  <a:pt x="1045912" y="1877312"/>
                </a:cubicBezTo>
                <a:cubicBezTo>
                  <a:pt x="1048941" y="1903922"/>
                  <a:pt x="1051105" y="1930918"/>
                  <a:pt x="1054086" y="1957865"/>
                </a:cubicBezTo>
                <a:cubicBezTo>
                  <a:pt x="1057020" y="1984812"/>
                  <a:pt x="1060482" y="2011808"/>
                  <a:pt x="1065531" y="2038659"/>
                </a:cubicBezTo>
                <a:cubicBezTo>
                  <a:pt x="1068031" y="2052084"/>
                  <a:pt x="1071013" y="2065462"/>
                  <a:pt x="1074619" y="2078695"/>
                </a:cubicBezTo>
                <a:cubicBezTo>
                  <a:pt x="1078225" y="2091928"/>
                  <a:pt x="1082361" y="2105113"/>
                  <a:pt x="1087746" y="2117913"/>
                </a:cubicBezTo>
                <a:cubicBezTo>
                  <a:pt x="1093084" y="2130713"/>
                  <a:pt x="1099527" y="2143224"/>
                  <a:pt x="1107846" y="2154676"/>
                </a:cubicBezTo>
                <a:cubicBezTo>
                  <a:pt x="1116165" y="2166081"/>
                  <a:pt x="1126648" y="2176475"/>
                  <a:pt x="1139583" y="2183404"/>
                </a:cubicBezTo>
                <a:cubicBezTo>
                  <a:pt x="1142757" y="2185233"/>
                  <a:pt x="1146267" y="2186388"/>
                  <a:pt x="1149585" y="2187880"/>
                </a:cubicBezTo>
                <a:cubicBezTo>
                  <a:pt x="1153047" y="2189034"/>
                  <a:pt x="1156605" y="2189900"/>
                  <a:pt x="1160164" y="2190863"/>
                </a:cubicBezTo>
                <a:cubicBezTo>
                  <a:pt x="1167761" y="2192306"/>
                  <a:pt x="1175263" y="2191922"/>
                  <a:pt x="1182331" y="2190719"/>
                </a:cubicBezTo>
                <a:cubicBezTo>
                  <a:pt x="1196565" y="2188313"/>
                  <a:pt x="1209740" y="2183212"/>
                  <a:pt x="1222387" y="2177341"/>
                </a:cubicBezTo>
                <a:cubicBezTo>
                  <a:pt x="1247632" y="2165552"/>
                  <a:pt x="1270761" y="2150442"/>
                  <a:pt x="1293217" y="2134514"/>
                </a:cubicBezTo>
                <a:cubicBezTo>
                  <a:pt x="1315625" y="2118490"/>
                  <a:pt x="1337120" y="2101311"/>
                  <a:pt x="1358085" y="2083507"/>
                </a:cubicBezTo>
                <a:cubicBezTo>
                  <a:pt x="1399920" y="2047753"/>
                  <a:pt x="1439638" y="2009450"/>
                  <a:pt x="1477386" y="1969125"/>
                </a:cubicBezTo>
                <a:cubicBezTo>
                  <a:pt x="1514989" y="1928704"/>
                  <a:pt x="1551053" y="1886503"/>
                  <a:pt x="1582549" y="1840500"/>
                </a:cubicBezTo>
                <a:cubicBezTo>
                  <a:pt x="1590387" y="1828951"/>
                  <a:pt x="1597841" y="1817162"/>
                  <a:pt x="1604669" y="1804891"/>
                </a:cubicBezTo>
                <a:cubicBezTo>
                  <a:pt x="1611401" y="1792572"/>
                  <a:pt x="1617748" y="1779869"/>
                  <a:pt x="1621980" y="1766010"/>
                </a:cubicBezTo>
                <a:cubicBezTo>
                  <a:pt x="1624240" y="1758936"/>
                  <a:pt x="1625154" y="1751959"/>
                  <a:pt x="1626452" y="1745174"/>
                </a:cubicBezTo>
                <a:lnTo>
                  <a:pt x="1630154" y="1724579"/>
                </a:lnTo>
                <a:cubicBezTo>
                  <a:pt x="1632318" y="1710816"/>
                  <a:pt x="1633953" y="1696909"/>
                  <a:pt x="1635732" y="1683099"/>
                </a:cubicBezTo>
                <a:cubicBezTo>
                  <a:pt x="1640301" y="1640994"/>
                  <a:pt x="1641503" y="1598744"/>
                  <a:pt x="1641791" y="1556735"/>
                </a:cubicBezTo>
                <a:cubicBezTo>
                  <a:pt x="1642128" y="1514726"/>
                  <a:pt x="1641455" y="1472862"/>
                  <a:pt x="1643474" y="1431334"/>
                </a:cubicBezTo>
                <a:cubicBezTo>
                  <a:pt x="1645542" y="1389855"/>
                  <a:pt x="1650399" y="1348519"/>
                  <a:pt x="1662420" y="1309157"/>
                </a:cubicBezTo>
                <a:cubicBezTo>
                  <a:pt x="1665834" y="1299485"/>
                  <a:pt x="1668912" y="1289669"/>
                  <a:pt x="1672614" y="1280141"/>
                </a:cubicBezTo>
                <a:cubicBezTo>
                  <a:pt x="1676894" y="1270854"/>
                  <a:pt x="1680693" y="1261278"/>
                  <a:pt x="1685309" y="1252183"/>
                </a:cubicBezTo>
                <a:cubicBezTo>
                  <a:pt x="1694541" y="1234090"/>
                  <a:pt x="1706419" y="1217151"/>
                  <a:pt x="1718825" y="1200791"/>
                </a:cubicBezTo>
                <a:cubicBezTo>
                  <a:pt x="1743829" y="1168117"/>
                  <a:pt x="1772248" y="1138042"/>
                  <a:pt x="1801773" y="1109314"/>
                </a:cubicBezTo>
                <a:cubicBezTo>
                  <a:pt x="1831346" y="1080586"/>
                  <a:pt x="1862265" y="1053302"/>
                  <a:pt x="1893953" y="1027173"/>
                </a:cubicBezTo>
                <a:cubicBezTo>
                  <a:pt x="1957523" y="974963"/>
                  <a:pt x="2024170" y="926891"/>
                  <a:pt x="2093846" y="884400"/>
                </a:cubicBezTo>
                <a:cubicBezTo>
                  <a:pt x="2128708" y="863228"/>
                  <a:pt x="2164388" y="843498"/>
                  <a:pt x="2201125" y="826416"/>
                </a:cubicBezTo>
                <a:cubicBezTo>
                  <a:pt x="2210214" y="821940"/>
                  <a:pt x="2219639" y="818283"/>
                  <a:pt x="2228871" y="814145"/>
                </a:cubicBezTo>
                <a:lnTo>
                  <a:pt x="2242960" y="808659"/>
                </a:lnTo>
                <a:lnTo>
                  <a:pt x="2250029" y="805916"/>
                </a:lnTo>
                <a:lnTo>
                  <a:pt x="2257194" y="803510"/>
                </a:lnTo>
                <a:cubicBezTo>
                  <a:pt x="2276139" y="796822"/>
                  <a:pt x="2295614" y="791529"/>
                  <a:pt x="2315185" y="789026"/>
                </a:cubicBezTo>
                <a:cubicBezTo>
                  <a:pt x="2334660" y="786476"/>
                  <a:pt x="2354663" y="788208"/>
                  <a:pt x="2374523" y="790759"/>
                </a:cubicBezTo>
                <a:cubicBezTo>
                  <a:pt x="2394382" y="793261"/>
                  <a:pt x="2414097" y="797592"/>
                  <a:pt x="2433717" y="802019"/>
                </a:cubicBezTo>
                <a:cubicBezTo>
                  <a:pt x="2472858" y="811354"/>
                  <a:pt x="2511471" y="822951"/>
                  <a:pt x="2549603" y="835703"/>
                </a:cubicBezTo>
                <a:cubicBezTo>
                  <a:pt x="2625819" y="861351"/>
                  <a:pt x="2700256" y="891378"/>
                  <a:pt x="2772722" y="924773"/>
                </a:cubicBezTo>
                <a:cubicBezTo>
                  <a:pt x="2808930" y="941519"/>
                  <a:pt x="2844610" y="959179"/>
                  <a:pt x="2879376" y="978283"/>
                </a:cubicBezTo>
                <a:cubicBezTo>
                  <a:pt x="2896783" y="987763"/>
                  <a:pt x="2913853" y="997772"/>
                  <a:pt x="2930539" y="1008310"/>
                </a:cubicBezTo>
                <a:cubicBezTo>
                  <a:pt x="2947225" y="1018800"/>
                  <a:pt x="2963430" y="1030108"/>
                  <a:pt x="2978096" y="1042668"/>
                </a:cubicBezTo>
                <a:cubicBezTo>
                  <a:pt x="2985549" y="1048971"/>
                  <a:pt x="2992041" y="1055805"/>
                  <a:pt x="2997475" y="1063311"/>
                </a:cubicBezTo>
                <a:cubicBezTo>
                  <a:pt x="3002908" y="1071347"/>
                  <a:pt x="3007813" y="1079768"/>
                  <a:pt x="3012525" y="1088286"/>
                </a:cubicBezTo>
                <a:cubicBezTo>
                  <a:pt x="3021710" y="1105464"/>
                  <a:pt x="3029644" y="1123365"/>
                  <a:pt x="3036472" y="1141699"/>
                </a:cubicBezTo>
                <a:cubicBezTo>
                  <a:pt x="3050177" y="1178318"/>
                  <a:pt x="3059938" y="1216381"/>
                  <a:pt x="3067247" y="1254733"/>
                </a:cubicBezTo>
                <a:cubicBezTo>
                  <a:pt x="3074508" y="1293133"/>
                  <a:pt x="3079076" y="1331966"/>
                  <a:pt x="3081240" y="1370799"/>
                </a:cubicBezTo>
                <a:cubicBezTo>
                  <a:pt x="3083404" y="1409632"/>
                  <a:pt x="3083164" y="1448561"/>
                  <a:pt x="3079797" y="1487057"/>
                </a:cubicBezTo>
                <a:cubicBezTo>
                  <a:pt x="3076431" y="1525553"/>
                  <a:pt x="3070180" y="1563761"/>
                  <a:pt x="3058976" y="1600380"/>
                </a:cubicBezTo>
                <a:cubicBezTo>
                  <a:pt x="3053350" y="1618666"/>
                  <a:pt x="3046426" y="1636470"/>
                  <a:pt x="3037722" y="1653312"/>
                </a:cubicBezTo>
                <a:cubicBezTo>
                  <a:pt x="3028971" y="1670106"/>
                  <a:pt x="3018392" y="1685890"/>
                  <a:pt x="3005313" y="1699171"/>
                </a:cubicBezTo>
                <a:cubicBezTo>
                  <a:pt x="2992329" y="1712500"/>
                  <a:pt x="2976605" y="1722942"/>
                  <a:pt x="2959246" y="1729006"/>
                </a:cubicBezTo>
                <a:cubicBezTo>
                  <a:pt x="2941791" y="1734587"/>
                  <a:pt x="2922845" y="1736849"/>
                  <a:pt x="2904140" y="1736993"/>
                </a:cubicBezTo>
                <a:cubicBezTo>
                  <a:pt x="2866489" y="1737138"/>
                  <a:pt x="2828934" y="1729872"/>
                  <a:pt x="2792148" y="1720970"/>
                </a:cubicBezTo>
                <a:cubicBezTo>
                  <a:pt x="2718433" y="1702732"/>
                  <a:pt x="2646593" y="1677517"/>
                  <a:pt x="2572540" y="1660867"/>
                </a:cubicBezTo>
                <a:cubicBezTo>
                  <a:pt x="2535562" y="1652543"/>
                  <a:pt x="2498055" y="1646143"/>
                  <a:pt x="2460116" y="1644410"/>
                </a:cubicBezTo>
                <a:cubicBezTo>
                  <a:pt x="2441218" y="1643496"/>
                  <a:pt x="2422080" y="1643640"/>
                  <a:pt x="2403326" y="1645806"/>
                </a:cubicBezTo>
                <a:cubicBezTo>
                  <a:pt x="2393950" y="1646816"/>
                  <a:pt x="2384525" y="1647634"/>
                  <a:pt x="2375196" y="1648837"/>
                </a:cubicBezTo>
                <a:lnTo>
                  <a:pt x="2347306" y="1653794"/>
                </a:lnTo>
                <a:cubicBezTo>
                  <a:pt x="2310424" y="1661541"/>
                  <a:pt x="2274312" y="1673860"/>
                  <a:pt x="2241469" y="1692482"/>
                </a:cubicBezTo>
                <a:cubicBezTo>
                  <a:pt x="2208627" y="1710960"/>
                  <a:pt x="2179535" y="1735839"/>
                  <a:pt x="2155829" y="1764807"/>
                </a:cubicBezTo>
                <a:cubicBezTo>
                  <a:pt x="2132026" y="1793727"/>
                  <a:pt x="2113417" y="1826401"/>
                  <a:pt x="2098510" y="1860229"/>
                </a:cubicBezTo>
                <a:cubicBezTo>
                  <a:pt x="2083604" y="1894106"/>
                  <a:pt x="2072111" y="1929234"/>
                  <a:pt x="2062831" y="1964650"/>
                </a:cubicBezTo>
                <a:cubicBezTo>
                  <a:pt x="2053502" y="2000066"/>
                  <a:pt x="2046001" y="2035772"/>
                  <a:pt x="2039317" y="2071477"/>
                </a:cubicBezTo>
                <a:cubicBezTo>
                  <a:pt x="2032825" y="2107182"/>
                  <a:pt x="2027103" y="2142887"/>
                  <a:pt x="2021573" y="2178496"/>
                </a:cubicBezTo>
                <a:cubicBezTo>
                  <a:pt x="2010706" y="2249666"/>
                  <a:pt x="2000559" y="2320450"/>
                  <a:pt x="1987817" y="2390225"/>
                </a:cubicBezTo>
                <a:cubicBezTo>
                  <a:pt x="1975411" y="2460047"/>
                  <a:pt x="1959158" y="2528570"/>
                  <a:pt x="1940212" y="2595890"/>
                </a:cubicBezTo>
                <a:cubicBezTo>
                  <a:pt x="1921074" y="2663066"/>
                  <a:pt x="1899291" y="2729279"/>
                  <a:pt x="1868997" y="2790825"/>
                </a:cubicBezTo>
                <a:cubicBezTo>
                  <a:pt x="1853609" y="2821381"/>
                  <a:pt x="1836250" y="2851023"/>
                  <a:pt x="1813986" y="2876431"/>
                </a:cubicBezTo>
                <a:cubicBezTo>
                  <a:pt x="1802879" y="2889086"/>
                  <a:pt x="1790617" y="2900587"/>
                  <a:pt x="1776912" y="2909922"/>
                </a:cubicBezTo>
                <a:cubicBezTo>
                  <a:pt x="1763208" y="2919210"/>
                  <a:pt x="1747917" y="2925995"/>
                  <a:pt x="1731904" y="2929170"/>
                </a:cubicBezTo>
                <a:lnTo>
                  <a:pt x="1725893" y="2930326"/>
                </a:lnTo>
                <a:lnTo>
                  <a:pt x="1719690" y="2930903"/>
                </a:lnTo>
                <a:lnTo>
                  <a:pt x="1707284" y="2932106"/>
                </a:lnTo>
                <a:cubicBezTo>
                  <a:pt x="1703149" y="2932491"/>
                  <a:pt x="1698965" y="2932202"/>
                  <a:pt x="1694830" y="2932250"/>
                </a:cubicBezTo>
                <a:cubicBezTo>
                  <a:pt x="1690695" y="2932154"/>
                  <a:pt x="1686511" y="2932443"/>
                  <a:pt x="1682376" y="2932010"/>
                </a:cubicBezTo>
                <a:lnTo>
                  <a:pt x="1669969" y="2930807"/>
                </a:lnTo>
                <a:cubicBezTo>
                  <a:pt x="1667902" y="2930614"/>
                  <a:pt x="1665834" y="2930422"/>
                  <a:pt x="1663766" y="2930181"/>
                </a:cubicBezTo>
                <a:lnTo>
                  <a:pt x="1657659" y="2929026"/>
                </a:lnTo>
                <a:lnTo>
                  <a:pt x="1645446" y="2926764"/>
                </a:lnTo>
                <a:cubicBezTo>
                  <a:pt x="1641407" y="2925898"/>
                  <a:pt x="1637415" y="2924647"/>
                  <a:pt x="1633424" y="2923637"/>
                </a:cubicBezTo>
                <a:cubicBezTo>
                  <a:pt x="1601399" y="2914879"/>
                  <a:pt x="1571105" y="2900443"/>
                  <a:pt x="1542927" y="2883023"/>
                </a:cubicBezTo>
                <a:cubicBezTo>
                  <a:pt x="1486330" y="2848088"/>
                  <a:pt x="1436753" y="2803577"/>
                  <a:pt x="1388139" y="2759258"/>
                </a:cubicBezTo>
                <a:cubicBezTo>
                  <a:pt x="1363807" y="2737027"/>
                  <a:pt x="1339764" y="2714651"/>
                  <a:pt x="1314808" y="2693334"/>
                </a:cubicBezTo>
                <a:cubicBezTo>
                  <a:pt x="1289803" y="2672161"/>
                  <a:pt x="1264173" y="2651421"/>
                  <a:pt x="1234985" y="2635830"/>
                </a:cubicBezTo>
                <a:cubicBezTo>
                  <a:pt x="1220367" y="2628275"/>
                  <a:pt x="1204980" y="2621442"/>
                  <a:pt x="1188246" y="2618892"/>
                </a:cubicBezTo>
                <a:cubicBezTo>
                  <a:pt x="1179927" y="2617977"/>
                  <a:pt x="1171416" y="2616823"/>
                  <a:pt x="1162760" y="2618411"/>
                </a:cubicBezTo>
                <a:cubicBezTo>
                  <a:pt x="1154201" y="2619806"/>
                  <a:pt x="1146075" y="2623030"/>
                  <a:pt x="1138814" y="2627313"/>
                </a:cubicBezTo>
                <a:cubicBezTo>
                  <a:pt x="1124196" y="2635974"/>
                  <a:pt x="1112607" y="2648197"/>
                  <a:pt x="1102701" y="2661141"/>
                </a:cubicBezTo>
                <a:cubicBezTo>
                  <a:pt x="1092747" y="2674134"/>
                  <a:pt x="1084429" y="2688040"/>
                  <a:pt x="1076879" y="2702284"/>
                </a:cubicBezTo>
                <a:cubicBezTo>
                  <a:pt x="1061924" y="2730819"/>
                  <a:pt x="1050095" y="2760509"/>
                  <a:pt x="1039564" y="2790392"/>
                </a:cubicBezTo>
                <a:cubicBezTo>
                  <a:pt x="1029034" y="2820323"/>
                  <a:pt x="1019945" y="2850494"/>
                  <a:pt x="1011530" y="2880665"/>
                </a:cubicBezTo>
                <a:cubicBezTo>
                  <a:pt x="1003115" y="2910837"/>
                  <a:pt x="995422" y="2941056"/>
                  <a:pt x="987872" y="2971131"/>
                </a:cubicBezTo>
                <a:cubicBezTo>
                  <a:pt x="984073" y="2986145"/>
                  <a:pt x="980275" y="3001110"/>
                  <a:pt x="976524" y="3016076"/>
                </a:cubicBezTo>
                <a:cubicBezTo>
                  <a:pt x="972629" y="3031041"/>
                  <a:pt x="968686" y="3045621"/>
                  <a:pt x="963637" y="3060105"/>
                </a:cubicBezTo>
                <a:cubicBezTo>
                  <a:pt x="944114" y="3118138"/>
                  <a:pt x="923341" y="3175353"/>
                  <a:pt x="895980" y="3228574"/>
                </a:cubicBezTo>
                <a:cubicBezTo>
                  <a:pt x="882035" y="3255570"/>
                  <a:pt x="871216" y="3284201"/>
                  <a:pt x="865061" y="3313795"/>
                </a:cubicBezTo>
                <a:cubicBezTo>
                  <a:pt x="858906" y="3343389"/>
                  <a:pt x="857656" y="3373993"/>
                  <a:pt x="862464" y="3403635"/>
                </a:cubicBezTo>
                <a:cubicBezTo>
                  <a:pt x="864869" y="3418456"/>
                  <a:pt x="868619" y="3433037"/>
                  <a:pt x="873861" y="3446992"/>
                </a:cubicBezTo>
                <a:cubicBezTo>
                  <a:pt x="879150" y="3460946"/>
                  <a:pt x="885786" y="3474324"/>
                  <a:pt x="893336" y="3487076"/>
                </a:cubicBezTo>
                <a:cubicBezTo>
                  <a:pt x="900933" y="3499779"/>
                  <a:pt x="909877" y="3511617"/>
                  <a:pt x="919254" y="3522925"/>
                </a:cubicBezTo>
                <a:cubicBezTo>
                  <a:pt x="924207" y="3528363"/>
                  <a:pt x="928871" y="3534041"/>
                  <a:pt x="934112" y="3539142"/>
                </a:cubicBezTo>
                <a:lnTo>
                  <a:pt x="941854" y="3546937"/>
                </a:lnTo>
                <a:lnTo>
                  <a:pt x="949932" y="3554348"/>
                </a:lnTo>
                <a:cubicBezTo>
                  <a:pt x="971523" y="3573981"/>
                  <a:pt x="995181" y="3590823"/>
                  <a:pt x="1019849" y="3605596"/>
                </a:cubicBezTo>
                <a:cubicBezTo>
                  <a:pt x="1044902" y="3620320"/>
                  <a:pt x="1072167" y="3630281"/>
                  <a:pt x="1099527" y="3637596"/>
                </a:cubicBezTo>
                <a:cubicBezTo>
                  <a:pt x="1126888" y="3645150"/>
                  <a:pt x="1154441" y="3650588"/>
                  <a:pt x="1181129" y="3657950"/>
                </a:cubicBezTo>
                <a:cubicBezTo>
                  <a:pt x="1194401" y="3661800"/>
                  <a:pt x="1207528" y="3665938"/>
                  <a:pt x="1219838" y="3671617"/>
                </a:cubicBezTo>
                <a:cubicBezTo>
                  <a:pt x="1232100" y="3677391"/>
                  <a:pt x="1243785" y="3684224"/>
                  <a:pt x="1253594" y="3693222"/>
                </a:cubicBezTo>
                <a:cubicBezTo>
                  <a:pt x="1273454" y="3711267"/>
                  <a:pt x="1286341" y="3735713"/>
                  <a:pt x="1296583" y="3760542"/>
                </a:cubicBezTo>
                <a:cubicBezTo>
                  <a:pt x="1306825" y="3785517"/>
                  <a:pt x="1314904" y="3811406"/>
                  <a:pt x="1324329" y="3836717"/>
                </a:cubicBezTo>
                <a:cubicBezTo>
                  <a:pt x="1329041" y="3849372"/>
                  <a:pt x="1334042" y="3861932"/>
                  <a:pt x="1339716" y="3874202"/>
                </a:cubicBezTo>
                <a:cubicBezTo>
                  <a:pt x="1345438" y="3886425"/>
                  <a:pt x="1351882" y="3898359"/>
                  <a:pt x="1359191" y="3909667"/>
                </a:cubicBezTo>
                <a:cubicBezTo>
                  <a:pt x="1366452" y="3921023"/>
                  <a:pt x="1374963" y="3931610"/>
                  <a:pt x="1384388" y="3941186"/>
                </a:cubicBezTo>
                <a:cubicBezTo>
                  <a:pt x="1388956" y="3946142"/>
                  <a:pt x="1394149" y="3950425"/>
                  <a:pt x="1399198" y="3954852"/>
                </a:cubicBezTo>
                <a:cubicBezTo>
                  <a:pt x="1404584" y="3958846"/>
                  <a:pt x="1409777" y="3963129"/>
                  <a:pt x="1415499" y="3966593"/>
                </a:cubicBezTo>
                <a:cubicBezTo>
                  <a:pt x="1421029" y="3970394"/>
                  <a:pt x="1426944" y="3973426"/>
                  <a:pt x="1432810" y="3976650"/>
                </a:cubicBezTo>
                <a:cubicBezTo>
                  <a:pt x="1435743" y="3978238"/>
                  <a:pt x="1438821" y="3979441"/>
                  <a:pt x="1441850" y="3980885"/>
                </a:cubicBezTo>
                <a:cubicBezTo>
                  <a:pt x="1444880" y="3982232"/>
                  <a:pt x="1447861" y="3983724"/>
                  <a:pt x="1450987" y="3984783"/>
                </a:cubicBezTo>
                <a:cubicBezTo>
                  <a:pt x="1457190" y="3987092"/>
                  <a:pt x="1463345" y="3989498"/>
                  <a:pt x="1469644" y="3991231"/>
                </a:cubicBezTo>
                <a:cubicBezTo>
                  <a:pt x="1475895" y="3993155"/>
                  <a:pt x="1482146" y="3995080"/>
                  <a:pt x="1488494" y="3996572"/>
                </a:cubicBezTo>
                <a:cubicBezTo>
                  <a:pt x="1513787" y="4003068"/>
                  <a:pt x="1539801" y="4006821"/>
                  <a:pt x="1565719" y="4005859"/>
                </a:cubicBezTo>
                <a:cubicBezTo>
                  <a:pt x="1591686" y="4005186"/>
                  <a:pt x="1617027" y="3999315"/>
                  <a:pt x="1641118" y="3991519"/>
                </a:cubicBezTo>
                <a:cubicBezTo>
                  <a:pt x="1665209" y="3983627"/>
                  <a:pt x="1688386" y="3974244"/>
                  <a:pt x="1711900" y="3966882"/>
                </a:cubicBezTo>
                <a:cubicBezTo>
                  <a:pt x="1758784" y="3951483"/>
                  <a:pt x="1807832" y="3946623"/>
                  <a:pt x="1855485" y="3950906"/>
                </a:cubicBezTo>
                <a:cubicBezTo>
                  <a:pt x="1879287" y="3953023"/>
                  <a:pt x="1902945" y="3956680"/>
                  <a:pt x="1925834" y="3962118"/>
                </a:cubicBezTo>
                <a:cubicBezTo>
                  <a:pt x="1948771" y="3967122"/>
                  <a:pt x="1970458" y="3976265"/>
                  <a:pt x="1990173" y="3988103"/>
                </a:cubicBezTo>
                <a:cubicBezTo>
                  <a:pt x="2009936" y="3999988"/>
                  <a:pt x="2027487" y="4014954"/>
                  <a:pt x="2043644" y="4031122"/>
                </a:cubicBezTo>
                <a:cubicBezTo>
                  <a:pt x="2059849" y="4047291"/>
                  <a:pt x="2074756" y="4064566"/>
                  <a:pt x="2090672" y="4080878"/>
                </a:cubicBezTo>
                <a:cubicBezTo>
                  <a:pt x="2106541" y="4097143"/>
                  <a:pt x="2123659" y="4112445"/>
                  <a:pt x="2143086" y="4124138"/>
                </a:cubicBezTo>
                <a:cubicBezTo>
                  <a:pt x="2148087" y="4126833"/>
                  <a:pt x="2153040" y="4129480"/>
                  <a:pt x="2158040" y="4132127"/>
                </a:cubicBezTo>
                <a:cubicBezTo>
                  <a:pt x="2163090" y="4134580"/>
                  <a:pt x="2168523" y="4136746"/>
                  <a:pt x="2173813" y="4138382"/>
                </a:cubicBezTo>
                <a:cubicBezTo>
                  <a:pt x="2184440" y="4141991"/>
                  <a:pt x="2195163" y="4144541"/>
                  <a:pt x="2205838" y="4147188"/>
                </a:cubicBezTo>
                <a:cubicBezTo>
                  <a:pt x="2248586" y="4157245"/>
                  <a:pt x="2291142" y="4164078"/>
                  <a:pt x="2331871" y="4174569"/>
                </a:cubicBezTo>
                <a:cubicBezTo>
                  <a:pt x="2341969" y="4177215"/>
                  <a:pt x="2352115" y="4180199"/>
                  <a:pt x="2361155" y="4184385"/>
                </a:cubicBezTo>
                <a:lnTo>
                  <a:pt x="2364377" y="4186117"/>
                </a:lnTo>
                <a:lnTo>
                  <a:pt x="2365964" y="4186983"/>
                </a:lnTo>
                <a:lnTo>
                  <a:pt x="2367454" y="4188138"/>
                </a:lnTo>
                <a:lnTo>
                  <a:pt x="2373465" y="4192806"/>
                </a:lnTo>
                <a:cubicBezTo>
                  <a:pt x="2375581" y="4194250"/>
                  <a:pt x="2377168" y="4196223"/>
                  <a:pt x="2379043" y="4197907"/>
                </a:cubicBezTo>
                <a:cubicBezTo>
                  <a:pt x="2380822" y="4199687"/>
                  <a:pt x="2382746" y="4201323"/>
                  <a:pt x="2384188" y="4203393"/>
                </a:cubicBezTo>
                <a:cubicBezTo>
                  <a:pt x="2390872" y="4210851"/>
                  <a:pt x="2395344" y="4219994"/>
                  <a:pt x="2397652" y="4229474"/>
                </a:cubicBezTo>
                <a:cubicBezTo>
                  <a:pt x="2399912" y="4239001"/>
                  <a:pt x="2399816" y="4249010"/>
                  <a:pt x="2397845" y="4258683"/>
                </a:cubicBezTo>
                <a:cubicBezTo>
                  <a:pt x="2395729" y="4268307"/>
                  <a:pt x="2392074" y="4277594"/>
                  <a:pt x="2387650" y="4286400"/>
                </a:cubicBezTo>
                <a:cubicBezTo>
                  <a:pt x="2382938" y="4295110"/>
                  <a:pt x="2377697" y="4303482"/>
                  <a:pt x="2371734" y="4311326"/>
                </a:cubicBezTo>
                <a:cubicBezTo>
                  <a:pt x="2359953" y="4327157"/>
                  <a:pt x="2346056" y="4341112"/>
                  <a:pt x="2331582" y="4354057"/>
                </a:cubicBezTo>
                <a:cubicBezTo>
                  <a:pt x="2317060" y="4366953"/>
                  <a:pt x="2301721" y="4378646"/>
                  <a:pt x="2285805" y="4389136"/>
                </a:cubicBezTo>
                <a:cubicBezTo>
                  <a:pt x="2269936" y="4399626"/>
                  <a:pt x="2253539" y="4409058"/>
                  <a:pt x="2236709" y="4416902"/>
                </a:cubicBezTo>
                <a:cubicBezTo>
                  <a:pt x="2203145" y="4433166"/>
                  <a:pt x="2166456" y="4438459"/>
                  <a:pt x="2131064" y="4442261"/>
                </a:cubicBezTo>
                <a:cubicBezTo>
                  <a:pt x="2095529" y="4445677"/>
                  <a:pt x="2060474" y="4445966"/>
                  <a:pt x="2026526" y="4443175"/>
                </a:cubicBezTo>
                <a:cubicBezTo>
                  <a:pt x="1958484" y="4437593"/>
                  <a:pt x="1895492" y="4419645"/>
                  <a:pt x="1837933" y="4398183"/>
                </a:cubicBezTo>
                <a:cubicBezTo>
                  <a:pt x="1780230" y="4376769"/>
                  <a:pt x="1727528" y="4351891"/>
                  <a:pt x="1676365" y="4332403"/>
                </a:cubicBezTo>
                <a:cubicBezTo>
                  <a:pt x="1625202" y="4313106"/>
                  <a:pt x="1576971" y="4296216"/>
                  <a:pt x="1533021" y="4278460"/>
                </a:cubicBezTo>
                <a:cubicBezTo>
                  <a:pt x="1488974" y="4260944"/>
                  <a:pt x="1449304" y="4242418"/>
                  <a:pt x="1412999" y="4225431"/>
                </a:cubicBezTo>
                <a:cubicBezTo>
                  <a:pt x="1376694" y="4208493"/>
                  <a:pt x="1343515" y="4193528"/>
                  <a:pt x="1312884" y="4182605"/>
                </a:cubicBezTo>
                <a:cubicBezTo>
                  <a:pt x="1282302" y="4171585"/>
                  <a:pt x="1254364" y="4164608"/>
                  <a:pt x="1229936" y="4160950"/>
                </a:cubicBezTo>
                <a:cubicBezTo>
                  <a:pt x="1205509" y="4157293"/>
                  <a:pt x="1184591" y="4156764"/>
                  <a:pt x="1168002" y="4159218"/>
                </a:cubicBezTo>
                <a:cubicBezTo>
                  <a:pt x="1159731" y="4160373"/>
                  <a:pt x="1152566" y="4162538"/>
                  <a:pt x="1146988" y="4165522"/>
                </a:cubicBezTo>
                <a:cubicBezTo>
                  <a:pt x="1144247" y="4167158"/>
                  <a:pt x="1141843" y="4168890"/>
                  <a:pt x="1140208" y="4171007"/>
                </a:cubicBezTo>
                <a:cubicBezTo>
                  <a:pt x="1138621" y="4173125"/>
                  <a:pt x="1137467" y="4175386"/>
                  <a:pt x="1137323" y="4177552"/>
                </a:cubicBezTo>
                <a:cubicBezTo>
                  <a:pt x="1136794" y="4181883"/>
                  <a:pt x="1138381" y="4184914"/>
                  <a:pt x="1139198" y="4186839"/>
                </a:cubicBezTo>
                <a:cubicBezTo>
                  <a:pt x="1140256" y="4188668"/>
                  <a:pt x="1140881" y="4189582"/>
                  <a:pt x="1140881" y="4189582"/>
                </a:cubicBezTo>
                <a:cubicBezTo>
                  <a:pt x="1140881" y="4189582"/>
                  <a:pt x="1140449" y="4188620"/>
                  <a:pt x="1139439" y="4186743"/>
                </a:cubicBezTo>
                <a:cubicBezTo>
                  <a:pt x="1138717" y="4184818"/>
                  <a:pt x="1137227" y="4181787"/>
                  <a:pt x="1137852" y="4177648"/>
                </a:cubicBezTo>
                <a:cubicBezTo>
                  <a:pt x="1137996" y="4175579"/>
                  <a:pt x="1139150" y="4173462"/>
                  <a:pt x="1140689" y="4171441"/>
                </a:cubicBezTo>
                <a:cubicBezTo>
                  <a:pt x="1142324" y="4169420"/>
                  <a:pt x="1144680" y="4167783"/>
                  <a:pt x="1147325" y="4166244"/>
                </a:cubicBezTo>
                <a:cubicBezTo>
                  <a:pt x="1152855" y="4163405"/>
                  <a:pt x="1159923" y="4161383"/>
                  <a:pt x="1168098" y="4160277"/>
                </a:cubicBezTo>
                <a:cubicBezTo>
                  <a:pt x="1184495" y="4158015"/>
                  <a:pt x="1205316" y="4158737"/>
                  <a:pt x="1229600" y="4162538"/>
                </a:cubicBezTo>
                <a:cubicBezTo>
                  <a:pt x="1253883" y="4166340"/>
                  <a:pt x="1281676" y="4173462"/>
                  <a:pt x="1312067" y="4184577"/>
                </a:cubicBezTo>
                <a:cubicBezTo>
                  <a:pt x="1342505" y="4195645"/>
                  <a:pt x="1375540" y="4210707"/>
                  <a:pt x="1411749" y="4227790"/>
                </a:cubicBezTo>
                <a:cubicBezTo>
                  <a:pt x="1447957" y="4244920"/>
                  <a:pt x="1487628" y="4263639"/>
                  <a:pt x="1531723" y="4281347"/>
                </a:cubicBezTo>
                <a:cubicBezTo>
                  <a:pt x="1575721" y="4299296"/>
                  <a:pt x="1623951" y="4316330"/>
                  <a:pt x="1674970" y="4335771"/>
                </a:cubicBezTo>
                <a:cubicBezTo>
                  <a:pt x="1698581" y="4344866"/>
                  <a:pt x="1722575" y="4355115"/>
                  <a:pt x="1747243" y="4365654"/>
                </a:cubicBezTo>
                <a:cubicBezTo>
                  <a:pt x="1674634" y="4337022"/>
                  <a:pt x="1601351" y="4310893"/>
                  <a:pt x="1529655" y="4282069"/>
                </a:cubicBezTo>
                <a:cubicBezTo>
                  <a:pt x="1488878" y="4265949"/>
                  <a:pt x="1449063" y="4247519"/>
                  <a:pt x="1408431" y="4230821"/>
                </a:cubicBezTo>
                <a:cubicBezTo>
                  <a:pt x="1388139" y="4222448"/>
                  <a:pt x="1367750" y="4214412"/>
                  <a:pt x="1347025" y="4207098"/>
                </a:cubicBezTo>
                <a:cubicBezTo>
                  <a:pt x="1326348" y="4199880"/>
                  <a:pt x="1305527" y="4192854"/>
                  <a:pt x="1284081" y="4187753"/>
                </a:cubicBezTo>
                <a:cubicBezTo>
                  <a:pt x="1262683" y="4182653"/>
                  <a:pt x="1240852" y="4178947"/>
                  <a:pt x="1218540" y="4178851"/>
                </a:cubicBezTo>
                <a:cubicBezTo>
                  <a:pt x="1212962" y="4178851"/>
                  <a:pt x="1207384" y="4179092"/>
                  <a:pt x="1201710" y="4179910"/>
                </a:cubicBezTo>
                <a:cubicBezTo>
                  <a:pt x="1196084" y="4180776"/>
                  <a:pt x="1190410" y="4181834"/>
                  <a:pt x="1184832" y="4184577"/>
                </a:cubicBezTo>
                <a:cubicBezTo>
                  <a:pt x="1182043" y="4185925"/>
                  <a:pt x="1179254" y="4187849"/>
                  <a:pt x="1176994" y="4190640"/>
                </a:cubicBezTo>
                <a:cubicBezTo>
                  <a:pt x="1174686" y="4193432"/>
                  <a:pt x="1173483" y="4197570"/>
                  <a:pt x="1173964" y="4201179"/>
                </a:cubicBezTo>
                <a:cubicBezTo>
                  <a:pt x="1175070" y="4208445"/>
                  <a:pt x="1179206" y="4213209"/>
                  <a:pt x="1183053" y="4217395"/>
                </a:cubicBezTo>
                <a:cubicBezTo>
                  <a:pt x="1191131" y="4225624"/>
                  <a:pt x="1199786" y="4232024"/>
                  <a:pt x="1208442" y="4238713"/>
                </a:cubicBezTo>
                <a:lnTo>
                  <a:pt x="1221521" y="4248433"/>
                </a:lnTo>
                <a:lnTo>
                  <a:pt x="1234985" y="4258249"/>
                </a:lnTo>
                <a:cubicBezTo>
                  <a:pt x="1254508" y="4267825"/>
                  <a:pt x="1274031" y="4277401"/>
                  <a:pt x="1293554" y="4286929"/>
                </a:cubicBezTo>
                <a:lnTo>
                  <a:pt x="1297545" y="4279903"/>
                </a:lnTo>
                <a:cubicBezTo>
                  <a:pt x="1287062" y="4272878"/>
                  <a:pt x="1276820" y="4265467"/>
                  <a:pt x="1267010" y="4257624"/>
                </a:cubicBezTo>
                <a:cubicBezTo>
                  <a:pt x="1257249" y="4249780"/>
                  <a:pt x="1247632" y="4241504"/>
                  <a:pt x="1239553" y="4232361"/>
                </a:cubicBezTo>
                <a:cubicBezTo>
                  <a:pt x="1237630" y="4230051"/>
                  <a:pt x="1235706" y="4227693"/>
                  <a:pt x="1234408" y="4225384"/>
                </a:cubicBezTo>
                <a:cubicBezTo>
                  <a:pt x="1233110" y="4222833"/>
                  <a:pt x="1231764" y="4220186"/>
                  <a:pt x="1231283" y="4217684"/>
                </a:cubicBezTo>
                <a:cubicBezTo>
                  <a:pt x="1230706" y="4215182"/>
                  <a:pt x="1230946" y="4213161"/>
                  <a:pt x="1231908" y="4211910"/>
                </a:cubicBezTo>
                <a:cubicBezTo>
                  <a:pt x="1232869" y="4210562"/>
                  <a:pt x="1235129" y="4209456"/>
                  <a:pt x="1237726" y="4208878"/>
                </a:cubicBezTo>
                <a:cubicBezTo>
                  <a:pt x="1243016" y="4207627"/>
                  <a:pt x="1249267" y="4207916"/>
                  <a:pt x="1255326" y="4208445"/>
                </a:cubicBezTo>
                <a:cubicBezTo>
                  <a:pt x="1261432" y="4209023"/>
                  <a:pt x="1267587" y="4209985"/>
                  <a:pt x="1273694" y="4211188"/>
                </a:cubicBezTo>
                <a:cubicBezTo>
                  <a:pt x="1298170" y="4216096"/>
                  <a:pt x="1322309" y="4223459"/>
                  <a:pt x="1346256" y="4231158"/>
                </a:cubicBezTo>
                <a:cubicBezTo>
                  <a:pt x="1357508" y="4234815"/>
                  <a:pt x="1368664" y="4238617"/>
                  <a:pt x="1379868" y="4242514"/>
                </a:cubicBezTo>
                <a:cubicBezTo>
                  <a:pt x="1378377" y="4242033"/>
                  <a:pt x="1376935" y="4241552"/>
                  <a:pt x="1375444" y="4241119"/>
                </a:cubicBezTo>
                <a:cubicBezTo>
                  <a:pt x="1365682" y="4238039"/>
                  <a:pt x="1355825" y="4235200"/>
                  <a:pt x="1345967" y="4232457"/>
                </a:cubicBezTo>
                <a:cubicBezTo>
                  <a:pt x="1336110" y="4229714"/>
                  <a:pt x="1326156" y="4227164"/>
                  <a:pt x="1316010" y="4225191"/>
                </a:cubicBezTo>
                <a:cubicBezTo>
                  <a:pt x="1305816" y="4223314"/>
                  <a:pt x="1295621" y="4221486"/>
                  <a:pt x="1284466" y="4222111"/>
                </a:cubicBezTo>
                <a:cubicBezTo>
                  <a:pt x="1281676" y="4222304"/>
                  <a:pt x="1278791" y="4222689"/>
                  <a:pt x="1275666" y="4223747"/>
                </a:cubicBezTo>
                <a:cubicBezTo>
                  <a:pt x="1272733" y="4224662"/>
                  <a:pt x="1268934" y="4226827"/>
                  <a:pt x="1266866" y="4230821"/>
                </a:cubicBezTo>
                <a:cubicBezTo>
                  <a:pt x="1266433" y="4231831"/>
                  <a:pt x="1265952" y="4232890"/>
                  <a:pt x="1265760" y="4233949"/>
                </a:cubicBezTo>
                <a:cubicBezTo>
                  <a:pt x="1265616" y="4234959"/>
                  <a:pt x="1265568" y="4235970"/>
                  <a:pt x="1265520" y="4236980"/>
                </a:cubicBezTo>
                <a:cubicBezTo>
                  <a:pt x="1265664" y="4238809"/>
                  <a:pt x="1265904" y="4240734"/>
                  <a:pt x="1266481" y="4242177"/>
                </a:cubicBezTo>
                <a:cubicBezTo>
                  <a:pt x="1267010" y="4243717"/>
                  <a:pt x="1267539" y="4245209"/>
                  <a:pt x="1268261" y="4246460"/>
                </a:cubicBezTo>
                <a:cubicBezTo>
                  <a:pt x="1268934" y="4247807"/>
                  <a:pt x="1269655" y="4249059"/>
                  <a:pt x="1270424" y="4250213"/>
                </a:cubicBezTo>
                <a:cubicBezTo>
                  <a:pt x="1276628" y="4259501"/>
                  <a:pt x="1284129" y="4266526"/>
                  <a:pt x="1291823" y="4273359"/>
                </a:cubicBezTo>
                <a:cubicBezTo>
                  <a:pt x="1299564" y="4280096"/>
                  <a:pt x="1307595" y="4286304"/>
                  <a:pt x="1315769" y="4292222"/>
                </a:cubicBezTo>
                <a:cubicBezTo>
                  <a:pt x="1323992" y="4298141"/>
                  <a:pt x="1332359" y="4303723"/>
                  <a:pt x="1340870" y="4309064"/>
                </a:cubicBezTo>
                <a:lnTo>
                  <a:pt x="1344044" y="4311037"/>
                </a:lnTo>
                <a:lnTo>
                  <a:pt x="1344861" y="4311518"/>
                </a:lnTo>
                <a:lnTo>
                  <a:pt x="1346352" y="4312289"/>
                </a:lnTo>
                <a:lnTo>
                  <a:pt x="1348083" y="4313010"/>
                </a:lnTo>
                <a:lnTo>
                  <a:pt x="1354959" y="4315898"/>
                </a:lnTo>
                <a:lnTo>
                  <a:pt x="1368712" y="4321672"/>
                </a:lnTo>
                <a:cubicBezTo>
                  <a:pt x="1387033" y="4329323"/>
                  <a:pt x="1405257" y="4336974"/>
                  <a:pt x="1423385" y="4344577"/>
                </a:cubicBezTo>
                <a:lnTo>
                  <a:pt x="1427280" y="4335964"/>
                </a:lnTo>
                <a:cubicBezTo>
                  <a:pt x="1439735" y="4343326"/>
                  <a:pt x="1452573" y="4350255"/>
                  <a:pt x="1465701" y="4357040"/>
                </a:cubicBezTo>
                <a:cubicBezTo>
                  <a:pt x="1472048" y="4360264"/>
                  <a:pt x="1478444" y="4363440"/>
                  <a:pt x="1484935" y="4366520"/>
                </a:cubicBezTo>
                <a:lnTo>
                  <a:pt x="1494745" y="4371043"/>
                </a:lnTo>
                <a:lnTo>
                  <a:pt x="1499842" y="4373305"/>
                </a:lnTo>
                <a:lnTo>
                  <a:pt x="1505035" y="4375181"/>
                </a:lnTo>
                <a:cubicBezTo>
                  <a:pt x="1518740" y="4380042"/>
                  <a:pt x="1532396" y="4384709"/>
                  <a:pt x="1546341" y="4389329"/>
                </a:cubicBezTo>
                <a:cubicBezTo>
                  <a:pt x="1574134" y="4398568"/>
                  <a:pt x="1602553" y="4407374"/>
                  <a:pt x="1631501" y="4415747"/>
                </a:cubicBezTo>
                <a:lnTo>
                  <a:pt x="1633472" y="4409347"/>
                </a:lnTo>
                <a:cubicBezTo>
                  <a:pt x="1644484" y="4413341"/>
                  <a:pt x="1655928" y="4417286"/>
                  <a:pt x="1667902" y="4421040"/>
                </a:cubicBezTo>
                <a:cubicBezTo>
                  <a:pt x="1688002" y="4427440"/>
                  <a:pt x="1709207" y="4433696"/>
                  <a:pt x="1731423" y="4439518"/>
                </a:cubicBezTo>
                <a:cubicBezTo>
                  <a:pt x="1753639" y="4445245"/>
                  <a:pt x="1776672" y="4450971"/>
                  <a:pt x="1801100" y="4454676"/>
                </a:cubicBezTo>
                <a:cubicBezTo>
                  <a:pt x="1804177" y="4455109"/>
                  <a:pt x="1807255" y="4455494"/>
                  <a:pt x="1810380" y="4455783"/>
                </a:cubicBezTo>
                <a:cubicBezTo>
                  <a:pt x="1813698" y="4455975"/>
                  <a:pt x="1815718" y="4456456"/>
                  <a:pt x="1822450" y="4455975"/>
                </a:cubicBezTo>
                <a:cubicBezTo>
                  <a:pt x="1828220" y="4455350"/>
                  <a:pt x="1831778" y="4452895"/>
                  <a:pt x="1832019" y="4448132"/>
                </a:cubicBezTo>
                <a:cubicBezTo>
                  <a:pt x="1832019" y="4446159"/>
                  <a:pt x="1831201" y="4444186"/>
                  <a:pt x="1829566" y="4442213"/>
                </a:cubicBezTo>
                <a:cubicBezTo>
                  <a:pt x="1828653" y="4441250"/>
                  <a:pt x="1827739" y="4440240"/>
                  <a:pt x="1826585" y="4439374"/>
                </a:cubicBezTo>
                <a:cubicBezTo>
                  <a:pt x="1825527" y="4438556"/>
                  <a:pt x="1824085" y="4437401"/>
                  <a:pt x="1823459" y="4437016"/>
                </a:cubicBezTo>
                <a:cubicBezTo>
                  <a:pt x="1821728" y="4435765"/>
                  <a:pt x="1820574" y="4435091"/>
                  <a:pt x="1819228" y="4434225"/>
                </a:cubicBezTo>
                <a:lnTo>
                  <a:pt x="1815285" y="4431915"/>
                </a:lnTo>
                <a:cubicBezTo>
                  <a:pt x="1815285" y="4431915"/>
                  <a:pt x="1814996" y="4431771"/>
                  <a:pt x="1814852" y="4431723"/>
                </a:cubicBezTo>
                <a:cubicBezTo>
                  <a:pt x="1846781" y="4444138"/>
                  <a:pt x="1876690" y="4455735"/>
                  <a:pt x="1904147" y="4466417"/>
                </a:cubicBezTo>
                <a:cubicBezTo>
                  <a:pt x="1914197" y="4470315"/>
                  <a:pt x="1923959" y="4474068"/>
                  <a:pt x="1933384" y="4477726"/>
                </a:cubicBezTo>
                <a:lnTo>
                  <a:pt x="1935163" y="4478399"/>
                </a:lnTo>
                <a:cubicBezTo>
                  <a:pt x="1935836" y="4478784"/>
                  <a:pt x="1937230" y="4478977"/>
                  <a:pt x="1937711" y="4478977"/>
                </a:cubicBezTo>
                <a:lnTo>
                  <a:pt x="1941414" y="4479410"/>
                </a:lnTo>
                <a:cubicBezTo>
                  <a:pt x="1943866" y="4479698"/>
                  <a:pt x="1946319" y="4479987"/>
                  <a:pt x="1948771" y="4480276"/>
                </a:cubicBezTo>
                <a:cubicBezTo>
                  <a:pt x="1953628" y="4480853"/>
                  <a:pt x="1958388" y="4481383"/>
                  <a:pt x="1963053" y="4481912"/>
                </a:cubicBezTo>
                <a:cubicBezTo>
                  <a:pt x="1981710" y="4484029"/>
                  <a:pt x="1998924" y="4486002"/>
                  <a:pt x="2014552" y="4487783"/>
                </a:cubicBezTo>
                <a:lnTo>
                  <a:pt x="2014889" y="4485184"/>
                </a:lnTo>
                <a:lnTo>
                  <a:pt x="2014889" y="4485184"/>
                </a:lnTo>
                <a:cubicBezTo>
                  <a:pt x="2014889" y="4485184"/>
                  <a:pt x="2016284" y="4483307"/>
                  <a:pt x="2016284" y="4483307"/>
                </a:cubicBezTo>
                <a:lnTo>
                  <a:pt x="2016284" y="4483307"/>
                </a:lnTo>
                <a:cubicBezTo>
                  <a:pt x="2016284" y="4483307"/>
                  <a:pt x="2016284" y="4483307"/>
                  <a:pt x="2016284" y="4483307"/>
                </a:cubicBezTo>
                <a:lnTo>
                  <a:pt x="2016235" y="4483307"/>
                </a:lnTo>
                <a:cubicBezTo>
                  <a:pt x="2016235" y="4483307"/>
                  <a:pt x="2016091" y="4483115"/>
                  <a:pt x="2016091" y="4483115"/>
                </a:cubicBezTo>
                <a:lnTo>
                  <a:pt x="2015803" y="4482971"/>
                </a:lnTo>
                <a:lnTo>
                  <a:pt x="2015226" y="4482634"/>
                </a:lnTo>
                <a:cubicBezTo>
                  <a:pt x="2014793" y="4482441"/>
                  <a:pt x="2014216" y="4482345"/>
                  <a:pt x="2013735" y="4482153"/>
                </a:cubicBezTo>
                <a:lnTo>
                  <a:pt x="2013639" y="4481816"/>
                </a:lnTo>
                <a:lnTo>
                  <a:pt x="2013254" y="4481671"/>
                </a:lnTo>
                <a:lnTo>
                  <a:pt x="2012485" y="4481383"/>
                </a:lnTo>
                <a:lnTo>
                  <a:pt x="2010946" y="4480805"/>
                </a:lnTo>
                <a:cubicBezTo>
                  <a:pt x="2009936" y="4480420"/>
                  <a:pt x="2008926" y="4480180"/>
                  <a:pt x="2007965" y="4479891"/>
                </a:cubicBezTo>
                <a:cubicBezTo>
                  <a:pt x="2005993" y="4479265"/>
                  <a:pt x="2004070" y="4478784"/>
                  <a:pt x="2002146" y="4478255"/>
                </a:cubicBezTo>
                <a:cubicBezTo>
                  <a:pt x="1998347" y="4477341"/>
                  <a:pt x="1994597" y="4476426"/>
                  <a:pt x="1991038" y="4475512"/>
                </a:cubicBezTo>
                <a:cubicBezTo>
                  <a:pt x="1987672" y="4474742"/>
                  <a:pt x="1984451" y="4474020"/>
                  <a:pt x="1981277" y="4473298"/>
                </a:cubicBezTo>
                <a:cubicBezTo>
                  <a:pt x="1995414" y="4475945"/>
                  <a:pt x="2009503" y="4478303"/>
                  <a:pt x="2023400" y="4480516"/>
                </a:cubicBezTo>
                <a:cubicBezTo>
                  <a:pt x="2031815" y="4481864"/>
                  <a:pt x="2040230" y="4483163"/>
                  <a:pt x="2048501" y="4484655"/>
                </a:cubicBezTo>
                <a:cubicBezTo>
                  <a:pt x="2052636" y="4485377"/>
                  <a:pt x="2056676" y="4486195"/>
                  <a:pt x="2060619" y="4487157"/>
                </a:cubicBezTo>
                <a:cubicBezTo>
                  <a:pt x="2062542" y="4487686"/>
                  <a:pt x="2064465" y="4488168"/>
                  <a:pt x="2066004" y="4488841"/>
                </a:cubicBezTo>
                <a:cubicBezTo>
                  <a:pt x="2066822" y="4489130"/>
                  <a:pt x="2067639" y="4489563"/>
                  <a:pt x="2068216" y="4489900"/>
                </a:cubicBezTo>
                <a:lnTo>
                  <a:pt x="2068745" y="4490285"/>
                </a:lnTo>
                <a:lnTo>
                  <a:pt x="2069274" y="4489804"/>
                </a:lnTo>
                <a:lnTo>
                  <a:pt x="2069322" y="4489804"/>
                </a:lnTo>
                <a:cubicBezTo>
                  <a:pt x="2069755" y="4489708"/>
                  <a:pt x="2069515" y="4490140"/>
                  <a:pt x="2069611" y="4490285"/>
                </a:cubicBezTo>
                <a:cubicBezTo>
                  <a:pt x="2069755" y="4491873"/>
                  <a:pt x="2069418" y="4491151"/>
                  <a:pt x="2069274" y="4491151"/>
                </a:cubicBezTo>
                <a:lnTo>
                  <a:pt x="2070380" y="4494904"/>
                </a:lnTo>
                <a:cubicBezTo>
                  <a:pt x="2081055" y="4495626"/>
                  <a:pt x="2091730" y="4496348"/>
                  <a:pt x="2102261" y="4497070"/>
                </a:cubicBezTo>
                <a:cubicBezTo>
                  <a:pt x="2107118" y="4497407"/>
                  <a:pt x="2111926" y="4497744"/>
                  <a:pt x="2116735" y="4498032"/>
                </a:cubicBezTo>
                <a:lnTo>
                  <a:pt x="2120341" y="4498273"/>
                </a:lnTo>
                <a:cubicBezTo>
                  <a:pt x="2120726" y="4498321"/>
                  <a:pt x="2121351" y="4498321"/>
                  <a:pt x="2121832" y="4498273"/>
                </a:cubicBezTo>
                <a:lnTo>
                  <a:pt x="2122746" y="4498177"/>
                </a:lnTo>
                <a:lnTo>
                  <a:pt x="2124525" y="4498032"/>
                </a:lnTo>
                <a:lnTo>
                  <a:pt x="2131690" y="4497407"/>
                </a:lnTo>
                <a:cubicBezTo>
                  <a:pt x="2141499" y="4496396"/>
                  <a:pt x="2151261" y="4495434"/>
                  <a:pt x="2160974" y="4494423"/>
                </a:cubicBezTo>
                <a:lnTo>
                  <a:pt x="2161070" y="4501304"/>
                </a:lnTo>
                <a:cubicBezTo>
                  <a:pt x="2167610" y="4501545"/>
                  <a:pt x="2174149" y="4501738"/>
                  <a:pt x="2180785" y="4501978"/>
                </a:cubicBezTo>
                <a:cubicBezTo>
                  <a:pt x="2184103" y="4502074"/>
                  <a:pt x="2187421" y="4502219"/>
                  <a:pt x="2190739" y="4502315"/>
                </a:cubicBezTo>
                <a:lnTo>
                  <a:pt x="2191989" y="4502315"/>
                </a:lnTo>
                <a:cubicBezTo>
                  <a:pt x="2191989" y="4502315"/>
                  <a:pt x="2192999" y="4502315"/>
                  <a:pt x="2192999" y="4502315"/>
                </a:cubicBezTo>
                <a:lnTo>
                  <a:pt x="2193672" y="4502315"/>
                </a:lnTo>
                <a:cubicBezTo>
                  <a:pt x="2193672" y="4502315"/>
                  <a:pt x="2196173" y="4502122"/>
                  <a:pt x="2196173" y="4502122"/>
                </a:cubicBezTo>
                <a:lnTo>
                  <a:pt x="2201173" y="4501834"/>
                </a:lnTo>
                <a:cubicBezTo>
                  <a:pt x="2213820" y="4501064"/>
                  <a:pt x="2226563" y="4500294"/>
                  <a:pt x="2239450" y="4499524"/>
                </a:cubicBezTo>
                <a:lnTo>
                  <a:pt x="2239546" y="4503133"/>
                </a:lnTo>
                <a:cubicBezTo>
                  <a:pt x="2247769" y="4503085"/>
                  <a:pt x="2256039" y="4502989"/>
                  <a:pt x="2264358" y="4502941"/>
                </a:cubicBezTo>
                <a:cubicBezTo>
                  <a:pt x="2345479" y="4502122"/>
                  <a:pt x="2419868" y="4492883"/>
                  <a:pt x="2481033" y="4487494"/>
                </a:cubicBezTo>
                <a:cubicBezTo>
                  <a:pt x="2496324" y="4486002"/>
                  <a:pt x="2510750" y="4484607"/>
                  <a:pt x="2524262" y="4483307"/>
                </a:cubicBezTo>
                <a:cubicBezTo>
                  <a:pt x="2531042" y="4482682"/>
                  <a:pt x="2537534" y="4482104"/>
                  <a:pt x="2543833" y="4481527"/>
                </a:cubicBezTo>
                <a:cubicBezTo>
                  <a:pt x="2550084" y="4480950"/>
                  <a:pt x="2556143" y="4480565"/>
                  <a:pt x="2561817" y="4479410"/>
                </a:cubicBezTo>
                <a:cubicBezTo>
                  <a:pt x="2584658" y="4475560"/>
                  <a:pt x="2603171" y="4472240"/>
                  <a:pt x="2616491" y="4469738"/>
                </a:cubicBezTo>
                <a:lnTo>
                  <a:pt x="2616346" y="4468390"/>
                </a:lnTo>
                <a:cubicBezTo>
                  <a:pt x="2617885" y="4468246"/>
                  <a:pt x="2619472" y="4468150"/>
                  <a:pt x="2621011" y="4468005"/>
                </a:cubicBezTo>
                <a:cubicBezTo>
                  <a:pt x="2629185" y="4467380"/>
                  <a:pt x="2637071" y="4466850"/>
                  <a:pt x="2644669" y="4466465"/>
                </a:cubicBezTo>
                <a:cubicBezTo>
                  <a:pt x="2644957" y="4466465"/>
                  <a:pt x="2646111" y="4466417"/>
                  <a:pt x="2646593" y="4466273"/>
                </a:cubicBezTo>
                <a:lnTo>
                  <a:pt x="2647987" y="4465984"/>
                </a:lnTo>
                <a:lnTo>
                  <a:pt x="2650776" y="4465407"/>
                </a:lnTo>
                <a:cubicBezTo>
                  <a:pt x="2652651" y="4465022"/>
                  <a:pt x="2654478" y="4464637"/>
                  <a:pt x="2656306" y="4464300"/>
                </a:cubicBezTo>
                <a:cubicBezTo>
                  <a:pt x="2659960" y="4463530"/>
                  <a:pt x="2663519" y="4462808"/>
                  <a:pt x="2667029" y="4462087"/>
                </a:cubicBezTo>
                <a:cubicBezTo>
                  <a:pt x="2681070" y="4459199"/>
                  <a:pt x="2694005" y="4456505"/>
                  <a:pt x="2705738" y="4454050"/>
                </a:cubicBezTo>
                <a:lnTo>
                  <a:pt x="2705305" y="4449479"/>
                </a:lnTo>
                <a:cubicBezTo>
                  <a:pt x="2708190" y="4449623"/>
                  <a:pt x="2711027" y="4449720"/>
                  <a:pt x="2713913" y="4449768"/>
                </a:cubicBezTo>
                <a:cubicBezTo>
                  <a:pt x="2717231" y="4449768"/>
                  <a:pt x="2720549" y="4449768"/>
                  <a:pt x="2723818" y="4449575"/>
                </a:cubicBezTo>
                <a:lnTo>
                  <a:pt x="2726271" y="4449431"/>
                </a:lnTo>
                <a:lnTo>
                  <a:pt x="2727521" y="4449335"/>
                </a:lnTo>
                <a:lnTo>
                  <a:pt x="2729108" y="4449094"/>
                </a:lnTo>
                <a:lnTo>
                  <a:pt x="2733820" y="4448035"/>
                </a:lnTo>
                <a:cubicBezTo>
                  <a:pt x="2740071" y="4446592"/>
                  <a:pt x="2746226" y="4445196"/>
                  <a:pt x="2752333" y="4443801"/>
                </a:cubicBezTo>
                <a:cubicBezTo>
                  <a:pt x="2776665" y="4438123"/>
                  <a:pt x="2799794" y="4432300"/>
                  <a:pt x="2821625" y="4426429"/>
                </a:cubicBezTo>
                <a:cubicBezTo>
                  <a:pt x="2843456" y="4420559"/>
                  <a:pt x="2863988" y="4414688"/>
                  <a:pt x="2883271" y="4408914"/>
                </a:cubicBezTo>
                <a:cubicBezTo>
                  <a:pt x="2892840" y="4405882"/>
                  <a:pt x="2902265" y="4403428"/>
                  <a:pt x="2911160" y="4400060"/>
                </a:cubicBezTo>
                <a:cubicBezTo>
                  <a:pt x="2917460" y="4397702"/>
                  <a:pt x="2923470" y="4395344"/>
                  <a:pt x="2929385" y="4393034"/>
                </a:cubicBezTo>
                <a:lnTo>
                  <a:pt x="2929962" y="4394766"/>
                </a:lnTo>
                <a:cubicBezTo>
                  <a:pt x="2942272" y="4390724"/>
                  <a:pt x="2954534" y="4386682"/>
                  <a:pt x="2966796" y="4382640"/>
                </a:cubicBezTo>
                <a:cubicBezTo>
                  <a:pt x="2976461" y="4379224"/>
                  <a:pt x="2985790" y="4375229"/>
                  <a:pt x="2995070" y="4371091"/>
                </a:cubicBezTo>
                <a:lnTo>
                  <a:pt x="2996609" y="4375133"/>
                </a:lnTo>
                <a:cubicBezTo>
                  <a:pt x="3003582" y="4372631"/>
                  <a:pt x="3010602" y="4370081"/>
                  <a:pt x="3017574" y="4367530"/>
                </a:cubicBezTo>
                <a:cubicBezTo>
                  <a:pt x="3024499" y="4365028"/>
                  <a:pt x="3031712" y="4362622"/>
                  <a:pt x="3038492" y="4359302"/>
                </a:cubicBezTo>
                <a:cubicBezTo>
                  <a:pt x="3048542" y="4354682"/>
                  <a:pt x="3058592" y="4349966"/>
                  <a:pt x="3068449" y="4344529"/>
                </a:cubicBezTo>
                <a:lnTo>
                  <a:pt x="3069892" y="4347945"/>
                </a:lnTo>
                <a:cubicBezTo>
                  <a:pt x="3115381" y="4330093"/>
                  <a:pt x="3158658" y="4311133"/>
                  <a:pt x="3199483" y="4291934"/>
                </a:cubicBezTo>
                <a:lnTo>
                  <a:pt x="3203282" y="4290105"/>
                </a:lnTo>
                <a:lnTo>
                  <a:pt x="3205205" y="4289191"/>
                </a:lnTo>
                <a:lnTo>
                  <a:pt x="3206456" y="4288613"/>
                </a:lnTo>
                <a:lnTo>
                  <a:pt x="3208187" y="4287314"/>
                </a:lnTo>
                <a:lnTo>
                  <a:pt x="3214342" y="4282646"/>
                </a:lnTo>
                <a:cubicBezTo>
                  <a:pt x="3218958" y="4279567"/>
                  <a:pt x="3223526" y="4276535"/>
                  <a:pt x="3228094" y="4273552"/>
                </a:cubicBezTo>
                <a:cubicBezTo>
                  <a:pt x="3232278" y="4270809"/>
                  <a:pt x="3236509" y="4268114"/>
                  <a:pt x="3240693" y="4265467"/>
                </a:cubicBezTo>
                <a:lnTo>
                  <a:pt x="3244107" y="4271050"/>
                </a:lnTo>
                <a:cubicBezTo>
                  <a:pt x="3253916" y="4266045"/>
                  <a:pt x="3263726" y="4261089"/>
                  <a:pt x="3273487" y="4256132"/>
                </a:cubicBezTo>
                <a:lnTo>
                  <a:pt x="3280844" y="4252427"/>
                </a:lnTo>
                <a:lnTo>
                  <a:pt x="3284499" y="4250550"/>
                </a:lnTo>
                <a:lnTo>
                  <a:pt x="3286326" y="4249636"/>
                </a:lnTo>
                <a:cubicBezTo>
                  <a:pt x="3286855" y="4249540"/>
                  <a:pt x="3288827" y="4248048"/>
                  <a:pt x="3288875" y="4247952"/>
                </a:cubicBezTo>
                <a:cubicBezTo>
                  <a:pt x="3292818" y="4244872"/>
                  <a:pt x="3297434" y="4241841"/>
                  <a:pt x="3301954" y="4238905"/>
                </a:cubicBezTo>
                <a:cubicBezTo>
                  <a:pt x="3305368" y="4236692"/>
                  <a:pt x="3308878" y="4234526"/>
                  <a:pt x="3312340" y="4232361"/>
                </a:cubicBezTo>
                <a:lnTo>
                  <a:pt x="3313927" y="4234911"/>
                </a:lnTo>
                <a:cubicBezTo>
                  <a:pt x="3322871" y="4230003"/>
                  <a:pt x="3332008" y="4224950"/>
                  <a:pt x="3341240" y="4219850"/>
                </a:cubicBezTo>
                <a:cubicBezTo>
                  <a:pt x="3345856" y="4217299"/>
                  <a:pt x="3350521" y="4214701"/>
                  <a:pt x="3355233" y="4212102"/>
                </a:cubicBezTo>
                <a:cubicBezTo>
                  <a:pt x="3357589" y="4210803"/>
                  <a:pt x="3359945" y="4209504"/>
                  <a:pt x="3362302" y="4208156"/>
                </a:cubicBezTo>
                <a:lnTo>
                  <a:pt x="3369370" y="4203489"/>
                </a:lnTo>
                <a:cubicBezTo>
                  <a:pt x="3388316" y="4191218"/>
                  <a:pt x="3407454" y="4179910"/>
                  <a:pt x="3425583" y="4168794"/>
                </a:cubicBezTo>
                <a:cubicBezTo>
                  <a:pt x="3443759" y="4157726"/>
                  <a:pt x="3461070" y="4146851"/>
                  <a:pt x="3477371" y="4136698"/>
                </a:cubicBezTo>
                <a:cubicBezTo>
                  <a:pt x="3485642" y="4131790"/>
                  <a:pt x="3493047" y="4126159"/>
                  <a:pt x="3500452" y="4121011"/>
                </a:cubicBezTo>
                <a:cubicBezTo>
                  <a:pt x="3507761" y="4115814"/>
                  <a:pt x="3514830" y="4110809"/>
                  <a:pt x="3521562" y="4106045"/>
                </a:cubicBezTo>
                <a:cubicBezTo>
                  <a:pt x="3534978" y="4096421"/>
                  <a:pt x="3547192" y="4087663"/>
                  <a:pt x="3558011" y="4079916"/>
                </a:cubicBezTo>
                <a:lnTo>
                  <a:pt x="3557242" y="4078809"/>
                </a:lnTo>
                <a:cubicBezTo>
                  <a:pt x="3563397" y="4074623"/>
                  <a:pt x="3569599" y="4070485"/>
                  <a:pt x="3575706" y="4066250"/>
                </a:cubicBezTo>
                <a:cubicBezTo>
                  <a:pt x="3593258" y="4054075"/>
                  <a:pt x="3610521" y="4041564"/>
                  <a:pt x="3627399" y="4028572"/>
                </a:cubicBezTo>
                <a:cubicBezTo>
                  <a:pt x="3644325" y="4015627"/>
                  <a:pt x="3660386" y="4001432"/>
                  <a:pt x="3675917" y="3987140"/>
                </a:cubicBezTo>
                <a:cubicBezTo>
                  <a:pt x="3683323" y="3980259"/>
                  <a:pt x="3690584" y="3973330"/>
                  <a:pt x="3697845" y="3966401"/>
                </a:cubicBezTo>
                <a:lnTo>
                  <a:pt x="3701258" y="3970250"/>
                </a:lnTo>
                <a:cubicBezTo>
                  <a:pt x="3720301" y="3954130"/>
                  <a:pt x="3739823" y="3937144"/>
                  <a:pt x="3759442" y="3919291"/>
                </a:cubicBezTo>
                <a:cubicBezTo>
                  <a:pt x="3774157" y="3905865"/>
                  <a:pt x="3788438" y="3892488"/>
                  <a:pt x="3802143" y="3879207"/>
                </a:cubicBezTo>
                <a:lnTo>
                  <a:pt x="3798825" y="3875405"/>
                </a:lnTo>
                <a:lnTo>
                  <a:pt x="3799354" y="3875646"/>
                </a:lnTo>
                <a:cubicBezTo>
                  <a:pt x="3799883" y="3875838"/>
                  <a:pt x="3800411" y="3876127"/>
                  <a:pt x="3800892" y="3876464"/>
                </a:cubicBezTo>
                <a:cubicBezTo>
                  <a:pt x="3801614" y="3876849"/>
                  <a:pt x="3802431" y="3877330"/>
                  <a:pt x="3803056" y="3877715"/>
                </a:cubicBezTo>
                <a:lnTo>
                  <a:pt x="3803249" y="3877427"/>
                </a:lnTo>
                <a:lnTo>
                  <a:pt x="3804018" y="3876416"/>
                </a:lnTo>
                <a:lnTo>
                  <a:pt x="3805845" y="3874250"/>
                </a:lnTo>
                <a:lnTo>
                  <a:pt x="3809740" y="3869823"/>
                </a:lnTo>
                <a:cubicBezTo>
                  <a:pt x="3812385" y="3866888"/>
                  <a:pt x="3815078" y="3864001"/>
                  <a:pt x="3817722" y="3861066"/>
                </a:cubicBezTo>
                <a:cubicBezTo>
                  <a:pt x="3823108" y="3855291"/>
                  <a:pt x="3828397" y="3849613"/>
                  <a:pt x="3833639" y="3844031"/>
                </a:cubicBezTo>
                <a:cubicBezTo>
                  <a:pt x="3844218" y="3832915"/>
                  <a:pt x="3854508" y="3822088"/>
                  <a:pt x="3864510" y="3811598"/>
                </a:cubicBezTo>
                <a:cubicBezTo>
                  <a:pt x="3874608" y="3801204"/>
                  <a:pt x="3884369" y="3791195"/>
                  <a:pt x="3893698" y="3781571"/>
                </a:cubicBezTo>
                <a:cubicBezTo>
                  <a:pt x="3898410" y="3776807"/>
                  <a:pt x="3903027" y="3772091"/>
                  <a:pt x="3907547" y="3767520"/>
                </a:cubicBezTo>
                <a:lnTo>
                  <a:pt x="3908076" y="3766991"/>
                </a:lnTo>
                <a:lnTo>
                  <a:pt x="3909086" y="3767857"/>
                </a:lnTo>
                <a:cubicBezTo>
                  <a:pt x="3909086" y="3767857"/>
                  <a:pt x="3909134" y="3767809"/>
                  <a:pt x="3909182" y="3767761"/>
                </a:cubicBezTo>
                <a:lnTo>
                  <a:pt x="3909182" y="3767761"/>
                </a:lnTo>
                <a:cubicBezTo>
                  <a:pt x="3909182" y="3767761"/>
                  <a:pt x="3912211" y="3764200"/>
                  <a:pt x="3912211" y="3764200"/>
                </a:cubicBezTo>
                <a:lnTo>
                  <a:pt x="3912596" y="3763719"/>
                </a:lnTo>
                <a:cubicBezTo>
                  <a:pt x="3929762" y="3743556"/>
                  <a:pt x="3945005" y="3725655"/>
                  <a:pt x="3957796" y="3710642"/>
                </a:cubicBezTo>
                <a:lnTo>
                  <a:pt x="3958373" y="3709968"/>
                </a:lnTo>
                <a:lnTo>
                  <a:pt x="3958518" y="3709198"/>
                </a:lnTo>
                <a:cubicBezTo>
                  <a:pt x="3958614" y="3708621"/>
                  <a:pt x="3958518" y="3707995"/>
                  <a:pt x="3958373" y="3707418"/>
                </a:cubicBezTo>
                <a:cubicBezTo>
                  <a:pt x="3958325" y="3706841"/>
                  <a:pt x="3957075" y="3705445"/>
                  <a:pt x="3956113" y="3705301"/>
                </a:cubicBezTo>
                <a:cubicBezTo>
                  <a:pt x="3955681" y="3705204"/>
                  <a:pt x="3955200" y="3705156"/>
                  <a:pt x="3954719" y="3705204"/>
                </a:cubicBezTo>
                <a:cubicBezTo>
                  <a:pt x="3954142" y="3705252"/>
                  <a:pt x="3954238" y="3705301"/>
                  <a:pt x="3953997" y="3705349"/>
                </a:cubicBezTo>
                <a:cubicBezTo>
                  <a:pt x="3953180" y="3705589"/>
                  <a:pt x="3952940" y="3705782"/>
                  <a:pt x="3952459" y="3706022"/>
                </a:cubicBezTo>
                <a:cubicBezTo>
                  <a:pt x="3951738" y="3706407"/>
                  <a:pt x="3951112" y="3706841"/>
                  <a:pt x="3950535" y="3707225"/>
                </a:cubicBezTo>
                <a:cubicBezTo>
                  <a:pt x="3949381" y="3708044"/>
                  <a:pt x="3948323" y="3708861"/>
                  <a:pt x="3947314" y="3709679"/>
                </a:cubicBezTo>
                <a:cubicBezTo>
                  <a:pt x="3945246" y="3711316"/>
                  <a:pt x="3943371" y="3712904"/>
                  <a:pt x="3941543" y="3714491"/>
                </a:cubicBezTo>
                <a:cubicBezTo>
                  <a:pt x="3937889" y="3717668"/>
                  <a:pt x="3934523" y="3720747"/>
                  <a:pt x="3931445" y="3723634"/>
                </a:cubicBezTo>
                <a:cubicBezTo>
                  <a:pt x="3925290" y="3729409"/>
                  <a:pt x="3920193" y="3734510"/>
                  <a:pt x="3916106" y="3738696"/>
                </a:cubicBezTo>
                <a:cubicBezTo>
                  <a:pt x="3907931" y="3747117"/>
                  <a:pt x="3903892" y="3751977"/>
                  <a:pt x="3904277" y="3752362"/>
                </a:cubicBezTo>
                <a:cubicBezTo>
                  <a:pt x="3904710" y="3752795"/>
                  <a:pt x="3909518" y="3748705"/>
                  <a:pt x="3918366" y="3741054"/>
                </a:cubicBezTo>
                <a:cubicBezTo>
                  <a:pt x="3922790" y="3737300"/>
                  <a:pt x="3928175" y="3732681"/>
                  <a:pt x="3934523" y="3727243"/>
                </a:cubicBezTo>
                <a:cubicBezTo>
                  <a:pt x="3927070" y="3735472"/>
                  <a:pt x="3919087" y="3744278"/>
                  <a:pt x="3910624" y="3753661"/>
                </a:cubicBezTo>
                <a:cubicBezTo>
                  <a:pt x="3910384" y="3753710"/>
                  <a:pt x="3910143" y="3753806"/>
                  <a:pt x="3910143" y="3753806"/>
                </a:cubicBezTo>
                <a:lnTo>
                  <a:pt x="3909518" y="3754095"/>
                </a:lnTo>
                <a:cubicBezTo>
                  <a:pt x="3908604" y="3754624"/>
                  <a:pt x="3908653" y="3754672"/>
                  <a:pt x="3908316" y="3754913"/>
                </a:cubicBezTo>
                <a:lnTo>
                  <a:pt x="3907739" y="3755394"/>
                </a:lnTo>
                <a:lnTo>
                  <a:pt x="3906777" y="3756260"/>
                </a:lnTo>
                <a:lnTo>
                  <a:pt x="3904950" y="3757944"/>
                </a:lnTo>
                <a:lnTo>
                  <a:pt x="3901440" y="3761313"/>
                </a:lnTo>
                <a:cubicBezTo>
                  <a:pt x="3896824" y="3765836"/>
                  <a:pt x="3892111" y="3770455"/>
                  <a:pt x="3887302" y="3775171"/>
                </a:cubicBezTo>
                <a:cubicBezTo>
                  <a:pt x="3878070" y="3784362"/>
                  <a:pt x="3868501" y="3793938"/>
                  <a:pt x="3858595" y="3803802"/>
                </a:cubicBezTo>
                <a:cubicBezTo>
                  <a:pt x="3871290" y="3789607"/>
                  <a:pt x="3881773" y="3777962"/>
                  <a:pt x="3889418" y="3769397"/>
                </a:cubicBezTo>
                <a:cubicBezTo>
                  <a:pt x="3899468" y="3758858"/>
                  <a:pt x="3904758" y="3752843"/>
                  <a:pt x="3904277" y="3752410"/>
                </a:cubicBezTo>
                <a:cubicBezTo>
                  <a:pt x="3903844" y="3751929"/>
                  <a:pt x="3897689" y="3757078"/>
                  <a:pt x="3886774" y="3766846"/>
                </a:cubicBezTo>
                <a:cubicBezTo>
                  <a:pt x="3883456" y="3769974"/>
                  <a:pt x="3879657" y="3773679"/>
                  <a:pt x="3875570" y="3777770"/>
                </a:cubicBezTo>
                <a:cubicBezTo>
                  <a:pt x="3880426" y="3772091"/>
                  <a:pt x="3885283" y="3766365"/>
                  <a:pt x="3890092" y="3760687"/>
                </a:cubicBezTo>
                <a:cubicBezTo>
                  <a:pt x="3903267" y="3745048"/>
                  <a:pt x="3916395" y="3729409"/>
                  <a:pt x="3928752" y="3713048"/>
                </a:cubicBezTo>
                <a:cubicBezTo>
                  <a:pt x="3934956" y="3704819"/>
                  <a:pt x="3940870" y="3696302"/>
                  <a:pt x="3945871" y="3687063"/>
                </a:cubicBezTo>
                <a:cubicBezTo>
                  <a:pt x="3948372" y="3682444"/>
                  <a:pt x="3950535" y="3677295"/>
                  <a:pt x="3952218" y="3672531"/>
                </a:cubicBezTo>
                <a:cubicBezTo>
                  <a:pt x="3953805" y="3667911"/>
                  <a:pt x="3955825" y="3664398"/>
                  <a:pt x="3958662" y="3660549"/>
                </a:cubicBezTo>
                <a:cubicBezTo>
                  <a:pt x="3964480" y="3652994"/>
                  <a:pt x="3971501" y="3645824"/>
                  <a:pt x="3978425" y="3638702"/>
                </a:cubicBezTo>
                <a:cubicBezTo>
                  <a:pt x="3984773" y="3632302"/>
                  <a:pt x="3991264" y="3625999"/>
                  <a:pt x="3997756" y="3619743"/>
                </a:cubicBezTo>
                <a:cubicBezTo>
                  <a:pt x="3992226" y="3627635"/>
                  <a:pt x="3986648" y="3635526"/>
                  <a:pt x="3981118" y="3643370"/>
                </a:cubicBezTo>
                <a:cubicBezTo>
                  <a:pt x="3976935" y="3649433"/>
                  <a:pt x="3973376" y="3655400"/>
                  <a:pt x="3970058" y="3662089"/>
                </a:cubicBezTo>
                <a:cubicBezTo>
                  <a:pt x="3969241" y="3663773"/>
                  <a:pt x="3968471" y="3665505"/>
                  <a:pt x="3967798" y="3667430"/>
                </a:cubicBezTo>
                <a:cubicBezTo>
                  <a:pt x="3967462" y="3668296"/>
                  <a:pt x="3967077" y="3669547"/>
                  <a:pt x="3966788" y="3670895"/>
                </a:cubicBezTo>
                <a:cubicBezTo>
                  <a:pt x="3966500" y="3672531"/>
                  <a:pt x="3966307" y="3674167"/>
                  <a:pt x="3966596" y="3675707"/>
                </a:cubicBezTo>
                <a:cubicBezTo>
                  <a:pt x="3966933" y="3678835"/>
                  <a:pt x="3969337" y="3681433"/>
                  <a:pt x="3972318" y="3682203"/>
                </a:cubicBezTo>
                <a:cubicBezTo>
                  <a:pt x="3973809" y="3682636"/>
                  <a:pt x="3975540" y="3682684"/>
                  <a:pt x="3977127" y="3682588"/>
                </a:cubicBezTo>
                <a:lnTo>
                  <a:pt x="3978666" y="3682492"/>
                </a:lnTo>
                <a:cubicBezTo>
                  <a:pt x="3978954" y="3683935"/>
                  <a:pt x="3979387" y="3678257"/>
                  <a:pt x="3980108" y="3680038"/>
                </a:cubicBezTo>
                <a:lnTo>
                  <a:pt x="3981214" y="3680423"/>
                </a:lnTo>
                <a:lnTo>
                  <a:pt x="3981406" y="3680519"/>
                </a:lnTo>
                <a:lnTo>
                  <a:pt x="3981695" y="3680615"/>
                </a:lnTo>
                <a:lnTo>
                  <a:pt x="3984628" y="3681481"/>
                </a:lnTo>
                <a:cubicBezTo>
                  <a:pt x="3992755" y="3671328"/>
                  <a:pt x="4000881" y="3661222"/>
                  <a:pt x="4008960" y="3651214"/>
                </a:cubicBezTo>
                <a:lnTo>
                  <a:pt x="4006988" y="3648952"/>
                </a:lnTo>
                <a:cubicBezTo>
                  <a:pt x="4007277" y="3648374"/>
                  <a:pt x="4007806" y="3647123"/>
                  <a:pt x="4008383" y="3646113"/>
                </a:cubicBezTo>
                <a:cubicBezTo>
                  <a:pt x="4010210" y="3642648"/>
                  <a:pt x="4012470" y="3639135"/>
                  <a:pt x="4014682" y="3635671"/>
                </a:cubicBezTo>
                <a:cubicBezTo>
                  <a:pt x="4017230" y="3631725"/>
                  <a:pt x="4019875" y="3627779"/>
                  <a:pt x="4022568" y="3623833"/>
                </a:cubicBezTo>
                <a:cubicBezTo>
                  <a:pt x="4022664" y="3624026"/>
                  <a:pt x="4022760" y="3624218"/>
                  <a:pt x="4022856" y="3624362"/>
                </a:cubicBezTo>
                <a:cubicBezTo>
                  <a:pt x="4023241" y="3624748"/>
                  <a:pt x="4023963" y="3625132"/>
                  <a:pt x="4024636" y="3625180"/>
                </a:cubicBezTo>
                <a:cubicBezTo>
                  <a:pt x="4025453" y="3625180"/>
                  <a:pt x="4025501" y="3625084"/>
                  <a:pt x="4025645" y="3625084"/>
                </a:cubicBezTo>
                <a:lnTo>
                  <a:pt x="4026511" y="3624748"/>
                </a:lnTo>
                <a:lnTo>
                  <a:pt x="4026896" y="3624555"/>
                </a:lnTo>
                <a:lnTo>
                  <a:pt x="4027281" y="3624122"/>
                </a:lnTo>
                <a:cubicBezTo>
                  <a:pt x="4038821" y="3609782"/>
                  <a:pt x="4056036" y="3589138"/>
                  <a:pt x="4074212" y="3562961"/>
                </a:cubicBezTo>
                <a:cubicBezTo>
                  <a:pt x="4092821" y="3536928"/>
                  <a:pt x="4115278" y="3507046"/>
                  <a:pt x="4136483" y="3473025"/>
                </a:cubicBezTo>
                <a:cubicBezTo>
                  <a:pt x="4141484" y="3465229"/>
                  <a:pt x="4146437" y="3457578"/>
                  <a:pt x="4151294" y="3450023"/>
                </a:cubicBezTo>
                <a:lnTo>
                  <a:pt x="4148601" y="3448291"/>
                </a:lnTo>
                <a:cubicBezTo>
                  <a:pt x="4174952" y="3409650"/>
                  <a:pt x="4199332" y="3370095"/>
                  <a:pt x="4220249" y="3329290"/>
                </a:cubicBezTo>
                <a:cubicBezTo>
                  <a:pt x="4223903" y="3322168"/>
                  <a:pt x="4227462" y="3314950"/>
                  <a:pt x="4230732" y="3307587"/>
                </a:cubicBezTo>
                <a:lnTo>
                  <a:pt x="4233136" y="3302006"/>
                </a:lnTo>
                <a:cubicBezTo>
                  <a:pt x="4233761" y="3300562"/>
                  <a:pt x="4234482" y="3298637"/>
                  <a:pt x="4235300" y="3296472"/>
                </a:cubicBezTo>
                <a:lnTo>
                  <a:pt x="4238185" y="3297963"/>
                </a:lnTo>
                <a:cubicBezTo>
                  <a:pt x="4238185" y="3297963"/>
                  <a:pt x="4238185" y="3297867"/>
                  <a:pt x="4238233" y="3297867"/>
                </a:cubicBezTo>
                <a:lnTo>
                  <a:pt x="4238233" y="3297867"/>
                </a:lnTo>
                <a:cubicBezTo>
                  <a:pt x="4238233" y="3297867"/>
                  <a:pt x="4238233" y="3297867"/>
                  <a:pt x="4238233" y="3297867"/>
                </a:cubicBezTo>
                <a:cubicBezTo>
                  <a:pt x="4245686" y="3283239"/>
                  <a:pt x="4253140" y="3268514"/>
                  <a:pt x="4260641" y="3253741"/>
                </a:cubicBezTo>
                <a:cubicBezTo>
                  <a:pt x="4262420" y="3249699"/>
                  <a:pt x="4264007" y="3245994"/>
                  <a:pt x="4265594" y="3242000"/>
                </a:cubicBezTo>
                <a:lnTo>
                  <a:pt x="4267854" y="3236081"/>
                </a:lnTo>
                <a:lnTo>
                  <a:pt x="4269344" y="3231943"/>
                </a:lnTo>
                <a:cubicBezTo>
                  <a:pt x="4269970" y="3230018"/>
                  <a:pt x="4270643" y="3228045"/>
                  <a:pt x="4271028" y="3226216"/>
                </a:cubicBezTo>
                <a:cubicBezTo>
                  <a:pt x="4271316" y="3225254"/>
                  <a:pt x="4271412" y="3224388"/>
                  <a:pt x="4271412" y="3223618"/>
                </a:cubicBezTo>
                <a:cubicBezTo>
                  <a:pt x="4271508" y="3222752"/>
                  <a:pt x="4271412" y="3222126"/>
                  <a:pt x="4271268" y="3221452"/>
                </a:cubicBezTo>
                <a:cubicBezTo>
                  <a:pt x="4270931" y="3220201"/>
                  <a:pt x="4270643" y="3219383"/>
                  <a:pt x="4269681" y="3218373"/>
                </a:cubicBezTo>
                <a:cubicBezTo>
                  <a:pt x="4267421" y="3216063"/>
                  <a:pt x="4264969" y="3215726"/>
                  <a:pt x="4262083" y="3216400"/>
                </a:cubicBezTo>
                <a:cubicBezTo>
                  <a:pt x="4260689" y="3216544"/>
                  <a:pt x="4258958" y="3217699"/>
                  <a:pt x="4257419" y="3218373"/>
                </a:cubicBezTo>
                <a:cubicBezTo>
                  <a:pt x="4255784" y="3219528"/>
                  <a:pt x="4254149" y="3220634"/>
                  <a:pt x="4252563" y="3221885"/>
                </a:cubicBezTo>
                <a:lnTo>
                  <a:pt x="4249678" y="3224436"/>
                </a:lnTo>
                <a:lnTo>
                  <a:pt x="4247273" y="3226697"/>
                </a:lnTo>
                <a:cubicBezTo>
                  <a:pt x="4244436" y="3229585"/>
                  <a:pt x="4241695" y="3232520"/>
                  <a:pt x="4239050" y="3235503"/>
                </a:cubicBezTo>
                <a:cubicBezTo>
                  <a:pt x="4239772" y="3234397"/>
                  <a:pt x="4240541" y="3233290"/>
                  <a:pt x="4241263" y="3232183"/>
                </a:cubicBezTo>
                <a:cubicBezTo>
                  <a:pt x="4244773" y="3227082"/>
                  <a:pt x="4248283" y="3222030"/>
                  <a:pt x="4251841" y="3217266"/>
                </a:cubicBezTo>
                <a:cubicBezTo>
                  <a:pt x="4255400" y="3212310"/>
                  <a:pt x="4259102" y="3208267"/>
                  <a:pt x="4263382" y="3204177"/>
                </a:cubicBezTo>
                <a:cubicBezTo>
                  <a:pt x="4267613" y="3200135"/>
                  <a:pt x="4272230" y="3196237"/>
                  <a:pt x="4276654" y="3191907"/>
                </a:cubicBezTo>
                <a:cubicBezTo>
                  <a:pt x="4281077" y="3187624"/>
                  <a:pt x="4285165" y="3183004"/>
                  <a:pt x="4288915" y="3178240"/>
                </a:cubicBezTo>
                <a:cubicBezTo>
                  <a:pt x="4296273" y="3168568"/>
                  <a:pt x="4302139" y="3158223"/>
                  <a:pt x="4307236" y="3147877"/>
                </a:cubicBezTo>
                <a:cubicBezTo>
                  <a:pt x="4317382" y="3127089"/>
                  <a:pt x="4324595" y="3106253"/>
                  <a:pt x="4331856" y="3086427"/>
                </a:cubicBezTo>
                <a:cubicBezTo>
                  <a:pt x="4338107" y="3068863"/>
                  <a:pt x="4343926" y="3051877"/>
                  <a:pt x="4349359" y="3035516"/>
                </a:cubicBezTo>
                <a:lnTo>
                  <a:pt x="4352196" y="3036575"/>
                </a:lnTo>
                <a:cubicBezTo>
                  <a:pt x="4352196" y="3036575"/>
                  <a:pt x="4352196" y="3036575"/>
                  <a:pt x="4352196" y="3036575"/>
                </a:cubicBezTo>
                <a:lnTo>
                  <a:pt x="4352196" y="3036575"/>
                </a:lnTo>
                <a:cubicBezTo>
                  <a:pt x="4358015" y="3020021"/>
                  <a:pt x="4363689" y="3003901"/>
                  <a:pt x="4369219" y="2988166"/>
                </a:cubicBezTo>
                <a:cubicBezTo>
                  <a:pt x="4374508" y="2972286"/>
                  <a:pt x="4378932" y="2956695"/>
                  <a:pt x="4383164" y="2941537"/>
                </a:cubicBezTo>
                <a:cubicBezTo>
                  <a:pt x="4383837" y="2939083"/>
                  <a:pt x="4384462" y="2936725"/>
                  <a:pt x="4385135" y="2934271"/>
                </a:cubicBezTo>
                <a:lnTo>
                  <a:pt x="4385424" y="2934367"/>
                </a:lnTo>
                <a:cubicBezTo>
                  <a:pt x="4410909" y="2856750"/>
                  <a:pt x="4419757" y="2794097"/>
                  <a:pt x="4427835" y="2752425"/>
                </a:cubicBezTo>
                <a:cubicBezTo>
                  <a:pt x="4431538" y="2731493"/>
                  <a:pt x="4433990" y="2715469"/>
                  <a:pt x="4435433" y="2704690"/>
                </a:cubicBezTo>
                <a:cubicBezTo>
                  <a:pt x="4436154" y="2699301"/>
                  <a:pt x="4436587" y="2695210"/>
                  <a:pt x="4436827" y="2692468"/>
                </a:cubicBezTo>
                <a:cubicBezTo>
                  <a:pt x="4436924" y="2691120"/>
                  <a:pt x="4437020" y="2690062"/>
                  <a:pt x="4437068" y="2689388"/>
                </a:cubicBezTo>
                <a:cubicBezTo>
                  <a:pt x="4437068" y="2688714"/>
                  <a:pt x="4437068" y="2688329"/>
                  <a:pt x="4437068" y="2688329"/>
                </a:cubicBezTo>
                <a:cubicBezTo>
                  <a:pt x="4437068" y="2688329"/>
                  <a:pt x="4436972" y="2688666"/>
                  <a:pt x="4436827" y="2689340"/>
                </a:cubicBezTo>
                <a:cubicBezTo>
                  <a:pt x="4436731" y="2690013"/>
                  <a:pt x="4436539" y="2691024"/>
                  <a:pt x="4436346" y="2692419"/>
                </a:cubicBezTo>
                <a:cubicBezTo>
                  <a:pt x="4435962" y="2695114"/>
                  <a:pt x="4435385" y="2699204"/>
                  <a:pt x="4434519" y="2704546"/>
                </a:cubicBezTo>
                <a:cubicBezTo>
                  <a:pt x="4432788" y="2715277"/>
                  <a:pt x="4430047" y="2731204"/>
                  <a:pt x="4426056" y="2752040"/>
                </a:cubicBezTo>
                <a:cubicBezTo>
                  <a:pt x="4422786" y="2767824"/>
                  <a:pt x="4419372" y="2786638"/>
                  <a:pt x="4414996" y="2808100"/>
                </a:cubicBezTo>
                <a:cubicBezTo>
                  <a:pt x="4416054" y="2801989"/>
                  <a:pt x="4417112" y="2795830"/>
                  <a:pt x="4418122" y="2789526"/>
                </a:cubicBezTo>
                <a:cubicBezTo>
                  <a:pt x="4422450" y="2765177"/>
                  <a:pt x="4425623" y="2742753"/>
                  <a:pt x="4427451" y="2722495"/>
                </a:cubicBezTo>
                <a:cubicBezTo>
                  <a:pt x="4429615" y="2704498"/>
                  <a:pt x="4431538" y="2686068"/>
                  <a:pt x="4433028" y="2667012"/>
                </a:cubicBezTo>
                <a:cubicBezTo>
                  <a:pt x="4434423" y="2649448"/>
                  <a:pt x="4435481" y="2631499"/>
                  <a:pt x="4435722" y="2613021"/>
                </a:cubicBezTo>
                <a:cubicBezTo>
                  <a:pt x="4435818" y="2603782"/>
                  <a:pt x="4435722" y="2594447"/>
                  <a:pt x="4435000" y="2584967"/>
                </a:cubicBezTo>
                <a:cubicBezTo>
                  <a:pt x="4434615" y="2580251"/>
                  <a:pt x="4434135" y="2575487"/>
                  <a:pt x="4433269" y="2570675"/>
                </a:cubicBezTo>
                <a:cubicBezTo>
                  <a:pt x="4432259" y="2565863"/>
                  <a:pt x="4431394" y="2561003"/>
                  <a:pt x="4428172" y="2556143"/>
                </a:cubicBezTo>
                <a:cubicBezTo>
                  <a:pt x="4427258" y="2554988"/>
                  <a:pt x="4426249" y="2553689"/>
                  <a:pt x="4424517" y="2552871"/>
                </a:cubicBezTo>
                <a:cubicBezTo>
                  <a:pt x="4422931" y="2552053"/>
                  <a:pt x="4420911" y="2551812"/>
                  <a:pt x="4419228" y="2552245"/>
                </a:cubicBezTo>
                <a:cubicBezTo>
                  <a:pt x="4415958" y="2552967"/>
                  <a:pt x="4413794" y="2554651"/>
                  <a:pt x="4411726" y="2556287"/>
                </a:cubicBezTo>
                <a:cubicBezTo>
                  <a:pt x="4407736" y="2559656"/>
                  <a:pt x="4404514" y="2563457"/>
                  <a:pt x="4401388" y="2567355"/>
                </a:cubicBezTo>
                <a:cubicBezTo>
                  <a:pt x="4395233" y="2575151"/>
                  <a:pt x="4389751" y="2583427"/>
                  <a:pt x="4384173" y="2591608"/>
                </a:cubicBezTo>
                <a:cubicBezTo>
                  <a:pt x="4373114" y="2607632"/>
                  <a:pt x="4360275" y="2624137"/>
                  <a:pt x="4350321" y="2642374"/>
                </a:cubicBezTo>
                <a:cubicBezTo>
                  <a:pt x="4347532" y="2646801"/>
                  <a:pt x="4345368" y="2651517"/>
                  <a:pt x="4342964" y="2656185"/>
                </a:cubicBezTo>
                <a:cubicBezTo>
                  <a:pt x="4340608" y="2660853"/>
                  <a:pt x="4338203" y="2665568"/>
                  <a:pt x="4335799" y="2670284"/>
                </a:cubicBezTo>
                <a:cubicBezTo>
                  <a:pt x="4331616" y="2679956"/>
                  <a:pt x="4327047" y="2689628"/>
                  <a:pt x="4323056" y="2699589"/>
                </a:cubicBezTo>
                <a:cubicBezTo>
                  <a:pt x="4315074" y="2719511"/>
                  <a:pt x="4307621" y="2740058"/>
                  <a:pt x="4300697" y="2761087"/>
                </a:cubicBezTo>
                <a:cubicBezTo>
                  <a:pt x="4286752" y="2803144"/>
                  <a:pt x="4273913" y="2846933"/>
                  <a:pt x="4260016" y="2891877"/>
                </a:cubicBezTo>
                <a:cubicBezTo>
                  <a:pt x="4248619" y="2928786"/>
                  <a:pt x="4236550" y="2966512"/>
                  <a:pt x="4223278" y="3004719"/>
                </a:cubicBezTo>
                <a:cubicBezTo>
                  <a:pt x="4260785" y="2892792"/>
                  <a:pt x="4286271" y="2789815"/>
                  <a:pt x="4316180" y="2702284"/>
                </a:cubicBezTo>
                <a:cubicBezTo>
                  <a:pt x="4323874" y="2679908"/>
                  <a:pt x="4332337" y="2658735"/>
                  <a:pt x="4341665" y="2639006"/>
                </a:cubicBezTo>
                <a:cubicBezTo>
                  <a:pt x="4350994" y="2619229"/>
                  <a:pt x="4361285" y="2600943"/>
                  <a:pt x="4372056" y="2583956"/>
                </a:cubicBezTo>
                <a:cubicBezTo>
                  <a:pt x="4377538" y="2575487"/>
                  <a:pt x="4383068" y="2567499"/>
                  <a:pt x="4388309" y="2559223"/>
                </a:cubicBezTo>
                <a:cubicBezTo>
                  <a:pt x="4393358" y="2550946"/>
                  <a:pt x="4397830" y="2542621"/>
                  <a:pt x="4402157" y="2534537"/>
                </a:cubicBezTo>
                <a:cubicBezTo>
                  <a:pt x="4406533" y="2526453"/>
                  <a:pt x="4410717" y="2518609"/>
                  <a:pt x="4415141" y="2511151"/>
                </a:cubicBezTo>
                <a:cubicBezTo>
                  <a:pt x="4417353" y="2507446"/>
                  <a:pt x="4419613" y="2503837"/>
                  <a:pt x="4422065" y="2500516"/>
                </a:cubicBezTo>
                <a:cubicBezTo>
                  <a:pt x="4423315" y="2498832"/>
                  <a:pt x="4424566" y="2497244"/>
                  <a:pt x="4425912" y="2495800"/>
                </a:cubicBezTo>
                <a:cubicBezTo>
                  <a:pt x="4427258" y="2494405"/>
                  <a:pt x="4428845" y="2493058"/>
                  <a:pt x="4429999" y="2492576"/>
                </a:cubicBezTo>
                <a:cubicBezTo>
                  <a:pt x="4430624" y="2492288"/>
                  <a:pt x="4431394" y="2492143"/>
                  <a:pt x="4432067" y="2492239"/>
                </a:cubicBezTo>
                <a:cubicBezTo>
                  <a:pt x="4432788" y="2492432"/>
                  <a:pt x="4433221" y="2493058"/>
                  <a:pt x="4433606" y="2493635"/>
                </a:cubicBezTo>
                <a:cubicBezTo>
                  <a:pt x="4434231" y="2494694"/>
                  <a:pt x="4434904" y="2496667"/>
                  <a:pt x="4435385" y="2498495"/>
                </a:cubicBezTo>
                <a:cubicBezTo>
                  <a:pt x="4436346" y="2502248"/>
                  <a:pt x="4436972" y="2506098"/>
                  <a:pt x="4437453" y="2509900"/>
                </a:cubicBezTo>
                <a:cubicBezTo>
                  <a:pt x="4438462" y="2517551"/>
                  <a:pt x="4438943" y="2525009"/>
                  <a:pt x="4439376" y="2532227"/>
                </a:cubicBezTo>
                <a:cubicBezTo>
                  <a:pt x="4440194" y="2546711"/>
                  <a:pt x="4440386" y="2560281"/>
                  <a:pt x="4440482" y="2572889"/>
                </a:cubicBezTo>
                <a:cubicBezTo>
                  <a:pt x="4440626" y="2598056"/>
                  <a:pt x="4440145" y="2619277"/>
                  <a:pt x="4439568" y="2636407"/>
                </a:cubicBezTo>
                <a:cubicBezTo>
                  <a:pt x="4438991" y="2653490"/>
                  <a:pt x="4438318" y="2666483"/>
                  <a:pt x="4437789" y="2675192"/>
                </a:cubicBezTo>
                <a:cubicBezTo>
                  <a:pt x="4437501" y="2679523"/>
                  <a:pt x="4437308" y="2682844"/>
                  <a:pt x="4437164" y="2685009"/>
                </a:cubicBezTo>
                <a:cubicBezTo>
                  <a:pt x="4437020" y="2687222"/>
                  <a:pt x="4436972" y="2688329"/>
                  <a:pt x="4437068" y="2688329"/>
                </a:cubicBezTo>
                <a:cubicBezTo>
                  <a:pt x="4437116" y="2688329"/>
                  <a:pt x="4437308" y="2687222"/>
                  <a:pt x="4437597" y="2685057"/>
                </a:cubicBezTo>
                <a:cubicBezTo>
                  <a:pt x="4437885" y="2682891"/>
                  <a:pt x="4438222" y="2679571"/>
                  <a:pt x="4438655" y="2675240"/>
                </a:cubicBezTo>
                <a:cubicBezTo>
                  <a:pt x="4439472" y="2666531"/>
                  <a:pt x="4440434" y="2653586"/>
                  <a:pt x="4441251" y="2636456"/>
                </a:cubicBezTo>
                <a:cubicBezTo>
                  <a:pt x="4442069" y="2619325"/>
                  <a:pt x="4442838" y="2598104"/>
                  <a:pt x="4442982" y="2572889"/>
                </a:cubicBezTo>
                <a:cubicBezTo>
                  <a:pt x="4442982" y="2560281"/>
                  <a:pt x="4442934" y="2546663"/>
                  <a:pt x="4442261" y="2532083"/>
                </a:cubicBezTo>
                <a:cubicBezTo>
                  <a:pt x="4441925" y="2524817"/>
                  <a:pt x="4441443" y="2517262"/>
                  <a:pt x="4440482" y="2509515"/>
                </a:cubicBezTo>
                <a:cubicBezTo>
                  <a:pt x="4440001" y="2505617"/>
                  <a:pt x="4439424" y="2501671"/>
                  <a:pt x="4438414" y="2497677"/>
                </a:cubicBezTo>
                <a:cubicBezTo>
                  <a:pt x="4437837" y="2495704"/>
                  <a:pt x="4437404" y="2493731"/>
                  <a:pt x="4435962" y="2491277"/>
                </a:cubicBezTo>
                <a:cubicBezTo>
                  <a:pt x="4435241" y="2490218"/>
                  <a:pt x="4434327" y="2489208"/>
                  <a:pt x="4433077" y="2488871"/>
                </a:cubicBezTo>
                <a:cubicBezTo>
                  <a:pt x="4431826" y="2488630"/>
                  <a:pt x="4430480" y="2488727"/>
                  <a:pt x="4429278" y="2489256"/>
                </a:cubicBezTo>
                <a:cubicBezTo>
                  <a:pt x="4426633" y="2490315"/>
                  <a:pt x="4425094" y="2491903"/>
                  <a:pt x="4423508" y="2493442"/>
                </a:cubicBezTo>
                <a:cubicBezTo>
                  <a:pt x="4422017" y="2495030"/>
                  <a:pt x="4420623" y="2496715"/>
                  <a:pt x="4419324" y="2498447"/>
                </a:cubicBezTo>
                <a:cubicBezTo>
                  <a:pt x="4416728" y="2501912"/>
                  <a:pt x="4414419" y="2505569"/>
                  <a:pt x="4412111" y="2509322"/>
                </a:cubicBezTo>
                <a:cubicBezTo>
                  <a:pt x="4407591" y="2516829"/>
                  <a:pt x="4403311" y="2524672"/>
                  <a:pt x="4398888" y="2532709"/>
                </a:cubicBezTo>
                <a:cubicBezTo>
                  <a:pt x="4394464" y="2540745"/>
                  <a:pt x="4389992" y="2548973"/>
                  <a:pt x="4384943" y="2557106"/>
                </a:cubicBezTo>
                <a:cubicBezTo>
                  <a:pt x="4379894" y="2565093"/>
                  <a:pt x="4374123" y="2573274"/>
                  <a:pt x="4368594" y="2581695"/>
                </a:cubicBezTo>
                <a:cubicBezTo>
                  <a:pt x="4357678" y="2598729"/>
                  <a:pt x="4347147" y="2617159"/>
                  <a:pt x="4337626" y="2637033"/>
                </a:cubicBezTo>
                <a:cubicBezTo>
                  <a:pt x="4328105" y="2656907"/>
                  <a:pt x="4319450" y="2678224"/>
                  <a:pt x="4311612" y="2700648"/>
                </a:cubicBezTo>
                <a:cubicBezTo>
                  <a:pt x="4280404" y="2790440"/>
                  <a:pt x="4254053" y="2896064"/>
                  <a:pt x="4214767" y="3010542"/>
                </a:cubicBezTo>
                <a:cubicBezTo>
                  <a:pt x="4204910" y="3039125"/>
                  <a:pt x="4194090" y="3068238"/>
                  <a:pt x="4182357" y="3097735"/>
                </a:cubicBezTo>
                <a:cubicBezTo>
                  <a:pt x="4170432" y="3127185"/>
                  <a:pt x="4157497" y="3157068"/>
                  <a:pt x="4143408" y="3187239"/>
                </a:cubicBezTo>
                <a:cubicBezTo>
                  <a:pt x="4131386" y="3212791"/>
                  <a:pt x="4118499" y="3238583"/>
                  <a:pt x="4105035" y="3264616"/>
                </a:cubicBezTo>
                <a:cubicBezTo>
                  <a:pt x="4116095" y="3243107"/>
                  <a:pt x="4126770" y="3221741"/>
                  <a:pt x="4137012" y="3200472"/>
                </a:cubicBezTo>
                <a:cubicBezTo>
                  <a:pt x="4167402" y="3137050"/>
                  <a:pt x="4191878" y="3073675"/>
                  <a:pt x="4212700" y="3011841"/>
                </a:cubicBezTo>
                <a:cubicBezTo>
                  <a:pt x="4223086" y="2980900"/>
                  <a:pt x="4232511" y="2950295"/>
                  <a:pt x="4241263" y="2920172"/>
                </a:cubicBezTo>
                <a:cubicBezTo>
                  <a:pt x="4249966" y="2890001"/>
                  <a:pt x="4257515" y="2860166"/>
                  <a:pt x="4264728" y="2830957"/>
                </a:cubicBezTo>
                <a:cubicBezTo>
                  <a:pt x="4271893" y="2801748"/>
                  <a:pt x="4278865" y="2773117"/>
                  <a:pt x="4285742" y="2745111"/>
                </a:cubicBezTo>
                <a:cubicBezTo>
                  <a:pt x="4292810" y="2717201"/>
                  <a:pt x="4299831" y="2689869"/>
                  <a:pt x="4308727" y="2663884"/>
                </a:cubicBezTo>
                <a:cubicBezTo>
                  <a:pt x="4313199" y="2650892"/>
                  <a:pt x="4318536" y="2638428"/>
                  <a:pt x="4324211" y="2626302"/>
                </a:cubicBezTo>
                <a:cubicBezTo>
                  <a:pt x="4330221" y="2614320"/>
                  <a:pt x="4336424" y="2602627"/>
                  <a:pt x="4343445" y="2591559"/>
                </a:cubicBezTo>
                <a:cubicBezTo>
                  <a:pt x="4357149" y="2569280"/>
                  <a:pt x="4373017" y="2549117"/>
                  <a:pt x="4387058" y="2528474"/>
                </a:cubicBezTo>
                <a:cubicBezTo>
                  <a:pt x="4394175" y="2518224"/>
                  <a:pt x="4400619" y="2507638"/>
                  <a:pt x="4406629" y="2497051"/>
                </a:cubicBezTo>
                <a:cubicBezTo>
                  <a:pt x="4412352" y="2486273"/>
                  <a:pt x="4417689" y="2475494"/>
                  <a:pt x="4421873" y="2464378"/>
                </a:cubicBezTo>
                <a:cubicBezTo>
                  <a:pt x="4426585" y="2453455"/>
                  <a:pt x="4429422" y="2442002"/>
                  <a:pt x="4432644" y="2431031"/>
                </a:cubicBezTo>
                <a:cubicBezTo>
                  <a:pt x="4434231" y="2425497"/>
                  <a:pt x="4435818" y="2420059"/>
                  <a:pt x="4437501" y="2414622"/>
                </a:cubicBezTo>
                <a:lnTo>
                  <a:pt x="4438799" y="2410580"/>
                </a:lnTo>
                <a:lnTo>
                  <a:pt x="4439953" y="2407211"/>
                </a:lnTo>
                <a:cubicBezTo>
                  <a:pt x="4440722" y="2405046"/>
                  <a:pt x="4441492" y="2402928"/>
                  <a:pt x="4442453" y="2400859"/>
                </a:cubicBezTo>
                <a:cubicBezTo>
                  <a:pt x="4442934" y="2399849"/>
                  <a:pt x="4443463" y="2398790"/>
                  <a:pt x="4444184" y="2397924"/>
                </a:cubicBezTo>
                <a:cubicBezTo>
                  <a:pt x="4444521" y="2397491"/>
                  <a:pt x="4445242" y="2397154"/>
                  <a:pt x="4445579" y="2397731"/>
                </a:cubicBezTo>
                <a:cubicBezTo>
                  <a:pt x="4445916" y="2398213"/>
                  <a:pt x="4446060" y="2398742"/>
                  <a:pt x="4446204" y="2399271"/>
                </a:cubicBezTo>
                <a:cubicBezTo>
                  <a:pt x="4446733" y="2401485"/>
                  <a:pt x="4446925" y="2403698"/>
                  <a:pt x="4447166" y="2405960"/>
                </a:cubicBezTo>
                <a:lnTo>
                  <a:pt x="4447406" y="2409328"/>
                </a:lnTo>
                <a:lnTo>
                  <a:pt x="4447647" y="2413034"/>
                </a:lnTo>
                <a:cubicBezTo>
                  <a:pt x="4447743" y="2415777"/>
                  <a:pt x="4447887" y="2418471"/>
                  <a:pt x="4447983" y="2421166"/>
                </a:cubicBezTo>
                <a:cubicBezTo>
                  <a:pt x="4448320" y="2431993"/>
                  <a:pt x="4448464" y="2442628"/>
                  <a:pt x="4448512" y="2453118"/>
                </a:cubicBezTo>
                <a:cubicBezTo>
                  <a:pt x="4448609" y="2474098"/>
                  <a:pt x="4448368" y="2494453"/>
                  <a:pt x="4448127" y="2514134"/>
                </a:cubicBezTo>
                <a:cubicBezTo>
                  <a:pt x="4447695" y="2553497"/>
                  <a:pt x="4447743" y="2590164"/>
                  <a:pt x="4445771" y="2624041"/>
                </a:cubicBezTo>
                <a:cubicBezTo>
                  <a:pt x="4444810" y="2640979"/>
                  <a:pt x="4443463" y="2657244"/>
                  <a:pt x="4441732" y="2672738"/>
                </a:cubicBezTo>
                <a:cubicBezTo>
                  <a:pt x="4440001" y="2688233"/>
                  <a:pt x="4437453" y="2703006"/>
                  <a:pt x="4435144" y="2717057"/>
                </a:cubicBezTo>
                <a:cubicBezTo>
                  <a:pt x="4432740" y="2731108"/>
                  <a:pt x="4430432" y="2744533"/>
                  <a:pt x="4428268" y="2757237"/>
                </a:cubicBezTo>
                <a:cubicBezTo>
                  <a:pt x="4427162" y="2763589"/>
                  <a:pt x="4426104" y="2769796"/>
                  <a:pt x="4425094" y="2775811"/>
                </a:cubicBezTo>
                <a:cubicBezTo>
                  <a:pt x="4424613" y="2778843"/>
                  <a:pt x="4424085" y="2781779"/>
                  <a:pt x="4423604" y="2784714"/>
                </a:cubicBezTo>
                <a:cubicBezTo>
                  <a:pt x="4423363" y="2786206"/>
                  <a:pt x="4423171" y="2787649"/>
                  <a:pt x="4422931" y="2789093"/>
                </a:cubicBezTo>
                <a:lnTo>
                  <a:pt x="4422642" y="2791306"/>
                </a:lnTo>
                <a:lnTo>
                  <a:pt x="4422642" y="2791884"/>
                </a:lnTo>
                <a:cubicBezTo>
                  <a:pt x="4422209" y="2791547"/>
                  <a:pt x="4423027" y="2792894"/>
                  <a:pt x="4423556" y="2792413"/>
                </a:cubicBezTo>
                <a:lnTo>
                  <a:pt x="4423796" y="2791980"/>
                </a:lnTo>
                <a:lnTo>
                  <a:pt x="4424133" y="2790921"/>
                </a:lnTo>
                <a:lnTo>
                  <a:pt x="4424133" y="2790921"/>
                </a:lnTo>
                <a:cubicBezTo>
                  <a:pt x="4431874" y="2756563"/>
                  <a:pt x="4437837" y="2728461"/>
                  <a:pt x="4442453" y="2706759"/>
                </a:cubicBezTo>
                <a:cubicBezTo>
                  <a:pt x="4442742" y="2705604"/>
                  <a:pt x="4443127" y="2703824"/>
                  <a:pt x="4443656" y="2701273"/>
                </a:cubicBezTo>
                <a:cubicBezTo>
                  <a:pt x="4444665" y="2696606"/>
                  <a:pt x="4446108" y="2689580"/>
                  <a:pt x="4448127" y="2680245"/>
                </a:cubicBezTo>
                <a:lnTo>
                  <a:pt x="4448127" y="2680245"/>
                </a:lnTo>
                <a:cubicBezTo>
                  <a:pt x="4448127" y="2680245"/>
                  <a:pt x="4448127" y="2680245"/>
                  <a:pt x="4448127" y="2680245"/>
                </a:cubicBezTo>
                <a:lnTo>
                  <a:pt x="4447695" y="2680149"/>
                </a:lnTo>
                <a:cubicBezTo>
                  <a:pt x="4447695" y="2680149"/>
                  <a:pt x="4447695" y="2680149"/>
                  <a:pt x="4447695" y="2680149"/>
                </a:cubicBezTo>
                <a:cubicBezTo>
                  <a:pt x="4445819" y="2688474"/>
                  <a:pt x="4443607" y="2698675"/>
                  <a:pt x="4440963" y="2710657"/>
                </a:cubicBezTo>
                <a:cubicBezTo>
                  <a:pt x="4440963" y="2710464"/>
                  <a:pt x="4440963" y="2710224"/>
                  <a:pt x="4440963" y="2710079"/>
                </a:cubicBezTo>
                <a:cubicBezTo>
                  <a:pt x="4441107" y="2706711"/>
                  <a:pt x="4441636" y="2701707"/>
                  <a:pt x="4442357" y="2695018"/>
                </a:cubicBezTo>
                <a:cubicBezTo>
                  <a:pt x="4443319" y="2686597"/>
                  <a:pt x="4444569" y="2675481"/>
                  <a:pt x="4446156" y="2661767"/>
                </a:cubicBezTo>
                <a:cubicBezTo>
                  <a:pt x="4446156" y="2661767"/>
                  <a:pt x="4446156" y="2661815"/>
                  <a:pt x="4446156" y="2661863"/>
                </a:cubicBezTo>
                <a:lnTo>
                  <a:pt x="4446252" y="2662344"/>
                </a:lnTo>
                <a:lnTo>
                  <a:pt x="4446637" y="2663355"/>
                </a:lnTo>
                <a:cubicBezTo>
                  <a:pt x="4446252" y="2663018"/>
                  <a:pt x="4447887" y="2665665"/>
                  <a:pt x="4450195" y="2665568"/>
                </a:cubicBezTo>
                <a:cubicBezTo>
                  <a:pt x="4451590" y="2665568"/>
                  <a:pt x="4452840" y="2664750"/>
                  <a:pt x="4453513" y="2663836"/>
                </a:cubicBezTo>
                <a:lnTo>
                  <a:pt x="4454186" y="2662633"/>
                </a:lnTo>
                <a:lnTo>
                  <a:pt x="4454427" y="2661959"/>
                </a:lnTo>
                <a:lnTo>
                  <a:pt x="4454763" y="2660804"/>
                </a:lnTo>
                <a:lnTo>
                  <a:pt x="4455244" y="2658831"/>
                </a:lnTo>
                <a:lnTo>
                  <a:pt x="4456062" y="2655030"/>
                </a:lnTo>
                <a:cubicBezTo>
                  <a:pt x="4456543" y="2652528"/>
                  <a:pt x="4457071" y="2650026"/>
                  <a:pt x="4457552" y="2647523"/>
                </a:cubicBezTo>
                <a:cubicBezTo>
                  <a:pt x="4458466" y="2642567"/>
                  <a:pt x="4459332" y="2637610"/>
                  <a:pt x="4460245" y="2632750"/>
                </a:cubicBezTo>
                <a:cubicBezTo>
                  <a:pt x="4464284" y="2608450"/>
                  <a:pt x="4467795" y="2585063"/>
                  <a:pt x="4470776" y="2562687"/>
                </a:cubicBezTo>
                <a:cubicBezTo>
                  <a:pt x="4471738" y="2557924"/>
                  <a:pt x="4472411" y="2553497"/>
                  <a:pt x="4473036" y="2548973"/>
                </a:cubicBezTo>
                <a:cubicBezTo>
                  <a:pt x="4474431" y="2538868"/>
                  <a:pt x="4475536" y="2528859"/>
                  <a:pt x="4476690" y="2518946"/>
                </a:cubicBezTo>
                <a:cubicBezTo>
                  <a:pt x="4478951" y="2498351"/>
                  <a:pt x="4480922" y="2478092"/>
                  <a:pt x="4482653" y="2458267"/>
                </a:cubicBezTo>
                <a:lnTo>
                  <a:pt x="4482846" y="2457256"/>
                </a:lnTo>
                <a:cubicBezTo>
                  <a:pt x="4483086" y="2456149"/>
                  <a:pt x="4483278" y="2454946"/>
                  <a:pt x="4483374" y="2454128"/>
                </a:cubicBezTo>
                <a:cubicBezTo>
                  <a:pt x="4485105" y="2439452"/>
                  <a:pt x="4485971" y="2425160"/>
                  <a:pt x="4486981" y="2410580"/>
                </a:cubicBezTo>
                <a:cubicBezTo>
                  <a:pt x="4487846" y="2396047"/>
                  <a:pt x="4488712" y="2381419"/>
                  <a:pt x="4489577" y="2366694"/>
                </a:cubicBezTo>
                <a:cubicBezTo>
                  <a:pt x="4490924" y="2341094"/>
                  <a:pt x="4492222" y="2315831"/>
                  <a:pt x="4492992" y="2290712"/>
                </a:cubicBezTo>
                <a:cubicBezTo>
                  <a:pt x="4493569" y="2265545"/>
                  <a:pt x="4493472" y="2240860"/>
                  <a:pt x="4493088" y="2216415"/>
                </a:cubicBezTo>
                <a:close/>
                <a:moveTo>
                  <a:pt x="174837" y="1403473"/>
                </a:moveTo>
                <a:cubicBezTo>
                  <a:pt x="175510" y="1402703"/>
                  <a:pt x="176328" y="1401837"/>
                  <a:pt x="177097" y="1401259"/>
                </a:cubicBezTo>
                <a:cubicBezTo>
                  <a:pt x="177867" y="1400634"/>
                  <a:pt x="178347" y="1400393"/>
                  <a:pt x="179069" y="1400201"/>
                </a:cubicBezTo>
                <a:cubicBezTo>
                  <a:pt x="179790" y="1400056"/>
                  <a:pt x="180559" y="1400393"/>
                  <a:pt x="180944" y="1401018"/>
                </a:cubicBezTo>
                <a:cubicBezTo>
                  <a:pt x="181377" y="1401596"/>
                  <a:pt x="181569" y="1402173"/>
                  <a:pt x="182098" y="1403713"/>
                </a:cubicBezTo>
                <a:cubicBezTo>
                  <a:pt x="183685" y="1409151"/>
                  <a:pt x="184022" y="1416465"/>
                  <a:pt x="183925" y="1424309"/>
                </a:cubicBezTo>
                <a:cubicBezTo>
                  <a:pt x="183637" y="1440140"/>
                  <a:pt x="181473" y="1459100"/>
                  <a:pt x="177290" y="1479743"/>
                </a:cubicBezTo>
                <a:cubicBezTo>
                  <a:pt x="175174" y="1490041"/>
                  <a:pt x="172481" y="1500772"/>
                  <a:pt x="168971" y="1511599"/>
                </a:cubicBezTo>
                <a:cubicBezTo>
                  <a:pt x="165460" y="1522281"/>
                  <a:pt x="160940" y="1533493"/>
                  <a:pt x="155843" y="1544272"/>
                </a:cubicBezTo>
                <a:cubicBezTo>
                  <a:pt x="154545" y="1546967"/>
                  <a:pt x="153199" y="1549565"/>
                  <a:pt x="151756" y="1552020"/>
                </a:cubicBezTo>
                <a:cubicBezTo>
                  <a:pt x="151035" y="1553223"/>
                  <a:pt x="150313" y="1554426"/>
                  <a:pt x="149544" y="1555484"/>
                </a:cubicBezTo>
                <a:cubicBezTo>
                  <a:pt x="149159" y="1556062"/>
                  <a:pt x="148775" y="1556495"/>
                  <a:pt x="148390" y="1557024"/>
                </a:cubicBezTo>
                <a:lnTo>
                  <a:pt x="147717" y="1557842"/>
                </a:lnTo>
                <a:lnTo>
                  <a:pt x="147669" y="1557842"/>
                </a:lnTo>
                <a:cubicBezTo>
                  <a:pt x="147909" y="1558853"/>
                  <a:pt x="146851" y="1555388"/>
                  <a:pt x="146611" y="1552982"/>
                </a:cubicBezTo>
                <a:cubicBezTo>
                  <a:pt x="145216" y="1542347"/>
                  <a:pt x="145841" y="1531039"/>
                  <a:pt x="146515" y="1520645"/>
                </a:cubicBezTo>
                <a:cubicBezTo>
                  <a:pt x="148053" y="1499617"/>
                  <a:pt x="151035" y="1480705"/>
                  <a:pt x="154016" y="1464970"/>
                </a:cubicBezTo>
                <a:cubicBezTo>
                  <a:pt x="158728" y="1439755"/>
                  <a:pt x="164451" y="1422961"/>
                  <a:pt x="165941" y="1416898"/>
                </a:cubicBezTo>
                <a:cubicBezTo>
                  <a:pt x="166374" y="1415791"/>
                  <a:pt x="166855" y="1414637"/>
                  <a:pt x="167336" y="1413482"/>
                </a:cubicBezTo>
                <a:cubicBezTo>
                  <a:pt x="168634" y="1411846"/>
                  <a:pt x="170942" y="1408189"/>
                  <a:pt x="174837" y="1403473"/>
                </a:cubicBezTo>
                <a:close/>
                <a:moveTo>
                  <a:pt x="3955200" y="3710594"/>
                </a:moveTo>
                <a:lnTo>
                  <a:pt x="3955200" y="3710594"/>
                </a:lnTo>
                <a:cubicBezTo>
                  <a:pt x="3955200" y="3710594"/>
                  <a:pt x="3955200" y="3710594"/>
                  <a:pt x="3955200" y="3710594"/>
                </a:cubicBezTo>
                <a:close/>
                <a:moveTo>
                  <a:pt x="4406870" y="1793727"/>
                </a:moveTo>
                <a:cubicBezTo>
                  <a:pt x="4409707" y="1810569"/>
                  <a:pt x="4412496" y="1827748"/>
                  <a:pt x="4416151" y="1844831"/>
                </a:cubicBezTo>
                <a:cubicBezTo>
                  <a:pt x="4419757" y="1861817"/>
                  <a:pt x="4423363" y="1878900"/>
                  <a:pt x="4427018" y="1896079"/>
                </a:cubicBezTo>
                <a:cubicBezTo>
                  <a:pt x="4434183" y="1930388"/>
                  <a:pt x="4440338" y="1964457"/>
                  <a:pt x="4444233" y="1998238"/>
                </a:cubicBezTo>
                <a:cubicBezTo>
                  <a:pt x="4445579" y="2009883"/>
                  <a:pt x="4446637" y="2021528"/>
                  <a:pt x="4447647" y="2033125"/>
                </a:cubicBezTo>
                <a:cubicBezTo>
                  <a:pt x="4447406" y="2031104"/>
                  <a:pt x="4447166" y="2029035"/>
                  <a:pt x="4446877" y="2027062"/>
                </a:cubicBezTo>
                <a:cubicBezTo>
                  <a:pt x="4439424" y="1974467"/>
                  <a:pt x="4428557" y="1924566"/>
                  <a:pt x="4418459" y="1877119"/>
                </a:cubicBezTo>
                <a:cubicBezTo>
                  <a:pt x="4413362" y="1853396"/>
                  <a:pt x="4408313" y="1830298"/>
                  <a:pt x="4403841" y="1807826"/>
                </a:cubicBezTo>
                <a:cubicBezTo>
                  <a:pt x="4401629" y="1796614"/>
                  <a:pt x="4399561" y="1785499"/>
                  <a:pt x="4398166" y="1774672"/>
                </a:cubicBezTo>
                <a:cubicBezTo>
                  <a:pt x="4396772" y="1763796"/>
                  <a:pt x="4396147" y="1753017"/>
                  <a:pt x="4395810" y="1742287"/>
                </a:cubicBezTo>
                <a:cubicBezTo>
                  <a:pt x="4395666" y="1735309"/>
                  <a:pt x="4395426" y="1728380"/>
                  <a:pt x="4395089" y="1721451"/>
                </a:cubicBezTo>
                <a:cubicBezTo>
                  <a:pt x="4399080" y="1745222"/>
                  <a:pt x="4402783" y="1769378"/>
                  <a:pt x="4406822" y="1793775"/>
                </a:cubicBezTo>
                <a:close/>
                <a:moveTo>
                  <a:pt x="4457120" y="1991790"/>
                </a:moveTo>
                <a:cubicBezTo>
                  <a:pt x="4455100" y="1977065"/>
                  <a:pt x="4452696" y="1962436"/>
                  <a:pt x="4450243" y="1947904"/>
                </a:cubicBezTo>
                <a:cubicBezTo>
                  <a:pt x="4445339" y="1918791"/>
                  <a:pt x="4440097" y="1889823"/>
                  <a:pt x="4434808" y="1861047"/>
                </a:cubicBezTo>
                <a:cubicBezTo>
                  <a:pt x="4429807" y="1834389"/>
                  <a:pt x="4424902" y="1807778"/>
                  <a:pt x="4419805" y="1781312"/>
                </a:cubicBezTo>
                <a:cubicBezTo>
                  <a:pt x="4431490" y="1835303"/>
                  <a:pt x="4442694" y="1888620"/>
                  <a:pt x="4450628" y="1941264"/>
                </a:cubicBezTo>
                <a:cubicBezTo>
                  <a:pt x="4453657" y="1961281"/>
                  <a:pt x="4456158" y="1981251"/>
                  <a:pt x="4458274" y="2001125"/>
                </a:cubicBezTo>
                <a:cubicBezTo>
                  <a:pt x="4457889" y="1997997"/>
                  <a:pt x="4457552" y="1994918"/>
                  <a:pt x="4457120" y="1991790"/>
                </a:cubicBezTo>
                <a:close/>
                <a:moveTo>
                  <a:pt x="4459620" y="2585833"/>
                </a:moveTo>
                <a:cubicBezTo>
                  <a:pt x="4459909" y="2580684"/>
                  <a:pt x="4460293" y="2574573"/>
                  <a:pt x="4460774" y="2567596"/>
                </a:cubicBezTo>
                <a:cubicBezTo>
                  <a:pt x="4461159" y="2568077"/>
                  <a:pt x="4461688" y="2568510"/>
                  <a:pt x="4462217" y="2568799"/>
                </a:cubicBezTo>
                <a:cubicBezTo>
                  <a:pt x="4461351" y="2574573"/>
                  <a:pt x="4460486" y="2580396"/>
                  <a:pt x="4459572" y="2586266"/>
                </a:cubicBezTo>
                <a:cubicBezTo>
                  <a:pt x="4459572" y="2586122"/>
                  <a:pt x="4459572" y="2585978"/>
                  <a:pt x="4459572" y="2585833"/>
                </a:cubicBezTo>
                <a:close/>
                <a:moveTo>
                  <a:pt x="4375037" y="1540471"/>
                </a:moveTo>
                <a:lnTo>
                  <a:pt x="4375181" y="1540471"/>
                </a:lnTo>
                <a:cubicBezTo>
                  <a:pt x="4375181" y="1540471"/>
                  <a:pt x="4375903" y="1540952"/>
                  <a:pt x="4375903" y="1540952"/>
                </a:cubicBezTo>
                <a:cubicBezTo>
                  <a:pt x="4376143" y="1541144"/>
                  <a:pt x="4376432" y="1541337"/>
                  <a:pt x="4376672" y="1541577"/>
                </a:cubicBezTo>
                <a:lnTo>
                  <a:pt x="4374027" y="1541962"/>
                </a:lnTo>
                <a:lnTo>
                  <a:pt x="4373306" y="1542059"/>
                </a:lnTo>
                <a:lnTo>
                  <a:pt x="4373114" y="1542059"/>
                </a:lnTo>
                <a:cubicBezTo>
                  <a:pt x="4376720" y="1538738"/>
                  <a:pt x="4374171" y="1541193"/>
                  <a:pt x="4374989" y="1540423"/>
                </a:cubicBezTo>
                <a:close/>
                <a:moveTo>
                  <a:pt x="4359361" y="1510203"/>
                </a:moveTo>
                <a:lnTo>
                  <a:pt x="4359361" y="1510203"/>
                </a:lnTo>
                <a:cubicBezTo>
                  <a:pt x="4359457" y="1510588"/>
                  <a:pt x="4359361" y="1510444"/>
                  <a:pt x="4359361" y="1510203"/>
                </a:cubicBezTo>
                <a:close/>
                <a:moveTo>
                  <a:pt x="4247273" y="1271960"/>
                </a:moveTo>
                <a:lnTo>
                  <a:pt x="4249197" y="1273211"/>
                </a:lnTo>
                <a:cubicBezTo>
                  <a:pt x="4249822" y="1273596"/>
                  <a:pt x="4250543" y="1274174"/>
                  <a:pt x="4250928" y="1274077"/>
                </a:cubicBezTo>
                <a:cubicBezTo>
                  <a:pt x="4251793" y="1274174"/>
                  <a:pt x="4252707" y="1274318"/>
                  <a:pt x="4253572" y="1274077"/>
                </a:cubicBezTo>
                <a:cubicBezTo>
                  <a:pt x="4253717" y="1274077"/>
                  <a:pt x="4253909" y="1273981"/>
                  <a:pt x="4254053" y="1273933"/>
                </a:cubicBezTo>
                <a:cubicBezTo>
                  <a:pt x="4255111" y="1276628"/>
                  <a:pt x="4256121" y="1279371"/>
                  <a:pt x="4257131" y="1282114"/>
                </a:cubicBezTo>
                <a:lnTo>
                  <a:pt x="4260689" y="1292026"/>
                </a:lnTo>
                <a:lnTo>
                  <a:pt x="4262276" y="1296694"/>
                </a:lnTo>
                <a:lnTo>
                  <a:pt x="4262276" y="1296694"/>
                </a:lnTo>
                <a:cubicBezTo>
                  <a:pt x="4262276" y="1296694"/>
                  <a:pt x="4252563" y="1285771"/>
                  <a:pt x="4252563" y="1285771"/>
                </a:cubicBezTo>
                <a:cubicBezTo>
                  <a:pt x="4247514" y="1279900"/>
                  <a:pt x="4242465" y="1274077"/>
                  <a:pt x="4237464" y="1268255"/>
                </a:cubicBezTo>
                <a:cubicBezTo>
                  <a:pt x="4227510" y="1256514"/>
                  <a:pt x="4217700" y="1244676"/>
                  <a:pt x="4208083" y="1232839"/>
                </a:cubicBezTo>
                <a:cubicBezTo>
                  <a:pt x="4188849" y="1209115"/>
                  <a:pt x="4170191" y="1185248"/>
                  <a:pt x="4152881" y="1160995"/>
                </a:cubicBezTo>
                <a:cubicBezTo>
                  <a:pt x="4141196" y="1144442"/>
                  <a:pt x="4130424" y="1127359"/>
                  <a:pt x="4119990" y="1110180"/>
                </a:cubicBezTo>
                <a:cubicBezTo>
                  <a:pt x="4126914" y="1121152"/>
                  <a:pt x="4134127" y="1132123"/>
                  <a:pt x="4141773" y="1142950"/>
                </a:cubicBezTo>
                <a:cubicBezTo>
                  <a:pt x="4152015" y="1157386"/>
                  <a:pt x="4162834" y="1171582"/>
                  <a:pt x="4173942" y="1185729"/>
                </a:cubicBezTo>
                <a:cubicBezTo>
                  <a:pt x="4185050" y="1199876"/>
                  <a:pt x="4196447" y="1213975"/>
                  <a:pt x="4208131" y="1228075"/>
                </a:cubicBezTo>
                <a:cubicBezTo>
                  <a:pt x="4214046" y="1235052"/>
                  <a:pt x="4219960" y="1242078"/>
                  <a:pt x="4225875" y="1249151"/>
                </a:cubicBezTo>
                <a:lnTo>
                  <a:pt x="4235252" y="1259882"/>
                </a:lnTo>
                <a:cubicBezTo>
                  <a:pt x="4236261" y="1261085"/>
                  <a:pt x="4240156" y="1265223"/>
                  <a:pt x="4243042" y="1268303"/>
                </a:cubicBezTo>
                <a:cubicBezTo>
                  <a:pt x="4243811" y="1269121"/>
                  <a:pt x="4244580" y="1269987"/>
                  <a:pt x="4245350" y="1270709"/>
                </a:cubicBezTo>
                <a:lnTo>
                  <a:pt x="4247273" y="1271960"/>
                </a:lnTo>
                <a:close/>
                <a:moveTo>
                  <a:pt x="3973905" y="869964"/>
                </a:moveTo>
                <a:cubicBezTo>
                  <a:pt x="3987369" y="892966"/>
                  <a:pt x="3999823" y="917218"/>
                  <a:pt x="4012951" y="941760"/>
                </a:cubicBezTo>
                <a:cubicBezTo>
                  <a:pt x="4026174" y="966301"/>
                  <a:pt x="4039975" y="990746"/>
                  <a:pt x="4053776" y="1015768"/>
                </a:cubicBezTo>
                <a:cubicBezTo>
                  <a:pt x="4067672" y="1040743"/>
                  <a:pt x="4081810" y="1066054"/>
                  <a:pt x="4096668" y="1091413"/>
                </a:cubicBezTo>
                <a:cubicBezTo>
                  <a:pt x="4111527" y="1116725"/>
                  <a:pt x="4126866" y="1142276"/>
                  <a:pt x="4144321" y="1167058"/>
                </a:cubicBezTo>
                <a:cubicBezTo>
                  <a:pt x="4161825" y="1191648"/>
                  <a:pt x="4180578" y="1215612"/>
                  <a:pt x="4199860" y="1239479"/>
                </a:cubicBezTo>
                <a:cubicBezTo>
                  <a:pt x="4202794" y="1243088"/>
                  <a:pt x="4205727" y="1246649"/>
                  <a:pt x="4208708" y="1250258"/>
                </a:cubicBezTo>
                <a:cubicBezTo>
                  <a:pt x="4198995" y="1240538"/>
                  <a:pt x="4189426" y="1231010"/>
                  <a:pt x="4180578" y="1220905"/>
                </a:cubicBezTo>
                <a:cubicBezTo>
                  <a:pt x="4168220" y="1207046"/>
                  <a:pt x="4157160" y="1192369"/>
                  <a:pt x="4146918" y="1177164"/>
                </a:cubicBezTo>
                <a:cubicBezTo>
                  <a:pt x="4126385" y="1146848"/>
                  <a:pt x="4108113" y="1115762"/>
                  <a:pt x="4090658" y="1085206"/>
                </a:cubicBezTo>
                <a:cubicBezTo>
                  <a:pt x="4073251" y="1054650"/>
                  <a:pt x="4056805" y="1024430"/>
                  <a:pt x="4040793" y="995029"/>
                </a:cubicBezTo>
                <a:cubicBezTo>
                  <a:pt x="4024732" y="965627"/>
                  <a:pt x="4009104" y="937092"/>
                  <a:pt x="3993957" y="909375"/>
                </a:cubicBezTo>
                <a:cubicBezTo>
                  <a:pt x="3979531" y="882668"/>
                  <a:pt x="3965490" y="856635"/>
                  <a:pt x="3950295" y="832383"/>
                </a:cubicBezTo>
                <a:cubicBezTo>
                  <a:pt x="3958470" y="844509"/>
                  <a:pt x="3966404" y="857020"/>
                  <a:pt x="3973905" y="869916"/>
                </a:cubicBezTo>
                <a:close/>
                <a:moveTo>
                  <a:pt x="4266027" y="1315798"/>
                </a:moveTo>
                <a:lnTo>
                  <a:pt x="4268719" y="1317097"/>
                </a:lnTo>
                <a:lnTo>
                  <a:pt x="4269970" y="1317626"/>
                </a:lnTo>
                <a:lnTo>
                  <a:pt x="4270835" y="1317626"/>
                </a:lnTo>
                <a:cubicBezTo>
                  <a:pt x="4271412" y="1317482"/>
                  <a:pt x="4271989" y="1317626"/>
                  <a:pt x="4272518" y="1317289"/>
                </a:cubicBezTo>
                <a:cubicBezTo>
                  <a:pt x="4272614" y="1317289"/>
                  <a:pt x="4272759" y="1317193"/>
                  <a:pt x="4272951" y="1317097"/>
                </a:cubicBezTo>
                <a:cubicBezTo>
                  <a:pt x="4276028" y="1324941"/>
                  <a:pt x="4279010" y="1332736"/>
                  <a:pt x="4281799" y="1340580"/>
                </a:cubicBezTo>
                <a:lnTo>
                  <a:pt x="4283193" y="1344622"/>
                </a:lnTo>
                <a:lnTo>
                  <a:pt x="4283097" y="1344622"/>
                </a:lnTo>
                <a:cubicBezTo>
                  <a:pt x="4283097" y="1344622"/>
                  <a:pt x="4283001" y="1344622"/>
                  <a:pt x="4283001" y="1344622"/>
                </a:cubicBezTo>
                <a:lnTo>
                  <a:pt x="4282183" y="1343419"/>
                </a:lnTo>
                <a:cubicBezTo>
                  <a:pt x="4279443" y="1339328"/>
                  <a:pt x="4276702" y="1335238"/>
                  <a:pt x="4274009" y="1331196"/>
                </a:cubicBezTo>
                <a:cubicBezTo>
                  <a:pt x="4268912" y="1323545"/>
                  <a:pt x="4263815" y="1315942"/>
                  <a:pt x="4258621" y="1308387"/>
                </a:cubicBezTo>
                <a:cubicBezTo>
                  <a:pt x="4261074" y="1310938"/>
                  <a:pt x="4263478" y="1313632"/>
                  <a:pt x="4265978" y="1315846"/>
                </a:cubicBezTo>
                <a:close/>
                <a:moveTo>
                  <a:pt x="4219287" y="1214745"/>
                </a:moveTo>
                <a:lnTo>
                  <a:pt x="4220874" y="1216430"/>
                </a:lnTo>
                <a:cubicBezTo>
                  <a:pt x="4221403" y="1216911"/>
                  <a:pt x="4221884" y="1217296"/>
                  <a:pt x="4222413" y="1217729"/>
                </a:cubicBezTo>
                <a:lnTo>
                  <a:pt x="4225490" y="1220231"/>
                </a:lnTo>
                <a:cubicBezTo>
                  <a:pt x="4226644" y="1220616"/>
                  <a:pt x="4228087" y="1221338"/>
                  <a:pt x="4229000" y="1221386"/>
                </a:cubicBezTo>
                <a:lnTo>
                  <a:pt x="4229962" y="1221242"/>
                </a:lnTo>
                <a:cubicBezTo>
                  <a:pt x="4230347" y="1222108"/>
                  <a:pt x="4230780" y="1222926"/>
                  <a:pt x="4231212" y="1223744"/>
                </a:cubicBezTo>
                <a:cubicBezTo>
                  <a:pt x="4235204" y="1232165"/>
                  <a:pt x="4239002" y="1240634"/>
                  <a:pt x="4242417" y="1249151"/>
                </a:cubicBezTo>
                <a:lnTo>
                  <a:pt x="4244244" y="1253867"/>
                </a:lnTo>
                <a:lnTo>
                  <a:pt x="4244244" y="1253867"/>
                </a:lnTo>
                <a:cubicBezTo>
                  <a:pt x="4244244" y="1253867"/>
                  <a:pt x="4244244" y="1253867"/>
                  <a:pt x="4244244" y="1253867"/>
                </a:cubicBezTo>
                <a:lnTo>
                  <a:pt x="4242801" y="1252279"/>
                </a:lnTo>
                <a:lnTo>
                  <a:pt x="4234002" y="1242174"/>
                </a:lnTo>
                <a:cubicBezTo>
                  <a:pt x="4228087" y="1235196"/>
                  <a:pt x="4222172" y="1228219"/>
                  <a:pt x="4216306" y="1221242"/>
                </a:cubicBezTo>
                <a:cubicBezTo>
                  <a:pt x="4204669" y="1207239"/>
                  <a:pt x="4193273" y="1193236"/>
                  <a:pt x="4182213" y="1179185"/>
                </a:cubicBezTo>
                <a:cubicBezTo>
                  <a:pt x="4137974" y="1125098"/>
                  <a:pt x="4104843" y="1066391"/>
                  <a:pt x="4072481" y="1010764"/>
                </a:cubicBezTo>
                <a:cubicBezTo>
                  <a:pt x="4088253" y="1036460"/>
                  <a:pt x="4104795" y="1062108"/>
                  <a:pt x="4122298" y="1087660"/>
                </a:cubicBezTo>
                <a:cubicBezTo>
                  <a:pt x="4136820" y="1108881"/>
                  <a:pt x="4151919" y="1130102"/>
                  <a:pt x="4167595" y="1151227"/>
                </a:cubicBezTo>
                <a:cubicBezTo>
                  <a:pt x="4175433" y="1161765"/>
                  <a:pt x="4183511" y="1172255"/>
                  <a:pt x="4191734" y="1182697"/>
                </a:cubicBezTo>
                <a:cubicBezTo>
                  <a:pt x="4195965" y="1187846"/>
                  <a:pt x="4200053" y="1193091"/>
                  <a:pt x="4204429" y="1198192"/>
                </a:cubicBezTo>
                <a:lnTo>
                  <a:pt x="4207698" y="1202042"/>
                </a:lnTo>
                <a:lnTo>
                  <a:pt x="4208516" y="1203004"/>
                </a:lnTo>
                <a:lnTo>
                  <a:pt x="4210007" y="1204592"/>
                </a:lnTo>
                <a:lnTo>
                  <a:pt x="4213132" y="1207912"/>
                </a:lnTo>
                <a:lnTo>
                  <a:pt x="4219383" y="1214601"/>
                </a:lnTo>
                <a:close/>
                <a:moveTo>
                  <a:pt x="4025165" y="903023"/>
                </a:moveTo>
                <a:lnTo>
                  <a:pt x="4025165" y="903023"/>
                </a:lnTo>
                <a:cubicBezTo>
                  <a:pt x="4025165" y="903023"/>
                  <a:pt x="4025117" y="902975"/>
                  <a:pt x="4025117" y="902975"/>
                </a:cubicBezTo>
                <a:lnTo>
                  <a:pt x="4025165" y="902975"/>
                </a:lnTo>
                <a:close/>
                <a:moveTo>
                  <a:pt x="4009104" y="876028"/>
                </a:moveTo>
                <a:cubicBezTo>
                  <a:pt x="4014490" y="883053"/>
                  <a:pt x="4019779" y="889886"/>
                  <a:pt x="4024972" y="896623"/>
                </a:cubicBezTo>
                <a:cubicBezTo>
                  <a:pt x="4024684" y="896719"/>
                  <a:pt x="4024347" y="896815"/>
                  <a:pt x="4024107" y="896912"/>
                </a:cubicBezTo>
                <a:cubicBezTo>
                  <a:pt x="4023386" y="897393"/>
                  <a:pt x="4022616" y="898452"/>
                  <a:pt x="4022424" y="899366"/>
                </a:cubicBezTo>
                <a:cubicBezTo>
                  <a:pt x="4022279" y="899991"/>
                  <a:pt x="4022328" y="900088"/>
                  <a:pt x="4022328" y="900473"/>
                </a:cubicBezTo>
                <a:lnTo>
                  <a:pt x="4022328" y="901387"/>
                </a:lnTo>
                <a:cubicBezTo>
                  <a:pt x="4022328" y="901387"/>
                  <a:pt x="4022472" y="901868"/>
                  <a:pt x="4022472" y="901868"/>
                </a:cubicBezTo>
                <a:cubicBezTo>
                  <a:pt x="4022760" y="903215"/>
                  <a:pt x="4023145" y="904082"/>
                  <a:pt x="4023482" y="904996"/>
                </a:cubicBezTo>
                <a:cubicBezTo>
                  <a:pt x="4023963" y="906247"/>
                  <a:pt x="4024540" y="907402"/>
                  <a:pt x="4025068" y="908557"/>
                </a:cubicBezTo>
                <a:cubicBezTo>
                  <a:pt x="4021943" y="902975"/>
                  <a:pt x="4018817" y="897441"/>
                  <a:pt x="4015692" y="891907"/>
                </a:cubicBezTo>
                <a:cubicBezTo>
                  <a:pt x="4009441" y="880888"/>
                  <a:pt x="4002901" y="870061"/>
                  <a:pt x="3996121" y="859522"/>
                </a:cubicBezTo>
                <a:cubicBezTo>
                  <a:pt x="4000400" y="864912"/>
                  <a:pt x="4004680" y="870398"/>
                  <a:pt x="4009056" y="876028"/>
                </a:cubicBezTo>
                <a:close/>
                <a:moveTo>
                  <a:pt x="3941688" y="833874"/>
                </a:moveTo>
                <a:cubicBezTo>
                  <a:pt x="3957219" y="858752"/>
                  <a:pt x="3971453" y="885652"/>
                  <a:pt x="3986311" y="913513"/>
                </a:cubicBezTo>
                <a:cubicBezTo>
                  <a:pt x="4001314" y="941278"/>
                  <a:pt x="4016798" y="969958"/>
                  <a:pt x="4032714" y="999408"/>
                </a:cubicBezTo>
                <a:cubicBezTo>
                  <a:pt x="4048583" y="1028905"/>
                  <a:pt x="4064932" y="1059221"/>
                  <a:pt x="4082291" y="1089970"/>
                </a:cubicBezTo>
                <a:cubicBezTo>
                  <a:pt x="4099650" y="1120719"/>
                  <a:pt x="4117922" y="1151997"/>
                  <a:pt x="4138647" y="1182794"/>
                </a:cubicBezTo>
                <a:cubicBezTo>
                  <a:pt x="4148938" y="1198192"/>
                  <a:pt x="4160334" y="1213398"/>
                  <a:pt x="4172932" y="1227642"/>
                </a:cubicBezTo>
                <a:cubicBezTo>
                  <a:pt x="4185435" y="1241981"/>
                  <a:pt x="4199283" y="1255262"/>
                  <a:pt x="4212651" y="1268784"/>
                </a:cubicBezTo>
                <a:cubicBezTo>
                  <a:pt x="4219287" y="1275569"/>
                  <a:pt x="4225779" y="1282499"/>
                  <a:pt x="4231838" y="1289765"/>
                </a:cubicBezTo>
                <a:cubicBezTo>
                  <a:pt x="4237945" y="1296983"/>
                  <a:pt x="4243522" y="1304730"/>
                  <a:pt x="4249004" y="1312670"/>
                </a:cubicBezTo>
                <a:cubicBezTo>
                  <a:pt x="4254534" y="1320610"/>
                  <a:pt x="4259872" y="1328742"/>
                  <a:pt x="4265305" y="1336922"/>
                </a:cubicBezTo>
                <a:cubicBezTo>
                  <a:pt x="4268046" y="1341013"/>
                  <a:pt x="4270787" y="1345151"/>
                  <a:pt x="4273528" y="1349241"/>
                </a:cubicBezTo>
                <a:lnTo>
                  <a:pt x="4276942" y="1354198"/>
                </a:lnTo>
                <a:lnTo>
                  <a:pt x="4281126" y="1359924"/>
                </a:lnTo>
                <a:lnTo>
                  <a:pt x="4283193" y="1362763"/>
                </a:lnTo>
                <a:cubicBezTo>
                  <a:pt x="4283866" y="1363677"/>
                  <a:pt x="4284492" y="1364255"/>
                  <a:pt x="4285165" y="1364977"/>
                </a:cubicBezTo>
                <a:cubicBezTo>
                  <a:pt x="4286415" y="1366324"/>
                  <a:pt x="4287761" y="1367960"/>
                  <a:pt x="4289012" y="1369067"/>
                </a:cubicBezTo>
                <a:cubicBezTo>
                  <a:pt x="4291656" y="1370655"/>
                  <a:pt x="4293339" y="1371040"/>
                  <a:pt x="4295118" y="1370366"/>
                </a:cubicBezTo>
                <a:cubicBezTo>
                  <a:pt x="4296946" y="1369596"/>
                  <a:pt x="4297330" y="1369067"/>
                  <a:pt x="4297859" y="1368345"/>
                </a:cubicBezTo>
                <a:cubicBezTo>
                  <a:pt x="4298100" y="1367960"/>
                  <a:pt x="4298388" y="1367527"/>
                  <a:pt x="4298581" y="1366998"/>
                </a:cubicBezTo>
                <a:cubicBezTo>
                  <a:pt x="4302379" y="1377488"/>
                  <a:pt x="4306082" y="1388026"/>
                  <a:pt x="4309785" y="1398661"/>
                </a:cubicBezTo>
                <a:cubicBezTo>
                  <a:pt x="4310891" y="1401981"/>
                  <a:pt x="4311948" y="1405349"/>
                  <a:pt x="4312910" y="1408670"/>
                </a:cubicBezTo>
                <a:cubicBezTo>
                  <a:pt x="4313247" y="1409825"/>
                  <a:pt x="4313487" y="1410931"/>
                  <a:pt x="4313776" y="1412086"/>
                </a:cubicBezTo>
                <a:cubicBezTo>
                  <a:pt x="4309833" y="1407467"/>
                  <a:pt x="4306322" y="1401788"/>
                  <a:pt x="4302812" y="1396399"/>
                </a:cubicBezTo>
                <a:cubicBezTo>
                  <a:pt x="4295311" y="1384321"/>
                  <a:pt x="4287761" y="1372146"/>
                  <a:pt x="4280164" y="1359924"/>
                </a:cubicBezTo>
                <a:cubicBezTo>
                  <a:pt x="4272470" y="1347701"/>
                  <a:pt x="4264584" y="1335527"/>
                  <a:pt x="4256025" y="1323689"/>
                </a:cubicBezTo>
                <a:cubicBezTo>
                  <a:pt x="4247514" y="1311756"/>
                  <a:pt x="4237704" y="1300640"/>
                  <a:pt x="4227414" y="1290053"/>
                </a:cubicBezTo>
                <a:cubicBezTo>
                  <a:pt x="4217123" y="1279371"/>
                  <a:pt x="4205919" y="1269602"/>
                  <a:pt x="4195100" y="1259497"/>
                </a:cubicBezTo>
                <a:cubicBezTo>
                  <a:pt x="4184281" y="1249392"/>
                  <a:pt x="4174183" y="1238420"/>
                  <a:pt x="4164950" y="1226679"/>
                </a:cubicBezTo>
                <a:cubicBezTo>
                  <a:pt x="4146485" y="1203052"/>
                  <a:pt x="4130328" y="1177308"/>
                  <a:pt x="4114556" y="1150938"/>
                </a:cubicBezTo>
                <a:cubicBezTo>
                  <a:pt x="4083252" y="1098102"/>
                  <a:pt x="4054257" y="1042379"/>
                  <a:pt x="4023722" y="986078"/>
                </a:cubicBezTo>
                <a:cubicBezTo>
                  <a:pt x="4008287" y="957976"/>
                  <a:pt x="3992947" y="929585"/>
                  <a:pt x="3977656" y="900665"/>
                </a:cubicBezTo>
                <a:cubicBezTo>
                  <a:pt x="3962268" y="871841"/>
                  <a:pt x="3946352" y="842825"/>
                  <a:pt x="3928079" y="814867"/>
                </a:cubicBezTo>
                <a:cubicBezTo>
                  <a:pt x="3919087" y="800960"/>
                  <a:pt x="3909470" y="787390"/>
                  <a:pt x="3899324" y="774109"/>
                </a:cubicBezTo>
                <a:cubicBezTo>
                  <a:pt x="3914086" y="792539"/>
                  <a:pt x="3928416" y="812413"/>
                  <a:pt x="3941736" y="833874"/>
                </a:cubicBezTo>
                <a:close/>
                <a:moveTo>
                  <a:pt x="4339357" y="1462083"/>
                </a:moveTo>
                <a:cubicBezTo>
                  <a:pt x="4339357" y="1462083"/>
                  <a:pt x="4339357" y="1462083"/>
                  <a:pt x="4339357" y="1462083"/>
                </a:cubicBezTo>
                <a:cubicBezTo>
                  <a:pt x="4339261" y="1462083"/>
                  <a:pt x="4339213" y="1462083"/>
                  <a:pt x="4339357" y="1462083"/>
                </a:cubicBezTo>
                <a:close/>
                <a:moveTo>
                  <a:pt x="4339886" y="1463382"/>
                </a:moveTo>
                <a:lnTo>
                  <a:pt x="4339886" y="1463382"/>
                </a:lnTo>
                <a:cubicBezTo>
                  <a:pt x="4339886" y="1463382"/>
                  <a:pt x="4339550" y="1463479"/>
                  <a:pt x="4339646" y="1463479"/>
                </a:cubicBezTo>
                <a:lnTo>
                  <a:pt x="4339886" y="1463382"/>
                </a:lnTo>
                <a:close/>
                <a:moveTo>
                  <a:pt x="4204862" y="1173699"/>
                </a:moveTo>
                <a:cubicBezTo>
                  <a:pt x="4207795" y="1179088"/>
                  <a:pt x="4210680" y="1184430"/>
                  <a:pt x="4213613" y="1189771"/>
                </a:cubicBezTo>
                <a:cubicBezTo>
                  <a:pt x="4213950" y="1190445"/>
                  <a:pt x="4214286" y="1191070"/>
                  <a:pt x="4214623" y="1191744"/>
                </a:cubicBezTo>
                <a:lnTo>
                  <a:pt x="4217123" y="1196893"/>
                </a:lnTo>
                <a:lnTo>
                  <a:pt x="4217123" y="1196893"/>
                </a:lnTo>
                <a:lnTo>
                  <a:pt x="4217123" y="1196893"/>
                </a:lnTo>
                <a:cubicBezTo>
                  <a:pt x="4217123" y="1196893"/>
                  <a:pt x="4216690" y="1196460"/>
                  <a:pt x="4216690" y="1196460"/>
                </a:cubicBezTo>
                <a:lnTo>
                  <a:pt x="4212411" y="1191407"/>
                </a:lnTo>
                <a:cubicBezTo>
                  <a:pt x="4208131" y="1186451"/>
                  <a:pt x="4204044" y="1181254"/>
                  <a:pt x="4199909" y="1176153"/>
                </a:cubicBezTo>
                <a:cubicBezTo>
                  <a:pt x="4191782" y="1165807"/>
                  <a:pt x="4183752" y="1155413"/>
                  <a:pt x="4175962" y="1144923"/>
                </a:cubicBezTo>
                <a:cubicBezTo>
                  <a:pt x="4160334" y="1123991"/>
                  <a:pt x="4145331" y="1102866"/>
                  <a:pt x="4130857" y="1081789"/>
                </a:cubicBezTo>
                <a:cubicBezTo>
                  <a:pt x="4104410" y="1043197"/>
                  <a:pt x="4079934" y="1004508"/>
                  <a:pt x="4057478" y="965868"/>
                </a:cubicBezTo>
                <a:cubicBezTo>
                  <a:pt x="4066855" y="981363"/>
                  <a:pt x="4076905" y="997916"/>
                  <a:pt x="4088253" y="1014854"/>
                </a:cubicBezTo>
                <a:cubicBezTo>
                  <a:pt x="4111286" y="1049405"/>
                  <a:pt x="4138022" y="1086265"/>
                  <a:pt x="4166729" y="1124520"/>
                </a:cubicBezTo>
                <a:cubicBezTo>
                  <a:pt x="4173846" y="1133904"/>
                  <a:pt x="4180867" y="1143191"/>
                  <a:pt x="4187791" y="1152334"/>
                </a:cubicBezTo>
                <a:cubicBezTo>
                  <a:pt x="4191253" y="1156905"/>
                  <a:pt x="4194715" y="1161380"/>
                  <a:pt x="4198129" y="1165903"/>
                </a:cubicBezTo>
                <a:lnTo>
                  <a:pt x="4200822" y="1169416"/>
                </a:lnTo>
                <a:lnTo>
                  <a:pt x="4201784" y="1170523"/>
                </a:lnTo>
                <a:lnTo>
                  <a:pt x="4202553" y="1171245"/>
                </a:lnTo>
                <a:lnTo>
                  <a:pt x="4203371" y="1171822"/>
                </a:lnTo>
                <a:lnTo>
                  <a:pt x="4204285" y="1172303"/>
                </a:lnTo>
                <a:cubicBezTo>
                  <a:pt x="4204285" y="1172303"/>
                  <a:pt x="4205631" y="1172785"/>
                  <a:pt x="4206593" y="1172737"/>
                </a:cubicBezTo>
                <a:lnTo>
                  <a:pt x="4204813" y="1173747"/>
                </a:lnTo>
                <a:close/>
                <a:moveTo>
                  <a:pt x="4072337" y="956292"/>
                </a:moveTo>
                <a:cubicBezTo>
                  <a:pt x="4081906" y="971209"/>
                  <a:pt x="4094889" y="990746"/>
                  <a:pt x="4110421" y="1014229"/>
                </a:cubicBezTo>
                <a:cubicBezTo>
                  <a:pt x="4118788" y="1027029"/>
                  <a:pt x="4127636" y="1041176"/>
                  <a:pt x="4136916" y="1056382"/>
                </a:cubicBezTo>
                <a:cubicBezTo>
                  <a:pt x="4141532" y="1064033"/>
                  <a:pt x="4146341" y="1071877"/>
                  <a:pt x="4151246" y="1079961"/>
                </a:cubicBezTo>
                <a:cubicBezTo>
                  <a:pt x="4156006" y="1087997"/>
                  <a:pt x="4160863" y="1096225"/>
                  <a:pt x="4165864" y="1104695"/>
                </a:cubicBezTo>
                <a:lnTo>
                  <a:pt x="4166056" y="1105031"/>
                </a:lnTo>
                <a:cubicBezTo>
                  <a:pt x="4166585" y="1105994"/>
                  <a:pt x="4167162" y="1106956"/>
                  <a:pt x="4167739" y="1107919"/>
                </a:cubicBezTo>
                <a:cubicBezTo>
                  <a:pt x="4141965" y="1073417"/>
                  <a:pt x="4117682" y="1040310"/>
                  <a:pt x="4096476" y="1009320"/>
                </a:cubicBezTo>
                <a:cubicBezTo>
                  <a:pt x="4084839" y="992382"/>
                  <a:pt x="4074405" y="975781"/>
                  <a:pt x="4064547" y="960238"/>
                </a:cubicBezTo>
                <a:cubicBezTo>
                  <a:pt x="4054737" y="944695"/>
                  <a:pt x="4045697" y="930211"/>
                  <a:pt x="4037859" y="916785"/>
                </a:cubicBezTo>
                <a:cubicBezTo>
                  <a:pt x="4037523" y="916208"/>
                  <a:pt x="4037234" y="915679"/>
                  <a:pt x="4036898" y="915101"/>
                </a:cubicBezTo>
                <a:cubicBezTo>
                  <a:pt x="4037378" y="915630"/>
                  <a:pt x="4037859" y="916208"/>
                  <a:pt x="4038340" y="916737"/>
                </a:cubicBezTo>
                <a:cubicBezTo>
                  <a:pt x="4046467" y="926073"/>
                  <a:pt x="4053343" y="934253"/>
                  <a:pt x="4059017" y="940894"/>
                </a:cubicBezTo>
                <a:cubicBezTo>
                  <a:pt x="4064739" y="947678"/>
                  <a:pt x="4069259" y="952827"/>
                  <a:pt x="4072337" y="956244"/>
                </a:cubicBezTo>
                <a:close/>
                <a:moveTo>
                  <a:pt x="3760116" y="591108"/>
                </a:moveTo>
                <a:lnTo>
                  <a:pt x="3760116" y="591108"/>
                </a:lnTo>
                <a:cubicBezTo>
                  <a:pt x="3760116" y="591108"/>
                  <a:pt x="3760212" y="591060"/>
                  <a:pt x="3760116" y="591108"/>
                </a:cubicBezTo>
                <a:close/>
                <a:moveTo>
                  <a:pt x="3592537" y="459692"/>
                </a:moveTo>
                <a:cubicBezTo>
                  <a:pt x="3592537" y="459692"/>
                  <a:pt x="3592440" y="459596"/>
                  <a:pt x="3592344" y="459548"/>
                </a:cubicBezTo>
                <a:lnTo>
                  <a:pt x="3593114" y="458585"/>
                </a:lnTo>
                <a:cubicBezTo>
                  <a:pt x="3592969" y="458922"/>
                  <a:pt x="3592729" y="459355"/>
                  <a:pt x="3592537" y="459740"/>
                </a:cubicBezTo>
                <a:close/>
                <a:moveTo>
                  <a:pt x="3571090" y="445160"/>
                </a:moveTo>
                <a:cubicBezTo>
                  <a:pt x="3570369" y="444486"/>
                  <a:pt x="3569648" y="443812"/>
                  <a:pt x="3568927" y="443139"/>
                </a:cubicBezTo>
                <a:cubicBezTo>
                  <a:pt x="3572773" y="446363"/>
                  <a:pt x="3576380" y="449779"/>
                  <a:pt x="3579890" y="452859"/>
                </a:cubicBezTo>
                <a:cubicBezTo>
                  <a:pt x="3585083" y="457623"/>
                  <a:pt x="3589940" y="462050"/>
                  <a:pt x="3594412" y="466188"/>
                </a:cubicBezTo>
                <a:cubicBezTo>
                  <a:pt x="3603452" y="474417"/>
                  <a:pt x="3611050" y="481442"/>
                  <a:pt x="3617253" y="487072"/>
                </a:cubicBezTo>
                <a:cubicBezTo>
                  <a:pt x="3623456" y="492702"/>
                  <a:pt x="3628216" y="496937"/>
                  <a:pt x="3631486" y="499776"/>
                </a:cubicBezTo>
                <a:cubicBezTo>
                  <a:pt x="3634756" y="502615"/>
                  <a:pt x="3636487" y="503962"/>
                  <a:pt x="3636583" y="503818"/>
                </a:cubicBezTo>
                <a:cubicBezTo>
                  <a:pt x="3636727" y="503674"/>
                  <a:pt x="3635237" y="502038"/>
                  <a:pt x="3632255" y="498910"/>
                </a:cubicBezTo>
                <a:cubicBezTo>
                  <a:pt x="3629418" y="496071"/>
                  <a:pt x="3625235" y="491836"/>
                  <a:pt x="3619849" y="486447"/>
                </a:cubicBezTo>
                <a:cubicBezTo>
                  <a:pt x="3629274" y="495301"/>
                  <a:pt x="3639132" y="504540"/>
                  <a:pt x="3649422" y="514260"/>
                </a:cubicBezTo>
                <a:cubicBezTo>
                  <a:pt x="3651826" y="516522"/>
                  <a:pt x="3654327" y="518832"/>
                  <a:pt x="3656779" y="521141"/>
                </a:cubicBezTo>
                <a:cubicBezTo>
                  <a:pt x="3655625" y="520131"/>
                  <a:pt x="3654519" y="519120"/>
                  <a:pt x="3653461" y="518158"/>
                </a:cubicBezTo>
                <a:cubicBezTo>
                  <a:pt x="3648027" y="513346"/>
                  <a:pt x="3643844" y="509689"/>
                  <a:pt x="3641055" y="507235"/>
                </a:cubicBezTo>
                <a:cubicBezTo>
                  <a:pt x="3638218" y="504829"/>
                  <a:pt x="3636727" y="503626"/>
                  <a:pt x="3636583" y="503770"/>
                </a:cubicBezTo>
                <a:cubicBezTo>
                  <a:pt x="3636439" y="503914"/>
                  <a:pt x="3637737" y="505310"/>
                  <a:pt x="3640334" y="508005"/>
                </a:cubicBezTo>
                <a:cubicBezTo>
                  <a:pt x="3640670" y="508341"/>
                  <a:pt x="3641103" y="508774"/>
                  <a:pt x="3641536" y="509159"/>
                </a:cubicBezTo>
                <a:cubicBezTo>
                  <a:pt x="3629899" y="498765"/>
                  <a:pt x="3618551" y="488612"/>
                  <a:pt x="3607780" y="478844"/>
                </a:cubicBezTo>
                <a:cubicBezTo>
                  <a:pt x="3594941" y="467247"/>
                  <a:pt x="3582775" y="455939"/>
                  <a:pt x="3571138" y="445160"/>
                </a:cubicBezTo>
                <a:close/>
                <a:moveTo>
                  <a:pt x="3507232" y="419223"/>
                </a:moveTo>
                <a:cubicBezTo>
                  <a:pt x="3490018" y="402477"/>
                  <a:pt x="3473187" y="385491"/>
                  <a:pt x="3456598" y="368408"/>
                </a:cubicBezTo>
                <a:lnTo>
                  <a:pt x="3449241" y="360901"/>
                </a:lnTo>
                <a:cubicBezTo>
                  <a:pt x="3457271" y="366098"/>
                  <a:pt x="3465254" y="371247"/>
                  <a:pt x="3473236" y="376444"/>
                </a:cubicBezTo>
                <a:cubicBezTo>
                  <a:pt x="3473332" y="376636"/>
                  <a:pt x="3473428" y="376636"/>
                  <a:pt x="3473476" y="376829"/>
                </a:cubicBezTo>
                <a:lnTo>
                  <a:pt x="3473861" y="377358"/>
                </a:lnTo>
                <a:cubicBezTo>
                  <a:pt x="3474294" y="377936"/>
                  <a:pt x="3474726" y="378417"/>
                  <a:pt x="3475159" y="378850"/>
                </a:cubicBezTo>
                <a:cubicBezTo>
                  <a:pt x="3475977" y="379764"/>
                  <a:pt x="3476842" y="380582"/>
                  <a:pt x="3477708" y="381400"/>
                </a:cubicBezTo>
                <a:lnTo>
                  <a:pt x="3482661" y="386212"/>
                </a:lnTo>
                <a:lnTo>
                  <a:pt x="3492422" y="396029"/>
                </a:lnTo>
                <a:cubicBezTo>
                  <a:pt x="3498961" y="402525"/>
                  <a:pt x="3505501" y="409021"/>
                  <a:pt x="3512041" y="415518"/>
                </a:cubicBezTo>
                <a:cubicBezTo>
                  <a:pt x="3525168" y="428366"/>
                  <a:pt x="3538440" y="441021"/>
                  <a:pt x="3551808" y="453436"/>
                </a:cubicBezTo>
                <a:cubicBezTo>
                  <a:pt x="3578496" y="478266"/>
                  <a:pt x="3605423" y="502423"/>
                  <a:pt x="3632688" y="525665"/>
                </a:cubicBezTo>
                <a:cubicBezTo>
                  <a:pt x="3687121" y="572293"/>
                  <a:pt x="3741795" y="616564"/>
                  <a:pt x="3792141" y="663866"/>
                </a:cubicBezTo>
                <a:cubicBezTo>
                  <a:pt x="3842391" y="711072"/>
                  <a:pt x="3888553" y="761261"/>
                  <a:pt x="3924713" y="817080"/>
                </a:cubicBezTo>
                <a:cubicBezTo>
                  <a:pt x="3942938" y="844846"/>
                  <a:pt x="3958806" y="873718"/>
                  <a:pt x="3974194" y="902542"/>
                </a:cubicBezTo>
                <a:cubicBezTo>
                  <a:pt x="3989485" y="931366"/>
                  <a:pt x="4004921" y="959901"/>
                  <a:pt x="4020308" y="987955"/>
                </a:cubicBezTo>
                <a:cubicBezTo>
                  <a:pt x="4050891" y="1044208"/>
                  <a:pt x="4079934" y="1099931"/>
                  <a:pt x="4111383" y="1152911"/>
                </a:cubicBezTo>
                <a:cubicBezTo>
                  <a:pt x="4127203" y="1179329"/>
                  <a:pt x="4143456" y="1205169"/>
                  <a:pt x="4162113" y="1228989"/>
                </a:cubicBezTo>
                <a:cubicBezTo>
                  <a:pt x="4171490" y="1240875"/>
                  <a:pt x="4181732" y="1251990"/>
                  <a:pt x="4192696" y="1262192"/>
                </a:cubicBezTo>
                <a:cubicBezTo>
                  <a:pt x="4203611" y="1272393"/>
                  <a:pt x="4214767" y="1282065"/>
                  <a:pt x="4224961" y="1292604"/>
                </a:cubicBezTo>
                <a:cubicBezTo>
                  <a:pt x="4235204" y="1303094"/>
                  <a:pt x="4244869" y="1314017"/>
                  <a:pt x="4253284" y="1325807"/>
                </a:cubicBezTo>
                <a:cubicBezTo>
                  <a:pt x="4261795" y="1337548"/>
                  <a:pt x="4269681" y="1349674"/>
                  <a:pt x="4277327" y="1361849"/>
                </a:cubicBezTo>
                <a:cubicBezTo>
                  <a:pt x="4284924" y="1374071"/>
                  <a:pt x="4292474" y="1386246"/>
                  <a:pt x="4300023" y="1398324"/>
                </a:cubicBezTo>
                <a:cubicBezTo>
                  <a:pt x="4303966" y="1404339"/>
                  <a:pt x="4307428" y="1410354"/>
                  <a:pt x="4312622" y="1415984"/>
                </a:cubicBezTo>
                <a:cubicBezTo>
                  <a:pt x="4313006" y="1416321"/>
                  <a:pt x="4313295" y="1416658"/>
                  <a:pt x="4313872" y="1417043"/>
                </a:cubicBezTo>
                <a:cubicBezTo>
                  <a:pt x="4314353" y="1417283"/>
                  <a:pt x="4314834" y="1418005"/>
                  <a:pt x="4316757" y="1417572"/>
                </a:cubicBezTo>
                <a:cubicBezTo>
                  <a:pt x="4317815" y="1416994"/>
                  <a:pt x="4317719" y="1416513"/>
                  <a:pt x="4317911" y="1416176"/>
                </a:cubicBezTo>
                <a:lnTo>
                  <a:pt x="4318007" y="1415503"/>
                </a:lnTo>
                <a:lnTo>
                  <a:pt x="4318007" y="1414588"/>
                </a:lnTo>
                <a:cubicBezTo>
                  <a:pt x="4317911" y="1414059"/>
                  <a:pt x="4317863" y="1413578"/>
                  <a:pt x="4317767" y="1413097"/>
                </a:cubicBezTo>
                <a:cubicBezTo>
                  <a:pt x="4317430" y="1411268"/>
                  <a:pt x="4316950" y="1409536"/>
                  <a:pt x="4316469" y="1407803"/>
                </a:cubicBezTo>
                <a:cubicBezTo>
                  <a:pt x="4316276" y="1407082"/>
                  <a:pt x="4315988" y="1406360"/>
                  <a:pt x="4315796" y="1405638"/>
                </a:cubicBezTo>
                <a:cubicBezTo>
                  <a:pt x="4316469" y="1407226"/>
                  <a:pt x="4317142" y="1408862"/>
                  <a:pt x="4317815" y="1410450"/>
                </a:cubicBezTo>
                <a:cubicBezTo>
                  <a:pt x="4322047" y="1420555"/>
                  <a:pt x="4326086" y="1430276"/>
                  <a:pt x="4329933" y="1439515"/>
                </a:cubicBezTo>
                <a:cubicBezTo>
                  <a:pt x="4331856" y="1444134"/>
                  <a:pt x="4333731" y="1448657"/>
                  <a:pt x="4335511" y="1452988"/>
                </a:cubicBezTo>
                <a:cubicBezTo>
                  <a:pt x="4336424" y="1455154"/>
                  <a:pt x="4337290" y="1457319"/>
                  <a:pt x="4338155" y="1459436"/>
                </a:cubicBezTo>
                <a:cubicBezTo>
                  <a:pt x="4338588" y="1460495"/>
                  <a:pt x="4338973" y="1461506"/>
                  <a:pt x="4339406" y="1462564"/>
                </a:cubicBezTo>
                <a:lnTo>
                  <a:pt x="4339694" y="1463286"/>
                </a:lnTo>
                <a:lnTo>
                  <a:pt x="4339790" y="1463575"/>
                </a:lnTo>
                <a:lnTo>
                  <a:pt x="4339790" y="1463575"/>
                </a:lnTo>
                <a:cubicBezTo>
                  <a:pt x="4339790" y="1463575"/>
                  <a:pt x="4340031" y="1463479"/>
                  <a:pt x="4340031" y="1463479"/>
                </a:cubicBezTo>
                <a:lnTo>
                  <a:pt x="4339646" y="1463671"/>
                </a:lnTo>
                <a:cubicBezTo>
                  <a:pt x="4341906" y="1469397"/>
                  <a:pt x="4344070" y="1474883"/>
                  <a:pt x="4346138" y="1480080"/>
                </a:cubicBezTo>
                <a:cubicBezTo>
                  <a:pt x="4347147" y="1482582"/>
                  <a:pt x="4348109" y="1484988"/>
                  <a:pt x="4349023" y="1487346"/>
                </a:cubicBezTo>
                <a:cubicBezTo>
                  <a:pt x="4349407" y="1488357"/>
                  <a:pt x="4349648" y="1488742"/>
                  <a:pt x="4349936" y="1489319"/>
                </a:cubicBezTo>
                <a:lnTo>
                  <a:pt x="4350369" y="1490233"/>
                </a:lnTo>
                <a:lnTo>
                  <a:pt x="4350513" y="1490522"/>
                </a:lnTo>
                <a:lnTo>
                  <a:pt x="4350513" y="1490618"/>
                </a:lnTo>
                <a:cubicBezTo>
                  <a:pt x="4348061" y="1491340"/>
                  <a:pt x="4349215" y="1491099"/>
                  <a:pt x="4351235" y="1490474"/>
                </a:cubicBezTo>
                <a:cubicBezTo>
                  <a:pt x="4352100" y="1492495"/>
                  <a:pt x="4352918" y="1494516"/>
                  <a:pt x="4353783" y="1496489"/>
                </a:cubicBezTo>
                <a:lnTo>
                  <a:pt x="4357149" y="1504381"/>
                </a:lnTo>
                <a:lnTo>
                  <a:pt x="4358784" y="1508327"/>
                </a:lnTo>
                <a:lnTo>
                  <a:pt x="4359409" y="1509866"/>
                </a:lnTo>
                <a:cubicBezTo>
                  <a:pt x="4359409" y="1509866"/>
                  <a:pt x="4359313" y="1509963"/>
                  <a:pt x="4359265" y="1510011"/>
                </a:cubicBezTo>
                <a:cubicBezTo>
                  <a:pt x="4359361" y="1510299"/>
                  <a:pt x="4359457" y="1510540"/>
                  <a:pt x="4359554" y="1510781"/>
                </a:cubicBezTo>
                <a:cubicBezTo>
                  <a:pt x="4359554" y="1510781"/>
                  <a:pt x="4359505" y="1510684"/>
                  <a:pt x="4359457" y="1510636"/>
                </a:cubicBezTo>
                <a:cubicBezTo>
                  <a:pt x="4358784" y="1509674"/>
                  <a:pt x="4358207" y="1508567"/>
                  <a:pt x="4357101" y="1507942"/>
                </a:cubicBezTo>
                <a:lnTo>
                  <a:pt x="4356284" y="1508471"/>
                </a:lnTo>
                <a:lnTo>
                  <a:pt x="4356091" y="1509433"/>
                </a:lnTo>
                <a:cubicBezTo>
                  <a:pt x="4355995" y="1510059"/>
                  <a:pt x="4355995" y="1510684"/>
                  <a:pt x="4355995" y="1511358"/>
                </a:cubicBezTo>
                <a:cubicBezTo>
                  <a:pt x="4355995" y="1513957"/>
                  <a:pt x="4356139" y="1516699"/>
                  <a:pt x="4357005" y="1520597"/>
                </a:cubicBezTo>
                <a:cubicBezTo>
                  <a:pt x="4357726" y="1524302"/>
                  <a:pt x="4358592" y="1527863"/>
                  <a:pt x="4359457" y="1531376"/>
                </a:cubicBezTo>
                <a:lnTo>
                  <a:pt x="4361766" y="1540567"/>
                </a:lnTo>
                <a:cubicBezTo>
                  <a:pt x="4359938" y="1535081"/>
                  <a:pt x="4358111" y="1529547"/>
                  <a:pt x="4356187" y="1524110"/>
                </a:cubicBezTo>
                <a:cubicBezTo>
                  <a:pt x="4336713" y="1470648"/>
                  <a:pt x="4312189" y="1419400"/>
                  <a:pt x="4280981" y="1372724"/>
                </a:cubicBezTo>
                <a:cubicBezTo>
                  <a:pt x="4273095" y="1361127"/>
                  <a:pt x="4264776" y="1349819"/>
                  <a:pt x="4255400" y="1339328"/>
                </a:cubicBezTo>
                <a:cubicBezTo>
                  <a:pt x="4250639" y="1334180"/>
                  <a:pt x="4246071" y="1328838"/>
                  <a:pt x="4240156" y="1324459"/>
                </a:cubicBezTo>
                <a:cubicBezTo>
                  <a:pt x="4234338" y="1320129"/>
                  <a:pt x="4227991" y="1316953"/>
                  <a:pt x="4221740" y="1313873"/>
                </a:cubicBezTo>
                <a:cubicBezTo>
                  <a:pt x="4209237" y="1307906"/>
                  <a:pt x="4197119" y="1301843"/>
                  <a:pt x="4186493" y="1293470"/>
                </a:cubicBezTo>
                <a:cubicBezTo>
                  <a:pt x="4175962" y="1285097"/>
                  <a:pt x="4166441" y="1275329"/>
                  <a:pt x="4158795" y="1264213"/>
                </a:cubicBezTo>
                <a:cubicBezTo>
                  <a:pt x="4154756" y="1258823"/>
                  <a:pt x="4151342" y="1252856"/>
                  <a:pt x="4147543" y="1247227"/>
                </a:cubicBezTo>
                <a:lnTo>
                  <a:pt x="4137060" y="1229711"/>
                </a:lnTo>
                <a:cubicBezTo>
                  <a:pt x="4130328" y="1217873"/>
                  <a:pt x="4123596" y="1206036"/>
                  <a:pt x="4117153" y="1194102"/>
                </a:cubicBezTo>
                <a:cubicBezTo>
                  <a:pt x="4104170" y="1170234"/>
                  <a:pt x="4091619" y="1146270"/>
                  <a:pt x="4079261" y="1122355"/>
                </a:cubicBezTo>
                <a:cubicBezTo>
                  <a:pt x="4054737" y="1074331"/>
                  <a:pt x="4030454" y="1026740"/>
                  <a:pt x="4006363" y="979582"/>
                </a:cubicBezTo>
                <a:cubicBezTo>
                  <a:pt x="4000304" y="967793"/>
                  <a:pt x="3994149" y="956100"/>
                  <a:pt x="3987898" y="944454"/>
                </a:cubicBezTo>
                <a:cubicBezTo>
                  <a:pt x="3981551" y="932906"/>
                  <a:pt x="3975204" y="921357"/>
                  <a:pt x="3968856" y="909904"/>
                </a:cubicBezTo>
                <a:cubicBezTo>
                  <a:pt x="3956210" y="886951"/>
                  <a:pt x="3943851" y="863901"/>
                  <a:pt x="3930868" y="841333"/>
                </a:cubicBezTo>
                <a:cubicBezTo>
                  <a:pt x="3917933" y="818716"/>
                  <a:pt x="3904181" y="796629"/>
                  <a:pt x="3889082" y="775649"/>
                </a:cubicBezTo>
                <a:cubicBezTo>
                  <a:pt x="3881484" y="765159"/>
                  <a:pt x="3873742" y="754861"/>
                  <a:pt x="3865472" y="744996"/>
                </a:cubicBezTo>
                <a:cubicBezTo>
                  <a:pt x="3857490" y="734891"/>
                  <a:pt x="3848882" y="725363"/>
                  <a:pt x="3840467" y="715739"/>
                </a:cubicBezTo>
                <a:cubicBezTo>
                  <a:pt x="3823204" y="696828"/>
                  <a:pt x="3805268" y="678783"/>
                  <a:pt x="3786803" y="661364"/>
                </a:cubicBezTo>
                <a:cubicBezTo>
                  <a:pt x="3768290" y="644088"/>
                  <a:pt x="3749296" y="627487"/>
                  <a:pt x="3730158" y="611319"/>
                </a:cubicBezTo>
                <a:cubicBezTo>
                  <a:pt x="3691834" y="579030"/>
                  <a:pt x="3652644" y="548618"/>
                  <a:pt x="3614993" y="517196"/>
                </a:cubicBezTo>
                <a:cubicBezTo>
                  <a:pt x="3577437" y="485773"/>
                  <a:pt x="3541662" y="452811"/>
                  <a:pt x="3507232" y="419319"/>
                </a:cubicBezTo>
                <a:close/>
                <a:moveTo>
                  <a:pt x="4020452" y="1018752"/>
                </a:moveTo>
                <a:cubicBezTo>
                  <a:pt x="4004632" y="990361"/>
                  <a:pt x="3988331" y="961970"/>
                  <a:pt x="3971934" y="933339"/>
                </a:cubicBezTo>
                <a:cubicBezTo>
                  <a:pt x="3948804" y="892870"/>
                  <a:pt x="3926396" y="851294"/>
                  <a:pt x="3901680" y="810344"/>
                </a:cubicBezTo>
                <a:cubicBezTo>
                  <a:pt x="3889274" y="789892"/>
                  <a:pt x="3876195" y="769634"/>
                  <a:pt x="3861961" y="750049"/>
                </a:cubicBezTo>
                <a:cubicBezTo>
                  <a:pt x="3858355" y="745093"/>
                  <a:pt x="3854652" y="740184"/>
                  <a:pt x="3850901" y="735324"/>
                </a:cubicBezTo>
                <a:cubicBezTo>
                  <a:pt x="3854508" y="739511"/>
                  <a:pt x="3858114" y="743745"/>
                  <a:pt x="3861529" y="748076"/>
                </a:cubicBezTo>
                <a:cubicBezTo>
                  <a:pt x="3869703" y="757893"/>
                  <a:pt x="3877397" y="768142"/>
                  <a:pt x="3884946" y="778488"/>
                </a:cubicBezTo>
                <a:cubicBezTo>
                  <a:pt x="3899901" y="799372"/>
                  <a:pt x="3913557" y="821267"/>
                  <a:pt x="3926396" y="843787"/>
                </a:cubicBezTo>
                <a:cubicBezTo>
                  <a:pt x="3939331" y="866307"/>
                  <a:pt x="3951641" y="889309"/>
                  <a:pt x="3964288" y="912310"/>
                </a:cubicBezTo>
                <a:cubicBezTo>
                  <a:pt x="3970587" y="923811"/>
                  <a:pt x="3976935" y="935312"/>
                  <a:pt x="3983282" y="946860"/>
                </a:cubicBezTo>
                <a:cubicBezTo>
                  <a:pt x="3989485" y="958457"/>
                  <a:pt x="3995640" y="970151"/>
                  <a:pt x="4001651" y="981892"/>
                </a:cubicBezTo>
                <a:cubicBezTo>
                  <a:pt x="4007902" y="994114"/>
                  <a:pt x="4014153" y="1006433"/>
                  <a:pt x="4020404" y="1018704"/>
                </a:cubicBezTo>
                <a:close/>
                <a:moveTo>
                  <a:pt x="3019354" y="157930"/>
                </a:moveTo>
                <a:cubicBezTo>
                  <a:pt x="3036809" y="166351"/>
                  <a:pt x="3052196" y="173184"/>
                  <a:pt x="3064987" y="178574"/>
                </a:cubicBezTo>
                <a:cubicBezTo>
                  <a:pt x="3077778" y="183915"/>
                  <a:pt x="3087924" y="187861"/>
                  <a:pt x="3094896" y="190267"/>
                </a:cubicBezTo>
                <a:cubicBezTo>
                  <a:pt x="3101869" y="192721"/>
                  <a:pt x="3105668" y="193780"/>
                  <a:pt x="3105860" y="193347"/>
                </a:cubicBezTo>
                <a:cubicBezTo>
                  <a:pt x="3106245" y="192433"/>
                  <a:pt x="3091915" y="185936"/>
                  <a:pt x="3067103" y="173906"/>
                </a:cubicBezTo>
                <a:cubicBezTo>
                  <a:pt x="3062823" y="171837"/>
                  <a:pt x="3058159" y="169527"/>
                  <a:pt x="3053302" y="167073"/>
                </a:cubicBezTo>
                <a:cubicBezTo>
                  <a:pt x="3059024" y="169624"/>
                  <a:pt x="3064843" y="172222"/>
                  <a:pt x="3070709" y="174821"/>
                </a:cubicBezTo>
                <a:cubicBezTo>
                  <a:pt x="3094704" y="185407"/>
                  <a:pt x="3119949" y="195657"/>
                  <a:pt x="3145675" y="206532"/>
                </a:cubicBezTo>
                <a:cubicBezTo>
                  <a:pt x="3145964" y="206676"/>
                  <a:pt x="3146252" y="206772"/>
                  <a:pt x="3146541" y="206917"/>
                </a:cubicBezTo>
                <a:cubicBezTo>
                  <a:pt x="3135577" y="202923"/>
                  <a:pt x="3126585" y="199699"/>
                  <a:pt x="3119901" y="197389"/>
                </a:cubicBezTo>
                <a:cubicBezTo>
                  <a:pt x="3110957" y="194309"/>
                  <a:pt x="3106052" y="192866"/>
                  <a:pt x="3105860" y="193347"/>
                </a:cubicBezTo>
                <a:cubicBezTo>
                  <a:pt x="3105668" y="193828"/>
                  <a:pt x="3110188" y="196234"/>
                  <a:pt x="3118795" y="200180"/>
                </a:cubicBezTo>
                <a:cubicBezTo>
                  <a:pt x="3127403" y="204126"/>
                  <a:pt x="3140097" y="209660"/>
                  <a:pt x="3156254" y="216493"/>
                </a:cubicBezTo>
                <a:cubicBezTo>
                  <a:pt x="3159428" y="217840"/>
                  <a:pt x="3162745" y="219235"/>
                  <a:pt x="3166160" y="220679"/>
                </a:cubicBezTo>
                <a:cubicBezTo>
                  <a:pt x="3152744" y="216926"/>
                  <a:pt x="3139520" y="212547"/>
                  <a:pt x="3126441" y="207735"/>
                </a:cubicBezTo>
                <a:cubicBezTo>
                  <a:pt x="3088741" y="193972"/>
                  <a:pt x="3052725" y="176312"/>
                  <a:pt x="3017815" y="157160"/>
                </a:cubicBezTo>
                <a:cubicBezTo>
                  <a:pt x="3018296" y="157401"/>
                  <a:pt x="3018873" y="157690"/>
                  <a:pt x="3019354" y="157930"/>
                </a:cubicBezTo>
                <a:close/>
                <a:moveTo>
                  <a:pt x="3218669" y="248108"/>
                </a:moveTo>
                <a:cubicBezTo>
                  <a:pt x="3195829" y="243777"/>
                  <a:pt x="3173180" y="238339"/>
                  <a:pt x="3150772" y="231458"/>
                </a:cubicBezTo>
                <a:cubicBezTo>
                  <a:pt x="3128412" y="224577"/>
                  <a:pt x="3106149" y="216493"/>
                  <a:pt x="3084462" y="207205"/>
                </a:cubicBezTo>
                <a:cubicBezTo>
                  <a:pt x="3062823" y="197726"/>
                  <a:pt x="3041617" y="186851"/>
                  <a:pt x="3020796" y="175061"/>
                </a:cubicBezTo>
                <a:cubicBezTo>
                  <a:pt x="2999975" y="163224"/>
                  <a:pt x="2979539" y="150472"/>
                  <a:pt x="2959343" y="137142"/>
                </a:cubicBezTo>
                <a:cubicBezTo>
                  <a:pt x="2950831" y="131464"/>
                  <a:pt x="2942272" y="125738"/>
                  <a:pt x="2933761" y="120060"/>
                </a:cubicBezTo>
                <a:lnTo>
                  <a:pt x="2934626" y="120349"/>
                </a:lnTo>
                <a:lnTo>
                  <a:pt x="2935396" y="120589"/>
                </a:lnTo>
                <a:lnTo>
                  <a:pt x="2935492" y="120589"/>
                </a:lnTo>
                <a:cubicBezTo>
                  <a:pt x="2935492" y="120589"/>
                  <a:pt x="2937031" y="121552"/>
                  <a:pt x="2937031" y="121552"/>
                </a:cubicBezTo>
                <a:lnTo>
                  <a:pt x="2950495" y="129924"/>
                </a:lnTo>
                <a:cubicBezTo>
                  <a:pt x="2968527" y="141136"/>
                  <a:pt x="2986896" y="152060"/>
                  <a:pt x="3005601" y="162502"/>
                </a:cubicBezTo>
                <a:cubicBezTo>
                  <a:pt x="3043012" y="183386"/>
                  <a:pt x="3081817" y="202730"/>
                  <a:pt x="3122786" y="217744"/>
                </a:cubicBezTo>
                <a:cubicBezTo>
                  <a:pt x="3143175" y="225299"/>
                  <a:pt x="3164188" y="231891"/>
                  <a:pt x="3185683" y="236703"/>
                </a:cubicBezTo>
                <a:cubicBezTo>
                  <a:pt x="3196406" y="239157"/>
                  <a:pt x="3207081" y="241082"/>
                  <a:pt x="3217323" y="243873"/>
                </a:cubicBezTo>
                <a:cubicBezTo>
                  <a:pt x="3222468" y="245268"/>
                  <a:pt x="3227469" y="246856"/>
                  <a:pt x="3232470" y="248733"/>
                </a:cubicBezTo>
                <a:cubicBezTo>
                  <a:pt x="3234970" y="249696"/>
                  <a:pt x="3237471" y="250562"/>
                  <a:pt x="3239827" y="251620"/>
                </a:cubicBezTo>
                <a:lnTo>
                  <a:pt x="3241222" y="252246"/>
                </a:lnTo>
                <a:cubicBezTo>
                  <a:pt x="3239394" y="251957"/>
                  <a:pt x="3237567" y="251668"/>
                  <a:pt x="3235788" y="251380"/>
                </a:cubicBezTo>
                <a:cubicBezTo>
                  <a:pt x="3230354" y="250465"/>
                  <a:pt x="3224392" y="249214"/>
                  <a:pt x="3218717" y="248156"/>
                </a:cubicBezTo>
                <a:close/>
                <a:moveTo>
                  <a:pt x="2823019" y="134351"/>
                </a:moveTo>
                <a:cubicBezTo>
                  <a:pt x="2833021" y="146478"/>
                  <a:pt x="2841436" y="160144"/>
                  <a:pt x="2849082" y="174484"/>
                </a:cubicBezTo>
                <a:cubicBezTo>
                  <a:pt x="2864325" y="203260"/>
                  <a:pt x="2876683" y="234682"/>
                  <a:pt x="2891830" y="265816"/>
                </a:cubicBezTo>
                <a:cubicBezTo>
                  <a:pt x="2899380" y="281407"/>
                  <a:pt x="2907602" y="296950"/>
                  <a:pt x="2916594" y="312252"/>
                </a:cubicBezTo>
                <a:cubicBezTo>
                  <a:pt x="2925731" y="327506"/>
                  <a:pt x="2935829" y="342375"/>
                  <a:pt x="2946744" y="356955"/>
                </a:cubicBezTo>
                <a:cubicBezTo>
                  <a:pt x="2968912" y="385779"/>
                  <a:pt x="2994782" y="412630"/>
                  <a:pt x="3023778" y="436931"/>
                </a:cubicBezTo>
                <a:cubicBezTo>
                  <a:pt x="3052821" y="461136"/>
                  <a:pt x="3084654" y="482934"/>
                  <a:pt x="3118411" y="502759"/>
                </a:cubicBezTo>
                <a:cubicBezTo>
                  <a:pt x="3126921" y="507571"/>
                  <a:pt x="3135385" y="512624"/>
                  <a:pt x="3144088" y="517292"/>
                </a:cubicBezTo>
                <a:cubicBezTo>
                  <a:pt x="3152840" y="521863"/>
                  <a:pt x="3161591" y="526483"/>
                  <a:pt x="3170391" y="531150"/>
                </a:cubicBezTo>
                <a:cubicBezTo>
                  <a:pt x="3179335" y="535481"/>
                  <a:pt x="3188327" y="539860"/>
                  <a:pt x="3197367" y="544239"/>
                </a:cubicBezTo>
                <a:cubicBezTo>
                  <a:pt x="3206359" y="548666"/>
                  <a:pt x="3215688" y="552612"/>
                  <a:pt x="3224920" y="556750"/>
                </a:cubicBezTo>
                <a:cubicBezTo>
                  <a:pt x="3243530" y="564738"/>
                  <a:pt x="3262620" y="572245"/>
                  <a:pt x="3282335" y="578549"/>
                </a:cubicBezTo>
                <a:cubicBezTo>
                  <a:pt x="3302050" y="584804"/>
                  <a:pt x="3322487" y="589905"/>
                  <a:pt x="3343789" y="591734"/>
                </a:cubicBezTo>
                <a:cubicBezTo>
                  <a:pt x="3354464" y="592455"/>
                  <a:pt x="3365379" y="592407"/>
                  <a:pt x="3376247" y="590338"/>
                </a:cubicBezTo>
                <a:cubicBezTo>
                  <a:pt x="3387066" y="588317"/>
                  <a:pt x="3397837" y="583986"/>
                  <a:pt x="3406925" y="577153"/>
                </a:cubicBezTo>
                <a:cubicBezTo>
                  <a:pt x="3416158" y="570416"/>
                  <a:pt x="3423034" y="561225"/>
                  <a:pt x="3428708" y="551794"/>
                </a:cubicBezTo>
                <a:cubicBezTo>
                  <a:pt x="3434286" y="542314"/>
                  <a:pt x="3438662" y="532353"/>
                  <a:pt x="3443470" y="523066"/>
                </a:cubicBezTo>
                <a:cubicBezTo>
                  <a:pt x="3445923" y="518495"/>
                  <a:pt x="3448423" y="513923"/>
                  <a:pt x="3451501" y="510074"/>
                </a:cubicBezTo>
                <a:cubicBezTo>
                  <a:pt x="3453040" y="508197"/>
                  <a:pt x="3454675" y="506224"/>
                  <a:pt x="3456309" y="504829"/>
                </a:cubicBezTo>
                <a:cubicBezTo>
                  <a:pt x="3458041" y="503385"/>
                  <a:pt x="3459964" y="502134"/>
                  <a:pt x="3462080" y="501075"/>
                </a:cubicBezTo>
                <a:cubicBezTo>
                  <a:pt x="3470735" y="496841"/>
                  <a:pt x="3481362" y="495590"/>
                  <a:pt x="3492181" y="493761"/>
                </a:cubicBezTo>
                <a:cubicBezTo>
                  <a:pt x="3497663" y="492702"/>
                  <a:pt x="3503289" y="492077"/>
                  <a:pt x="3509492" y="488516"/>
                </a:cubicBezTo>
                <a:cubicBezTo>
                  <a:pt x="3512522" y="486784"/>
                  <a:pt x="3515840" y="482934"/>
                  <a:pt x="3516272" y="478699"/>
                </a:cubicBezTo>
                <a:cubicBezTo>
                  <a:pt x="3516801" y="474561"/>
                  <a:pt x="3515791" y="471193"/>
                  <a:pt x="3514686" y="468209"/>
                </a:cubicBezTo>
                <a:cubicBezTo>
                  <a:pt x="3509156" y="456660"/>
                  <a:pt x="3501895" y="448913"/>
                  <a:pt x="3494826" y="440107"/>
                </a:cubicBezTo>
                <a:cubicBezTo>
                  <a:pt x="3465926" y="406279"/>
                  <a:pt x="3434238" y="374712"/>
                  <a:pt x="3400915" y="343915"/>
                </a:cubicBezTo>
                <a:cubicBezTo>
                  <a:pt x="3389903" y="333906"/>
                  <a:pt x="3378747" y="323945"/>
                  <a:pt x="3367110" y="314417"/>
                </a:cubicBezTo>
                <a:cubicBezTo>
                  <a:pt x="3368312" y="315091"/>
                  <a:pt x="3369466" y="315813"/>
                  <a:pt x="3370669" y="316486"/>
                </a:cubicBezTo>
                <a:cubicBezTo>
                  <a:pt x="3370909" y="316631"/>
                  <a:pt x="3371101" y="316727"/>
                  <a:pt x="3371342" y="316871"/>
                </a:cubicBezTo>
                <a:cubicBezTo>
                  <a:pt x="3371198" y="317304"/>
                  <a:pt x="3371198" y="317545"/>
                  <a:pt x="3371534" y="317401"/>
                </a:cubicBezTo>
                <a:cubicBezTo>
                  <a:pt x="3372159" y="317930"/>
                  <a:pt x="3372448" y="318122"/>
                  <a:pt x="3372784" y="318363"/>
                </a:cubicBezTo>
                <a:lnTo>
                  <a:pt x="3372784" y="318363"/>
                </a:lnTo>
                <a:cubicBezTo>
                  <a:pt x="3372640" y="318748"/>
                  <a:pt x="3372688" y="318796"/>
                  <a:pt x="3372929" y="318459"/>
                </a:cubicBezTo>
                <a:lnTo>
                  <a:pt x="3388653" y="329479"/>
                </a:lnTo>
                <a:cubicBezTo>
                  <a:pt x="3399039" y="336889"/>
                  <a:pt x="3409474" y="344155"/>
                  <a:pt x="3418466" y="352576"/>
                </a:cubicBezTo>
                <a:cubicBezTo>
                  <a:pt x="3436786" y="369803"/>
                  <a:pt x="3453953" y="388811"/>
                  <a:pt x="3471408" y="407289"/>
                </a:cubicBezTo>
                <a:cubicBezTo>
                  <a:pt x="3506222" y="444342"/>
                  <a:pt x="3541085" y="481250"/>
                  <a:pt x="3579601" y="514068"/>
                </a:cubicBezTo>
                <a:cubicBezTo>
                  <a:pt x="3618214" y="546789"/>
                  <a:pt x="3660001" y="574170"/>
                  <a:pt x="3699143" y="603860"/>
                </a:cubicBezTo>
                <a:cubicBezTo>
                  <a:pt x="3738429" y="633406"/>
                  <a:pt x="3775263" y="665358"/>
                  <a:pt x="3807913" y="700822"/>
                </a:cubicBezTo>
                <a:cubicBezTo>
                  <a:pt x="3824262" y="718482"/>
                  <a:pt x="3839505" y="736960"/>
                  <a:pt x="3853546" y="756256"/>
                </a:cubicBezTo>
                <a:cubicBezTo>
                  <a:pt x="3867587" y="775553"/>
                  <a:pt x="3880523" y="795523"/>
                  <a:pt x="3892832" y="815829"/>
                </a:cubicBezTo>
                <a:cubicBezTo>
                  <a:pt x="3917404" y="856443"/>
                  <a:pt x="3939860" y="897970"/>
                  <a:pt x="3963086" y="938488"/>
                </a:cubicBezTo>
                <a:cubicBezTo>
                  <a:pt x="4009537" y="1019426"/>
                  <a:pt x="4055507" y="1098535"/>
                  <a:pt x="4090658" y="1180099"/>
                </a:cubicBezTo>
                <a:cubicBezTo>
                  <a:pt x="4099313" y="1200502"/>
                  <a:pt x="4107055" y="1221097"/>
                  <a:pt x="4113210" y="1241933"/>
                </a:cubicBezTo>
                <a:cubicBezTo>
                  <a:pt x="4114556" y="1247178"/>
                  <a:pt x="4115951" y="1252375"/>
                  <a:pt x="4117297" y="1257620"/>
                </a:cubicBezTo>
                <a:cubicBezTo>
                  <a:pt x="4118499" y="1262769"/>
                  <a:pt x="4119317" y="1267966"/>
                  <a:pt x="4119846" y="1273211"/>
                </a:cubicBezTo>
                <a:cubicBezTo>
                  <a:pt x="4120855" y="1283654"/>
                  <a:pt x="4120471" y="1294240"/>
                  <a:pt x="4118403" y="1304297"/>
                </a:cubicBezTo>
                <a:cubicBezTo>
                  <a:pt x="4116335" y="1314258"/>
                  <a:pt x="4112248" y="1323882"/>
                  <a:pt x="4105324" y="1330138"/>
                </a:cubicBezTo>
                <a:cubicBezTo>
                  <a:pt x="4098447" y="1336441"/>
                  <a:pt x="4088782" y="1338222"/>
                  <a:pt x="4079165" y="1336441"/>
                </a:cubicBezTo>
                <a:cubicBezTo>
                  <a:pt x="4069548" y="1334613"/>
                  <a:pt x="4060075" y="1330330"/>
                  <a:pt x="4051323" y="1324989"/>
                </a:cubicBezTo>
                <a:cubicBezTo>
                  <a:pt x="4049160" y="1323593"/>
                  <a:pt x="4046947" y="1322294"/>
                  <a:pt x="4044832" y="1320802"/>
                </a:cubicBezTo>
                <a:lnTo>
                  <a:pt x="4038532" y="1316279"/>
                </a:lnTo>
                <a:cubicBezTo>
                  <a:pt x="4034253" y="1313392"/>
                  <a:pt x="4030310" y="1310023"/>
                  <a:pt x="4026319" y="1306703"/>
                </a:cubicBezTo>
                <a:cubicBezTo>
                  <a:pt x="3994678" y="1279900"/>
                  <a:pt x="3971693" y="1244820"/>
                  <a:pt x="3953517" y="1208682"/>
                </a:cubicBezTo>
                <a:cubicBezTo>
                  <a:pt x="3935292" y="1172352"/>
                  <a:pt x="3921588" y="1134529"/>
                  <a:pt x="3908893" y="1097092"/>
                </a:cubicBezTo>
                <a:cubicBezTo>
                  <a:pt x="3883744" y="1022120"/>
                  <a:pt x="3863019" y="947967"/>
                  <a:pt x="3832052" y="880599"/>
                </a:cubicBezTo>
                <a:cubicBezTo>
                  <a:pt x="3824262" y="863805"/>
                  <a:pt x="3816039" y="847396"/>
                  <a:pt x="3806663" y="831757"/>
                </a:cubicBezTo>
                <a:cubicBezTo>
                  <a:pt x="3797286" y="815877"/>
                  <a:pt x="3786082" y="801874"/>
                  <a:pt x="3775359" y="787775"/>
                </a:cubicBezTo>
                <a:cubicBezTo>
                  <a:pt x="3753528" y="759962"/>
                  <a:pt x="3731457" y="733399"/>
                  <a:pt x="3709433" y="707799"/>
                </a:cubicBezTo>
                <a:cubicBezTo>
                  <a:pt x="3687410" y="682248"/>
                  <a:pt x="3665531" y="657610"/>
                  <a:pt x="3643604" y="634127"/>
                </a:cubicBezTo>
                <a:cubicBezTo>
                  <a:pt x="3621580" y="610741"/>
                  <a:pt x="3600038" y="588077"/>
                  <a:pt x="3576620" y="568203"/>
                </a:cubicBezTo>
                <a:cubicBezTo>
                  <a:pt x="3573639" y="565749"/>
                  <a:pt x="3570658" y="563343"/>
                  <a:pt x="3567676" y="560937"/>
                </a:cubicBezTo>
                <a:cubicBezTo>
                  <a:pt x="3564551" y="558675"/>
                  <a:pt x="3561184" y="556606"/>
                  <a:pt x="3557963" y="554441"/>
                </a:cubicBezTo>
                <a:cubicBezTo>
                  <a:pt x="3551327" y="550591"/>
                  <a:pt x="3544451" y="547367"/>
                  <a:pt x="3537238" y="544865"/>
                </a:cubicBezTo>
                <a:cubicBezTo>
                  <a:pt x="3530073" y="542362"/>
                  <a:pt x="3522524" y="540582"/>
                  <a:pt x="3514686" y="540678"/>
                </a:cubicBezTo>
                <a:cubicBezTo>
                  <a:pt x="3506944" y="540726"/>
                  <a:pt x="3498865" y="543036"/>
                  <a:pt x="3492662" y="547800"/>
                </a:cubicBezTo>
                <a:cubicBezTo>
                  <a:pt x="3486315" y="552371"/>
                  <a:pt x="3481795" y="558579"/>
                  <a:pt x="3478044" y="564786"/>
                </a:cubicBezTo>
                <a:cubicBezTo>
                  <a:pt x="3474294" y="571042"/>
                  <a:pt x="3471408" y="577490"/>
                  <a:pt x="3468427" y="583698"/>
                </a:cubicBezTo>
                <a:cubicBezTo>
                  <a:pt x="3462464" y="595920"/>
                  <a:pt x="3456742" y="608961"/>
                  <a:pt x="3443326" y="609586"/>
                </a:cubicBezTo>
                <a:cubicBezTo>
                  <a:pt x="3430535" y="612425"/>
                  <a:pt x="3417552" y="613676"/>
                  <a:pt x="3404810" y="613628"/>
                </a:cubicBezTo>
                <a:cubicBezTo>
                  <a:pt x="3398462" y="613869"/>
                  <a:pt x="3392115" y="613291"/>
                  <a:pt x="3385864" y="613099"/>
                </a:cubicBezTo>
                <a:cubicBezTo>
                  <a:pt x="3379613" y="612425"/>
                  <a:pt x="3373409" y="612137"/>
                  <a:pt x="3367303" y="611126"/>
                </a:cubicBezTo>
                <a:cubicBezTo>
                  <a:pt x="3342875" y="607806"/>
                  <a:pt x="3319698" y="602128"/>
                  <a:pt x="3298011" y="595198"/>
                </a:cubicBezTo>
                <a:cubicBezTo>
                  <a:pt x="3254541" y="581292"/>
                  <a:pt x="3216505" y="563631"/>
                  <a:pt x="3183326" y="546019"/>
                </a:cubicBezTo>
                <a:cubicBezTo>
                  <a:pt x="3116968" y="510603"/>
                  <a:pt x="3069796" y="475668"/>
                  <a:pt x="3038732" y="451223"/>
                </a:cubicBezTo>
                <a:cubicBezTo>
                  <a:pt x="3023153" y="438952"/>
                  <a:pt x="3011804" y="429039"/>
                  <a:pt x="3004062" y="422447"/>
                </a:cubicBezTo>
                <a:cubicBezTo>
                  <a:pt x="3000264" y="419078"/>
                  <a:pt x="2997378" y="416576"/>
                  <a:pt x="2995407" y="414892"/>
                </a:cubicBezTo>
                <a:cubicBezTo>
                  <a:pt x="2993436" y="413208"/>
                  <a:pt x="2992426" y="412390"/>
                  <a:pt x="2992377" y="412486"/>
                </a:cubicBezTo>
                <a:cubicBezTo>
                  <a:pt x="2992329" y="412534"/>
                  <a:pt x="2993195" y="413497"/>
                  <a:pt x="2995022" y="415325"/>
                </a:cubicBezTo>
                <a:cubicBezTo>
                  <a:pt x="2996898" y="417106"/>
                  <a:pt x="2999638" y="419800"/>
                  <a:pt x="3003293" y="423313"/>
                </a:cubicBezTo>
                <a:cubicBezTo>
                  <a:pt x="3010794" y="430194"/>
                  <a:pt x="3021950" y="440396"/>
                  <a:pt x="3037338" y="452955"/>
                </a:cubicBezTo>
                <a:cubicBezTo>
                  <a:pt x="3068016" y="478026"/>
                  <a:pt x="3114948" y="513587"/>
                  <a:pt x="3181307" y="549773"/>
                </a:cubicBezTo>
                <a:cubicBezTo>
                  <a:pt x="3214486" y="567722"/>
                  <a:pt x="3252570" y="585815"/>
                  <a:pt x="3296376" y="600107"/>
                </a:cubicBezTo>
                <a:cubicBezTo>
                  <a:pt x="3318255" y="607228"/>
                  <a:pt x="3341673" y="613147"/>
                  <a:pt x="3366485" y="616708"/>
                </a:cubicBezTo>
                <a:cubicBezTo>
                  <a:pt x="3372688" y="617767"/>
                  <a:pt x="3378988" y="618103"/>
                  <a:pt x="3385383" y="618825"/>
                </a:cubicBezTo>
                <a:cubicBezTo>
                  <a:pt x="3391778" y="619066"/>
                  <a:pt x="3398222" y="619691"/>
                  <a:pt x="3404761" y="619451"/>
                </a:cubicBezTo>
                <a:cubicBezTo>
                  <a:pt x="3417841" y="619547"/>
                  <a:pt x="3431209" y="618344"/>
                  <a:pt x="3444529" y="615457"/>
                </a:cubicBezTo>
                <a:lnTo>
                  <a:pt x="3449529" y="614398"/>
                </a:lnTo>
                <a:cubicBezTo>
                  <a:pt x="3451260" y="613917"/>
                  <a:pt x="3453328" y="613291"/>
                  <a:pt x="3454915" y="612281"/>
                </a:cubicBezTo>
                <a:cubicBezTo>
                  <a:pt x="3458329" y="610356"/>
                  <a:pt x="3461166" y="607710"/>
                  <a:pt x="3463330" y="604822"/>
                </a:cubicBezTo>
                <a:cubicBezTo>
                  <a:pt x="3467802" y="599048"/>
                  <a:pt x="3470831" y="592648"/>
                  <a:pt x="3473909" y="586440"/>
                </a:cubicBezTo>
                <a:cubicBezTo>
                  <a:pt x="3476938" y="580185"/>
                  <a:pt x="3479823" y="573881"/>
                  <a:pt x="3483334" y="568107"/>
                </a:cubicBezTo>
                <a:cubicBezTo>
                  <a:pt x="3486844" y="562332"/>
                  <a:pt x="3490979" y="556847"/>
                  <a:pt x="3496269" y="553093"/>
                </a:cubicBezTo>
                <a:cubicBezTo>
                  <a:pt x="3501510" y="549147"/>
                  <a:pt x="3507954" y="547367"/>
                  <a:pt x="3514686" y="547271"/>
                </a:cubicBezTo>
                <a:cubicBezTo>
                  <a:pt x="3521418" y="547174"/>
                  <a:pt x="3528294" y="548810"/>
                  <a:pt x="3534978" y="551168"/>
                </a:cubicBezTo>
                <a:cubicBezTo>
                  <a:pt x="3541662" y="553526"/>
                  <a:pt x="3548346" y="556654"/>
                  <a:pt x="3554549" y="560311"/>
                </a:cubicBezTo>
                <a:cubicBezTo>
                  <a:pt x="3557530" y="562332"/>
                  <a:pt x="3560560" y="564209"/>
                  <a:pt x="3563493" y="566374"/>
                </a:cubicBezTo>
                <a:cubicBezTo>
                  <a:pt x="3566378" y="568732"/>
                  <a:pt x="3569215" y="571090"/>
                  <a:pt x="3572100" y="573448"/>
                </a:cubicBezTo>
                <a:cubicBezTo>
                  <a:pt x="3594893" y="592985"/>
                  <a:pt x="3616435" y="615697"/>
                  <a:pt x="3638218" y="639084"/>
                </a:cubicBezTo>
                <a:cubicBezTo>
                  <a:pt x="3659953" y="662567"/>
                  <a:pt x="3681688" y="687204"/>
                  <a:pt x="3703567" y="712756"/>
                </a:cubicBezTo>
                <a:cubicBezTo>
                  <a:pt x="3725398" y="738356"/>
                  <a:pt x="3747373" y="764918"/>
                  <a:pt x="3768963" y="792683"/>
                </a:cubicBezTo>
                <a:cubicBezTo>
                  <a:pt x="3779542" y="806686"/>
                  <a:pt x="3790602" y="820689"/>
                  <a:pt x="3799546" y="835895"/>
                </a:cubicBezTo>
                <a:cubicBezTo>
                  <a:pt x="3808682" y="851246"/>
                  <a:pt x="3816713" y="867462"/>
                  <a:pt x="3824406" y="884064"/>
                </a:cubicBezTo>
                <a:cubicBezTo>
                  <a:pt x="3854845" y="950710"/>
                  <a:pt x="3875281" y="1024623"/>
                  <a:pt x="3900382" y="1099979"/>
                </a:cubicBezTo>
                <a:cubicBezTo>
                  <a:pt x="3913029" y="1137609"/>
                  <a:pt x="3926781" y="1175864"/>
                  <a:pt x="3945246" y="1212869"/>
                </a:cubicBezTo>
                <a:cubicBezTo>
                  <a:pt x="3963663" y="1249681"/>
                  <a:pt x="3987129" y="1285867"/>
                  <a:pt x="4020115" y="1313969"/>
                </a:cubicBezTo>
                <a:cubicBezTo>
                  <a:pt x="4024203" y="1317482"/>
                  <a:pt x="4028338" y="1320947"/>
                  <a:pt x="4032810" y="1324026"/>
                </a:cubicBezTo>
                <a:lnTo>
                  <a:pt x="4039398" y="1328790"/>
                </a:lnTo>
                <a:cubicBezTo>
                  <a:pt x="4041610" y="1330378"/>
                  <a:pt x="4044014" y="1331725"/>
                  <a:pt x="4046322" y="1333217"/>
                </a:cubicBezTo>
                <a:cubicBezTo>
                  <a:pt x="4055699" y="1338895"/>
                  <a:pt x="4065941" y="1343707"/>
                  <a:pt x="4077386" y="1345921"/>
                </a:cubicBezTo>
                <a:cubicBezTo>
                  <a:pt x="4083108" y="1346931"/>
                  <a:pt x="4089215" y="1347076"/>
                  <a:pt x="4095226" y="1345728"/>
                </a:cubicBezTo>
                <a:cubicBezTo>
                  <a:pt x="4101236" y="1344429"/>
                  <a:pt x="4107007" y="1341446"/>
                  <a:pt x="4111575" y="1337356"/>
                </a:cubicBezTo>
                <a:cubicBezTo>
                  <a:pt x="4120759" y="1328983"/>
                  <a:pt x="4125279" y="1317482"/>
                  <a:pt x="4127683" y="1306366"/>
                </a:cubicBezTo>
                <a:cubicBezTo>
                  <a:pt x="4129992" y="1295106"/>
                  <a:pt x="4130377" y="1283654"/>
                  <a:pt x="4129318" y="1272393"/>
                </a:cubicBezTo>
                <a:cubicBezTo>
                  <a:pt x="4128790" y="1266763"/>
                  <a:pt x="4127924" y="1261085"/>
                  <a:pt x="4126626" y="1255551"/>
                </a:cubicBezTo>
                <a:cubicBezTo>
                  <a:pt x="4125231" y="1250162"/>
                  <a:pt x="4123837" y="1244772"/>
                  <a:pt x="4122394" y="1239335"/>
                </a:cubicBezTo>
                <a:cubicBezTo>
                  <a:pt x="4116095" y="1217921"/>
                  <a:pt x="4108257" y="1196989"/>
                  <a:pt x="4099553" y="1176346"/>
                </a:cubicBezTo>
                <a:cubicBezTo>
                  <a:pt x="4096572" y="1169416"/>
                  <a:pt x="4093399" y="1162487"/>
                  <a:pt x="4090273" y="1155606"/>
                </a:cubicBezTo>
                <a:cubicBezTo>
                  <a:pt x="4097486" y="1169368"/>
                  <a:pt x="4104747" y="1183130"/>
                  <a:pt x="4112200" y="1196845"/>
                </a:cubicBezTo>
                <a:cubicBezTo>
                  <a:pt x="4118644" y="1208827"/>
                  <a:pt x="4125375" y="1220712"/>
                  <a:pt x="4132156" y="1232598"/>
                </a:cubicBezTo>
                <a:lnTo>
                  <a:pt x="4142686" y="1250258"/>
                </a:lnTo>
                <a:cubicBezTo>
                  <a:pt x="4146533" y="1255984"/>
                  <a:pt x="4149947" y="1261951"/>
                  <a:pt x="4154131" y="1267533"/>
                </a:cubicBezTo>
                <a:cubicBezTo>
                  <a:pt x="4162017" y="1279034"/>
                  <a:pt x="4171874" y="1289187"/>
                  <a:pt x="4182886" y="1297945"/>
                </a:cubicBezTo>
                <a:cubicBezTo>
                  <a:pt x="4193946" y="1306703"/>
                  <a:pt x="4206641" y="1313055"/>
                  <a:pt x="4219095" y="1318974"/>
                </a:cubicBezTo>
                <a:cubicBezTo>
                  <a:pt x="4225250" y="1322005"/>
                  <a:pt x="4231309" y="1325085"/>
                  <a:pt x="4236646" y="1329031"/>
                </a:cubicBezTo>
                <a:cubicBezTo>
                  <a:pt x="4241887" y="1332880"/>
                  <a:pt x="4246456" y="1338125"/>
                  <a:pt x="4251072" y="1343178"/>
                </a:cubicBezTo>
                <a:cubicBezTo>
                  <a:pt x="4260208" y="1353428"/>
                  <a:pt x="4268431" y="1364543"/>
                  <a:pt x="4276221" y="1376044"/>
                </a:cubicBezTo>
                <a:cubicBezTo>
                  <a:pt x="4282472" y="1385379"/>
                  <a:pt x="4288387" y="1395003"/>
                  <a:pt x="4294157" y="1404724"/>
                </a:cubicBezTo>
                <a:cubicBezTo>
                  <a:pt x="4293003" y="1403136"/>
                  <a:pt x="4291897" y="1401548"/>
                  <a:pt x="4290791" y="1399960"/>
                </a:cubicBezTo>
                <a:cubicBezTo>
                  <a:pt x="4288723" y="1397025"/>
                  <a:pt x="4286656" y="1394137"/>
                  <a:pt x="4284347" y="1391394"/>
                </a:cubicBezTo>
                <a:cubicBezTo>
                  <a:pt x="4275644" y="1380134"/>
                  <a:pt x="4265690" y="1369837"/>
                  <a:pt x="4254053" y="1361656"/>
                </a:cubicBezTo>
                <a:cubicBezTo>
                  <a:pt x="4251168" y="1359491"/>
                  <a:pt x="4248235" y="1357662"/>
                  <a:pt x="4245205" y="1356026"/>
                </a:cubicBezTo>
                <a:cubicBezTo>
                  <a:pt x="4242176" y="1354294"/>
                  <a:pt x="4239002" y="1352754"/>
                  <a:pt x="4235636" y="1351407"/>
                </a:cubicBezTo>
                <a:cubicBezTo>
                  <a:pt x="4232270" y="1350155"/>
                  <a:pt x="4228664" y="1348856"/>
                  <a:pt x="4224048" y="1349145"/>
                </a:cubicBezTo>
                <a:cubicBezTo>
                  <a:pt x="4221836" y="1349241"/>
                  <a:pt x="4218999" y="1350155"/>
                  <a:pt x="4217027" y="1352080"/>
                </a:cubicBezTo>
                <a:cubicBezTo>
                  <a:pt x="4215056" y="1353957"/>
                  <a:pt x="4213902" y="1356363"/>
                  <a:pt x="4213469" y="1358384"/>
                </a:cubicBezTo>
                <a:cubicBezTo>
                  <a:pt x="4212411" y="1362571"/>
                  <a:pt x="4212747" y="1366131"/>
                  <a:pt x="4213084" y="1369644"/>
                </a:cubicBezTo>
                <a:cubicBezTo>
                  <a:pt x="4213517" y="1373109"/>
                  <a:pt x="4214190" y="1376381"/>
                  <a:pt x="4214911" y="1379605"/>
                </a:cubicBezTo>
                <a:cubicBezTo>
                  <a:pt x="4216450" y="1386053"/>
                  <a:pt x="4218325" y="1392213"/>
                  <a:pt x="4220345" y="1398228"/>
                </a:cubicBezTo>
                <a:cubicBezTo>
                  <a:pt x="4228520" y="1422288"/>
                  <a:pt x="4237800" y="1444567"/>
                  <a:pt x="4246263" y="1465981"/>
                </a:cubicBezTo>
                <a:cubicBezTo>
                  <a:pt x="4263334" y="1508711"/>
                  <a:pt x="4278048" y="1547641"/>
                  <a:pt x="4287233" y="1582865"/>
                </a:cubicBezTo>
                <a:cubicBezTo>
                  <a:pt x="4291849" y="1600477"/>
                  <a:pt x="4295263" y="1617078"/>
                  <a:pt x="4295792" y="1632428"/>
                </a:cubicBezTo>
                <a:cubicBezTo>
                  <a:pt x="4296417" y="1647731"/>
                  <a:pt x="4293724" y="1661782"/>
                  <a:pt x="4287713" y="1672753"/>
                </a:cubicBezTo>
                <a:cubicBezTo>
                  <a:pt x="4281751" y="1683773"/>
                  <a:pt x="4273143" y="1691424"/>
                  <a:pt x="4265882" y="1698016"/>
                </a:cubicBezTo>
                <a:cubicBezTo>
                  <a:pt x="4258477" y="1704561"/>
                  <a:pt x="4252082" y="1710143"/>
                  <a:pt x="4247562" y="1715339"/>
                </a:cubicBezTo>
                <a:cubicBezTo>
                  <a:pt x="4246407" y="1716639"/>
                  <a:pt x="4245302" y="1717794"/>
                  <a:pt x="4244388" y="1718948"/>
                </a:cubicBezTo>
                <a:cubicBezTo>
                  <a:pt x="4243474" y="1720151"/>
                  <a:pt x="4242657" y="1721306"/>
                  <a:pt x="4241887" y="1722365"/>
                </a:cubicBezTo>
                <a:cubicBezTo>
                  <a:pt x="4241118" y="1723424"/>
                  <a:pt x="4240445" y="1724386"/>
                  <a:pt x="4239820" y="1725300"/>
                </a:cubicBezTo>
                <a:cubicBezTo>
                  <a:pt x="4239291" y="1726263"/>
                  <a:pt x="4238810" y="1727129"/>
                  <a:pt x="4238377" y="1727899"/>
                </a:cubicBezTo>
                <a:cubicBezTo>
                  <a:pt x="4236694" y="1730978"/>
                  <a:pt x="4235925" y="1732615"/>
                  <a:pt x="4236117" y="1732663"/>
                </a:cubicBezTo>
                <a:cubicBezTo>
                  <a:pt x="4236694" y="1733000"/>
                  <a:pt x="4239724" y="1726359"/>
                  <a:pt x="4249148" y="1716831"/>
                </a:cubicBezTo>
                <a:cubicBezTo>
                  <a:pt x="4253813" y="1712019"/>
                  <a:pt x="4260304" y="1706774"/>
                  <a:pt x="4267950" y="1700422"/>
                </a:cubicBezTo>
                <a:cubicBezTo>
                  <a:pt x="4275451" y="1694022"/>
                  <a:pt x="4284636" y="1686419"/>
                  <a:pt x="4291320" y="1674774"/>
                </a:cubicBezTo>
                <a:cubicBezTo>
                  <a:pt x="4298052" y="1663225"/>
                  <a:pt x="4301274" y="1648260"/>
                  <a:pt x="4300889" y="1632284"/>
                </a:cubicBezTo>
                <a:cubicBezTo>
                  <a:pt x="4300648" y="1616260"/>
                  <a:pt x="4297379" y="1599225"/>
                  <a:pt x="4293003" y="1581373"/>
                </a:cubicBezTo>
                <a:cubicBezTo>
                  <a:pt x="4284251" y="1545572"/>
                  <a:pt x="4269921" y="1506161"/>
                  <a:pt x="4253284" y="1463190"/>
                </a:cubicBezTo>
                <a:cubicBezTo>
                  <a:pt x="4245061" y="1441680"/>
                  <a:pt x="4235973" y="1419256"/>
                  <a:pt x="4228183" y="1395629"/>
                </a:cubicBezTo>
                <a:cubicBezTo>
                  <a:pt x="4226259" y="1389710"/>
                  <a:pt x="4224480" y="1383695"/>
                  <a:pt x="4223086" y="1377680"/>
                </a:cubicBezTo>
                <a:cubicBezTo>
                  <a:pt x="4221788" y="1371810"/>
                  <a:pt x="4220585" y="1365121"/>
                  <a:pt x="4221740" y="1360501"/>
                </a:cubicBezTo>
                <a:cubicBezTo>
                  <a:pt x="4221980" y="1359346"/>
                  <a:pt x="4222461" y="1358721"/>
                  <a:pt x="4222846" y="1358336"/>
                </a:cubicBezTo>
                <a:cubicBezTo>
                  <a:pt x="4223230" y="1357999"/>
                  <a:pt x="4223711" y="1357710"/>
                  <a:pt x="4224769" y="1357662"/>
                </a:cubicBezTo>
                <a:cubicBezTo>
                  <a:pt x="4226741" y="1357470"/>
                  <a:pt x="4229722" y="1358288"/>
                  <a:pt x="4232463" y="1359395"/>
                </a:cubicBezTo>
                <a:cubicBezTo>
                  <a:pt x="4237992" y="1361752"/>
                  <a:pt x="4243955" y="1364977"/>
                  <a:pt x="4249052" y="1368826"/>
                </a:cubicBezTo>
                <a:cubicBezTo>
                  <a:pt x="4259487" y="1376285"/>
                  <a:pt x="4268912" y="1386053"/>
                  <a:pt x="4277231" y="1396928"/>
                </a:cubicBezTo>
                <a:cubicBezTo>
                  <a:pt x="4279443" y="1399527"/>
                  <a:pt x="4281414" y="1402366"/>
                  <a:pt x="4283385" y="1405205"/>
                </a:cubicBezTo>
                <a:cubicBezTo>
                  <a:pt x="4285357" y="1408044"/>
                  <a:pt x="4287425" y="1410835"/>
                  <a:pt x="4289348" y="1413770"/>
                </a:cubicBezTo>
                <a:cubicBezTo>
                  <a:pt x="4293003" y="1419737"/>
                  <a:pt x="4297042" y="1425560"/>
                  <a:pt x="4300456" y="1431864"/>
                </a:cubicBezTo>
                <a:cubicBezTo>
                  <a:pt x="4311131" y="1450390"/>
                  <a:pt x="4320748" y="1470071"/>
                  <a:pt x="4329596" y="1490618"/>
                </a:cubicBezTo>
                <a:cubicBezTo>
                  <a:pt x="4324211" y="1479695"/>
                  <a:pt x="4318969" y="1469878"/>
                  <a:pt x="4313920" y="1461217"/>
                </a:cubicBezTo>
                <a:cubicBezTo>
                  <a:pt x="4303533" y="1443412"/>
                  <a:pt x="4293820" y="1430420"/>
                  <a:pt x="4285982" y="1422769"/>
                </a:cubicBezTo>
                <a:cubicBezTo>
                  <a:pt x="4282087" y="1418919"/>
                  <a:pt x="4278721" y="1416369"/>
                  <a:pt x="4276173" y="1415118"/>
                </a:cubicBezTo>
                <a:cubicBezTo>
                  <a:pt x="4273672" y="1413770"/>
                  <a:pt x="4272182" y="1413578"/>
                  <a:pt x="4272182" y="1413674"/>
                </a:cubicBezTo>
                <a:cubicBezTo>
                  <a:pt x="4271989" y="1414107"/>
                  <a:pt x="4277423" y="1416080"/>
                  <a:pt x="4284443" y="1424261"/>
                </a:cubicBezTo>
                <a:cubicBezTo>
                  <a:pt x="4291560" y="1432200"/>
                  <a:pt x="4300552" y="1445337"/>
                  <a:pt x="4310314" y="1463286"/>
                </a:cubicBezTo>
                <a:cubicBezTo>
                  <a:pt x="4329740" y="1499136"/>
                  <a:pt x="4353014" y="1554089"/>
                  <a:pt x="4371142" y="1624922"/>
                </a:cubicBezTo>
                <a:cubicBezTo>
                  <a:pt x="4375566" y="1642582"/>
                  <a:pt x="4379942" y="1661349"/>
                  <a:pt x="4383019" y="1680885"/>
                </a:cubicBezTo>
                <a:cubicBezTo>
                  <a:pt x="4386145" y="1700470"/>
                  <a:pt x="4386722" y="1720921"/>
                  <a:pt x="4387058" y="1742624"/>
                </a:cubicBezTo>
                <a:cubicBezTo>
                  <a:pt x="4387299" y="1753451"/>
                  <a:pt x="4387876" y="1764614"/>
                  <a:pt x="4389174" y="1775875"/>
                </a:cubicBezTo>
                <a:cubicBezTo>
                  <a:pt x="4390521" y="1787183"/>
                  <a:pt x="4392540" y="1798395"/>
                  <a:pt x="4394656" y="1809703"/>
                </a:cubicBezTo>
                <a:cubicBezTo>
                  <a:pt x="4398984" y="1832368"/>
                  <a:pt x="4403937" y="1855513"/>
                  <a:pt x="4408890" y="1879285"/>
                </a:cubicBezTo>
                <a:cubicBezTo>
                  <a:pt x="4418699" y="1926779"/>
                  <a:pt x="4429326" y="1976584"/>
                  <a:pt x="4436587" y="2028602"/>
                </a:cubicBezTo>
                <a:cubicBezTo>
                  <a:pt x="4438318" y="2041594"/>
                  <a:pt x="4439809" y="2054731"/>
                  <a:pt x="4440626" y="2067964"/>
                </a:cubicBezTo>
                <a:cubicBezTo>
                  <a:pt x="4441348" y="2081101"/>
                  <a:pt x="4441684" y="2094623"/>
                  <a:pt x="4439184" y="2106941"/>
                </a:cubicBezTo>
                <a:cubicBezTo>
                  <a:pt x="4438895" y="2108481"/>
                  <a:pt x="4438366" y="2109829"/>
                  <a:pt x="4437981" y="2111320"/>
                </a:cubicBezTo>
                <a:cubicBezTo>
                  <a:pt x="4437789" y="2112090"/>
                  <a:pt x="4437501" y="2112668"/>
                  <a:pt x="4437356" y="2113101"/>
                </a:cubicBezTo>
                <a:lnTo>
                  <a:pt x="4437356" y="2113197"/>
                </a:lnTo>
                <a:cubicBezTo>
                  <a:pt x="4437356" y="2113197"/>
                  <a:pt x="4437308" y="2113197"/>
                  <a:pt x="4437308" y="2113197"/>
                </a:cubicBezTo>
                <a:lnTo>
                  <a:pt x="4437212" y="2113197"/>
                </a:lnTo>
                <a:cubicBezTo>
                  <a:pt x="4437212" y="2113197"/>
                  <a:pt x="4436395" y="2112427"/>
                  <a:pt x="4436010" y="2111946"/>
                </a:cubicBezTo>
                <a:cubicBezTo>
                  <a:pt x="4432163" y="2107759"/>
                  <a:pt x="4428701" y="2101648"/>
                  <a:pt x="4425431" y="2095826"/>
                </a:cubicBezTo>
                <a:cubicBezTo>
                  <a:pt x="4418892" y="2083940"/>
                  <a:pt x="4412881" y="2071380"/>
                  <a:pt x="4406533" y="2058821"/>
                </a:cubicBezTo>
                <a:cubicBezTo>
                  <a:pt x="4399657" y="2045251"/>
                  <a:pt x="4392781" y="2031681"/>
                  <a:pt x="4384318" y="2018785"/>
                </a:cubicBezTo>
                <a:cubicBezTo>
                  <a:pt x="4379990" y="2012385"/>
                  <a:pt x="4375518" y="2005985"/>
                  <a:pt x="4368930" y="2000500"/>
                </a:cubicBezTo>
                <a:cubicBezTo>
                  <a:pt x="4365516" y="1997708"/>
                  <a:pt x="4361140" y="1995639"/>
                  <a:pt x="4357149" y="1994629"/>
                </a:cubicBezTo>
                <a:cubicBezTo>
                  <a:pt x="4353062" y="1993522"/>
                  <a:pt x="4349023" y="1993041"/>
                  <a:pt x="4345128" y="1992800"/>
                </a:cubicBezTo>
                <a:cubicBezTo>
                  <a:pt x="4329500" y="1992175"/>
                  <a:pt x="4315122" y="1994485"/>
                  <a:pt x="4301081" y="1994485"/>
                </a:cubicBezTo>
                <a:cubicBezTo>
                  <a:pt x="4287233" y="1994629"/>
                  <a:pt x="4273336" y="1992704"/>
                  <a:pt x="4263911" y="1984572"/>
                </a:cubicBezTo>
                <a:cubicBezTo>
                  <a:pt x="4259150" y="1980626"/>
                  <a:pt x="4255496" y="1975429"/>
                  <a:pt x="4252947" y="1969510"/>
                </a:cubicBezTo>
                <a:cubicBezTo>
                  <a:pt x="4250351" y="1963591"/>
                  <a:pt x="4248860" y="1957239"/>
                  <a:pt x="4247850" y="1950599"/>
                </a:cubicBezTo>
                <a:cubicBezTo>
                  <a:pt x="4245879" y="1937318"/>
                  <a:pt x="4245542" y="1923700"/>
                  <a:pt x="4245686" y="1910274"/>
                </a:cubicBezTo>
                <a:cubicBezTo>
                  <a:pt x="4245879" y="1896801"/>
                  <a:pt x="4246600" y="1883471"/>
                  <a:pt x="4247658" y="1870334"/>
                </a:cubicBezTo>
                <a:cubicBezTo>
                  <a:pt x="4248187" y="1863742"/>
                  <a:pt x="4248812" y="1857246"/>
                  <a:pt x="4249485" y="1850749"/>
                </a:cubicBezTo>
                <a:cubicBezTo>
                  <a:pt x="4249822" y="1847526"/>
                  <a:pt x="4250206" y="1844301"/>
                  <a:pt x="4250543" y="1841077"/>
                </a:cubicBezTo>
                <a:lnTo>
                  <a:pt x="4251120" y="1836265"/>
                </a:lnTo>
                <a:lnTo>
                  <a:pt x="4251409" y="1833859"/>
                </a:lnTo>
                <a:lnTo>
                  <a:pt x="4251553" y="1832656"/>
                </a:lnTo>
                <a:lnTo>
                  <a:pt x="4251553" y="1832271"/>
                </a:lnTo>
                <a:cubicBezTo>
                  <a:pt x="4251553" y="1832271"/>
                  <a:pt x="4251841" y="1831501"/>
                  <a:pt x="4251841" y="1830828"/>
                </a:cubicBezTo>
                <a:cubicBezTo>
                  <a:pt x="4255303" y="1815285"/>
                  <a:pt x="4262997" y="1800271"/>
                  <a:pt x="4271028" y="1786509"/>
                </a:cubicBezTo>
                <a:cubicBezTo>
                  <a:pt x="4279443" y="1772458"/>
                  <a:pt x="4288964" y="1759321"/>
                  <a:pt x="4299543" y="1748013"/>
                </a:cubicBezTo>
                <a:cubicBezTo>
                  <a:pt x="4304543" y="1742431"/>
                  <a:pt x="4310843" y="1738196"/>
                  <a:pt x="4317094" y="1733048"/>
                </a:cubicBezTo>
                <a:cubicBezTo>
                  <a:pt x="4323297" y="1728043"/>
                  <a:pt x="4329259" y="1722317"/>
                  <a:pt x="4333780" y="1715388"/>
                </a:cubicBezTo>
                <a:cubicBezTo>
                  <a:pt x="4338348" y="1708554"/>
                  <a:pt x="4341088" y="1700518"/>
                  <a:pt x="4341906" y="1692627"/>
                </a:cubicBezTo>
                <a:cubicBezTo>
                  <a:pt x="4342723" y="1684735"/>
                  <a:pt x="4341906" y="1676891"/>
                  <a:pt x="4340608" y="1669818"/>
                </a:cubicBezTo>
                <a:cubicBezTo>
                  <a:pt x="4335414" y="1641090"/>
                  <a:pt x="4326519" y="1615538"/>
                  <a:pt x="4318248" y="1591959"/>
                </a:cubicBezTo>
                <a:cubicBezTo>
                  <a:pt x="4309833" y="1568429"/>
                  <a:pt x="4301418" y="1547063"/>
                  <a:pt x="4293916" y="1527671"/>
                </a:cubicBezTo>
                <a:cubicBezTo>
                  <a:pt x="4278865" y="1488982"/>
                  <a:pt x="4266844" y="1458378"/>
                  <a:pt x="4261987" y="1436676"/>
                </a:cubicBezTo>
                <a:cubicBezTo>
                  <a:pt x="4260833" y="1431286"/>
                  <a:pt x="4260064" y="1426378"/>
                  <a:pt x="4260208" y="1422288"/>
                </a:cubicBezTo>
                <a:cubicBezTo>
                  <a:pt x="4260208" y="1418149"/>
                  <a:pt x="4261603" y="1414877"/>
                  <a:pt x="4264007" y="1413818"/>
                </a:cubicBezTo>
                <a:cubicBezTo>
                  <a:pt x="4266411" y="1412808"/>
                  <a:pt x="4268671" y="1413289"/>
                  <a:pt x="4270114" y="1413385"/>
                </a:cubicBezTo>
                <a:cubicBezTo>
                  <a:pt x="4271557" y="1413674"/>
                  <a:pt x="4272326" y="1413770"/>
                  <a:pt x="4272374" y="1413626"/>
                </a:cubicBezTo>
                <a:cubicBezTo>
                  <a:pt x="4272374" y="1413482"/>
                  <a:pt x="4271749" y="1413145"/>
                  <a:pt x="4270354" y="1412567"/>
                </a:cubicBezTo>
                <a:cubicBezTo>
                  <a:pt x="4268912" y="1412182"/>
                  <a:pt x="4266652" y="1411316"/>
                  <a:pt x="4263478" y="1412279"/>
                </a:cubicBezTo>
                <a:cubicBezTo>
                  <a:pt x="4261939" y="1412856"/>
                  <a:pt x="4260401" y="1414155"/>
                  <a:pt x="4259535" y="1415936"/>
                </a:cubicBezTo>
                <a:cubicBezTo>
                  <a:pt x="4258573" y="1417716"/>
                  <a:pt x="4258189" y="1419785"/>
                  <a:pt x="4257948" y="1422047"/>
                </a:cubicBezTo>
                <a:cubicBezTo>
                  <a:pt x="4257515" y="1426522"/>
                  <a:pt x="4258093" y="1431575"/>
                  <a:pt x="4259006" y="1437205"/>
                </a:cubicBezTo>
                <a:cubicBezTo>
                  <a:pt x="4263045" y="1459629"/>
                  <a:pt x="4274249" y="1490715"/>
                  <a:pt x="4288531" y="1529692"/>
                </a:cubicBezTo>
                <a:cubicBezTo>
                  <a:pt x="4295695" y="1549181"/>
                  <a:pt x="4303678" y="1570690"/>
                  <a:pt x="4311708" y="1594221"/>
                </a:cubicBezTo>
                <a:cubicBezTo>
                  <a:pt x="4319546" y="1617752"/>
                  <a:pt x="4328009" y="1643304"/>
                  <a:pt x="4332722" y="1671069"/>
                </a:cubicBezTo>
                <a:cubicBezTo>
                  <a:pt x="4333924" y="1678094"/>
                  <a:pt x="4334453" y="1684831"/>
                  <a:pt x="4333731" y="1691616"/>
                </a:cubicBezTo>
                <a:cubicBezTo>
                  <a:pt x="4332962" y="1698353"/>
                  <a:pt x="4330654" y="1704897"/>
                  <a:pt x="4326759" y="1710624"/>
                </a:cubicBezTo>
                <a:cubicBezTo>
                  <a:pt x="4322912" y="1716398"/>
                  <a:pt x="4317671" y="1721451"/>
                  <a:pt x="4311708" y="1726166"/>
                </a:cubicBezTo>
                <a:cubicBezTo>
                  <a:pt x="4308630" y="1728524"/>
                  <a:pt x="4305553" y="1730930"/>
                  <a:pt x="4302476" y="1733336"/>
                </a:cubicBezTo>
                <a:cubicBezTo>
                  <a:pt x="4299398" y="1735790"/>
                  <a:pt x="4295888" y="1738678"/>
                  <a:pt x="4293195" y="1741709"/>
                </a:cubicBezTo>
                <a:cubicBezTo>
                  <a:pt x="4281895" y="1753643"/>
                  <a:pt x="4271989" y="1767069"/>
                  <a:pt x="4263142" y="1781601"/>
                </a:cubicBezTo>
                <a:cubicBezTo>
                  <a:pt x="4258717" y="1788867"/>
                  <a:pt x="4254630" y="1796470"/>
                  <a:pt x="4250976" y="1804410"/>
                </a:cubicBezTo>
                <a:cubicBezTo>
                  <a:pt x="4247369" y="1812398"/>
                  <a:pt x="4244099" y="1820723"/>
                  <a:pt x="4242224" y="1829865"/>
                </a:cubicBezTo>
                <a:lnTo>
                  <a:pt x="4247033" y="1830780"/>
                </a:lnTo>
                <a:cubicBezTo>
                  <a:pt x="4247033" y="1831694"/>
                  <a:pt x="4245253" y="1830202"/>
                  <a:pt x="4243715" y="1830635"/>
                </a:cubicBezTo>
                <a:cubicBezTo>
                  <a:pt x="4242513" y="1830539"/>
                  <a:pt x="4242224" y="1830539"/>
                  <a:pt x="4242128" y="1830539"/>
                </a:cubicBezTo>
                <a:lnTo>
                  <a:pt x="4242128" y="1830539"/>
                </a:lnTo>
                <a:cubicBezTo>
                  <a:pt x="4242128" y="1830539"/>
                  <a:pt x="4242128" y="1830828"/>
                  <a:pt x="4242128" y="1830828"/>
                </a:cubicBezTo>
                <a:lnTo>
                  <a:pt x="4242128" y="1831405"/>
                </a:lnTo>
                <a:cubicBezTo>
                  <a:pt x="4242128" y="1831405"/>
                  <a:pt x="4241887" y="1832608"/>
                  <a:pt x="4241887" y="1832608"/>
                </a:cubicBezTo>
                <a:lnTo>
                  <a:pt x="4241599" y="1835014"/>
                </a:lnTo>
                <a:lnTo>
                  <a:pt x="4240974" y="1839874"/>
                </a:lnTo>
                <a:cubicBezTo>
                  <a:pt x="4240589" y="1843098"/>
                  <a:pt x="4240204" y="1846371"/>
                  <a:pt x="4239820" y="1849643"/>
                </a:cubicBezTo>
                <a:cubicBezTo>
                  <a:pt x="4239099" y="1856187"/>
                  <a:pt x="4238425" y="1862780"/>
                  <a:pt x="4237896" y="1869420"/>
                </a:cubicBezTo>
                <a:cubicBezTo>
                  <a:pt x="4236742" y="1882749"/>
                  <a:pt x="4235925" y="1896271"/>
                  <a:pt x="4235684" y="1910034"/>
                </a:cubicBezTo>
                <a:cubicBezTo>
                  <a:pt x="4235492" y="1923796"/>
                  <a:pt x="4235684" y="1937799"/>
                  <a:pt x="4237800" y="1952091"/>
                </a:cubicBezTo>
                <a:cubicBezTo>
                  <a:pt x="4238858" y="1959164"/>
                  <a:pt x="4240541" y="1966623"/>
                  <a:pt x="4243571" y="1973600"/>
                </a:cubicBezTo>
                <a:cubicBezTo>
                  <a:pt x="4246552" y="1980626"/>
                  <a:pt x="4251120" y="1987363"/>
                  <a:pt x="4257323" y="1992512"/>
                </a:cubicBezTo>
                <a:cubicBezTo>
                  <a:pt x="4263430" y="1997805"/>
                  <a:pt x="4271028" y="2001029"/>
                  <a:pt x="4278577" y="2002809"/>
                </a:cubicBezTo>
                <a:cubicBezTo>
                  <a:pt x="4286175" y="2004638"/>
                  <a:pt x="4293772" y="2004975"/>
                  <a:pt x="4301274" y="2004975"/>
                </a:cubicBezTo>
                <a:cubicBezTo>
                  <a:pt x="4316180" y="2004975"/>
                  <a:pt x="4330846" y="2002713"/>
                  <a:pt x="4344695" y="2003339"/>
                </a:cubicBezTo>
                <a:cubicBezTo>
                  <a:pt x="4351523" y="2003772"/>
                  <a:pt x="4358063" y="2004975"/>
                  <a:pt x="4362439" y="2008728"/>
                </a:cubicBezTo>
                <a:cubicBezTo>
                  <a:pt x="4367295" y="2012722"/>
                  <a:pt x="4371623" y="2018593"/>
                  <a:pt x="4375614" y="2024608"/>
                </a:cubicBezTo>
                <a:cubicBezTo>
                  <a:pt x="4383548" y="2036734"/>
                  <a:pt x="4390376" y="2050111"/>
                  <a:pt x="4397157" y="2063585"/>
                </a:cubicBezTo>
                <a:cubicBezTo>
                  <a:pt x="4403456" y="2076048"/>
                  <a:pt x="4409467" y="2088608"/>
                  <a:pt x="4416247" y="2100926"/>
                </a:cubicBezTo>
                <a:cubicBezTo>
                  <a:pt x="4419805" y="2107086"/>
                  <a:pt x="4423027" y="2113197"/>
                  <a:pt x="4428461" y="2119212"/>
                </a:cubicBezTo>
                <a:cubicBezTo>
                  <a:pt x="4429230" y="2120030"/>
                  <a:pt x="4429807" y="2120607"/>
                  <a:pt x="4431009" y="2121570"/>
                </a:cubicBezTo>
                <a:cubicBezTo>
                  <a:pt x="4432259" y="2122484"/>
                  <a:pt x="4433750" y="2123447"/>
                  <a:pt x="4435337" y="2123928"/>
                </a:cubicBezTo>
                <a:cubicBezTo>
                  <a:pt x="4438462" y="2124986"/>
                  <a:pt x="4441973" y="2124072"/>
                  <a:pt x="4444281" y="2121762"/>
                </a:cubicBezTo>
                <a:cubicBezTo>
                  <a:pt x="4445435" y="2120559"/>
                  <a:pt x="4446396" y="2119212"/>
                  <a:pt x="4447118" y="2117720"/>
                </a:cubicBezTo>
                <a:cubicBezTo>
                  <a:pt x="4447647" y="2116565"/>
                  <a:pt x="4448032" y="2115603"/>
                  <a:pt x="4448272" y="2114689"/>
                </a:cubicBezTo>
                <a:cubicBezTo>
                  <a:pt x="4448801" y="2112860"/>
                  <a:pt x="4449426" y="2110983"/>
                  <a:pt x="4449811" y="2109203"/>
                </a:cubicBezTo>
                <a:cubicBezTo>
                  <a:pt x="4450772" y="2104439"/>
                  <a:pt x="4451301" y="2099771"/>
                  <a:pt x="4451638" y="2095152"/>
                </a:cubicBezTo>
                <a:cubicBezTo>
                  <a:pt x="4451638" y="2096355"/>
                  <a:pt x="4451734" y="2097558"/>
                  <a:pt x="4451782" y="2098713"/>
                </a:cubicBezTo>
                <a:cubicBezTo>
                  <a:pt x="4452263" y="2115218"/>
                  <a:pt x="4452455" y="2131579"/>
                  <a:pt x="4452119" y="2147699"/>
                </a:cubicBezTo>
                <a:cubicBezTo>
                  <a:pt x="4451686" y="2163771"/>
                  <a:pt x="4451109" y="2179988"/>
                  <a:pt x="4448464" y="2194953"/>
                </a:cubicBezTo>
                <a:cubicBezTo>
                  <a:pt x="4448320" y="2195916"/>
                  <a:pt x="4448079" y="2196782"/>
                  <a:pt x="4447887" y="2197648"/>
                </a:cubicBezTo>
                <a:cubicBezTo>
                  <a:pt x="4447743" y="2198466"/>
                  <a:pt x="4447358" y="2199669"/>
                  <a:pt x="4447310" y="2199958"/>
                </a:cubicBezTo>
                <a:lnTo>
                  <a:pt x="4447214" y="2200246"/>
                </a:lnTo>
                <a:lnTo>
                  <a:pt x="4446973" y="2200246"/>
                </a:lnTo>
                <a:cubicBezTo>
                  <a:pt x="4446973" y="2200246"/>
                  <a:pt x="4446877" y="2200102"/>
                  <a:pt x="4446877" y="2200102"/>
                </a:cubicBezTo>
                <a:lnTo>
                  <a:pt x="4446300" y="2198947"/>
                </a:lnTo>
                <a:cubicBezTo>
                  <a:pt x="4443271" y="2192403"/>
                  <a:pt x="4440963" y="2184896"/>
                  <a:pt x="4438847" y="2177534"/>
                </a:cubicBezTo>
                <a:cubicBezTo>
                  <a:pt x="4436731" y="2170123"/>
                  <a:pt x="4434760" y="2162664"/>
                  <a:pt x="4432884" y="2155206"/>
                </a:cubicBezTo>
                <a:cubicBezTo>
                  <a:pt x="4431923" y="2151453"/>
                  <a:pt x="4430913" y="2147699"/>
                  <a:pt x="4429951" y="2143946"/>
                </a:cubicBezTo>
                <a:cubicBezTo>
                  <a:pt x="4429470" y="2142165"/>
                  <a:pt x="4428845" y="2139952"/>
                  <a:pt x="4428124" y="2138075"/>
                </a:cubicBezTo>
                <a:lnTo>
                  <a:pt x="4426152" y="2132638"/>
                </a:lnTo>
                <a:cubicBezTo>
                  <a:pt x="4420767" y="2118250"/>
                  <a:pt x="4414756" y="2104198"/>
                  <a:pt x="4407783" y="2090821"/>
                </a:cubicBezTo>
                <a:cubicBezTo>
                  <a:pt x="4400763" y="2077444"/>
                  <a:pt x="4392877" y="2064644"/>
                  <a:pt x="4382923" y="2053384"/>
                </a:cubicBezTo>
                <a:cubicBezTo>
                  <a:pt x="4373114" y="2042220"/>
                  <a:pt x="4360611" y="2032307"/>
                  <a:pt x="4345320" y="2028987"/>
                </a:cubicBezTo>
                <a:cubicBezTo>
                  <a:pt x="4337770" y="2027447"/>
                  <a:pt x="4329885" y="2027784"/>
                  <a:pt x="4322624" y="2029660"/>
                </a:cubicBezTo>
                <a:cubicBezTo>
                  <a:pt x="4320796" y="2030093"/>
                  <a:pt x="4319065" y="2030767"/>
                  <a:pt x="4317286" y="2031296"/>
                </a:cubicBezTo>
                <a:cubicBezTo>
                  <a:pt x="4315507" y="2031970"/>
                  <a:pt x="4313632" y="2032788"/>
                  <a:pt x="4312045" y="2033702"/>
                </a:cubicBezTo>
                <a:cubicBezTo>
                  <a:pt x="4308727" y="2035483"/>
                  <a:pt x="4305842" y="2037552"/>
                  <a:pt x="4303005" y="2039621"/>
                </a:cubicBezTo>
                <a:cubicBezTo>
                  <a:pt x="4291849" y="2047994"/>
                  <a:pt x="4282135" y="2056993"/>
                  <a:pt x="4271797" y="2064451"/>
                </a:cubicBezTo>
                <a:cubicBezTo>
                  <a:pt x="4266652" y="2068156"/>
                  <a:pt x="4261362" y="2071525"/>
                  <a:pt x="4255929" y="2073979"/>
                </a:cubicBezTo>
                <a:cubicBezTo>
                  <a:pt x="4250495" y="2076337"/>
                  <a:pt x="4244869" y="2077973"/>
                  <a:pt x="4239627" y="2077299"/>
                </a:cubicBezTo>
                <a:cubicBezTo>
                  <a:pt x="4234386" y="2076722"/>
                  <a:pt x="4229577" y="2074220"/>
                  <a:pt x="4225635" y="2070322"/>
                </a:cubicBezTo>
                <a:cubicBezTo>
                  <a:pt x="4221692" y="2066472"/>
                  <a:pt x="4218614" y="2061516"/>
                  <a:pt x="4215873" y="2056511"/>
                </a:cubicBezTo>
                <a:cubicBezTo>
                  <a:pt x="4210439" y="2046310"/>
                  <a:pt x="4207795" y="2034857"/>
                  <a:pt x="4204477" y="2024127"/>
                </a:cubicBezTo>
                <a:cubicBezTo>
                  <a:pt x="4194715" y="1979760"/>
                  <a:pt x="4196158" y="1937703"/>
                  <a:pt x="4199620" y="1901564"/>
                </a:cubicBezTo>
                <a:cubicBezTo>
                  <a:pt x="4203178" y="1865282"/>
                  <a:pt x="4209045" y="1834341"/>
                  <a:pt x="4214575" y="1809270"/>
                </a:cubicBezTo>
                <a:cubicBezTo>
                  <a:pt x="4220201" y="1784199"/>
                  <a:pt x="4225586" y="1764951"/>
                  <a:pt x="4229770" y="1752055"/>
                </a:cubicBezTo>
                <a:cubicBezTo>
                  <a:pt x="4233857" y="1739159"/>
                  <a:pt x="4236838" y="1732759"/>
                  <a:pt x="4236502" y="1732518"/>
                </a:cubicBezTo>
                <a:cubicBezTo>
                  <a:pt x="4236358" y="1732422"/>
                  <a:pt x="4235444" y="1733962"/>
                  <a:pt x="4233809" y="1737090"/>
                </a:cubicBezTo>
                <a:cubicBezTo>
                  <a:pt x="4232126" y="1740169"/>
                  <a:pt x="4230251" y="1745030"/>
                  <a:pt x="4227750" y="1751333"/>
                </a:cubicBezTo>
                <a:cubicBezTo>
                  <a:pt x="4222894" y="1764037"/>
                  <a:pt x="4216883" y="1783237"/>
                  <a:pt x="4210584" y="1808259"/>
                </a:cubicBezTo>
                <a:cubicBezTo>
                  <a:pt x="4204380" y="1833330"/>
                  <a:pt x="4197889" y="1864368"/>
                  <a:pt x="4193705" y="1900891"/>
                </a:cubicBezTo>
                <a:cubicBezTo>
                  <a:pt x="4189666" y="1937318"/>
                  <a:pt x="4187550" y="1979808"/>
                  <a:pt x="4197168" y="2025811"/>
                </a:cubicBezTo>
                <a:cubicBezTo>
                  <a:pt x="4200486" y="2037071"/>
                  <a:pt x="4203082" y="2048860"/>
                  <a:pt x="4208901" y="2060072"/>
                </a:cubicBezTo>
                <a:cubicBezTo>
                  <a:pt x="4211834" y="2065654"/>
                  <a:pt x="4215200" y="2071236"/>
                  <a:pt x="4220008" y="2076048"/>
                </a:cubicBezTo>
                <a:cubicBezTo>
                  <a:pt x="4224721" y="2080860"/>
                  <a:pt x="4231453" y="2084662"/>
                  <a:pt x="4238762" y="2085480"/>
                </a:cubicBezTo>
                <a:cubicBezTo>
                  <a:pt x="4246071" y="2086394"/>
                  <a:pt x="4253091" y="2084325"/>
                  <a:pt x="4259343" y="2081678"/>
                </a:cubicBezTo>
                <a:cubicBezTo>
                  <a:pt x="4265642" y="2078935"/>
                  <a:pt x="4271364" y="2075326"/>
                  <a:pt x="4276798" y="2071429"/>
                </a:cubicBezTo>
                <a:cubicBezTo>
                  <a:pt x="4287713" y="2063681"/>
                  <a:pt x="4297667" y="2054587"/>
                  <a:pt x="4308246" y="2046791"/>
                </a:cubicBezTo>
                <a:cubicBezTo>
                  <a:pt x="4310891" y="2044866"/>
                  <a:pt x="4313583" y="2043038"/>
                  <a:pt x="4316276" y="2041594"/>
                </a:cubicBezTo>
                <a:cubicBezTo>
                  <a:pt x="4317671" y="2040824"/>
                  <a:pt x="4318921" y="2040295"/>
                  <a:pt x="4320363" y="2039717"/>
                </a:cubicBezTo>
                <a:cubicBezTo>
                  <a:pt x="4321854" y="2039284"/>
                  <a:pt x="4323345" y="2038707"/>
                  <a:pt x="4324884" y="2038370"/>
                </a:cubicBezTo>
                <a:cubicBezTo>
                  <a:pt x="4330991" y="2036830"/>
                  <a:pt x="4337290" y="2036638"/>
                  <a:pt x="4343445" y="2037937"/>
                </a:cubicBezTo>
                <a:cubicBezTo>
                  <a:pt x="4355803" y="2040632"/>
                  <a:pt x="4366863" y="2049149"/>
                  <a:pt x="4375903" y="2059591"/>
                </a:cubicBezTo>
                <a:cubicBezTo>
                  <a:pt x="4385039" y="2070033"/>
                  <a:pt x="4392588" y="2082352"/>
                  <a:pt x="4399272" y="2095248"/>
                </a:cubicBezTo>
                <a:cubicBezTo>
                  <a:pt x="4405956" y="2108241"/>
                  <a:pt x="4411726" y="2121907"/>
                  <a:pt x="4416968" y="2136054"/>
                </a:cubicBezTo>
                <a:lnTo>
                  <a:pt x="4418892" y="2141395"/>
                </a:lnTo>
                <a:cubicBezTo>
                  <a:pt x="4419516" y="2143128"/>
                  <a:pt x="4419949" y="2144619"/>
                  <a:pt x="4420430" y="2146496"/>
                </a:cubicBezTo>
                <a:cubicBezTo>
                  <a:pt x="4421392" y="2150201"/>
                  <a:pt x="4422305" y="2153859"/>
                  <a:pt x="4423267" y="2157564"/>
                </a:cubicBezTo>
                <a:cubicBezTo>
                  <a:pt x="4425143" y="2165070"/>
                  <a:pt x="4427066" y="2172625"/>
                  <a:pt x="4429230" y="2180228"/>
                </a:cubicBezTo>
                <a:cubicBezTo>
                  <a:pt x="4431442" y="2187831"/>
                  <a:pt x="4433654" y="2195434"/>
                  <a:pt x="4437212" y="2203230"/>
                </a:cubicBezTo>
                <a:cubicBezTo>
                  <a:pt x="4437453" y="2203759"/>
                  <a:pt x="4437645" y="2204144"/>
                  <a:pt x="4437981" y="2204770"/>
                </a:cubicBezTo>
                <a:cubicBezTo>
                  <a:pt x="4438414" y="2205636"/>
                  <a:pt x="4438895" y="2206454"/>
                  <a:pt x="4439424" y="2207224"/>
                </a:cubicBezTo>
                <a:cubicBezTo>
                  <a:pt x="4440386" y="2208908"/>
                  <a:pt x="4441588" y="2210207"/>
                  <a:pt x="4442838" y="2211266"/>
                </a:cubicBezTo>
                <a:cubicBezTo>
                  <a:pt x="4444137" y="2212180"/>
                  <a:pt x="4445435" y="2212998"/>
                  <a:pt x="4447022" y="2213046"/>
                </a:cubicBezTo>
                <a:cubicBezTo>
                  <a:pt x="4448560" y="2213191"/>
                  <a:pt x="4450243" y="2212854"/>
                  <a:pt x="4451445" y="2212036"/>
                </a:cubicBezTo>
                <a:cubicBezTo>
                  <a:pt x="4452119" y="2211747"/>
                  <a:pt x="4452696" y="2211170"/>
                  <a:pt x="4453225" y="2210544"/>
                </a:cubicBezTo>
                <a:cubicBezTo>
                  <a:pt x="4453754" y="2209918"/>
                  <a:pt x="4454379" y="2209485"/>
                  <a:pt x="4454715" y="2208571"/>
                </a:cubicBezTo>
                <a:cubicBezTo>
                  <a:pt x="4455485" y="2206887"/>
                  <a:pt x="4456447" y="2205347"/>
                  <a:pt x="4456927" y="2203470"/>
                </a:cubicBezTo>
                <a:cubicBezTo>
                  <a:pt x="4457408" y="2201834"/>
                  <a:pt x="4457601" y="2201161"/>
                  <a:pt x="4457889" y="2200006"/>
                </a:cubicBezTo>
                <a:cubicBezTo>
                  <a:pt x="4458129" y="2198947"/>
                  <a:pt x="4458418" y="2197888"/>
                  <a:pt x="4458562" y="2196878"/>
                </a:cubicBezTo>
                <a:cubicBezTo>
                  <a:pt x="4459764" y="2190045"/>
                  <a:pt x="4460534" y="2183260"/>
                  <a:pt x="4461063" y="2176523"/>
                </a:cubicBezTo>
                <a:cubicBezTo>
                  <a:pt x="4460870" y="2189660"/>
                  <a:pt x="4460341" y="2202700"/>
                  <a:pt x="4459476" y="2215837"/>
                </a:cubicBezTo>
                <a:cubicBezTo>
                  <a:pt x="4458514" y="2230851"/>
                  <a:pt x="4457360" y="2245912"/>
                  <a:pt x="4455869" y="2260926"/>
                </a:cubicBezTo>
                <a:cubicBezTo>
                  <a:pt x="4455100" y="2268433"/>
                  <a:pt x="4454283" y="2275939"/>
                  <a:pt x="4453225" y="2283398"/>
                </a:cubicBezTo>
                <a:lnTo>
                  <a:pt x="4452407" y="2288980"/>
                </a:lnTo>
                <a:lnTo>
                  <a:pt x="4451734" y="2292878"/>
                </a:lnTo>
                <a:cubicBezTo>
                  <a:pt x="4451397" y="2294514"/>
                  <a:pt x="4451061" y="2296150"/>
                  <a:pt x="4450436" y="2297690"/>
                </a:cubicBezTo>
                <a:lnTo>
                  <a:pt x="4449763" y="2298700"/>
                </a:lnTo>
                <a:lnTo>
                  <a:pt x="4448897" y="2298123"/>
                </a:lnTo>
                <a:cubicBezTo>
                  <a:pt x="4448609" y="2297353"/>
                  <a:pt x="4448416" y="2296535"/>
                  <a:pt x="4448224" y="2295717"/>
                </a:cubicBezTo>
                <a:lnTo>
                  <a:pt x="4447695" y="2293263"/>
                </a:lnTo>
                <a:lnTo>
                  <a:pt x="4447070" y="2289894"/>
                </a:lnTo>
                <a:cubicBezTo>
                  <a:pt x="4445723" y="2282436"/>
                  <a:pt x="4444521" y="2274929"/>
                  <a:pt x="4443319" y="2267422"/>
                </a:cubicBezTo>
                <a:cubicBezTo>
                  <a:pt x="4440866" y="2252361"/>
                  <a:pt x="4438751" y="2237251"/>
                  <a:pt x="4435914" y="2222045"/>
                </a:cubicBezTo>
                <a:cubicBezTo>
                  <a:pt x="4429807" y="2191873"/>
                  <a:pt x="4421777" y="2161943"/>
                  <a:pt x="4410284" y="2132974"/>
                </a:cubicBezTo>
                <a:cubicBezTo>
                  <a:pt x="4404466" y="2118538"/>
                  <a:pt x="4397830" y="2104343"/>
                  <a:pt x="4389222" y="2091062"/>
                </a:cubicBezTo>
                <a:cubicBezTo>
                  <a:pt x="4384895" y="2084469"/>
                  <a:pt x="4380038" y="2078117"/>
                  <a:pt x="4374316" y="2072439"/>
                </a:cubicBezTo>
                <a:cubicBezTo>
                  <a:pt x="4368594" y="2066857"/>
                  <a:pt x="4361862" y="2061756"/>
                  <a:pt x="4353831" y="2059158"/>
                </a:cubicBezTo>
                <a:cubicBezTo>
                  <a:pt x="4345849" y="2056463"/>
                  <a:pt x="4336809" y="2056559"/>
                  <a:pt x="4328971" y="2059591"/>
                </a:cubicBezTo>
                <a:cubicBezTo>
                  <a:pt x="4327047" y="2060361"/>
                  <a:pt x="4325076" y="2060986"/>
                  <a:pt x="4323104" y="2062334"/>
                </a:cubicBezTo>
                <a:cubicBezTo>
                  <a:pt x="4321277" y="2063585"/>
                  <a:pt x="4319642" y="2064836"/>
                  <a:pt x="4318152" y="2066184"/>
                </a:cubicBezTo>
                <a:cubicBezTo>
                  <a:pt x="4315074" y="2068830"/>
                  <a:pt x="4312333" y="2071669"/>
                  <a:pt x="4309544" y="2074460"/>
                </a:cubicBezTo>
                <a:cubicBezTo>
                  <a:pt x="4298581" y="2085672"/>
                  <a:pt x="4288098" y="2097173"/>
                  <a:pt x="4276702" y="2107663"/>
                </a:cubicBezTo>
                <a:cubicBezTo>
                  <a:pt x="4265401" y="2118153"/>
                  <a:pt x="4253236" y="2128066"/>
                  <a:pt x="4239579" y="2134562"/>
                </a:cubicBezTo>
                <a:cubicBezTo>
                  <a:pt x="4232751" y="2137738"/>
                  <a:pt x="4225442" y="2139807"/>
                  <a:pt x="4218229" y="2139567"/>
                </a:cubicBezTo>
                <a:cubicBezTo>
                  <a:pt x="4211016" y="2139422"/>
                  <a:pt x="4204092" y="2136583"/>
                  <a:pt x="4198466" y="2131868"/>
                </a:cubicBezTo>
                <a:cubicBezTo>
                  <a:pt x="4187214" y="2122292"/>
                  <a:pt x="4180241" y="2107856"/>
                  <a:pt x="4175048" y="2093323"/>
                </a:cubicBezTo>
                <a:cubicBezTo>
                  <a:pt x="4173750" y="2089666"/>
                  <a:pt x="4172692" y="2085913"/>
                  <a:pt x="4171490" y="2082207"/>
                </a:cubicBezTo>
                <a:cubicBezTo>
                  <a:pt x="4170288" y="2078502"/>
                  <a:pt x="4169663" y="2074605"/>
                  <a:pt x="4168749" y="2070803"/>
                </a:cubicBezTo>
                <a:lnTo>
                  <a:pt x="4166152" y="2059350"/>
                </a:lnTo>
                <a:lnTo>
                  <a:pt x="4164854" y="2053624"/>
                </a:lnTo>
                <a:lnTo>
                  <a:pt x="4164037" y="2047802"/>
                </a:lnTo>
                <a:cubicBezTo>
                  <a:pt x="4158603" y="2016764"/>
                  <a:pt x="4158170" y="1984909"/>
                  <a:pt x="4159324" y="1953197"/>
                </a:cubicBezTo>
                <a:cubicBezTo>
                  <a:pt x="4159757" y="1937318"/>
                  <a:pt x="4161440" y="1921438"/>
                  <a:pt x="4162930" y="1905558"/>
                </a:cubicBezTo>
                <a:lnTo>
                  <a:pt x="4166056" y="1881787"/>
                </a:lnTo>
                <a:cubicBezTo>
                  <a:pt x="4167066" y="1873847"/>
                  <a:pt x="4168605" y="1866004"/>
                  <a:pt x="4169855" y="1858064"/>
                </a:cubicBezTo>
                <a:cubicBezTo>
                  <a:pt x="4175385" y="1826497"/>
                  <a:pt x="4182501" y="1795075"/>
                  <a:pt x="4191397" y="1764037"/>
                </a:cubicBezTo>
                <a:cubicBezTo>
                  <a:pt x="4195917" y="1748542"/>
                  <a:pt x="4200678" y="1733096"/>
                  <a:pt x="4206304" y="1717938"/>
                </a:cubicBezTo>
                <a:cubicBezTo>
                  <a:pt x="4208949" y="1710287"/>
                  <a:pt x="4212123" y="1702876"/>
                  <a:pt x="4215200" y="1695466"/>
                </a:cubicBezTo>
                <a:lnTo>
                  <a:pt x="4220393" y="1684687"/>
                </a:lnTo>
                <a:lnTo>
                  <a:pt x="4223423" y="1679827"/>
                </a:lnTo>
                <a:cubicBezTo>
                  <a:pt x="4224528" y="1678287"/>
                  <a:pt x="4225827" y="1676843"/>
                  <a:pt x="4227029" y="1675303"/>
                </a:cubicBezTo>
                <a:cubicBezTo>
                  <a:pt x="4232126" y="1669481"/>
                  <a:pt x="4238473" y="1664476"/>
                  <a:pt x="4244676" y="1659039"/>
                </a:cubicBezTo>
                <a:cubicBezTo>
                  <a:pt x="4250928" y="1653601"/>
                  <a:pt x="4257035" y="1647442"/>
                  <a:pt x="4261506" y="1640031"/>
                </a:cubicBezTo>
                <a:cubicBezTo>
                  <a:pt x="4266219" y="1632717"/>
                  <a:pt x="4268623" y="1624200"/>
                  <a:pt x="4269921" y="1615827"/>
                </a:cubicBezTo>
                <a:lnTo>
                  <a:pt x="4270691" y="1609475"/>
                </a:lnTo>
                <a:cubicBezTo>
                  <a:pt x="4270980" y="1607358"/>
                  <a:pt x="4270787" y="1605240"/>
                  <a:pt x="4270883" y="1603123"/>
                </a:cubicBezTo>
                <a:lnTo>
                  <a:pt x="4270883" y="1596771"/>
                </a:lnTo>
                <a:cubicBezTo>
                  <a:pt x="4270883" y="1596771"/>
                  <a:pt x="4270450" y="1590516"/>
                  <a:pt x="4270450" y="1590516"/>
                </a:cubicBezTo>
                <a:cubicBezTo>
                  <a:pt x="4268960" y="1573818"/>
                  <a:pt x="4265498" y="1557553"/>
                  <a:pt x="4261122" y="1541529"/>
                </a:cubicBezTo>
                <a:cubicBezTo>
                  <a:pt x="4256746" y="1525553"/>
                  <a:pt x="4251697" y="1509722"/>
                  <a:pt x="4245734" y="1494179"/>
                </a:cubicBezTo>
                <a:cubicBezTo>
                  <a:pt x="4233857" y="1463142"/>
                  <a:pt x="4219720" y="1432826"/>
                  <a:pt x="4201640" y="1404483"/>
                </a:cubicBezTo>
                <a:cubicBezTo>
                  <a:pt x="4197168" y="1397409"/>
                  <a:pt x="4192215" y="1390528"/>
                  <a:pt x="4186877" y="1383888"/>
                </a:cubicBezTo>
                <a:cubicBezTo>
                  <a:pt x="4181299" y="1377488"/>
                  <a:pt x="4175625" y="1370847"/>
                  <a:pt x="4167547" y="1366324"/>
                </a:cubicBezTo>
                <a:cubicBezTo>
                  <a:pt x="4163556" y="1364158"/>
                  <a:pt x="4158795" y="1362619"/>
                  <a:pt x="4153890" y="1362859"/>
                </a:cubicBezTo>
                <a:cubicBezTo>
                  <a:pt x="4148986" y="1363052"/>
                  <a:pt x="4144513" y="1364977"/>
                  <a:pt x="4140619" y="1367094"/>
                </a:cubicBezTo>
                <a:cubicBezTo>
                  <a:pt x="4132925" y="1371569"/>
                  <a:pt x="4126674" y="1377055"/>
                  <a:pt x="4119701" y="1381000"/>
                </a:cubicBezTo>
                <a:cubicBezTo>
                  <a:pt x="4112825" y="1385091"/>
                  <a:pt x="4105324" y="1387352"/>
                  <a:pt x="4097534" y="1387304"/>
                </a:cubicBezTo>
                <a:cubicBezTo>
                  <a:pt x="4089792" y="1387064"/>
                  <a:pt x="4082002" y="1384898"/>
                  <a:pt x="4074693" y="1381386"/>
                </a:cubicBezTo>
                <a:cubicBezTo>
                  <a:pt x="4071038" y="1379653"/>
                  <a:pt x="4067480" y="1377632"/>
                  <a:pt x="4063970" y="1375563"/>
                </a:cubicBezTo>
                <a:lnTo>
                  <a:pt x="4053680" y="1368634"/>
                </a:lnTo>
                <a:cubicBezTo>
                  <a:pt x="4050169" y="1366420"/>
                  <a:pt x="4047092" y="1363629"/>
                  <a:pt x="4043774" y="1361175"/>
                </a:cubicBezTo>
                <a:lnTo>
                  <a:pt x="4038869" y="1357325"/>
                </a:lnTo>
                <a:lnTo>
                  <a:pt x="4034205" y="1353187"/>
                </a:lnTo>
                <a:cubicBezTo>
                  <a:pt x="4021702" y="1342264"/>
                  <a:pt x="4010306" y="1329993"/>
                  <a:pt x="4000064" y="1316808"/>
                </a:cubicBezTo>
                <a:cubicBezTo>
                  <a:pt x="3989773" y="1303623"/>
                  <a:pt x="3980252" y="1289765"/>
                  <a:pt x="3971837" y="1275232"/>
                </a:cubicBezTo>
                <a:cubicBezTo>
                  <a:pt x="3954767" y="1246216"/>
                  <a:pt x="3940678" y="1215323"/>
                  <a:pt x="3928127" y="1183756"/>
                </a:cubicBezTo>
                <a:cubicBezTo>
                  <a:pt x="3902979" y="1120526"/>
                  <a:pt x="3883408" y="1054698"/>
                  <a:pt x="3860375" y="989495"/>
                </a:cubicBezTo>
                <a:cubicBezTo>
                  <a:pt x="3848930" y="956869"/>
                  <a:pt x="3836476" y="924388"/>
                  <a:pt x="3822050" y="892629"/>
                </a:cubicBezTo>
                <a:cubicBezTo>
                  <a:pt x="3814933" y="876798"/>
                  <a:pt x="3806470" y="861110"/>
                  <a:pt x="3796997" y="846386"/>
                </a:cubicBezTo>
                <a:cubicBezTo>
                  <a:pt x="3787428" y="831709"/>
                  <a:pt x="3777427" y="817321"/>
                  <a:pt x="3766992" y="803270"/>
                </a:cubicBezTo>
                <a:cubicBezTo>
                  <a:pt x="3746123" y="775120"/>
                  <a:pt x="3724003" y="747787"/>
                  <a:pt x="3700922" y="721177"/>
                </a:cubicBezTo>
                <a:cubicBezTo>
                  <a:pt x="3677793" y="694615"/>
                  <a:pt x="3653750" y="668630"/>
                  <a:pt x="3627735" y="644425"/>
                </a:cubicBezTo>
                <a:cubicBezTo>
                  <a:pt x="3621148" y="638458"/>
                  <a:pt x="3614656" y="632347"/>
                  <a:pt x="3607636" y="626813"/>
                </a:cubicBezTo>
                <a:cubicBezTo>
                  <a:pt x="3600903" y="620943"/>
                  <a:pt x="3593450" y="615842"/>
                  <a:pt x="3586141" y="610597"/>
                </a:cubicBezTo>
                <a:lnTo>
                  <a:pt x="3574168" y="603812"/>
                </a:lnTo>
                <a:cubicBezTo>
                  <a:pt x="3572100" y="602753"/>
                  <a:pt x="3569792" y="602079"/>
                  <a:pt x="3567628" y="601213"/>
                </a:cubicBezTo>
                <a:cubicBezTo>
                  <a:pt x="3565464" y="600251"/>
                  <a:pt x="3563108" y="599866"/>
                  <a:pt x="3560752" y="599385"/>
                </a:cubicBezTo>
                <a:cubicBezTo>
                  <a:pt x="3551327" y="597460"/>
                  <a:pt x="3541133" y="599192"/>
                  <a:pt x="3532766" y="603571"/>
                </a:cubicBezTo>
                <a:cubicBezTo>
                  <a:pt x="3515791" y="612233"/>
                  <a:pt x="3504924" y="627968"/>
                  <a:pt x="3490691" y="636389"/>
                </a:cubicBezTo>
                <a:cubicBezTo>
                  <a:pt x="3488864" y="637159"/>
                  <a:pt x="3487132" y="638362"/>
                  <a:pt x="3485257" y="638699"/>
                </a:cubicBezTo>
                <a:lnTo>
                  <a:pt x="3482468" y="639469"/>
                </a:lnTo>
                <a:lnTo>
                  <a:pt x="3479198" y="639902"/>
                </a:lnTo>
                <a:cubicBezTo>
                  <a:pt x="3474823" y="640479"/>
                  <a:pt x="3470495" y="641153"/>
                  <a:pt x="3466119" y="641586"/>
                </a:cubicBezTo>
                <a:lnTo>
                  <a:pt x="3452944" y="642549"/>
                </a:lnTo>
                <a:cubicBezTo>
                  <a:pt x="3448519" y="642741"/>
                  <a:pt x="3444144" y="642741"/>
                  <a:pt x="3439720" y="642837"/>
                </a:cubicBezTo>
                <a:cubicBezTo>
                  <a:pt x="3422072" y="642837"/>
                  <a:pt x="3404377" y="641346"/>
                  <a:pt x="3386777" y="638747"/>
                </a:cubicBezTo>
                <a:cubicBezTo>
                  <a:pt x="3369226" y="635956"/>
                  <a:pt x="3351819" y="632058"/>
                  <a:pt x="3334604" y="627343"/>
                </a:cubicBezTo>
                <a:cubicBezTo>
                  <a:pt x="3317390" y="622531"/>
                  <a:pt x="3300463" y="616804"/>
                  <a:pt x="3283633" y="610549"/>
                </a:cubicBezTo>
                <a:cubicBezTo>
                  <a:pt x="3266900" y="604052"/>
                  <a:pt x="3250358" y="597123"/>
                  <a:pt x="3234057" y="589472"/>
                </a:cubicBezTo>
                <a:cubicBezTo>
                  <a:pt x="3168901" y="558819"/>
                  <a:pt x="3107303" y="519794"/>
                  <a:pt x="3049792" y="475090"/>
                </a:cubicBezTo>
                <a:cubicBezTo>
                  <a:pt x="3021085" y="452618"/>
                  <a:pt x="2993387" y="428703"/>
                  <a:pt x="2967325" y="403006"/>
                </a:cubicBezTo>
                <a:cubicBezTo>
                  <a:pt x="2941503" y="377118"/>
                  <a:pt x="2917316" y="349401"/>
                  <a:pt x="2895869" y="319566"/>
                </a:cubicBezTo>
                <a:cubicBezTo>
                  <a:pt x="2874327" y="289780"/>
                  <a:pt x="2855958" y="257683"/>
                  <a:pt x="2839224" y="224625"/>
                </a:cubicBezTo>
                <a:cubicBezTo>
                  <a:pt x="2822298" y="191711"/>
                  <a:pt x="2807007" y="157305"/>
                  <a:pt x="2784791" y="126412"/>
                </a:cubicBezTo>
                <a:cubicBezTo>
                  <a:pt x="2773250" y="111302"/>
                  <a:pt x="2759979" y="97443"/>
                  <a:pt x="2744687" y="85894"/>
                </a:cubicBezTo>
                <a:cubicBezTo>
                  <a:pt x="2742860" y="84547"/>
                  <a:pt x="2741033" y="83296"/>
                  <a:pt x="2739158" y="82045"/>
                </a:cubicBezTo>
                <a:cubicBezTo>
                  <a:pt x="2739398" y="82189"/>
                  <a:pt x="2739687" y="82285"/>
                  <a:pt x="2739975" y="82430"/>
                </a:cubicBezTo>
                <a:cubicBezTo>
                  <a:pt x="2748198" y="87049"/>
                  <a:pt x="2756324" y="91717"/>
                  <a:pt x="2763585" y="97203"/>
                </a:cubicBezTo>
                <a:cubicBezTo>
                  <a:pt x="2767336" y="99801"/>
                  <a:pt x="2770606" y="103025"/>
                  <a:pt x="2774068" y="105816"/>
                </a:cubicBezTo>
                <a:cubicBezTo>
                  <a:pt x="2777482" y="108752"/>
                  <a:pt x="2781040" y="111494"/>
                  <a:pt x="2783974" y="114815"/>
                </a:cubicBezTo>
                <a:cubicBezTo>
                  <a:pt x="2787051" y="117991"/>
                  <a:pt x="2790080" y="121167"/>
                  <a:pt x="2793110" y="124342"/>
                </a:cubicBezTo>
                <a:cubicBezTo>
                  <a:pt x="2796043" y="127567"/>
                  <a:pt x="2798592" y="131079"/>
                  <a:pt x="2801285" y="134400"/>
                </a:cubicBezTo>
                <a:cubicBezTo>
                  <a:pt x="2806862" y="140944"/>
                  <a:pt x="2811142" y="148258"/>
                  <a:pt x="2815951" y="155043"/>
                </a:cubicBezTo>
                <a:cubicBezTo>
                  <a:pt x="2833550" y="183290"/>
                  <a:pt x="2846437" y="211681"/>
                  <a:pt x="2859805" y="236896"/>
                </a:cubicBezTo>
                <a:cubicBezTo>
                  <a:pt x="2873028" y="262207"/>
                  <a:pt x="2885915" y="284823"/>
                  <a:pt x="2899091" y="304119"/>
                </a:cubicBezTo>
                <a:cubicBezTo>
                  <a:pt x="2924961" y="343049"/>
                  <a:pt x="2949677" y="369322"/>
                  <a:pt x="2966171" y="386982"/>
                </a:cubicBezTo>
                <a:cubicBezTo>
                  <a:pt x="2974922" y="395355"/>
                  <a:pt x="2981510" y="401755"/>
                  <a:pt x="2985982" y="406038"/>
                </a:cubicBezTo>
                <a:cubicBezTo>
                  <a:pt x="2988242" y="408155"/>
                  <a:pt x="2989925" y="409743"/>
                  <a:pt x="2991079" y="410802"/>
                </a:cubicBezTo>
                <a:cubicBezTo>
                  <a:pt x="2992233" y="411860"/>
                  <a:pt x="2992858" y="412342"/>
                  <a:pt x="2992906" y="412294"/>
                </a:cubicBezTo>
                <a:cubicBezTo>
                  <a:pt x="2992954" y="412245"/>
                  <a:pt x="2992426" y="411620"/>
                  <a:pt x="2991368" y="410513"/>
                </a:cubicBezTo>
                <a:cubicBezTo>
                  <a:pt x="2990310" y="409406"/>
                  <a:pt x="2988675" y="407674"/>
                  <a:pt x="2986559" y="405460"/>
                </a:cubicBezTo>
                <a:cubicBezTo>
                  <a:pt x="2982231" y="401082"/>
                  <a:pt x="2975836" y="394489"/>
                  <a:pt x="2967373" y="385876"/>
                </a:cubicBezTo>
                <a:cubicBezTo>
                  <a:pt x="2951312" y="367879"/>
                  <a:pt x="2927077" y="341364"/>
                  <a:pt x="2901784" y="302387"/>
                </a:cubicBezTo>
                <a:cubicBezTo>
                  <a:pt x="2888897" y="283091"/>
                  <a:pt x="2876298" y="260474"/>
                  <a:pt x="2863315" y="235115"/>
                </a:cubicBezTo>
                <a:cubicBezTo>
                  <a:pt x="2850188" y="209852"/>
                  <a:pt x="2837541" y="181413"/>
                  <a:pt x="2819942" y="152589"/>
                </a:cubicBezTo>
                <a:cubicBezTo>
                  <a:pt x="2815133" y="145660"/>
                  <a:pt x="2810854" y="138153"/>
                  <a:pt x="2805179" y="131416"/>
                </a:cubicBezTo>
                <a:cubicBezTo>
                  <a:pt x="2802439" y="128000"/>
                  <a:pt x="2799842" y="124391"/>
                  <a:pt x="2796861" y="121070"/>
                </a:cubicBezTo>
                <a:cubicBezTo>
                  <a:pt x="2793783" y="117846"/>
                  <a:pt x="2790706" y="114526"/>
                  <a:pt x="2787580" y="111254"/>
                </a:cubicBezTo>
                <a:cubicBezTo>
                  <a:pt x="2784599" y="107789"/>
                  <a:pt x="2780944" y="104998"/>
                  <a:pt x="2777482" y="101919"/>
                </a:cubicBezTo>
                <a:cubicBezTo>
                  <a:pt x="2773924" y="98983"/>
                  <a:pt x="2770606" y="95663"/>
                  <a:pt x="2766711" y="92968"/>
                </a:cubicBezTo>
                <a:cubicBezTo>
                  <a:pt x="2759209" y="87242"/>
                  <a:pt x="2750939" y="82430"/>
                  <a:pt x="2742523" y="77666"/>
                </a:cubicBezTo>
                <a:cubicBezTo>
                  <a:pt x="2742187" y="77473"/>
                  <a:pt x="2741899" y="77329"/>
                  <a:pt x="2741562" y="77185"/>
                </a:cubicBezTo>
                <a:cubicBezTo>
                  <a:pt x="2744303" y="78388"/>
                  <a:pt x="2746996" y="79591"/>
                  <a:pt x="2749689" y="80794"/>
                </a:cubicBezTo>
                <a:cubicBezTo>
                  <a:pt x="2763297" y="87097"/>
                  <a:pt x="2776905" y="94123"/>
                  <a:pt x="2789455" y="102785"/>
                </a:cubicBezTo>
                <a:cubicBezTo>
                  <a:pt x="2801910" y="111543"/>
                  <a:pt x="2813402" y="122081"/>
                  <a:pt x="2823356" y="134255"/>
                </a:cubicBezTo>
                <a:close/>
                <a:moveTo>
                  <a:pt x="3181066" y="1449091"/>
                </a:moveTo>
                <a:cubicBezTo>
                  <a:pt x="3179816" y="1419352"/>
                  <a:pt x="3178181" y="1389566"/>
                  <a:pt x="3176162" y="1359779"/>
                </a:cubicBezTo>
                <a:cubicBezTo>
                  <a:pt x="3173950" y="1329993"/>
                  <a:pt x="3171401" y="1300207"/>
                  <a:pt x="3167843" y="1270468"/>
                </a:cubicBezTo>
                <a:cubicBezTo>
                  <a:pt x="3160582" y="1211088"/>
                  <a:pt x="3150339" y="1151467"/>
                  <a:pt x="3130480" y="1094204"/>
                </a:cubicBezTo>
                <a:cubicBezTo>
                  <a:pt x="3120334" y="1065717"/>
                  <a:pt x="3107158" y="1037952"/>
                  <a:pt x="3089511" y="1012929"/>
                </a:cubicBezTo>
                <a:cubicBezTo>
                  <a:pt x="3071575" y="988099"/>
                  <a:pt x="3049407" y="966686"/>
                  <a:pt x="3025220" y="948256"/>
                </a:cubicBezTo>
                <a:cubicBezTo>
                  <a:pt x="3000985" y="929826"/>
                  <a:pt x="2974826" y="914139"/>
                  <a:pt x="2947850" y="900328"/>
                </a:cubicBezTo>
                <a:cubicBezTo>
                  <a:pt x="2920874" y="886422"/>
                  <a:pt x="2893080" y="874295"/>
                  <a:pt x="2865046" y="862939"/>
                </a:cubicBezTo>
                <a:cubicBezTo>
                  <a:pt x="2808930" y="840226"/>
                  <a:pt x="2751516" y="820930"/>
                  <a:pt x="2695448" y="798458"/>
                </a:cubicBezTo>
                <a:cubicBezTo>
                  <a:pt x="2667366" y="787438"/>
                  <a:pt x="2640101" y="774446"/>
                  <a:pt x="2612451" y="761838"/>
                </a:cubicBezTo>
                <a:cubicBezTo>
                  <a:pt x="2584898" y="749183"/>
                  <a:pt x="2557441" y="736335"/>
                  <a:pt x="2530369" y="722620"/>
                </a:cubicBezTo>
                <a:cubicBezTo>
                  <a:pt x="2503345" y="708906"/>
                  <a:pt x="2476705" y="694422"/>
                  <a:pt x="2451220" y="678157"/>
                </a:cubicBezTo>
                <a:cubicBezTo>
                  <a:pt x="2425830" y="661893"/>
                  <a:pt x="2401162" y="643944"/>
                  <a:pt x="2380822" y="622049"/>
                </a:cubicBezTo>
                <a:cubicBezTo>
                  <a:pt x="2370820" y="611078"/>
                  <a:pt x="2361636" y="599144"/>
                  <a:pt x="2355817" y="585767"/>
                </a:cubicBezTo>
                <a:cubicBezTo>
                  <a:pt x="2349903" y="572486"/>
                  <a:pt x="2347643" y="557953"/>
                  <a:pt x="2348412" y="543229"/>
                </a:cubicBezTo>
                <a:cubicBezTo>
                  <a:pt x="2350143" y="513635"/>
                  <a:pt x="2361395" y="484907"/>
                  <a:pt x="2370099" y="455409"/>
                </a:cubicBezTo>
                <a:cubicBezTo>
                  <a:pt x="2374475" y="440636"/>
                  <a:pt x="2378322" y="425238"/>
                  <a:pt x="2379812" y="409647"/>
                </a:cubicBezTo>
                <a:cubicBezTo>
                  <a:pt x="2381399" y="394056"/>
                  <a:pt x="2381495" y="378417"/>
                  <a:pt x="2380822" y="362970"/>
                </a:cubicBezTo>
                <a:cubicBezTo>
                  <a:pt x="2379716" y="332077"/>
                  <a:pt x="2375773" y="301521"/>
                  <a:pt x="2378995" y="271638"/>
                </a:cubicBezTo>
                <a:cubicBezTo>
                  <a:pt x="2380630" y="256673"/>
                  <a:pt x="2383755" y="241563"/>
                  <a:pt x="2385823" y="226117"/>
                </a:cubicBezTo>
                <a:cubicBezTo>
                  <a:pt x="2387891" y="210718"/>
                  <a:pt x="2389141" y="194598"/>
                  <a:pt x="2385775" y="178478"/>
                </a:cubicBezTo>
                <a:cubicBezTo>
                  <a:pt x="2384044" y="170490"/>
                  <a:pt x="2380966" y="162550"/>
                  <a:pt x="2376350" y="155572"/>
                </a:cubicBezTo>
                <a:cubicBezTo>
                  <a:pt x="2371734" y="148595"/>
                  <a:pt x="2365579" y="142724"/>
                  <a:pt x="2358847" y="138057"/>
                </a:cubicBezTo>
                <a:cubicBezTo>
                  <a:pt x="2345383" y="128529"/>
                  <a:pt x="2329755" y="123717"/>
                  <a:pt x="2314416" y="120300"/>
                </a:cubicBezTo>
                <a:cubicBezTo>
                  <a:pt x="2283400" y="114045"/>
                  <a:pt x="2252144" y="113131"/>
                  <a:pt x="2220793" y="115729"/>
                </a:cubicBezTo>
                <a:cubicBezTo>
                  <a:pt x="2216898" y="116162"/>
                  <a:pt x="2212955" y="116451"/>
                  <a:pt x="2209060" y="116980"/>
                </a:cubicBezTo>
                <a:lnTo>
                  <a:pt x="2197423" y="119146"/>
                </a:lnTo>
                <a:lnTo>
                  <a:pt x="2191604" y="120252"/>
                </a:lnTo>
                <a:lnTo>
                  <a:pt x="2185882" y="121840"/>
                </a:lnTo>
                <a:cubicBezTo>
                  <a:pt x="2182083" y="122947"/>
                  <a:pt x="2178237" y="123909"/>
                  <a:pt x="2174438" y="125112"/>
                </a:cubicBezTo>
                <a:cubicBezTo>
                  <a:pt x="2159387" y="130213"/>
                  <a:pt x="2145106" y="137094"/>
                  <a:pt x="2131449" y="144938"/>
                </a:cubicBezTo>
                <a:cubicBezTo>
                  <a:pt x="2117937" y="152926"/>
                  <a:pt x="2105002" y="161539"/>
                  <a:pt x="2092067" y="169960"/>
                </a:cubicBezTo>
                <a:cubicBezTo>
                  <a:pt x="2079084" y="178237"/>
                  <a:pt x="2066052" y="186418"/>
                  <a:pt x="2052492" y="193491"/>
                </a:cubicBezTo>
                <a:cubicBezTo>
                  <a:pt x="2025516" y="208023"/>
                  <a:pt x="1996713" y="218947"/>
                  <a:pt x="1966996" y="226935"/>
                </a:cubicBezTo>
                <a:cubicBezTo>
                  <a:pt x="1937182" y="235019"/>
                  <a:pt x="1906936" y="241900"/>
                  <a:pt x="1876546" y="248108"/>
                </a:cubicBezTo>
                <a:cubicBezTo>
                  <a:pt x="1846156" y="254267"/>
                  <a:pt x="1815573" y="259753"/>
                  <a:pt x="1784846" y="263891"/>
                </a:cubicBezTo>
                <a:cubicBezTo>
                  <a:pt x="1769507" y="265912"/>
                  <a:pt x="1754072" y="267644"/>
                  <a:pt x="1738684" y="268607"/>
                </a:cubicBezTo>
                <a:cubicBezTo>
                  <a:pt x="1723393" y="269425"/>
                  <a:pt x="1707669" y="270002"/>
                  <a:pt x="1693339" y="267211"/>
                </a:cubicBezTo>
                <a:cubicBezTo>
                  <a:pt x="1689829" y="266489"/>
                  <a:pt x="1686463" y="265383"/>
                  <a:pt x="1683962" y="263891"/>
                </a:cubicBezTo>
                <a:cubicBezTo>
                  <a:pt x="1683434" y="263506"/>
                  <a:pt x="1682808" y="263121"/>
                  <a:pt x="1682472" y="262688"/>
                </a:cubicBezTo>
                <a:cubicBezTo>
                  <a:pt x="1682039" y="262303"/>
                  <a:pt x="1682231" y="262447"/>
                  <a:pt x="1682087" y="262303"/>
                </a:cubicBezTo>
                <a:lnTo>
                  <a:pt x="1682087" y="262062"/>
                </a:lnTo>
                <a:cubicBezTo>
                  <a:pt x="1682087" y="262062"/>
                  <a:pt x="1682231" y="261726"/>
                  <a:pt x="1682664" y="261052"/>
                </a:cubicBezTo>
                <a:cubicBezTo>
                  <a:pt x="1684251" y="258550"/>
                  <a:pt x="1686944" y="255855"/>
                  <a:pt x="1689637" y="253353"/>
                </a:cubicBezTo>
                <a:cubicBezTo>
                  <a:pt x="1692377" y="250850"/>
                  <a:pt x="1695311" y="248396"/>
                  <a:pt x="1698292" y="246038"/>
                </a:cubicBezTo>
                <a:cubicBezTo>
                  <a:pt x="1710362" y="236559"/>
                  <a:pt x="1723297" y="227897"/>
                  <a:pt x="1736328" y="219428"/>
                </a:cubicBezTo>
                <a:cubicBezTo>
                  <a:pt x="1762487" y="202538"/>
                  <a:pt x="1789367" y="186610"/>
                  <a:pt x="1816439" y="170971"/>
                </a:cubicBezTo>
                <a:cubicBezTo>
                  <a:pt x="1829999" y="163175"/>
                  <a:pt x="1843607" y="155476"/>
                  <a:pt x="1857312" y="147921"/>
                </a:cubicBezTo>
                <a:cubicBezTo>
                  <a:pt x="1864188" y="144120"/>
                  <a:pt x="1871016" y="140367"/>
                  <a:pt x="1877844" y="137046"/>
                </a:cubicBezTo>
                <a:cubicBezTo>
                  <a:pt x="1884817" y="133726"/>
                  <a:pt x="1891934" y="130502"/>
                  <a:pt x="1899050" y="127422"/>
                </a:cubicBezTo>
                <a:cubicBezTo>
                  <a:pt x="1927709" y="115103"/>
                  <a:pt x="1957042" y="103795"/>
                  <a:pt x="1986230" y="92294"/>
                </a:cubicBezTo>
                <a:lnTo>
                  <a:pt x="2030132" y="74923"/>
                </a:lnTo>
                <a:cubicBezTo>
                  <a:pt x="2037441" y="71940"/>
                  <a:pt x="2044750" y="68956"/>
                  <a:pt x="2052011" y="65732"/>
                </a:cubicBezTo>
                <a:cubicBezTo>
                  <a:pt x="2059320" y="62508"/>
                  <a:pt x="2066677" y="58899"/>
                  <a:pt x="2073554" y="54568"/>
                </a:cubicBezTo>
                <a:cubicBezTo>
                  <a:pt x="2080478" y="50286"/>
                  <a:pt x="2087018" y="45281"/>
                  <a:pt x="2093077" y="40180"/>
                </a:cubicBezTo>
                <a:cubicBezTo>
                  <a:pt x="2099183" y="35128"/>
                  <a:pt x="2104906" y="30268"/>
                  <a:pt x="2111301" y="26851"/>
                </a:cubicBezTo>
                <a:cubicBezTo>
                  <a:pt x="2122217" y="20884"/>
                  <a:pt x="2135200" y="18911"/>
                  <a:pt x="2148423" y="17179"/>
                </a:cubicBezTo>
                <a:cubicBezTo>
                  <a:pt x="2146933" y="17756"/>
                  <a:pt x="2145442" y="18334"/>
                  <a:pt x="2144000" y="19056"/>
                </a:cubicBezTo>
                <a:cubicBezTo>
                  <a:pt x="2133421" y="23916"/>
                  <a:pt x="2127121" y="32241"/>
                  <a:pt x="2121447" y="38400"/>
                </a:cubicBezTo>
                <a:cubicBezTo>
                  <a:pt x="2115773" y="44752"/>
                  <a:pt x="2110436" y="49468"/>
                  <a:pt x="2105819" y="52836"/>
                </a:cubicBezTo>
                <a:cubicBezTo>
                  <a:pt x="2101251" y="56252"/>
                  <a:pt x="2097549" y="58514"/>
                  <a:pt x="2095096" y="59958"/>
                </a:cubicBezTo>
                <a:cubicBezTo>
                  <a:pt x="2093846" y="60728"/>
                  <a:pt x="2092932" y="61257"/>
                  <a:pt x="2092307" y="61642"/>
                </a:cubicBezTo>
                <a:cubicBezTo>
                  <a:pt x="2091682" y="62027"/>
                  <a:pt x="2091394" y="62219"/>
                  <a:pt x="2091394" y="62267"/>
                </a:cubicBezTo>
                <a:cubicBezTo>
                  <a:pt x="2091394" y="62267"/>
                  <a:pt x="2091730" y="62123"/>
                  <a:pt x="2092403" y="61834"/>
                </a:cubicBezTo>
                <a:cubicBezTo>
                  <a:pt x="2093028" y="61498"/>
                  <a:pt x="2093990" y="60968"/>
                  <a:pt x="2095288" y="60295"/>
                </a:cubicBezTo>
                <a:cubicBezTo>
                  <a:pt x="2097837" y="58947"/>
                  <a:pt x="2101588" y="56782"/>
                  <a:pt x="2106300" y="53461"/>
                </a:cubicBezTo>
                <a:cubicBezTo>
                  <a:pt x="2111013" y="50189"/>
                  <a:pt x="2116543" y="45474"/>
                  <a:pt x="2122313" y="39218"/>
                </a:cubicBezTo>
                <a:cubicBezTo>
                  <a:pt x="2128131" y="33059"/>
                  <a:pt x="2134382" y="25022"/>
                  <a:pt x="2144673" y="20451"/>
                </a:cubicBezTo>
                <a:cubicBezTo>
                  <a:pt x="2148808" y="18478"/>
                  <a:pt x="2153424" y="17131"/>
                  <a:pt x="2158329" y="16024"/>
                </a:cubicBezTo>
                <a:cubicBezTo>
                  <a:pt x="2172466" y="14436"/>
                  <a:pt x="2186700" y="13185"/>
                  <a:pt x="2200933" y="12174"/>
                </a:cubicBezTo>
                <a:cubicBezTo>
                  <a:pt x="2197663" y="12752"/>
                  <a:pt x="2194441" y="13377"/>
                  <a:pt x="2191124" y="14244"/>
                </a:cubicBezTo>
                <a:cubicBezTo>
                  <a:pt x="2181843" y="16986"/>
                  <a:pt x="2173524" y="21991"/>
                  <a:pt x="2165878" y="28054"/>
                </a:cubicBezTo>
                <a:cubicBezTo>
                  <a:pt x="2162128" y="31134"/>
                  <a:pt x="2158521" y="34598"/>
                  <a:pt x="2155396" y="38544"/>
                </a:cubicBezTo>
                <a:cubicBezTo>
                  <a:pt x="2152318" y="42490"/>
                  <a:pt x="2149577" y="47013"/>
                  <a:pt x="2148520" y="52355"/>
                </a:cubicBezTo>
                <a:cubicBezTo>
                  <a:pt x="2147317" y="57696"/>
                  <a:pt x="2149193" y="63807"/>
                  <a:pt x="2153040" y="67753"/>
                </a:cubicBezTo>
                <a:cubicBezTo>
                  <a:pt x="2156838" y="71795"/>
                  <a:pt x="2161743" y="74057"/>
                  <a:pt x="2166600" y="75934"/>
                </a:cubicBezTo>
                <a:cubicBezTo>
                  <a:pt x="2176409" y="79254"/>
                  <a:pt x="2186555" y="81227"/>
                  <a:pt x="2196846" y="83007"/>
                </a:cubicBezTo>
                <a:cubicBezTo>
                  <a:pt x="2217426" y="86520"/>
                  <a:pt x="2238632" y="88974"/>
                  <a:pt x="2260319" y="91573"/>
                </a:cubicBezTo>
                <a:cubicBezTo>
                  <a:pt x="2282102" y="94219"/>
                  <a:pt x="2304269" y="96433"/>
                  <a:pt x="2326629" y="101437"/>
                </a:cubicBezTo>
                <a:cubicBezTo>
                  <a:pt x="2348989" y="106249"/>
                  <a:pt x="2371830" y="111831"/>
                  <a:pt x="2393901" y="120782"/>
                </a:cubicBezTo>
                <a:cubicBezTo>
                  <a:pt x="2404913" y="125257"/>
                  <a:pt x="2415732" y="130646"/>
                  <a:pt x="2425590" y="137527"/>
                </a:cubicBezTo>
                <a:cubicBezTo>
                  <a:pt x="2435544" y="144312"/>
                  <a:pt x="2444151" y="153070"/>
                  <a:pt x="2450739" y="163320"/>
                </a:cubicBezTo>
                <a:cubicBezTo>
                  <a:pt x="2457182" y="173714"/>
                  <a:pt x="2461318" y="185551"/>
                  <a:pt x="2463674" y="197918"/>
                </a:cubicBezTo>
                <a:cubicBezTo>
                  <a:pt x="2466174" y="210285"/>
                  <a:pt x="2467088" y="223133"/>
                  <a:pt x="2467713" y="236126"/>
                </a:cubicBezTo>
                <a:cubicBezTo>
                  <a:pt x="2468338" y="249118"/>
                  <a:pt x="2468531" y="262351"/>
                  <a:pt x="2468867" y="275680"/>
                </a:cubicBezTo>
                <a:cubicBezTo>
                  <a:pt x="2469012" y="282321"/>
                  <a:pt x="2469156" y="289154"/>
                  <a:pt x="2469973" y="295987"/>
                </a:cubicBezTo>
                <a:cubicBezTo>
                  <a:pt x="2470743" y="302772"/>
                  <a:pt x="2471897" y="309557"/>
                  <a:pt x="2473387" y="316246"/>
                </a:cubicBezTo>
                <a:cubicBezTo>
                  <a:pt x="2479206" y="343097"/>
                  <a:pt x="2488053" y="369418"/>
                  <a:pt x="2496276" y="396366"/>
                </a:cubicBezTo>
                <a:cubicBezTo>
                  <a:pt x="2500412" y="409839"/>
                  <a:pt x="2504451" y="423457"/>
                  <a:pt x="2508057" y="437268"/>
                </a:cubicBezTo>
                <a:cubicBezTo>
                  <a:pt x="2509932" y="444197"/>
                  <a:pt x="2511471" y="451127"/>
                  <a:pt x="2513154" y="458200"/>
                </a:cubicBezTo>
                <a:cubicBezTo>
                  <a:pt x="2514885" y="465274"/>
                  <a:pt x="2516568" y="472348"/>
                  <a:pt x="2518300" y="479469"/>
                </a:cubicBezTo>
                <a:cubicBezTo>
                  <a:pt x="2521473" y="493761"/>
                  <a:pt x="2525945" y="507908"/>
                  <a:pt x="2530032" y="522248"/>
                </a:cubicBezTo>
                <a:cubicBezTo>
                  <a:pt x="2531908" y="529466"/>
                  <a:pt x="2534841" y="536395"/>
                  <a:pt x="2537245" y="543565"/>
                </a:cubicBezTo>
                <a:lnTo>
                  <a:pt x="2541044" y="554248"/>
                </a:lnTo>
                <a:lnTo>
                  <a:pt x="2542967" y="559589"/>
                </a:lnTo>
                <a:lnTo>
                  <a:pt x="2545228" y="564834"/>
                </a:lnTo>
                <a:cubicBezTo>
                  <a:pt x="2548257" y="571812"/>
                  <a:pt x="2551335" y="578789"/>
                  <a:pt x="2554412" y="585815"/>
                </a:cubicBezTo>
                <a:cubicBezTo>
                  <a:pt x="2557682" y="592744"/>
                  <a:pt x="2561625" y="599385"/>
                  <a:pt x="2565183" y="606266"/>
                </a:cubicBezTo>
                <a:cubicBezTo>
                  <a:pt x="2567107" y="609634"/>
                  <a:pt x="2568693" y="613195"/>
                  <a:pt x="2570857" y="616419"/>
                </a:cubicBezTo>
                <a:lnTo>
                  <a:pt x="2577301" y="626140"/>
                </a:lnTo>
                <a:cubicBezTo>
                  <a:pt x="2581677" y="632588"/>
                  <a:pt x="2585716" y="639373"/>
                  <a:pt x="2590909" y="645291"/>
                </a:cubicBezTo>
                <a:cubicBezTo>
                  <a:pt x="2609807" y="670554"/>
                  <a:pt x="2633994" y="692016"/>
                  <a:pt x="2659960" y="711120"/>
                </a:cubicBezTo>
                <a:cubicBezTo>
                  <a:pt x="2712326" y="749327"/>
                  <a:pt x="2773202" y="776900"/>
                  <a:pt x="2835714" y="803270"/>
                </a:cubicBezTo>
                <a:cubicBezTo>
                  <a:pt x="2866970" y="816599"/>
                  <a:pt x="2899380" y="828629"/>
                  <a:pt x="2931549" y="841622"/>
                </a:cubicBezTo>
                <a:cubicBezTo>
                  <a:pt x="2963718" y="854855"/>
                  <a:pt x="2995984" y="869146"/>
                  <a:pt x="3028827" y="883246"/>
                </a:cubicBezTo>
                <a:cubicBezTo>
                  <a:pt x="3061669" y="897393"/>
                  <a:pt x="3094993" y="911588"/>
                  <a:pt x="3129278" y="924629"/>
                </a:cubicBezTo>
                <a:cubicBezTo>
                  <a:pt x="3146444" y="931077"/>
                  <a:pt x="3163852" y="937429"/>
                  <a:pt x="3181836" y="942578"/>
                </a:cubicBezTo>
                <a:cubicBezTo>
                  <a:pt x="3190828" y="945128"/>
                  <a:pt x="3199964" y="947486"/>
                  <a:pt x="3209485" y="948881"/>
                </a:cubicBezTo>
                <a:cubicBezTo>
                  <a:pt x="3214294" y="949411"/>
                  <a:pt x="3219102" y="950036"/>
                  <a:pt x="3224343" y="949459"/>
                </a:cubicBezTo>
                <a:cubicBezTo>
                  <a:pt x="3226940" y="949411"/>
                  <a:pt x="3229633" y="948352"/>
                  <a:pt x="3232181" y="947534"/>
                </a:cubicBezTo>
                <a:cubicBezTo>
                  <a:pt x="3234586" y="946283"/>
                  <a:pt x="3237086" y="945032"/>
                  <a:pt x="3239010" y="943203"/>
                </a:cubicBezTo>
                <a:cubicBezTo>
                  <a:pt x="3241222" y="941615"/>
                  <a:pt x="3242712" y="939498"/>
                  <a:pt x="3244491" y="937525"/>
                </a:cubicBezTo>
                <a:cubicBezTo>
                  <a:pt x="3245886" y="935408"/>
                  <a:pt x="3247473" y="933339"/>
                  <a:pt x="3248531" y="931077"/>
                </a:cubicBezTo>
                <a:cubicBezTo>
                  <a:pt x="3249637" y="928863"/>
                  <a:pt x="3250839" y="926602"/>
                  <a:pt x="3251656" y="924292"/>
                </a:cubicBezTo>
                <a:cubicBezTo>
                  <a:pt x="3252618" y="921982"/>
                  <a:pt x="3253435" y="919673"/>
                  <a:pt x="3254109" y="917363"/>
                </a:cubicBezTo>
                <a:cubicBezTo>
                  <a:pt x="3256994" y="908027"/>
                  <a:pt x="3258629" y="898452"/>
                  <a:pt x="3259734" y="888876"/>
                </a:cubicBezTo>
                <a:cubicBezTo>
                  <a:pt x="3261850" y="869724"/>
                  <a:pt x="3261802" y="850428"/>
                  <a:pt x="3260744" y="831131"/>
                </a:cubicBezTo>
                <a:cubicBezTo>
                  <a:pt x="3259687" y="811835"/>
                  <a:pt x="3257475" y="792539"/>
                  <a:pt x="3254157" y="773291"/>
                </a:cubicBezTo>
                <a:cubicBezTo>
                  <a:pt x="3252474" y="763667"/>
                  <a:pt x="3250502" y="754043"/>
                  <a:pt x="3248002" y="744515"/>
                </a:cubicBezTo>
                <a:cubicBezTo>
                  <a:pt x="3246752" y="739751"/>
                  <a:pt x="3245357" y="734987"/>
                  <a:pt x="3243722" y="730223"/>
                </a:cubicBezTo>
                <a:cubicBezTo>
                  <a:pt x="3242039" y="725508"/>
                  <a:pt x="3240116" y="720599"/>
                  <a:pt x="3237567" y="716365"/>
                </a:cubicBezTo>
                <a:cubicBezTo>
                  <a:pt x="3228479" y="698368"/>
                  <a:pt x="3215928" y="682729"/>
                  <a:pt x="3203041" y="667571"/>
                </a:cubicBezTo>
                <a:lnTo>
                  <a:pt x="3193136" y="656311"/>
                </a:lnTo>
                <a:lnTo>
                  <a:pt x="3182797" y="645484"/>
                </a:lnTo>
                <a:cubicBezTo>
                  <a:pt x="3175969" y="638170"/>
                  <a:pt x="3168660" y="631337"/>
                  <a:pt x="3161543" y="624263"/>
                </a:cubicBezTo>
                <a:cubicBezTo>
                  <a:pt x="3132596" y="596498"/>
                  <a:pt x="3101725" y="570368"/>
                  <a:pt x="3070421" y="544287"/>
                </a:cubicBezTo>
                <a:cubicBezTo>
                  <a:pt x="3039165" y="518110"/>
                  <a:pt x="3006948" y="492606"/>
                  <a:pt x="2976509" y="464648"/>
                </a:cubicBezTo>
                <a:cubicBezTo>
                  <a:pt x="2945975" y="436594"/>
                  <a:pt x="2915008" y="408396"/>
                  <a:pt x="2885435" y="378465"/>
                </a:cubicBezTo>
                <a:cubicBezTo>
                  <a:pt x="2856343" y="348149"/>
                  <a:pt x="2828405" y="316053"/>
                  <a:pt x="2804747" y="280541"/>
                </a:cubicBezTo>
                <a:cubicBezTo>
                  <a:pt x="2780463" y="245317"/>
                  <a:pt x="2763152" y="205906"/>
                  <a:pt x="2746371" y="165437"/>
                </a:cubicBezTo>
                <a:cubicBezTo>
                  <a:pt x="2737763" y="145275"/>
                  <a:pt x="2728002" y="124920"/>
                  <a:pt x="2714442" y="106827"/>
                </a:cubicBezTo>
                <a:cubicBezTo>
                  <a:pt x="2710883" y="102448"/>
                  <a:pt x="2707517" y="97925"/>
                  <a:pt x="2703766" y="93690"/>
                </a:cubicBezTo>
                <a:lnTo>
                  <a:pt x="2694822" y="84355"/>
                </a:lnTo>
                <a:cubicBezTo>
                  <a:pt x="2697083" y="85798"/>
                  <a:pt x="2699294" y="87290"/>
                  <a:pt x="2701555" y="88685"/>
                </a:cubicBezTo>
                <a:cubicBezTo>
                  <a:pt x="2703189" y="89792"/>
                  <a:pt x="2704632" y="91043"/>
                  <a:pt x="2706219" y="92246"/>
                </a:cubicBezTo>
                <a:cubicBezTo>
                  <a:pt x="2707758" y="93449"/>
                  <a:pt x="2709344" y="94604"/>
                  <a:pt x="2710595" y="95952"/>
                </a:cubicBezTo>
                <a:cubicBezTo>
                  <a:pt x="2711941" y="97299"/>
                  <a:pt x="2713288" y="98502"/>
                  <a:pt x="2714634" y="99946"/>
                </a:cubicBezTo>
                <a:lnTo>
                  <a:pt x="2718481" y="104661"/>
                </a:lnTo>
                <a:lnTo>
                  <a:pt x="2726126" y="114045"/>
                </a:lnTo>
                <a:cubicBezTo>
                  <a:pt x="2728771" y="117124"/>
                  <a:pt x="2731127" y="120397"/>
                  <a:pt x="2733435" y="123765"/>
                </a:cubicBezTo>
                <a:lnTo>
                  <a:pt x="2740504" y="133678"/>
                </a:lnTo>
                <a:cubicBezTo>
                  <a:pt x="2745216" y="140318"/>
                  <a:pt x="2749304" y="147392"/>
                  <a:pt x="2753728" y="154225"/>
                </a:cubicBezTo>
                <a:cubicBezTo>
                  <a:pt x="2757959" y="161203"/>
                  <a:pt x="2761950" y="168421"/>
                  <a:pt x="2766038" y="175494"/>
                </a:cubicBezTo>
                <a:cubicBezTo>
                  <a:pt x="2781954" y="204270"/>
                  <a:pt x="2796957" y="234105"/>
                  <a:pt x="2814268" y="262880"/>
                </a:cubicBezTo>
                <a:cubicBezTo>
                  <a:pt x="2831530" y="291704"/>
                  <a:pt x="2851101" y="319374"/>
                  <a:pt x="2872307" y="345791"/>
                </a:cubicBezTo>
                <a:lnTo>
                  <a:pt x="2888560" y="365376"/>
                </a:lnTo>
                <a:cubicBezTo>
                  <a:pt x="2894042" y="371873"/>
                  <a:pt x="2899957" y="377984"/>
                  <a:pt x="2905631" y="384336"/>
                </a:cubicBezTo>
                <a:cubicBezTo>
                  <a:pt x="2916883" y="397136"/>
                  <a:pt x="2929145" y="409021"/>
                  <a:pt x="2941214" y="421100"/>
                </a:cubicBezTo>
                <a:cubicBezTo>
                  <a:pt x="2989925" y="469027"/>
                  <a:pt x="3043781" y="512432"/>
                  <a:pt x="3099224" y="553863"/>
                </a:cubicBezTo>
                <a:cubicBezTo>
                  <a:pt x="3126826" y="574795"/>
                  <a:pt x="3154619" y="595679"/>
                  <a:pt x="3182076" y="617141"/>
                </a:cubicBezTo>
                <a:cubicBezTo>
                  <a:pt x="3209533" y="638603"/>
                  <a:pt x="3236846" y="660545"/>
                  <a:pt x="3262716" y="684076"/>
                </a:cubicBezTo>
                <a:cubicBezTo>
                  <a:pt x="3269208" y="689947"/>
                  <a:pt x="3275362" y="696106"/>
                  <a:pt x="3281662" y="702169"/>
                </a:cubicBezTo>
                <a:cubicBezTo>
                  <a:pt x="3287528" y="708569"/>
                  <a:pt x="3293827" y="714681"/>
                  <a:pt x="3299021" y="721466"/>
                </a:cubicBezTo>
                <a:cubicBezTo>
                  <a:pt x="3301762" y="724786"/>
                  <a:pt x="3304599" y="728058"/>
                  <a:pt x="3306714" y="731715"/>
                </a:cubicBezTo>
                <a:cubicBezTo>
                  <a:pt x="3308926" y="735276"/>
                  <a:pt x="3311523" y="738596"/>
                  <a:pt x="3313206" y="742638"/>
                </a:cubicBezTo>
                <a:cubicBezTo>
                  <a:pt x="3317149" y="750241"/>
                  <a:pt x="3320323" y="758229"/>
                  <a:pt x="3322823" y="766410"/>
                </a:cubicBezTo>
                <a:cubicBezTo>
                  <a:pt x="3327824" y="782819"/>
                  <a:pt x="3329411" y="800190"/>
                  <a:pt x="3329411" y="817706"/>
                </a:cubicBezTo>
                <a:cubicBezTo>
                  <a:pt x="3329507" y="835270"/>
                  <a:pt x="3328113" y="853219"/>
                  <a:pt x="3329267" y="871601"/>
                </a:cubicBezTo>
                <a:cubicBezTo>
                  <a:pt x="3330325" y="889886"/>
                  <a:pt x="3334460" y="908605"/>
                  <a:pt x="3342923" y="925303"/>
                </a:cubicBezTo>
                <a:cubicBezTo>
                  <a:pt x="3351194" y="942145"/>
                  <a:pt x="3363071" y="956629"/>
                  <a:pt x="3376006" y="969718"/>
                </a:cubicBezTo>
                <a:cubicBezTo>
                  <a:pt x="3402117" y="995702"/>
                  <a:pt x="3433180" y="1016250"/>
                  <a:pt x="3466600" y="1031792"/>
                </a:cubicBezTo>
                <a:cubicBezTo>
                  <a:pt x="3483382" y="1039492"/>
                  <a:pt x="3500885" y="1045844"/>
                  <a:pt x="3519158" y="1049838"/>
                </a:cubicBezTo>
                <a:cubicBezTo>
                  <a:pt x="3528294" y="1051811"/>
                  <a:pt x="3537623" y="1053254"/>
                  <a:pt x="3547143" y="1053591"/>
                </a:cubicBezTo>
                <a:cubicBezTo>
                  <a:pt x="3556617" y="1053976"/>
                  <a:pt x="3566330" y="1053302"/>
                  <a:pt x="3575851" y="1050800"/>
                </a:cubicBezTo>
                <a:cubicBezTo>
                  <a:pt x="3585276" y="1048201"/>
                  <a:pt x="3594749" y="1043534"/>
                  <a:pt x="3601769" y="1035979"/>
                </a:cubicBezTo>
                <a:cubicBezTo>
                  <a:pt x="3608934" y="1028568"/>
                  <a:pt x="3613213" y="1018848"/>
                  <a:pt x="3615137" y="1009176"/>
                </a:cubicBezTo>
                <a:cubicBezTo>
                  <a:pt x="3617205" y="999456"/>
                  <a:pt x="3617012" y="989639"/>
                  <a:pt x="3616051" y="980160"/>
                </a:cubicBezTo>
                <a:cubicBezTo>
                  <a:pt x="3615041" y="970632"/>
                  <a:pt x="3613069" y="961393"/>
                  <a:pt x="3610376" y="952250"/>
                </a:cubicBezTo>
                <a:cubicBezTo>
                  <a:pt x="3605135" y="933964"/>
                  <a:pt x="3596768" y="916785"/>
                  <a:pt x="3586959" y="900761"/>
                </a:cubicBezTo>
                <a:cubicBezTo>
                  <a:pt x="3577149" y="884689"/>
                  <a:pt x="3565945" y="869676"/>
                  <a:pt x="3554693" y="854903"/>
                </a:cubicBezTo>
                <a:cubicBezTo>
                  <a:pt x="3543441" y="840130"/>
                  <a:pt x="3531997" y="825549"/>
                  <a:pt x="3522331" y="810151"/>
                </a:cubicBezTo>
                <a:lnTo>
                  <a:pt x="3518725" y="804377"/>
                </a:lnTo>
                <a:lnTo>
                  <a:pt x="3515503" y="798410"/>
                </a:lnTo>
                <a:cubicBezTo>
                  <a:pt x="3513195" y="794512"/>
                  <a:pt x="3511512" y="790374"/>
                  <a:pt x="3509685" y="786283"/>
                </a:cubicBezTo>
                <a:cubicBezTo>
                  <a:pt x="3508675" y="784262"/>
                  <a:pt x="3508002" y="782145"/>
                  <a:pt x="3507329" y="780028"/>
                </a:cubicBezTo>
                <a:lnTo>
                  <a:pt x="3505309" y="773724"/>
                </a:lnTo>
                <a:cubicBezTo>
                  <a:pt x="3504732" y="771607"/>
                  <a:pt x="3504443" y="769490"/>
                  <a:pt x="3503963" y="767420"/>
                </a:cubicBezTo>
                <a:cubicBezTo>
                  <a:pt x="3503674" y="765303"/>
                  <a:pt x="3503530" y="763234"/>
                  <a:pt x="3503386" y="761165"/>
                </a:cubicBezTo>
                <a:cubicBezTo>
                  <a:pt x="3503337" y="752936"/>
                  <a:pt x="3505886" y="745237"/>
                  <a:pt x="3512041" y="740088"/>
                </a:cubicBezTo>
                <a:cubicBezTo>
                  <a:pt x="3517907" y="734747"/>
                  <a:pt x="3526419" y="731956"/>
                  <a:pt x="3534978" y="730223"/>
                </a:cubicBezTo>
                <a:cubicBezTo>
                  <a:pt x="3552433" y="727144"/>
                  <a:pt x="3571090" y="728539"/>
                  <a:pt x="3589122" y="731571"/>
                </a:cubicBezTo>
                <a:cubicBezTo>
                  <a:pt x="3607154" y="734795"/>
                  <a:pt x="3625331" y="739607"/>
                  <a:pt x="3641536" y="747450"/>
                </a:cubicBezTo>
                <a:cubicBezTo>
                  <a:pt x="3645479" y="749279"/>
                  <a:pt x="3649230" y="751974"/>
                  <a:pt x="3653125" y="754524"/>
                </a:cubicBezTo>
                <a:lnTo>
                  <a:pt x="3664665" y="762223"/>
                </a:lnTo>
                <a:cubicBezTo>
                  <a:pt x="3668608" y="764678"/>
                  <a:pt x="3671926" y="767950"/>
                  <a:pt x="3675629" y="770741"/>
                </a:cubicBezTo>
                <a:lnTo>
                  <a:pt x="3686400" y="779547"/>
                </a:lnTo>
                <a:cubicBezTo>
                  <a:pt x="3714001" y="804425"/>
                  <a:pt x="3736169" y="835077"/>
                  <a:pt x="3754345" y="867992"/>
                </a:cubicBezTo>
                <a:cubicBezTo>
                  <a:pt x="3772570" y="900954"/>
                  <a:pt x="3787092" y="936130"/>
                  <a:pt x="3800556" y="971835"/>
                </a:cubicBezTo>
                <a:cubicBezTo>
                  <a:pt x="3814020" y="1007540"/>
                  <a:pt x="3826474" y="1043871"/>
                  <a:pt x="3839890" y="1080057"/>
                </a:cubicBezTo>
                <a:cubicBezTo>
                  <a:pt x="3853258" y="1116292"/>
                  <a:pt x="3867780" y="1152189"/>
                  <a:pt x="3883408" y="1187750"/>
                </a:cubicBezTo>
                <a:cubicBezTo>
                  <a:pt x="3914663" y="1258872"/>
                  <a:pt x="3951834" y="1327780"/>
                  <a:pt x="3992274" y="1394907"/>
                </a:cubicBezTo>
                <a:cubicBezTo>
                  <a:pt x="4002420" y="1411653"/>
                  <a:pt x="4012566" y="1428447"/>
                  <a:pt x="4022712" y="1445241"/>
                </a:cubicBezTo>
                <a:cubicBezTo>
                  <a:pt x="4032858" y="1461939"/>
                  <a:pt x="4043245" y="1478829"/>
                  <a:pt x="4053776" y="1495334"/>
                </a:cubicBezTo>
                <a:cubicBezTo>
                  <a:pt x="4064210" y="1511936"/>
                  <a:pt x="4074356" y="1528633"/>
                  <a:pt x="4083397" y="1545908"/>
                </a:cubicBezTo>
                <a:cubicBezTo>
                  <a:pt x="4092340" y="1563135"/>
                  <a:pt x="4100563" y="1580940"/>
                  <a:pt x="4105420" y="1599418"/>
                </a:cubicBezTo>
                <a:cubicBezTo>
                  <a:pt x="4110276" y="1617896"/>
                  <a:pt x="4111767" y="1637337"/>
                  <a:pt x="4111238" y="1656729"/>
                </a:cubicBezTo>
                <a:cubicBezTo>
                  <a:pt x="4110757" y="1676170"/>
                  <a:pt x="4108353" y="1695658"/>
                  <a:pt x="4105131" y="1715099"/>
                </a:cubicBezTo>
                <a:cubicBezTo>
                  <a:pt x="4098688" y="1753980"/>
                  <a:pt x="4088782" y="1792476"/>
                  <a:pt x="4080656" y="1831646"/>
                </a:cubicBezTo>
                <a:cubicBezTo>
                  <a:pt x="4072770" y="1870960"/>
                  <a:pt x="4066663" y="1910370"/>
                  <a:pt x="4058440" y="1949396"/>
                </a:cubicBezTo>
                <a:cubicBezTo>
                  <a:pt x="4054257" y="1968836"/>
                  <a:pt x="4049544" y="1988181"/>
                  <a:pt x="4043293" y="2006899"/>
                </a:cubicBezTo>
                <a:cubicBezTo>
                  <a:pt x="4036994" y="2025570"/>
                  <a:pt x="4029156" y="2043808"/>
                  <a:pt x="4017615" y="2059254"/>
                </a:cubicBezTo>
                <a:cubicBezTo>
                  <a:pt x="4013528" y="2064981"/>
                  <a:pt x="4008767" y="2070081"/>
                  <a:pt x="4003718" y="2074893"/>
                </a:cubicBezTo>
                <a:cubicBezTo>
                  <a:pt x="3998621" y="2079705"/>
                  <a:pt x="3992899" y="2083747"/>
                  <a:pt x="3987032" y="2087549"/>
                </a:cubicBezTo>
                <a:cubicBezTo>
                  <a:pt x="3975059" y="2094815"/>
                  <a:pt x="3961884" y="2100253"/>
                  <a:pt x="3948131" y="2103814"/>
                </a:cubicBezTo>
                <a:cubicBezTo>
                  <a:pt x="3920578" y="2111128"/>
                  <a:pt x="3891486" y="2112427"/>
                  <a:pt x="3862634" y="2112764"/>
                </a:cubicBezTo>
                <a:cubicBezTo>
                  <a:pt x="3833687" y="2112956"/>
                  <a:pt x="3804595" y="2111850"/>
                  <a:pt x="3775455" y="2111609"/>
                </a:cubicBezTo>
                <a:cubicBezTo>
                  <a:pt x="3760885" y="2111465"/>
                  <a:pt x="3746315" y="2111513"/>
                  <a:pt x="3731697" y="2111946"/>
                </a:cubicBezTo>
                <a:cubicBezTo>
                  <a:pt x="3717079" y="2112331"/>
                  <a:pt x="3702557" y="2113389"/>
                  <a:pt x="3688083" y="2114256"/>
                </a:cubicBezTo>
                <a:cubicBezTo>
                  <a:pt x="3630140" y="2118538"/>
                  <a:pt x="3572533" y="2125371"/>
                  <a:pt x="3515791" y="2136391"/>
                </a:cubicBezTo>
                <a:cubicBezTo>
                  <a:pt x="3459147" y="2147507"/>
                  <a:pt x="3403030" y="2161943"/>
                  <a:pt x="3349751" y="2184126"/>
                </a:cubicBezTo>
                <a:cubicBezTo>
                  <a:pt x="3323064" y="2195001"/>
                  <a:pt x="3297530" y="2209052"/>
                  <a:pt x="3273679" y="2225124"/>
                </a:cubicBezTo>
                <a:cubicBezTo>
                  <a:pt x="3249733" y="2241148"/>
                  <a:pt x="3227806" y="2259819"/>
                  <a:pt x="3206888" y="2279163"/>
                </a:cubicBezTo>
                <a:cubicBezTo>
                  <a:pt x="3164909" y="2317756"/>
                  <a:pt x="3127547" y="2360487"/>
                  <a:pt x="3084462" y="2395759"/>
                </a:cubicBezTo>
                <a:cubicBezTo>
                  <a:pt x="3062967" y="2413419"/>
                  <a:pt x="3039934" y="2428817"/>
                  <a:pt x="3014930" y="2440414"/>
                </a:cubicBezTo>
                <a:lnTo>
                  <a:pt x="2995840" y="2448883"/>
                </a:lnTo>
                <a:cubicBezTo>
                  <a:pt x="2989492" y="2451674"/>
                  <a:pt x="2983193" y="2454658"/>
                  <a:pt x="2976653" y="2457064"/>
                </a:cubicBezTo>
                <a:lnTo>
                  <a:pt x="2957275" y="2464715"/>
                </a:lnTo>
                <a:lnTo>
                  <a:pt x="2947610" y="2468564"/>
                </a:lnTo>
                <a:lnTo>
                  <a:pt x="2937800" y="2472077"/>
                </a:lnTo>
                <a:cubicBezTo>
                  <a:pt x="2885627" y="2491085"/>
                  <a:pt x="2832300" y="2506483"/>
                  <a:pt x="2779165" y="2521593"/>
                </a:cubicBezTo>
                <a:cubicBezTo>
                  <a:pt x="2725982" y="2536654"/>
                  <a:pt x="2672895" y="2551523"/>
                  <a:pt x="2620674" y="2568702"/>
                </a:cubicBezTo>
                <a:cubicBezTo>
                  <a:pt x="2568453" y="2585833"/>
                  <a:pt x="2517193" y="2605226"/>
                  <a:pt x="2467665" y="2628179"/>
                </a:cubicBezTo>
                <a:cubicBezTo>
                  <a:pt x="2455403" y="2634146"/>
                  <a:pt x="2443189" y="2640161"/>
                  <a:pt x="2430976" y="2646128"/>
                </a:cubicBezTo>
                <a:cubicBezTo>
                  <a:pt x="2418906" y="2652383"/>
                  <a:pt x="2407077" y="2659072"/>
                  <a:pt x="2395104" y="2665520"/>
                </a:cubicBezTo>
                <a:lnTo>
                  <a:pt x="2386160" y="2670380"/>
                </a:lnTo>
                <a:cubicBezTo>
                  <a:pt x="2383178" y="2672113"/>
                  <a:pt x="2380197" y="2673893"/>
                  <a:pt x="2377360" y="2675673"/>
                </a:cubicBezTo>
                <a:lnTo>
                  <a:pt x="2360241" y="2686549"/>
                </a:lnTo>
                <a:cubicBezTo>
                  <a:pt x="2348893" y="2693815"/>
                  <a:pt x="2337593" y="2700985"/>
                  <a:pt x="2326149" y="2707818"/>
                </a:cubicBezTo>
                <a:cubicBezTo>
                  <a:pt x="2303212" y="2721292"/>
                  <a:pt x="2279553" y="2733851"/>
                  <a:pt x="2254645" y="2741117"/>
                </a:cubicBezTo>
                <a:cubicBezTo>
                  <a:pt x="2242239" y="2744630"/>
                  <a:pt x="2229400" y="2746651"/>
                  <a:pt x="2217234" y="2745015"/>
                </a:cubicBezTo>
                <a:cubicBezTo>
                  <a:pt x="2205165" y="2743186"/>
                  <a:pt x="2194586" y="2736690"/>
                  <a:pt x="2187709" y="2726681"/>
                </a:cubicBezTo>
                <a:cubicBezTo>
                  <a:pt x="2180737" y="2716720"/>
                  <a:pt x="2177323" y="2704113"/>
                  <a:pt x="2175303" y="2691553"/>
                </a:cubicBezTo>
                <a:cubicBezTo>
                  <a:pt x="2173091" y="2678946"/>
                  <a:pt x="2173043" y="2665809"/>
                  <a:pt x="2173140" y="2652865"/>
                </a:cubicBezTo>
                <a:cubicBezTo>
                  <a:pt x="2173380" y="2646368"/>
                  <a:pt x="2173861" y="2639824"/>
                  <a:pt x="2174197" y="2633328"/>
                </a:cubicBezTo>
                <a:cubicBezTo>
                  <a:pt x="2174726" y="2626783"/>
                  <a:pt x="2175351" y="2620239"/>
                  <a:pt x="2175977" y="2613695"/>
                </a:cubicBezTo>
                <a:cubicBezTo>
                  <a:pt x="2177323" y="2600606"/>
                  <a:pt x="2178814" y="2587565"/>
                  <a:pt x="2180497" y="2574525"/>
                </a:cubicBezTo>
                <a:cubicBezTo>
                  <a:pt x="2187181" y="2522411"/>
                  <a:pt x="2195644" y="2470778"/>
                  <a:pt x="2205165" y="2419674"/>
                </a:cubicBezTo>
                <a:cubicBezTo>
                  <a:pt x="2224447" y="2317515"/>
                  <a:pt x="2247721" y="2217185"/>
                  <a:pt x="2278255" y="2120463"/>
                </a:cubicBezTo>
                <a:cubicBezTo>
                  <a:pt x="2293691" y="2072199"/>
                  <a:pt x="2310905" y="2024752"/>
                  <a:pt x="2332544" y="1979808"/>
                </a:cubicBezTo>
                <a:cubicBezTo>
                  <a:pt x="2343411" y="1957384"/>
                  <a:pt x="2355385" y="1935634"/>
                  <a:pt x="2369618" y="1915616"/>
                </a:cubicBezTo>
                <a:cubicBezTo>
                  <a:pt x="2383803" y="1895838"/>
                  <a:pt x="2400537" y="1877119"/>
                  <a:pt x="2421551" y="1866581"/>
                </a:cubicBezTo>
                <a:cubicBezTo>
                  <a:pt x="2443574" y="1856235"/>
                  <a:pt x="2466751" y="1848440"/>
                  <a:pt x="2490458" y="1843483"/>
                </a:cubicBezTo>
                <a:cubicBezTo>
                  <a:pt x="2514164" y="1838479"/>
                  <a:pt x="2538351" y="1836313"/>
                  <a:pt x="2562442" y="1836410"/>
                </a:cubicBezTo>
                <a:cubicBezTo>
                  <a:pt x="2610769" y="1836747"/>
                  <a:pt x="2658421" y="1845937"/>
                  <a:pt x="2704968" y="1857198"/>
                </a:cubicBezTo>
                <a:cubicBezTo>
                  <a:pt x="2751612" y="1868554"/>
                  <a:pt x="2797438" y="1882316"/>
                  <a:pt x="2843792" y="1893095"/>
                </a:cubicBezTo>
                <a:cubicBezTo>
                  <a:pt x="2890051" y="1903971"/>
                  <a:pt x="2937415" y="1911766"/>
                  <a:pt x="2984828" y="1909504"/>
                </a:cubicBezTo>
                <a:cubicBezTo>
                  <a:pt x="3008486" y="1908397"/>
                  <a:pt x="3031952" y="1904644"/>
                  <a:pt x="3054601" y="1897859"/>
                </a:cubicBezTo>
                <a:cubicBezTo>
                  <a:pt x="3065997" y="1894443"/>
                  <a:pt x="3076864" y="1889679"/>
                  <a:pt x="3087395" y="1884193"/>
                </a:cubicBezTo>
                <a:cubicBezTo>
                  <a:pt x="3097782" y="1878467"/>
                  <a:pt x="3107543" y="1871682"/>
                  <a:pt x="3116583" y="1864079"/>
                </a:cubicBezTo>
                <a:cubicBezTo>
                  <a:pt x="3125431" y="1856235"/>
                  <a:pt x="3133557" y="1847718"/>
                  <a:pt x="3140818" y="1838479"/>
                </a:cubicBezTo>
                <a:cubicBezTo>
                  <a:pt x="3147839" y="1829144"/>
                  <a:pt x="3154427" y="1819423"/>
                  <a:pt x="3159812" y="1809126"/>
                </a:cubicBezTo>
                <a:cubicBezTo>
                  <a:pt x="3170968" y="1788723"/>
                  <a:pt x="3178758" y="1766876"/>
                  <a:pt x="3184961" y="1744885"/>
                </a:cubicBezTo>
                <a:cubicBezTo>
                  <a:pt x="3197031" y="1700711"/>
                  <a:pt x="3201887" y="1655622"/>
                  <a:pt x="3204244" y="1611063"/>
                </a:cubicBezTo>
                <a:cubicBezTo>
                  <a:pt x="3206552" y="1566504"/>
                  <a:pt x="3205782" y="1522233"/>
                  <a:pt x="3204147" y="1478588"/>
                </a:cubicBezTo>
                <a:cubicBezTo>
                  <a:pt x="3201022" y="1391587"/>
                  <a:pt x="3203907" y="1305741"/>
                  <a:pt x="3197848" y="1221675"/>
                </a:cubicBezTo>
                <a:cubicBezTo>
                  <a:pt x="3194771" y="1179666"/>
                  <a:pt x="3189577" y="1138042"/>
                  <a:pt x="3179143" y="1097861"/>
                </a:cubicBezTo>
                <a:cubicBezTo>
                  <a:pt x="3176931" y="1087708"/>
                  <a:pt x="3173276" y="1077988"/>
                  <a:pt x="3170247" y="1068123"/>
                </a:cubicBezTo>
                <a:cubicBezTo>
                  <a:pt x="3168804" y="1063167"/>
                  <a:pt x="3166785" y="1058403"/>
                  <a:pt x="3164813" y="1053591"/>
                </a:cubicBezTo>
                <a:lnTo>
                  <a:pt x="3158947" y="1039251"/>
                </a:lnTo>
                <a:cubicBezTo>
                  <a:pt x="3156879" y="1034535"/>
                  <a:pt x="3154282" y="1030060"/>
                  <a:pt x="3151974" y="1025441"/>
                </a:cubicBezTo>
                <a:cubicBezTo>
                  <a:pt x="3149522" y="1020917"/>
                  <a:pt x="3147454" y="1016202"/>
                  <a:pt x="3144665" y="1011823"/>
                </a:cubicBezTo>
                <a:cubicBezTo>
                  <a:pt x="3139328" y="1002872"/>
                  <a:pt x="3132980" y="994788"/>
                  <a:pt x="3126393" y="986896"/>
                </a:cubicBezTo>
                <a:cubicBezTo>
                  <a:pt x="3099176" y="956051"/>
                  <a:pt x="3065372" y="933242"/>
                  <a:pt x="3031038" y="913802"/>
                </a:cubicBezTo>
                <a:cubicBezTo>
                  <a:pt x="2996513" y="894409"/>
                  <a:pt x="2960833" y="878385"/>
                  <a:pt x="2925298" y="863613"/>
                </a:cubicBezTo>
                <a:cubicBezTo>
                  <a:pt x="2889714" y="848840"/>
                  <a:pt x="2854131" y="835558"/>
                  <a:pt x="2819220" y="821940"/>
                </a:cubicBezTo>
                <a:cubicBezTo>
                  <a:pt x="2784406" y="808274"/>
                  <a:pt x="2750121" y="794031"/>
                  <a:pt x="2716557" y="779787"/>
                </a:cubicBezTo>
                <a:cubicBezTo>
                  <a:pt x="2682994" y="765399"/>
                  <a:pt x="2650103" y="750675"/>
                  <a:pt x="2618751" y="734121"/>
                </a:cubicBezTo>
                <a:cubicBezTo>
                  <a:pt x="2587447" y="717568"/>
                  <a:pt x="2557586" y="699186"/>
                  <a:pt x="2531138" y="677291"/>
                </a:cubicBezTo>
                <a:cubicBezTo>
                  <a:pt x="2504980" y="655108"/>
                  <a:pt x="2483053" y="629027"/>
                  <a:pt x="2468002" y="599192"/>
                </a:cubicBezTo>
                <a:cubicBezTo>
                  <a:pt x="2452518" y="569695"/>
                  <a:pt x="2442180" y="538176"/>
                  <a:pt x="2435159" y="506561"/>
                </a:cubicBezTo>
                <a:cubicBezTo>
                  <a:pt x="2421310" y="443042"/>
                  <a:pt x="2420445" y="379524"/>
                  <a:pt x="2421887" y="318652"/>
                </a:cubicBezTo>
                <a:cubicBezTo>
                  <a:pt x="2422609" y="288095"/>
                  <a:pt x="2423811" y="258165"/>
                  <a:pt x="2423859" y="228523"/>
                </a:cubicBezTo>
                <a:cubicBezTo>
                  <a:pt x="2423667" y="213702"/>
                  <a:pt x="2422657" y="198784"/>
                  <a:pt x="2418906" y="184396"/>
                </a:cubicBezTo>
                <a:cubicBezTo>
                  <a:pt x="2415252" y="170105"/>
                  <a:pt x="2408616" y="156294"/>
                  <a:pt x="2398806" y="145419"/>
                </a:cubicBezTo>
                <a:cubicBezTo>
                  <a:pt x="2389189" y="134303"/>
                  <a:pt x="2376879" y="126123"/>
                  <a:pt x="2363992" y="120204"/>
                </a:cubicBezTo>
                <a:cubicBezTo>
                  <a:pt x="2351105" y="114285"/>
                  <a:pt x="2337641" y="110195"/>
                  <a:pt x="2324129" y="107452"/>
                </a:cubicBezTo>
                <a:cubicBezTo>
                  <a:pt x="2297105" y="101967"/>
                  <a:pt x="2270129" y="100475"/>
                  <a:pt x="2243874" y="100475"/>
                </a:cubicBezTo>
                <a:cubicBezTo>
                  <a:pt x="2230746" y="100571"/>
                  <a:pt x="2217763" y="100956"/>
                  <a:pt x="2204972" y="101678"/>
                </a:cubicBezTo>
                <a:cubicBezTo>
                  <a:pt x="2198577" y="101919"/>
                  <a:pt x="2192181" y="102640"/>
                  <a:pt x="2185834" y="103073"/>
                </a:cubicBezTo>
                <a:cubicBezTo>
                  <a:pt x="2179487" y="103843"/>
                  <a:pt x="2173188" y="104421"/>
                  <a:pt x="2166985" y="105576"/>
                </a:cubicBezTo>
                <a:cubicBezTo>
                  <a:pt x="2142028" y="109377"/>
                  <a:pt x="2118274" y="118135"/>
                  <a:pt x="2097597" y="130406"/>
                </a:cubicBezTo>
                <a:cubicBezTo>
                  <a:pt x="2076872" y="142580"/>
                  <a:pt x="2057878" y="155909"/>
                  <a:pt x="2038018" y="166736"/>
                </a:cubicBezTo>
                <a:cubicBezTo>
                  <a:pt x="2018303" y="177708"/>
                  <a:pt x="1998251" y="186995"/>
                  <a:pt x="1978584" y="195416"/>
                </a:cubicBezTo>
                <a:cubicBezTo>
                  <a:pt x="1939154" y="212017"/>
                  <a:pt x="1900493" y="225154"/>
                  <a:pt x="1862938" y="230399"/>
                </a:cubicBezTo>
                <a:cubicBezTo>
                  <a:pt x="1844280" y="232853"/>
                  <a:pt x="1825623" y="233383"/>
                  <a:pt x="1808745" y="228667"/>
                </a:cubicBezTo>
                <a:cubicBezTo>
                  <a:pt x="1806581" y="228186"/>
                  <a:pt x="1804610" y="227320"/>
                  <a:pt x="1802590" y="226646"/>
                </a:cubicBezTo>
                <a:cubicBezTo>
                  <a:pt x="1800426" y="225924"/>
                  <a:pt x="1798743" y="225202"/>
                  <a:pt x="1798022" y="223903"/>
                </a:cubicBezTo>
                <a:cubicBezTo>
                  <a:pt x="1797253" y="222604"/>
                  <a:pt x="1797493" y="220872"/>
                  <a:pt x="1798262" y="219091"/>
                </a:cubicBezTo>
                <a:cubicBezTo>
                  <a:pt x="1798984" y="217311"/>
                  <a:pt x="1800138" y="215578"/>
                  <a:pt x="1801340" y="213894"/>
                </a:cubicBezTo>
                <a:cubicBezTo>
                  <a:pt x="1806389" y="207302"/>
                  <a:pt x="1812784" y="201720"/>
                  <a:pt x="1819084" y="196427"/>
                </a:cubicBezTo>
                <a:cubicBezTo>
                  <a:pt x="1831778" y="185936"/>
                  <a:pt x="1844810" y="176842"/>
                  <a:pt x="1857456" y="168372"/>
                </a:cubicBezTo>
                <a:cubicBezTo>
                  <a:pt x="1870151" y="159903"/>
                  <a:pt x="1882509" y="152156"/>
                  <a:pt x="1894482" y="144986"/>
                </a:cubicBezTo>
                <a:cubicBezTo>
                  <a:pt x="1906456" y="137864"/>
                  <a:pt x="1917948" y="131079"/>
                  <a:pt x="1929248" y="125642"/>
                </a:cubicBezTo>
                <a:cubicBezTo>
                  <a:pt x="1940645" y="120349"/>
                  <a:pt x="1951849" y="116066"/>
                  <a:pt x="1962427" y="112120"/>
                </a:cubicBezTo>
                <a:cubicBezTo>
                  <a:pt x="2004887" y="96529"/>
                  <a:pt x="2037586" y="85365"/>
                  <a:pt x="2059128" y="76704"/>
                </a:cubicBezTo>
                <a:cubicBezTo>
                  <a:pt x="2069947" y="72469"/>
                  <a:pt x="2077930" y="68860"/>
                  <a:pt x="2083267" y="66358"/>
                </a:cubicBezTo>
                <a:cubicBezTo>
                  <a:pt x="2085912" y="65058"/>
                  <a:pt x="2087835" y="64000"/>
                  <a:pt x="2089182" y="63326"/>
                </a:cubicBezTo>
                <a:cubicBezTo>
                  <a:pt x="2090480" y="62652"/>
                  <a:pt x="2091153" y="62267"/>
                  <a:pt x="2091105" y="62219"/>
                </a:cubicBezTo>
                <a:cubicBezTo>
                  <a:pt x="2091105" y="62219"/>
                  <a:pt x="2090384" y="62460"/>
                  <a:pt x="2089037" y="63086"/>
                </a:cubicBezTo>
                <a:cubicBezTo>
                  <a:pt x="2087691" y="63711"/>
                  <a:pt x="2085671" y="64625"/>
                  <a:pt x="2083027" y="65877"/>
                </a:cubicBezTo>
                <a:cubicBezTo>
                  <a:pt x="2077641" y="68186"/>
                  <a:pt x="2069611" y="71651"/>
                  <a:pt x="2058743" y="75741"/>
                </a:cubicBezTo>
                <a:cubicBezTo>
                  <a:pt x="2037105" y="84066"/>
                  <a:pt x="2004310" y="94893"/>
                  <a:pt x="1961706" y="110195"/>
                </a:cubicBezTo>
                <a:cubicBezTo>
                  <a:pt x="1951079" y="114093"/>
                  <a:pt x="1939827" y="118279"/>
                  <a:pt x="1928238" y="123573"/>
                </a:cubicBezTo>
                <a:cubicBezTo>
                  <a:pt x="1916698" y="129010"/>
                  <a:pt x="1905205" y="135747"/>
                  <a:pt x="1893136" y="142821"/>
                </a:cubicBezTo>
                <a:cubicBezTo>
                  <a:pt x="1881114" y="149942"/>
                  <a:pt x="1868660" y="157642"/>
                  <a:pt x="1855869" y="166063"/>
                </a:cubicBezTo>
                <a:cubicBezTo>
                  <a:pt x="1843126" y="174532"/>
                  <a:pt x="1829999" y="183578"/>
                  <a:pt x="1817064" y="194117"/>
                </a:cubicBezTo>
                <a:cubicBezTo>
                  <a:pt x="1810669" y="199458"/>
                  <a:pt x="1804177" y="204992"/>
                  <a:pt x="1798743" y="212017"/>
                </a:cubicBezTo>
                <a:cubicBezTo>
                  <a:pt x="1797397" y="213798"/>
                  <a:pt x="1796147" y="215723"/>
                  <a:pt x="1795233" y="217936"/>
                </a:cubicBezTo>
                <a:cubicBezTo>
                  <a:pt x="1794319" y="220005"/>
                  <a:pt x="1793646" y="223085"/>
                  <a:pt x="1795137" y="225684"/>
                </a:cubicBezTo>
                <a:cubicBezTo>
                  <a:pt x="1796676" y="228330"/>
                  <a:pt x="1799416" y="229244"/>
                  <a:pt x="1801388" y="229918"/>
                </a:cubicBezTo>
                <a:cubicBezTo>
                  <a:pt x="1803504" y="230688"/>
                  <a:pt x="1805620" y="231602"/>
                  <a:pt x="1807832" y="232084"/>
                </a:cubicBezTo>
                <a:cubicBezTo>
                  <a:pt x="1825431" y="237088"/>
                  <a:pt x="1844473" y="236607"/>
                  <a:pt x="1863419" y="234201"/>
                </a:cubicBezTo>
                <a:cubicBezTo>
                  <a:pt x="1901503" y="229004"/>
                  <a:pt x="1940452" y="215963"/>
                  <a:pt x="1980219" y="199410"/>
                </a:cubicBezTo>
                <a:cubicBezTo>
                  <a:pt x="2000031" y="190989"/>
                  <a:pt x="2020227" y="181750"/>
                  <a:pt x="2040182" y="170730"/>
                </a:cubicBezTo>
                <a:cubicBezTo>
                  <a:pt x="2060234" y="159903"/>
                  <a:pt x="2079516" y="146478"/>
                  <a:pt x="2099953" y="134592"/>
                </a:cubicBezTo>
                <a:cubicBezTo>
                  <a:pt x="2120389" y="122610"/>
                  <a:pt x="2143278" y="114237"/>
                  <a:pt x="2167850" y="110532"/>
                </a:cubicBezTo>
                <a:cubicBezTo>
                  <a:pt x="2173957" y="109425"/>
                  <a:pt x="2180160" y="108896"/>
                  <a:pt x="2186411" y="108126"/>
                </a:cubicBezTo>
                <a:cubicBezTo>
                  <a:pt x="2192710" y="107693"/>
                  <a:pt x="2198962" y="107019"/>
                  <a:pt x="2205357" y="106779"/>
                </a:cubicBezTo>
                <a:cubicBezTo>
                  <a:pt x="2218100" y="106105"/>
                  <a:pt x="2230987" y="105720"/>
                  <a:pt x="2244018" y="105720"/>
                </a:cubicBezTo>
                <a:cubicBezTo>
                  <a:pt x="2270032" y="105816"/>
                  <a:pt x="2296720" y="107404"/>
                  <a:pt x="2323167" y="112842"/>
                </a:cubicBezTo>
                <a:cubicBezTo>
                  <a:pt x="2336391" y="115585"/>
                  <a:pt x="2349422" y="119579"/>
                  <a:pt x="2361828" y="125353"/>
                </a:cubicBezTo>
                <a:cubicBezTo>
                  <a:pt x="2374186" y="131079"/>
                  <a:pt x="2385775" y="138875"/>
                  <a:pt x="2394767" y="149317"/>
                </a:cubicBezTo>
                <a:cubicBezTo>
                  <a:pt x="2403951" y="159566"/>
                  <a:pt x="2410106" y="172415"/>
                  <a:pt x="2413569" y="186081"/>
                </a:cubicBezTo>
                <a:cubicBezTo>
                  <a:pt x="2417079" y="199795"/>
                  <a:pt x="2418089" y="214231"/>
                  <a:pt x="2418233" y="228859"/>
                </a:cubicBezTo>
                <a:cubicBezTo>
                  <a:pt x="2418089" y="258165"/>
                  <a:pt x="2416838" y="288240"/>
                  <a:pt x="2416021" y="318796"/>
                </a:cubicBezTo>
                <a:cubicBezTo>
                  <a:pt x="2414434" y="379861"/>
                  <a:pt x="2415155" y="443860"/>
                  <a:pt x="2429004" y="508245"/>
                </a:cubicBezTo>
                <a:cubicBezTo>
                  <a:pt x="2436025" y="540293"/>
                  <a:pt x="2446507" y="572389"/>
                  <a:pt x="2462231" y="602561"/>
                </a:cubicBezTo>
                <a:cubicBezTo>
                  <a:pt x="2466367" y="609971"/>
                  <a:pt x="2470743" y="617334"/>
                  <a:pt x="2475022" y="624744"/>
                </a:cubicBezTo>
                <a:cubicBezTo>
                  <a:pt x="2477379" y="628305"/>
                  <a:pt x="2479927" y="631818"/>
                  <a:pt x="2482379" y="635379"/>
                </a:cubicBezTo>
                <a:lnTo>
                  <a:pt x="2486082" y="640672"/>
                </a:lnTo>
                <a:lnTo>
                  <a:pt x="2490217" y="645676"/>
                </a:lnTo>
                <a:lnTo>
                  <a:pt x="2498536" y="655685"/>
                </a:lnTo>
                <a:lnTo>
                  <a:pt x="2507624" y="665069"/>
                </a:lnTo>
                <a:lnTo>
                  <a:pt x="2512193" y="669736"/>
                </a:lnTo>
                <a:lnTo>
                  <a:pt x="2517049" y="674115"/>
                </a:lnTo>
                <a:lnTo>
                  <a:pt x="2526811" y="682873"/>
                </a:lnTo>
                <a:cubicBezTo>
                  <a:pt x="2553739" y="705249"/>
                  <a:pt x="2583985" y="723920"/>
                  <a:pt x="2615529" y="740714"/>
                </a:cubicBezTo>
                <a:cubicBezTo>
                  <a:pt x="2647121" y="757508"/>
                  <a:pt x="2680156" y="772329"/>
                  <a:pt x="2713768" y="786813"/>
                </a:cubicBezTo>
                <a:cubicBezTo>
                  <a:pt x="2747476" y="801153"/>
                  <a:pt x="2781617" y="815396"/>
                  <a:pt x="2816576" y="829207"/>
                </a:cubicBezTo>
                <a:cubicBezTo>
                  <a:pt x="2851534" y="842921"/>
                  <a:pt x="2887069" y="856250"/>
                  <a:pt x="2922461" y="871023"/>
                </a:cubicBezTo>
                <a:cubicBezTo>
                  <a:pt x="2957852" y="885796"/>
                  <a:pt x="2993243" y="901772"/>
                  <a:pt x="3027288" y="920972"/>
                </a:cubicBezTo>
                <a:cubicBezTo>
                  <a:pt x="3061188" y="940220"/>
                  <a:pt x="3094319" y="962740"/>
                  <a:pt x="3120478" y="992526"/>
                </a:cubicBezTo>
                <a:cubicBezTo>
                  <a:pt x="3126777" y="1000081"/>
                  <a:pt x="3132932" y="1007877"/>
                  <a:pt x="3137933" y="1016394"/>
                </a:cubicBezTo>
                <a:cubicBezTo>
                  <a:pt x="3140578" y="1020532"/>
                  <a:pt x="3142598" y="1025200"/>
                  <a:pt x="3145002" y="1029579"/>
                </a:cubicBezTo>
                <a:cubicBezTo>
                  <a:pt x="3147214" y="1034054"/>
                  <a:pt x="3149762" y="1038385"/>
                  <a:pt x="3151734" y="1043005"/>
                </a:cubicBezTo>
                <a:lnTo>
                  <a:pt x="3157408" y="1056959"/>
                </a:lnTo>
                <a:cubicBezTo>
                  <a:pt x="3159332" y="1061627"/>
                  <a:pt x="3161303" y="1066247"/>
                  <a:pt x="3162697" y="1071155"/>
                </a:cubicBezTo>
                <a:cubicBezTo>
                  <a:pt x="3165679" y="1080827"/>
                  <a:pt x="3169237" y="1090355"/>
                  <a:pt x="3171353" y="1100316"/>
                </a:cubicBezTo>
                <a:cubicBezTo>
                  <a:pt x="3181499" y="1139822"/>
                  <a:pt x="3186644" y="1181013"/>
                  <a:pt x="3189626" y="1222685"/>
                </a:cubicBezTo>
                <a:cubicBezTo>
                  <a:pt x="3195540" y="1306174"/>
                  <a:pt x="3192559" y="1391924"/>
                  <a:pt x="3195588" y="1479310"/>
                </a:cubicBezTo>
                <a:cubicBezTo>
                  <a:pt x="3197175" y="1522859"/>
                  <a:pt x="3197896" y="1566793"/>
                  <a:pt x="3195588" y="1611015"/>
                </a:cubicBezTo>
                <a:cubicBezTo>
                  <a:pt x="3193184" y="1655141"/>
                  <a:pt x="3188327" y="1699749"/>
                  <a:pt x="3176450" y="1742912"/>
                </a:cubicBezTo>
                <a:cubicBezTo>
                  <a:pt x="3170391" y="1764374"/>
                  <a:pt x="3162745" y="1785595"/>
                  <a:pt x="3151974" y="1805228"/>
                </a:cubicBezTo>
                <a:cubicBezTo>
                  <a:pt x="3146781" y="1815141"/>
                  <a:pt x="3140434" y="1824380"/>
                  <a:pt x="3133750" y="1833330"/>
                </a:cubicBezTo>
                <a:cubicBezTo>
                  <a:pt x="3126826" y="1842136"/>
                  <a:pt x="3119083" y="1850220"/>
                  <a:pt x="3110717" y="1857631"/>
                </a:cubicBezTo>
                <a:cubicBezTo>
                  <a:pt x="3102157" y="1864801"/>
                  <a:pt x="3092925" y="1871201"/>
                  <a:pt x="3083115" y="1876638"/>
                </a:cubicBezTo>
                <a:cubicBezTo>
                  <a:pt x="3073162" y="1881787"/>
                  <a:pt x="3062823" y="1886359"/>
                  <a:pt x="3051956" y="1889582"/>
                </a:cubicBezTo>
                <a:cubicBezTo>
                  <a:pt x="3030173" y="1896079"/>
                  <a:pt x="3007380" y="1899688"/>
                  <a:pt x="2984443" y="1900746"/>
                </a:cubicBezTo>
                <a:cubicBezTo>
                  <a:pt x="2938377" y="1902864"/>
                  <a:pt x="2891830" y="1895261"/>
                  <a:pt x="2845908" y="1884434"/>
                </a:cubicBezTo>
                <a:cubicBezTo>
                  <a:pt x="2799890" y="1873703"/>
                  <a:pt x="2754112" y="1859892"/>
                  <a:pt x="2707181" y="1848440"/>
                </a:cubicBezTo>
                <a:cubicBezTo>
                  <a:pt x="2660297" y="1837083"/>
                  <a:pt x="2611971" y="1827700"/>
                  <a:pt x="2562490" y="1827267"/>
                </a:cubicBezTo>
                <a:cubicBezTo>
                  <a:pt x="2537774" y="1827123"/>
                  <a:pt x="2512914" y="1829336"/>
                  <a:pt x="2488486" y="1834485"/>
                </a:cubicBezTo>
                <a:cubicBezTo>
                  <a:pt x="2464059" y="1839586"/>
                  <a:pt x="2440160" y="1847622"/>
                  <a:pt x="2417367" y="1858304"/>
                </a:cubicBezTo>
                <a:cubicBezTo>
                  <a:pt x="2405586" y="1864127"/>
                  <a:pt x="2395344" y="1872211"/>
                  <a:pt x="2386256" y="1881161"/>
                </a:cubicBezTo>
                <a:cubicBezTo>
                  <a:pt x="2377168" y="1890160"/>
                  <a:pt x="2369137" y="1900073"/>
                  <a:pt x="2361780" y="1910370"/>
                </a:cubicBezTo>
                <a:cubicBezTo>
                  <a:pt x="2347066" y="1931014"/>
                  <a:pt x="2334852" y="1953197"/>
                  <a:pt x="2323792" y="1975958"/>
                </a:cubicBezTo>
                <a:cubicBezTo>
                  <a:pt x="2301817" y="2021528"/>
                  <a:pt x="2284458" y="2069311"/>
                  <a:pt x="2268878" y="2117865"/>
                </a:cubicBezTo>
                <a:cubicBezTo>
                  <a:pt x="2238055" y="2215115"/>
                  <a:pt x="2214686" y="2315735"/>
                  <a:pt x="2195259" y="2418183"/>
                </a:cubicBezTo>
                <a:cubicBezTo>
                  <a:pt x="2185690" y="2469430"/>
                  <a:pt x="2177131" y="2521208"/>
                  <a:pt x="2170399" y="2573611"/>
                </a:cubicBezTo>
                <a:cubicBezTo>
                  <a:pt x="2168716" y="2586699"/>
                  <a:pt x="2167177" y="2599836"/>
                  <a:pt x="2165831" y="2613021"/>
                </a:cubicBezTo>
                <a:cubicBezTo>
                  <a:pt x="2165157" y="2619614"/>
                  <a:pt x="2164532" y="2626206"/>
                  <a:pt x="2164003" y="2632847"/>
                </a:cubicBezTo>
                <a:cubicBezTo>
                  <a:pt x="2163618" y="2639535"/>
                  <a:pt x="2163138" y="2646224"/>
                  <a:pt x="2162897" y="2652913"/>
                </a:cubicBezTo>
                <a:cubicBezTo>
                  <a:pt x="2162801" y="2666386"/>
                  <a:pt x="2162801" y="2679908"/>
                  <a:pt x="2165157" y="2693478"/>
                </a:cubicBezTo>
                <a:cubicBezTo>
                  <a:pt x="2167369" y="2706952"/>
                  <a:pt x="2170928" y="2720762"/>
                  <a:pt x="2179246" y="2732792"/>
                </a:cubicBezTo>
                <a:lnTo>
                  <a:pt x="2182612" y="2737123"/>
                </a:lnTo>
                <a:lnTo>
                  <a:pt x="2184295" y="2739288"/>
                </a:lnTo>
                <a:lnTo>
                  <a:pt x="2186315" y="2741165"/>
                </a:lnTo>
                <a:lnTo>
                  <a:pt x="2190450" y="2744870"/>
                </a:lnTo>
                <a:cubicBezTo>
                  <a:pt x="2191845" y="2746073"/>
                  <a:pt x="2193528" y="2746939"/>
                  <a:pt x="2195067" y="2747950"/>
                </a:cubicBezTo>
                <a:cubicBezTo>
                  <a:pt x="2201270" y="2752088"/>
                  <a:pt x="2208531" y="2754061"/>
                  <a:pt x="2215647" y="2755457"/>
                </a:cubicBezTo>
                <a:cubicBezTo>
                  <a:pt x="2230025" y="2757382"/>
                  <a:pt x="2244114" y="2755024"/>
                  <a:pt x="2257338" y="2751318"/>
                </a:cubicBezTo>
                <a:cubicBezTo>
                  <a:pt x="2283833" y="2743571"/>
                  <a:pt x="2307972" y="2730675"/>
                  <a:pt x="2331294" y="2717009"/>
                </a:cubicBezTo>
                <a:cubicBezTo>
                  <a:pt x="2342930" y="2710128"/>
                  <a:pt x="2354375" y="2702861"/>
                  <a:pt x="2365723" y="2695595"/>
                </a:cubicBezTo>
                <a:cubicBezTo>
                  <a:pt x="2377216" y="2688329"/>
                  <a:pt x="2388083" y="2680967"/>
                  <a:pt x="2400105" y="2674807"/>
                </a:cubicBezTo>
                <a:cubicBezTo>
                  <a:pt x="2411934" y="2668455"/>
                  <a:pt x="2423667" y="2661815"/>
                  <a:pt x="2435640" y="2655607"/>
                </a:cubicBezTo>
                <a:cubicBezTo>
                  <a:pt x="2447758" y="2649689"/>
                  <a:pt x="2459875" y="2643770"/>
                  <a:pt x="2471993" y="2637851"/>
                </a:cubicBezTo>
                <a:cubicBezTo>
                  <a:pt x="2521040" y="2615138"/>
                  <a:pt x="2571915" y="2595890"/>
                  <a:pt x="2623848" y="2578856"/>
                </a:cubicBezTo>
                <a:cubicBezTo>
                  <a:pt x="2675781" y="2561821"/>
                  <a:pt x="2728723" y="2547000"/>
                  <a:pt x="2781954" y="2531939"/>
                </a:cubicBezTo>
                <a:cubicBezTo>
                  <a:pt x="2835137" y="2516829"/>
                  <a:pt x="2888704" y="2501382"/>
                  <a:pt x="2941359" y="2482231"/>
                </a:cubicBezTo>
                <a:lnTo>
                  <a:pt x="2951264" y="2478669"/>
                </a:lnTo>
                <a:lnTo>
                  <a:pt x="2961074" y="2474820"/>
                </a:lnTo>
                <a:lnTo>
                  <a:pt x="2980645" y="2467073"/>
                </a:lnTo>
                <a:cubicBezTo>
                  <a:pt x="2987232" y="2464618"/>
                  <a:pt x="2993580" y="2461635"/>
                  <a:pt x="3000023" y="2458796"/>
                </a:cubicBezTo>
                <a:lnTo>
                  <a:pt x="3019305" y="2450231"/>
                </a:lnTo>
                <a:cubicBezTo>
                  <a:pt x="3045176" y="2438249"/>
                  <a:pt x="3069123" y="2422225"/>
                  <a:pt x="3091050" y="2404180"/>
                </a:cubicBezTo>
                <a:cubicBezTo>
                  <a:pt x="3135096" y="2368041"/>
                  <a:pt x="3172459" y="2325263"/>
                  <a:pt x="3213957" y="2287199"/>
                </a:cubicBezTo>
                <a:cubicBezTo>
                  <a:pt x="3234634" y="2268096"/>
                  <a:pt x="3256176" y="2249810"/>
                  <a:pt x="3279546" y="2234171"/>
                </a:cubicBezTo>
                <a:cubicBezTo>
                  <a:pt x="3302868" y="2218484"/>
                  <a:pt x="3327488" y="2204866"/>
                  <a:pt x="3353742" y="2194183"/>
                </a:cubicBezTo>
                <a:cubicBezTo>
                  <a:pt x="3406012" y="2172433"/>
                  <a:pt x="3461551" y="2158093"/>
                  <a:pt x="3517715" y="2147074"/>
                </a:cubicBezTo>
                <a:cubicBezTo>
                  <a:pt x="3573927" y="2136102"/>
                  <a:pt x="3631150" y="2129317"/>
                  <a:pt x="3688708" y="2125083"/>
                </a:cubicBezTo>
                <a:cubicBezTo>
                  <a:pt x="3703134" y="2124168"/>
                  <a:pt x="3717511" y="2123158"/>
                  <a:pt x="3731889" y="2122773"/>
                </a:cubicBezTo>
                <a:cubicBezTo>
                  <a:pt x="3746267" y="2122340"/>
                  <a:pt x="3760741" y="2122292"/>
                  <a:pt x="3775214" y="2122436"/>
                </a:cubicBezTo>
                <a:cubicBezTo>
                  <a:pt x="3804162" y="2122677"/>
                  <a:pt x="3833254" y="2123783"/>
                  <a:pt x="3862587" y="2123591"/>
                </a:cubicBezTo>
                <a:cubicBezTo>
                  <a:pt x="3891823" y="2123206"/>
                  <a:pt x="3921636" y="2122003"/>
                  <a:pt x="3950776" y="2114256"/>
                </a:cubicBezTo>
                <a:cubicBezTo>
                  <a:pt x="3965298" y="2110502"/>
                  <a:pt x="3979531" y="2104728"/>
                  <a:pt x="3992562" y="2096740"/>
                </a:cubicBezTo>
                <a:cubicBezTo>
                  <a:pt x="3998958" y="2092553"/>
                  <a:pt x="4005209" y="2088126"/>
                  <a:pt x="4010835" y="2082881"/>
                </a:cubicBezTo>
                <a:cubicBezTo>
                  <a:pt x="4016365" y="2077588"/>
                  <a:pt x="4021702" y="2071910"/>
                  <a:pt x="4026126" y="2065702"/>
                </a:cubicBezTo>
                <a:cubicBezTo>
                  <a:pt x="4038677" y="2048860"/>
                  <a:pt x="4046803" y="2029660"/>
                  <a:pt x="4053343" y="2010412"/>
                </a:cubicBezTo>
                <a:cubicBezTo>
                  <a:pt x="4059834" y="1991068"/>
                  <a:pt x="4064595" y="1971387"/>
                  <a:pt x="4068826" y="1951706"/>
                </a:cubicBezTo>
                <a:cubicBezTo>
                  <a:pt x="4077145" y="1912343"/>
                  <a:pt x="4083252" y="1872789"/>
                  <a:pt x="4091090" y="1833907"/>
                </a:cubicBezTo>
                <a:cubicBezTo>
                  <a:pt x="4099121" y="1795075"/>
                  <a:pt x="4109122" y="1756386"/>
                  <a:pt x="4115662" y="1716927"/>
                </a:cubicBezTo>
                <a:cubicBezTo>
                  <a:pt x="4118932" y="1697198"/>
                  <a:pt x="4121384" y="1677228"/>
                  <a:pt x="4121865" y="1657114"/>
                </a:cubicBezTo>
                <a:cubicBezTo>
                  <a:pt x="4122394" y="1637000"/>
                  <a:pt x="4120855" y="1616597"/>
                  <a:pt x="4115662" y="1596819"/>
                </a:cubicBezTo>
                <a:cubicBezTo>
                  <a:pt x="4110421" y="1577042"/>
                  <a:pt x="4101910" y="1558756"/>
                  <a:pt x="4092773" y="1541096"/>
                </a:cubicBezTo>
                <a:cubicBezTo>
                  <a:pt x="4083493" y="1523436"/>
                  <a:pt x="4073202" y="1506498"/>
                  <a:pt x="4062720" y="1489800"/>
                </a:cubicBezTo>
                <a:cubicBezTo>
                  <a:pt x="4052093" y="1473199"/>
                  <a:pt x="4041899" y="1456645"/>
                  <a:pt x="4031704" y="1439803"/>
                </a:cubicBezTo>
                <a:cubicBezTo>
                  <a:pt x="4021558" y="1423058"/>
                  <a:pt x="4011412" y="1406312"/>
                  <a:pt x="4001314" y="1389566"/>
                </a:cubicBezTo>
                <a:cubicBezTo>
                  <a:pt x="3960970" y="1322679"/>
                  <a:pt x="3924088" y="1254300"/>
                  <a:pt x="3893025" y="1183612"/>
                </a:cubicBezTo>
                <a:cubicBezTo>
                  <a:pt x="3877445" y="1148291"/>
                  <a:pt x="3863019" y="1112586"/>
                  <a:pt x="3849699" y="1076544"/>
                </a:cubicBezTo>
                <a:cubicBezTo>
                  <a:pt x="3836332" y="1040502"/>
                  <a:pt x="3823877" y="1004172"/>
                  <a:pt x="3810317" y="968274"/>
                </a:cubicBezTo>
                <a:cubicBezTo>
                  <a:pt x="3796757" y="932376"/>
                  <a:pt x="3782043" y="896767"/>
                  <a:pt x="3763433" y="863083"/>
                </a:cubicBezTo>
                <a:cubicBezTo>
                  <a:pt x="3744872" y="829447"/>
                  <a:pt x="3721983" y="797784"/>
                  <a:pt x="3693276" y="771896"/>
                </a:cubicBezTo>
                <a:cubicBezTo>
                  <a:pt x="3689622" y="768768"/>
                  <a:pt x="3685823" y="765784"/>
                  <a:pt x="3682072" y="762753"/>
                </a:cubicBezTo>
                <a:cubicBezTo>
                  <a:pt x="3678274" y="759817"/>
                  <a:pt x="3674763" y="756449"/>
                  <a:pt x="3670676" y="753899"/>
                </a:cubicBezTo>
                <a:lnTo>
                  <a:pt x="3658655" y="745911"/>
                </a:lnTo>
                <a:cubicBezTo>
                  <a:pt x="3654663" y="743264"/>
                  <a:pt x="3650721" y="740473"/>
                  <a:pt x="3646104" y="738308"/>
                </a:cubicBezTo>
                <a:cubicBezTo>
                  <a:pt x="3637208" y="733929"/>
                  <a:pt x="3628072" y="730705"/>
                  <a:pt x="3618840" y="727962"/>
                </a:cubicBezTo>
                <a:cubicBezTo>
                  <a:pt x="3609607" y="725267"/>
                  <a:pt x="3600230" y="723102"/>
                  <a:pt x="3590805" y="721466"/>
                </a:cubicBezTo>
                <a:cubicBezTo>
                  <a:pt x="3571908" y="718338"/>
                  <a:pt x="3552529" y="716750"/>
                  <a:pt x="3533006" y="720166"/>
                </a:cubicBezTo>
                <a:cubicBezTo>
                  <a:pt x="3528150" y="721177"/>
                  <a:pt x="3523245" y="722284"/>
                  <a:pt x="3518532" y="724353"/>
                </a:cubicBezTo>
                <a:cubicBezTo>
                  <a:pt x="3513772" y="726229"/>
                  <a:pt x="3509156" y="728876"/>
                  <a:pt x="3505117" y="732485"/>
                </a:cubicBezTo>
                <a:cubicBezTo>
                  <a:pt x="3500981" y="735950"/>
                  <a:pt x="3497759" y="740714"/>
                  <a:pt x="3495740" y="745766"/>
                </a:cubicBezTo>
                <a:cubicBezTo>
                  <a:pt x="3493528" y="750867"/>
                  <a:pt x="3493143" y="756305"/>
                  <a:pt x="3492999" y="761502"/>
                </a:cubicBezTo>
                <a:cubicBezTo>
                  <a:pt x="3493191" y="764052"/>
                  <a:pt x="3493335" y="766650"/>
                  <a:pt x="3493720" y="769153"/>
                </a:cubicBezTo>
                <a:cubicBezTo>
                  <a:pt x="3494249" y="771607"/>
                  <a:pt x="3494634" y="774109"/>
                  <a:pt x="3495307" y="776515"/>
                </a:cubicBezTo>
                <a:lnTo>
                  <a:pt x="3497567" y="783541"/>
                </a:lnTo>
                <a:cubicBezTo>
                  <a:pt x="3498288" y="785899"/>
                  <a:pt x="3499058" y="788208"/>
                  <a:pt x="3500116" y="790374"/>
                </a:cubicBezTo>
                <a:cubicBezTo>
                  <a:pt x="3502039" y="794801"/>
                  <a:pt x="3503914" y="799324"/>
                  <a:pt x="3506367" y="803462"/>
                </a:cubicBezTo>
                <a:lnTo>
                  <a:pt x="3509781" y="809766"/>
                </a:lnTo>
                <a:lnTo>
                  <a:pt x="3513580" y="815829"/>
                </a:lnTo>
                <a:cubicBezTo>
                  <a:pt x="3523726" y="831901"/>
                  <a:pt x="3535315" y="846626"/>
                  <a:pt x="3546518" y="861351"/>
                </a:cubicBezTo>
                <a:cubicBezTo>
                  <a:pt x="3557771" y="876076"/>
                  <a:pt x="3568734" y="890800"/>
                  <a:pt x="3578207" y="906295"/>
                </a:cubicBezTo>
                <a:cubicBezTo>
                  <a:pt x="3587680" y="921790"/>
                  <a:pt x="3595614" y="938103"/>
                  <a:pt x="3600567" y="955281"/>
                </a:cubicBezTo>
                <a:cubicBezTo>
                  <a:pt x="3603115" y="963799"/>
                  <a:pt x="3604991" y="972653"/>
                  <a:pt x="3605905" y="981411"/>
                </a:cubicBezTo>
                <a:cubicBezTo>
                  <a:pt x="3606770" y="990169"/>
                  <a:pt x="3606914" y="999023"/>
                  <a:pt x="3605135" y="1007299"/>
                </a:cubicBezTo>
                <a:cubicBezTo>
                  <a:pt x="3603452" y="1015576"/>
                  <a:pt x="3599990" y="1023323"/>
                  <a:pt x="3594364" y="1029098"/>
                </a:cubicBezTo>
                <a:cubicBezTo>
                  <a:pt x="3588882" y="1035017"/>
                  <a:pt x="3581285" y="1038866"/>
                  <a:pt x="3573206" y="1041128"/>
                </a:cubicBezTo>
                <a:cubicBezTo>
                  <a:pt x="3556761" y="1045459"/>
                  <a:pt x="3538584" y="1043726"/>
                  <a:pt x="3521370" y="1040021"/>
                </a:cubicBezTo>
                <a:cubicBezTo>
                  <a:pt x="3504011" y="1036220"/>
                  <a:pt x="3487132" y="1030108"/>
                  <a:pt x="3470879" y="1022698"/>
                </a:cubicBezTo>
                <a:cubicBezTo>
                  <a:pt x="3438518" y="1007684"/>
                  <a:pt x="3408224" y="987618"/>
                  <a:pt x="3383219" y="962740"/>
                </a:cubicBezTo>
                <a:cubicBezTo>
                  <a:pt x="3370861" y="950229"/>
                  <a:pt x="3359609" y="936418"/>
                  <a:pt x="3352011" y="920972"/>
                </a:cubicBezTo>
                <a:cubicBezTo>
                  <a:pt x="3344221" y="905573"/>
                  <a:pt x="3340423" y="888539"/>
                  <a:pt x="3339365" y="871167"/>
                </a:cubicBezTo>
                <a:cubicBezTo>
                  <a:pt x="3338211" y="853748"/>
                  <a:pt x="3339557" y="835943"/>
                  <a:pt x="3339461" y="817898"/>
                </a:cubicBezTo>
                <a:cubicBezTo>
                  <a:pt x="3339461" y="799853"/>
                  <a:pt x="3337778" y="781375"/>
                  <a:pt x="3332392" y="763763"/>
                </a:cubicBezTo>
                <a:cubicBezTo>
                  <a:pt x="3329700" y="755005"/>
                  <a:pt x="3326285" y="746440"/>
                  <a:pt x="3322102" y="738308"/>
                </a:cubicBezTo>
                <a:cubicBezTo>
                  <a:pt x="3320323" y="734121"/>
                  <a:pt x="3317486" y="730320"/>
                  <a:pt x="3315033" y="726422"/>
                </a:cubicBezTo>
                <a:cubicBezTo>
                  <a:pt x="3312629" y="722380"/>
                  <a:pt x="3309648" y="718963"/>
                  <a:pt x="3306811" y="715451"/>
                </a:cubicBezTo>
                <a:cubicBezTo>
                  <a:pt x="3301281" y="708184"/>
                  <a:pt x="3294837" y="702025"/>
                  <a:pt x="3288779" y="695384"/>
                </a:cubicBezTo>
                <a:cubicBezTo>
                  <a:pt x="3282383" y="689225"/>
                  <a:pt x="3276084" y="682873"/>
                  <a:pt x="3269448" y="676954"/>
                </a:cubicBezTo>
                <a:cubicBezTo>
                  <a:pt x="3243193" y="653087"/>
                  <a:pt x="3215736" y="631096"/>
                  <a:pt x="3188183" y="609538"/>
                </a:cubicBezTo>
                <a:cubicBezTo>
                  <a:pt x="3179576" y="602849"/>
                  <a:pt x="3170968" y="596305"/>
                  <a:pt x="3162361" y="589664"/>
                </a:cubicBezTo>
                <a:cubicBezTo>
                  <a:pt x="3172122" y="596305"/>
                  <a:pt x="3181980" y="602801"/>
                  <a:pt x="3191934" y="609201"/>
                </a:cubicBezTo>
                <a:cubicBezTo>
                  <a:pt x="3233239" y="635234"/>
                  <a:pt x="3276276" y="659631"/>
                  <a:pt x="3323064" y="675992"/>
                </a:cubicBezTo>
                <a:cubicBezTo>
                  <a:pt x="3346385" y="684172"/>
                  <a:pt x="3370476" y="690476"/>
                  <a:pt x="3395096" y="694085"/>
                </a:cubicBezTo>
                <a:cubicBezTo>
                  <a:pt x="3407454" y="695721"/>
                  <a:pt x="3419860" y="696780"/>
                  <a:pt x="3432315" y="696972"/>
                </a:cubicBezTo>
                <a:cubicBezTo>
                  <a:pt x="3444769" y="697213"/>
                  <a:pt x="3457223" y="696539"/>
                  <a:pt x="3469581" y="695481"/>
                </a:cubicBezTo>
                <a:lnTo>
                  <a:pt x="3488046" y="693748"/>
                </a:lnTo>
                <a:lnTo>
                  <a:pt x="3497230" y="692882"/>
                </a:lnTo>
                <a:cubicBezTo>
                  <a:pt x="3500356" y="692497"/>
                  <a:pt x="3503578" y="692160"/>
                  <a:pt x="3506703" y="691631"/>
                </a:cubicBezTo>
                <a:cubicBezTo>
                  <a:pt x="3519254" y="689466"/>
                  <a:pt x="3531179" y="685327"/>
                  <a:pt x="3542864" y="682007"/>
                </a:cubicBezTo>
                <a:cubicBezTo>
                  <a:pt x="3554549" y="678542"/>
                  <a:pt x="3566330" y="676521"/>
                  <a:pt x="3578111" y="677339"/>
                </a:cubicBezTo>
                <a:cubicBezTo>
                  <a:pt x="3589892" y="678109"/>
                  <a:pt x="3601336" y="681959"/>
                  <a:pt x="3612156" y="687156"/>
                </a:cubicBezTo>
                <a:cubicBezTo>
                  <a:pt x="3623071" y="692545"/>
                  <a:pt x="3633554" y="698801"/>
                  <a:pt x="3643604" y="705778"/>
                </a:cubicBezTo>
                <a:cubicBezTo>
                  <a:pt x="3653461" y="712996"/>
                  <a:pt x="3663126" y="720551"/>
                  <a:pt x="3672023" y="729020"/>
                </a:cubicBezTo>
                <a:cubicBezTo>
                  <a:pt x="3690007" y="745718"/>
                  <a:pt x="3705827" y="764822"/>
                  <a:pt x="3720252" y="784888"/>
                </a:cubicBezTo>
                <a:cubicBezTo>
                  <a:pt x="3748912" y="825309"/>
                  <a:pt x="3771704" y="869868"/>
                  <a:pt x="3792189" y="915486"/>
                </a:cubicBezTo>
                <a:cubicBezTo>
                  <a:pt x="3812577" y="961200"/>
                  <a:pt x="3830561" y="1008165"/>
                  <a:pt x="3848593" y="1055275"/>
                </a:cubicBezTo>
                <a:cubicBezTo>
                  <a:pt x="3866626" y="1102433"/>
                  <a:pt x="3885187" y="1149639"/>
                  <a:pt x="3905768" y="1196123"/>
                </a:cubicBezTo>
                <a:cubicBezTo>
                  <a:pt x="3926348" y="1242607"/>
                  <a:pt x="3948275" y="1288754"/>
                  <a:pt x="3973617" y="1333265"/>
                </a:cubicBezTo>
                <a:cubicBezTo>
                  <a:pt x="3999246" y="1377488"/>
                  <a:pt x="4027184" y="1421470"/>
                  <a:pt x="4065893" y="1456790"/>
                </a:cubicBezTo>
                <a:cubicBezTo>
                  <a:pt x="4071038" y="1460880"/>
                  <a:pt x="4076039" y="1465066"/>
                  <a:pt x="4081281" y="1469060"/>
                </a:cubicBezTo>
                <a:cubicBezTo>
                  <a:pt x="4084214" y="1470793"/>
                  <a:pt x="4086955" y="1472814"/>
                  <a:pt x="4090032" y="1474257"/>
                </a:cubicBezTo>
                <a:cubicBezTo>
                  <a:pt x="4093158" y="1475605"/>
                  <a:pt x="4096139" y="1477337"/>
                  <a:pt x="4099409" y="1478203"/>
                </a:cubicBezTo>
                <a:cubicBezTo>
                  <a:pt x="4112296" y="1482727"/>
                  <a:pt x="4125856" y="1483304"/>
                  <a:pt x="4138503" y="1483881"/>
                </a:cubicBezTo>
                <a:cubicBezTo>
                  <a:pt x="4151197" y="1484411"/>
                  <a:pt x="4163604" y="1485951"/>
                  <a:pt x="4173173" y="1492784"/>
                </a:cubicBezTo>
                <a:cubicBezTo>
                  <a:pt x="4182550" y="1499713"/>
                  <a:pt x="4189185" y="1510733"/>
                  <a:pt x="4192744" y="1522185"/>
                </a:cubicBezTo>
                <a:cubicBezTo>
                  <a:pt x="4196302" y="1533782"/>
                  <a:pt x="4196398" y="1546389"/>
                  <a:pt x="4194571" y="1558708"/>
                </a:cubicBezTo>
                <a:cubicBezTo>
                  <a:pt x="4192744" y="1571075"/>
                  <a:pt x="4188993" y="1583250"/>
                  <a:pt x="4184473" y="1595183"/>
                </a:cubicBezTo>
                <a:cubicBezTo>
                  <a:pt x="4179953" y="1607117"/>
                  <a:pt x="4174519" y="1618762"/>
                  <a:pt x="4169374" y="1630792"/>
                </a:cubicBezTo>
                <a:cubicBezTo>
                  <a:pt x="4168076" y="1633776"/>
                  <a:pt x="4166825" y="1636855"/>
                  <a:pt x="4165671" y="1640031"/>
                </a:cubicBezTo>
                <a:cubicBezTo>
                  <a:pt x="4164565" y="1643207"/>
                  <a:pt x="4163507" y="1646864"/>
                  <a:pt x="4162979" y="1649896"/>
                </a:cubicBezTo>
                <a:lnTo>
                  <a:pt x="4158939" y="1668903"/>
                </a:lnTo>
                <a:cubicBezTo>
                  <a:pt x="4148024" y="1719574"/>
                  <a:pt x="4136724" y="1770389"/>
                  <a:pt x="4126193" y="1821492"/>
                </a:cubicBezTo>
                <a:cubicBezTo>
                  <a:pt x="4120952" y="1847092"/>
                  <a:pt x="4115662" y="1872596"/>
                  <a:pt x="4110998" y="1898485"/>
                </a:cubicBezTo>
                <a:cubicBezTo>
                  <a:pt x="4106430" y="1924325"/>
                  <a:pt x="4102919" y="1950310"/>
                  <a:pt x="4098928" y="1976199"/>
                </a:cubicBezTo>
                <a:cubicBezTo>
                  <a:pt x="4094889" y="2002039"/>
                  <a:pt x="4090513" y="2027832"/>
                  <a:pt x="4083829" y="2052950"/>
                </a:cubicBezTo>
                <a:cubicBezTo>
                  <a:pt x="4082243" y="2059254"/>
                  <a:pt x="4080127" y="2065365"/>
                  <a:pt x="4078251" y="2071621"/>
                </a:cubicBezTo>
                <a:lnTo>
                  <a:pt x="4074885" y="2080716"/>
                </a:lnTo>
                <a:cubicBezTo>
                  <a:pt x="4073828" y="2083796"/>
                  <a:pt x="4072625" y="2086779"/>
                  <a:pt x="4071231" y="2089666"/>
                </a:cubicBezTo>
                <a:lnTo>
                  <a:pt x="4067240" y="2098472"/>
                </a:lnTo>
                <a:lnTo>
                  <a:pt x="4062575" y="2106845"/>
                </a:lnTo>
                <a:cubicBezTo>
                  <a:pt x="4061806" y="2108241"/>
                  <a:pt x="4061037" y="2109636"/>
                  <a:pt x="4060219" y="2111032"/>
                </a:cubicBezTo>
                <a:lnTo>
                  <a:pt x="4057478" y="2114929"/>
                </a:lnTo>
                <a:cubicBezTo>
                  <a:pt x="4055603" y="2117480"/>
                  <a:pt x="4053968" y="2120271"/>
                  <a:pt x="4051900" y="2122677"/>
                </a:cubicBezTo>
                <a:lnTo>
                  <a:pt x="4045601" y="2129750"/>
                </a:lnTo>
                <a:cubicBezTo>
                  <a:pt x="4043581" y="2132204"/>
                  <a:pt x="4040889" y="2133985"/>
                  <a:pt x="4038581" y="2136150"/>
                </a:cubicBezTo>
                <a:cubicBezTo>
                  <a:pt x="4034012" y="2140577"/>
                  <a:pt x="4028483" y="2143801"/>
                  <a:pt x="4023193" y="2147410"/>
                </a:cubicBezTo>
                <a:cubicBezTo>
                  <a:pt x="4020597" y="2149287"/>
                  <a:pt x="4017567" y="2150490"/>
                  <a:pt x="4014778" y="2152030"/>
                </a:cubicBezTo>
                <a:cubicBezTo>
                  <a:pt x="4011893" y="2153425"/>
                  <a:pt x="4009200" y="2155158"/>
                  <a:pt x="4006171" y="2156313"/>
                </a:cubicBezTo>
                <a:cubicBezTo>
                  <a:pt x="4000160" y="2158622"/>
                  <a:pt x="3994342" y="2161510"/>
                  <a:pt x="3988090" y="2163194"/>
                </a:cubicBezTo>
                <a:cubicBezTo>
                  <a:pt x="3963422" y="2171278"/>
                  <a:pt x="3937456" y="2175464"/>
                  <a:pt x="3911297" y="2178159"/>
                </a:cubicBezTo>
                <a:cubicBezTo>
                  <a:pt x="3858932" y="2183308"/>
                  <a:pt x="3805845" y="2182731"/>
                  <a:pt x="3752662" y="2182490"/>
                </a:cubicBezTo>
                <a:cubicBezTo>
                  <a:pt x="3699479" y="2182105"/>
                  <a:pt x="3646008" y="2181624"/>
                  <a:pt x="3592440" y="2184319"/>
                </a:cubicBezTo>
                <a:cubicBezTo>
                  <a:pt x="3538969" y="2187350"/>
                  <a:pt x="3484969" y="2192932"/>
                  <a:pt x="3432747" y="2207946"/>
                </a:cubicBezTo>
                <a:cubicBezTo>
                  <a:pt x="3406685" y="2215404"/>
                  <a:pt x="3381103" y="2225124"/>
                  <a:pt x="3357060" y="2238117"/>
                </a:cubicBezTo>
                <a:cubicBezTo>
                  <a:pt x="3332873" y="2250965"/>
                  <a:pt x="3311090" y="2267663"/>
                  <a:pt x="3290269" y="2285082"/>
                </a:cubicBezTo>
                <a:cubicBezTo>
                  <a:pt x="3269448" y="2302598"/>
                  <a:pt x="3249925" y="2321557"/>
                  <a:pt x="3230979" y="2340998"/>
                </a:cubicBezTo>
                <a:cubicBezTo>
                  <a:pt x="3211985" y="2360390"/>
                  <a:pt x="3193424" y="2380216"/>
                  <a:pt x="3174671" y="2399753"/>
                </a:cubicBezTo>
                <a:cubicBezTo>
                  <a:pt x="3155821" y="2419193"/>
                  <a:pt x="3136731" y="2438441"/>
                  <a:pt x="3115958" y="2455524"/>
                </a:cubicBezTo>
                <a:cubicBezTo>
                  <a:pt x="3110861" y="2459951"/>
                  <a:pt x="3105427" y="2463800"/>
                  <a:pt x="3099994" y="2467698"/>
                </a:cubicBezTo>
                <a:cubicBezTo>
                  <a:pt x="3094704" y="2471836"/>
                  <a:pt x="3088789" y="2474868"/>
                  <a:pt x="3083115" y="2478333"/>
                </a:cubicBezTo>
                <a:cubicBezTo>
                  <a:pt x="3080326" y="2480161"/>
                  <a:pt x="3077201" y="2481461"/>
                  <a:pt x="3074172" y="2482904"/>
                </a:cubicBezTo>
                <a:lnTo>
                  <a:pt x="3065035" y="2487187"/>
                </a:lnTo>
                <a:lnTo>
                  <a:pt x="3055899" y="2491470"/>
                </a:lnTo>
                <a:cubicBezTo>
                  <a:pt x="3052821" y="2492817"/>
                  <a:pt x="3049600" y="2493924"/>
                  <a:pt x="3046474" y="2495175"/>
                </a:cubicBezTo>
                <a:cubicBezTo>
                  <a:pt x="2996176" y="2515096"/>
                  <a:pt x="2942801" y="2527271"/>
                  <a:pt x="2889378" y="2538820"/>
                </a:cubicBezTo>
                <a:cubicBezTo>
                  <a:pt x="2835858" y="2550320"/>
                  <a:pt x="2781906" y="2560955"/>
                  <a:pt x="2728386" y="2574525"/>
                </a:cubicBezTo>
                <a:cubicBezTo>
                  <a:pt x="2674915" y="2588143"/>
                  <a:pt x="2621780" y="2604889"/>
                  <a:pt x="2571338" y="2628660"/>
                </a:cubicBezTo>
                <a:cubicBezTo>
                  <a:pt x="2565087" y="2631692"/>
                  <a:pt x="2558643" y="2634483"/>
                  <a:pt x="2552489" y="2637707"/>
                </a:cubicBezTo>
                <a:lnTo>
                  <a:pt x="2534120" y="2647620"/>
                </a:lnTo>
                <a:cubicBezTo>
                  <a:pt x="2521714" y="2653971"/>
                  <a:pt x="2509885" y="2661382"/>
                  <a:pt x="2497959" y="2668552"/>
                </a:cubicBezTo>
                <a:cubicBezTo>
                  <a:pt x="2494978" y="2670380"/>
                  <a:pt x="2491948" y="2672064"/>
                  <a:pt x="2489015" y="2673989"/>
                </a:cubicBezTo>
                <a:lnTo>
                  <a:pt x="2480312" y="2679812"/>
                </a:lnTo>
                <a:lnTo>
                  <a:pt x="2462953" y="2691505"/>
                </a:lnTo>
                <a:cubicBezTo>
                  <a:pt x="2451845" y="2699974"/>
                  <a:pt x="2440304" y="2707962"/>
                  <a:pt x="2429677" y="2717057"/>
                </a:cubicBezTo>
                <a:cubicBezTo>
                  <a:pt x="2385775" y="2752088"/>
                  <a:pt x="2349470" y="2795108"/>
                  <a:pt x="2308742" y="2832690"/>
                </a:cubicBezTo>
                <a:cubicBezTo>
                  <a:pt x="2288497" y="2851697"/>
                  <a:pt x="2266618" y="2868780"/>
                  <a:pt x="2243633" y="2884274"/>
                </a:cubicBezTo>
                <a:cubicBezTo>
                  <a:pt x="2237815" y="2888076"/>
                  <a:pt x="2232141" y="2892022"/>
                  <a:pt x="2226226" y="2895679"/>
                </a:cubicBezTo>
                <a:lnTo>
                  <a:pt x="2208242" y="2906217"/>
                </a:lnTo>
                <a:cubicBezTo>
                  <a:pt x="2196317" y="2913435"/>
                  <a:pt x="2183863" y="2919498"/>
                  <a:pt x="2171264" y="2925080"/>
                </a:cubicBezTo>
                <a:cubicBezTo>
                  <a:pt x="2158618" y="2930614"/>
                  <a:pt x="2145490" y="2934945"/>
                  <a:pt x="2132170" y="2937447"/>
                </a:cubicBezTo>
                <a:cubicBezTo>
                  <a:pt x="2118947" y="2939805"/>
                  <a:pt x="2105098" y="2940238"/>
                  <a:pt x="2092884" y="2935667"/>
                </a:cubicBezTo>
                <a:cubicBezTo>
                  <a:pt x="2080526" y="2931529"/>
                  <a:pt x="2070765" y="2922001"/>
                  <a:pt x="2064177" y="2910548"/>
                </a:cubicBezTo>
                <a:cubicBezTo>
                  <a:pt x="2057685" y="2898903"/>
                  <a:pt x="2053887" y="2885622"/>
                  <a:pt x="2051579" y="2872100"/>
                </a:cubicBezTo>
                <a:cubicBezTo>
                  <a:pt x="2047058" y="2844864"/>
                  <a:pt x="2047876" y="2816666"/>
                  <a:pt x="2050040" y="2788804"/>
                </a:cubicBezTo>
                <a:cubicBezTo>
                  <a:pt x="2052396" y="2760846"/>
                  <a:pt x="2056531" y="2732985"/>
                  <a:pt x="2061677" y="2705267"/>
                </a:cubicBezTo>
                <a:cubicBezTo>
                  <a:pt x="2071967" y="2649785"/>
                  <a:pt x="2085816" y="2594832"/>
                  <a:pt x="2100915" y="2540119"/>
                </a:cubicBezTo>
                <a:cubicBezTo>
                  <a:pt x="2115917" y="2485310"/>
                  <a:pt x="2132940" y="2431079"/>
                  <a:pt x="2148520" y="2375933"/>
                </a:cubicBezTo>
                <a:cubicBezTo>
                  <a:pt x="2150443" y="2369004"/>
                  <a:pt x="2152270" y="2362074"/>
                  <a:pt x="2153905" y="2355001"/>
                </a:cubicBezTo>
                <a:lnTo>
                  <a:pt x="2158377" y="2333972"/>
                </a:lnTo>
                <a:lnTo>
                  <a:pt x="2166985" y="2291915"/>
                </a:lnTo>
                <a:cubicBezTo>
                  <a:pt x="2172466" y="2263813"/>
                  <a:pt x="2177948" y="2235711"/>
                  <a:pt x="2183430" y="2207512"/>
                </a:cubicBezTo>
                <a:cubicBezTo>
                  <a:pt x="2194345" y="2151260"/>
                  <a:pt x="2205117" y="2094815"/>
                  <a:pt x="2219831" y="2039332"/>
                </a:cubicBezTo>
                <a:cubicBezTo>
                  <a:pt x="2227236" y="2011615"/>
                  <a:pt x="2235699" y="1984187"/>
                  <a:pt x="2246182" y="1957576"/>
                </a:cubicBezTo>
                <a:cubicBezTo>
                  <a:pt x="2256665" y="1930966"/>
                  <a:pt x="2269504" y="1905270"/>
                  <a:pt x="2285708" y="1881883"/>
                </a:cubicBezTo>
                <a:cubicBezTo>
                  <a:pt x="2293883" y="1870238"/>
                  <a:pt x="2303019" y="1859315"/>
                  <a:pt x="2312925" y="1849210"/>
                </a:cubicBezTo>
                <a:cubicBezTo>
                  <a:pt x="2323119" y="1839345"/>
                  <a:pt x="2333938" y="1830154"/>
                  <a:pt x="2345816" y="1822407"/>
                </a:cubicBezTo>
                <a:cubicBezTo>
                  <a:pt x="2357789" y="1814852"/>
                  <a:pt x="2370147" y="1807826"/>
                  <a:pt x="2383515" y="1802822"/>
                </a:cubicBezTo>
                <a:lnTo>
                  <a:pt x="2393421" y="1798780"/>
                </a:lnTo>
                <a:lnTo>
                  <a:pt x="2403615" y="1795459"/>
                </a:lnTo>
                <a:lnTo>
                  <a:pt x="2413809" y="1792139"/>
                </a:lnTo>
                <a:lnTo>
                  <a:pt x="2424195" y="1789541"/>
                </a:lnTo>
                <a:cubicBezTo>
                  <a:pt x="2479879" y="1775634"/>
                  <a:pt x="2538544" y="1777559"/>
                  <a:pt x="2595718" y="1785739"/>
                </a:cubicBezTo>
                <a:cubicBezTo>
                  <a:pt x="2653132" y="1793968"/>
                  <a:pt x="2709681" y="1808452"/>
                  <a:pt x="2766519" y="1822262"/>
                </a:cubicBezTo>
                <a:cubicBezTo>
                  <a:pt x="2794985" y="1829144"/>
                  <a:pt x="2823548" y="1835929"/>
                  <a:pt x="2852496" y="1841462"/>
                </a:cubicBezTo>
                <a:cubicBezTo>
                  <a:pt x="2881443" y="1846900"/>
                  <a:pt x="2910776" y="1851423"/>
                  <a:pt x="2940541" y="1852097"/>
                </a:cubicBezTo>
                <a:cubicBezTo>
                  <a:pt x="2947994" y="1852097"/>
                  <a:pt x="2955448" y="1852434"/>
                  <a:pt x="2962901" y="1851904"/>
                </a:cubicBezTo>
                <a:cubicBezTo>
                  <a:pt x="2966652" y="1851712"/>
                  <a:pt x="2970354" y="1851616"/>
                  <a:pt x="2974105" y="1851279"/>
                </a:cubicBezTo>
                <a:lnTo>
                  <a:pt x="2985261" y="1849980"/>
                </a:lnTo>
                <a:lnTo>
                  <a:pt x="2990839" y="1849306"/>
                </a:lnTo>
                <a:lnTo>
                  <a:pt x="2996369" y="1848247"/>
                </a:lnTo>
                <a:lnTo>
                  <a:pt x="3007428" y="1846082"/>
                </a:lnTo>
                <a:lnTo>
                  <a:pt x="3018296" y="1843002"/>
                </a:lnTo>
                <a:lnTo>
                  <a:pt x="3023730" y="1841462"/>
                </a:lnTo>
                <a:lnTo>
                  <a:pt x="3029019" y="1839489"/>
                </a:lnTo>
                <a:cubicBezTo>
                  <a:pt x="3057293" y="1829240"/>
                  <a:pt x="3083452" y="1812542"/>
                  <a:pt x="3104225" y="1790551"/>
                </a:cubicBezTo>
                <a:cubicBezTo>
                  <a:pt x="3125094" y="1768608"/>
                  <a:pt x="3140578" y="1742142"/>
                  <a:pt x="3151782" y="1714377"/>
                </a:cubicBezTo>
                <a:cubicBezTo>
                  <a:pt x="3163082" y="1686515"/>
                  <a:pt x="3170199" y="1657258"/>
                  <a:pt x="3174911" y="1627761"/>
                </a:cubicBezTo>
                <a:cubicBezTo>
                  <a:pt x="3184336" y="1568669"/>
                  <a:pt x="3183807" y="1508519"/>
                  <a:pt x="3180826" y="1449139"/>
                </a:cubicBezTo>
                <a:close/>
                <a:moveTo>
                  <a:pt x="1552688" y="306814"/>
                </a:moveTo>
                <a:cubicBezTo>
                  <a:pt x="1553842" y="310327"/>
                  <a:pt x="1556246" y="312877"/>
                  <a:pt x="1558603" y="314754"/>
                </a:cubicBezTo>
                <a:cubicBezTo>
                  <a:pt x="1563459" y="318459"/>
                  <a:pt x="1568605" y="320143"/>
                  <a:pt x="1573606" y="321587"/>
                </a:cubicBezTo>
                <a:cubicBezTo>
                  <a:pt x="1578606" y="322934"/>
                  <a:pt x="1583607" y="323801"/>
                  <a:pt x="1588608" y="324378"/>
                </a:cubicBezTo>
                <a:cubicBezTo>
                  <a:pt x="1608516" y="326736"/>
                  <a:pt x="1628135" y="326158"/>
                  <a:pt x="1647706" y="325244"/>
                </a:cubicBezTo>
                <a:cubicBezTo>
                  <a:pt x="1667277" y="324234"/>
                  <a:pt x="1686703" y="322405"/>
                  <a:pt x="1706130" y="320240"/>
                </a:cubicBezTo>
                <a:cubicBezTo>
                  <a:pt x="1783740" y="311241"/>
                  <a:pt x="1860630" y="297190"/>
                  <a:pt x="1937086" y="280589"/>
                </a:cubicBezTo>
                <a:cubicBezTo>
                  <a:pt x="1956176" y="276354"/>
                  <a:pt x="1975266" y="271975"/>
                  <a:pt x="1994308" y="267211"/>
                </a:cubicBezTo>
                <a:cubicBezTo>
                  <a:pt x="2003829" y="264805"/>
                  <a:pt x="2013302" y="262351"/>
                  <a:pt x="2022775" y="259753"/>
                </a:cubicBezTo>
                <a:cubicBezTo>
                  <a:pt x="2032248" y="257106"/>
                  <a:pt x="2041721" y="254604"/>
                  <a:pt x="2051146" y="251043"/>
                </a:cubicBezTo>
                <a:cubicBezTo>
                  <a:pt x="2070043" y="244595"/>
                  <a:pt x="2088172" y="235452"/>
                  <a:pt x="2104617" y="224144"/>
                </a:cubicBezTo>
                <a:cubicBezTo>
                  <a:pt x="2121159" y="212980"/>
                  <a:pt x="2136065" y="199891"/>
                  <a:pt x="2151453" y="188198"/>
                </a:cubicBezTo>
                <a:cubicBezTo>
                  <a:pt x="2166792" y="176457"/>
                  <a:pt x="2183189" y="166544"/>
                  <a:pt x="2201270" y="161010"/>
                </a:cubicBezTo>
                <a:lnTo>
                  <a:pt x="2208050" y="158941"/>
                </a:lnTo>
                <a:cubicBezTo>
                  <a:pt x="2210310" y="158219"/>
                  <a:pt x="2212666" y="157979"/>
                  <a:pt x="2215022" y="157497"/>
                </a:cubicBezTo>
                <a:cubicBezTo>
                  <a:pt x="2219687" y="156727"/>
                  <a:pt x="2224303" y="155476"/>
                  <a:pt x="2229063" y="155332"/>
                </a:cubicBezTo>
                <a:cubicBezTo>
                  <a:pt x="2233824" y="154995"/>
                  <a:pt x="2238536" y="154466"/>
                  <a:pt x="2243345" y="154321"/>
                </a:cubicBezTo>
                <a:lnTo>
                  <a:pt x="2257722" y="154562"/>
                </a:lnTo>
                <a:cubicBezTo>
                  <a:pt x="2267291" y="154803"/>
                  <a:pt x="2276813" y="155957"/>
                  <a:pt x="2285901" y="158171"/>
                </a:cubicBezTo>
                <a:cubicBezTo>
                  <a:pt x="2294941" y="160336"/>
                  <a:pt x="2303644" y="163897"/>
                  <a:pt x="2310088" y="169624"/>
                </a:cubicBezTo>
                <a:cubicBezTo>
                  <a:pt x="2316628" y="175254"/>
                  <a:pt x="2320138" y="183290"/>
                  <a:pt x="2320715" y="192192"/>
                </a:cubicBezTo>
                <a:cubicBezTo>
                  <a:pt x="2321340" y="201094"/>
                  <a:pt x="2319513" y="210429"/>
                  <a:pt x="2316964" y="219572"/>
                </a:cubicBezTo>
                <a:cubicBezTo>
                  <a:pt x="2304847" y="256480"/>
                  <a:pt x="2291767" y="293822"/>
                  <a:pt x="2270369" y="326110"/>
                </a:cubicBezTo>
                <a:cubicBezTo>
                  <a:pt x="2260127" y="342567"/>
                  <a:pt x="2247288" y="357148"/>
                  <a:pt x="2233439" y="370621"/>
                </a:cubicBezTo>
                <a:lnTo>
                  <a:pt x="2222668" y="380342"/>
                </a:lnTo>
                <a:cubicBezTo>
                  <a:pt x="2219110" y="383614"/>
                  <a:pt x="2215022" y="386309"/>
                  <a:pt x="2211272" y="389292"/>
                </a:cubicBezTo>
                <a:cubicBezTo>
                  <a:pt x="2203770" y="395451"/>
                  <a:pt x="2195403" y="400456"/>
                  <a:pt x="2187277" y="405749"/>
                </a:cubicBezTo>
                <a:cubicBezTo>
                  <a:pt x="2154194" y="426248"/>
                  <a:pt x="2117456" y="440781"/>
                  <a:pt x="2079949" y="452233"/>
                </a:cubicBezTo>
                <a:cubicBezTo>
                  <a:pt x="2070620" y="455265"/>
                  <a:pt x="2061051" y="457575"/>
                  <a:pt x="2051579" y="460269"/>
                </a:cubicBezTo>
                <a:cubicBezTo>
                  <a:pt x="2042154" y="463012"/>
                  <a:pt x="2032537" y="465130"/>
                  <a:pt x="2022919" y="467343"/>
                </a:cubicBezTo>
                <a:cubicBezTo>
                  <a:pt x="2003733" y="472059"/>
                  <a:pt x="1984595" y="475668"/>
                  <a:pt x="1965024" y="478218"/>
                </a:cubicBezTo>
                <a:cubicBezTo>
                  <a:pt x="1886836" y="488275"/>
                  <a:pt x="1807014" y="490681"/>
                  <a:pt x="1728298" y="506128"/>
                </a:cubicBezTo>
                <a:cubicBezTo>
                  <a:pt x="1718488" y="508197"/>
                  <a:pt x="1708679" y="510218"/>
                  <a:pt x="1698965" y="512865"/>
                </a:cubicBezTo>
                <a:cubicBezTo>
                  <a:pt x="1689204" y="515126"/>
                  <a:pt x="1679442" y="518302"/>
                  <a:pt x="1669969" y="521719"/>
                </a:cubicBezTo>
                <a:cubicBezTo>
                  <a:pt x="1651024" y="528648"/>
                  <a:pt x="1632703" y="536877"/>
                  <a:pt x="1614719" y="545635"/>
                </a:cubicBezTo>
                <a:cubicBezTo>
                  <a:pt x="1578703" y="563198"/>
                  <a:pt x="1543889" y="582783"/>
                  <a:pt x="1509074" y="602368"/>
                </a:cubicBezTo>
                <a:cubicBezTo>
                  <a:pt x="1474308" y="622001"/>
                  <a:pt x="1439735" y="641923"/>
                  <a:pt x="1404584" y="660738"/>
                </a:cubicBezTo>
                <a:cubicBezTo>
                  <a:pt x="1387033" y="670121"/>
                  <a:pt x="1369337" y="679264"/>
                  <a:pt x="1351353" y="687733"/>
                </a:cubicBezTo>
                <a:cubicBezTo>
                  <a:pt x="1333369" y="696202"/>
                  <a:pt x="1315144" y="704094"/>
                  <a:pt x="1296439" y="710205"/>
                </a:cubicBezTo>
                <a:cubicBezTo>
                  <a:pt x="1287110" y="713237"/>
                  <a:pt x="1277637" y="715836"/>
                  <a:pt x="1268116" y="717472"/>
                </a:cubicBezTo>
                <a:cubicBezTo>
                  <a:pt x="1258643" y="719060"/>
                  <a:pt x="1248978" y="719781"/>
                  <a:pt x="1239938" y="718242"/>
                </a:cubicBezTo>
                <a:cubicBezTo>
                  <a:pt x="1235610" y="717472"/>
                  <a:pt x="1230898" y="716028"/>
                  <a:pt x="1227724" y="714055"/>
                </a:cubicBezTo>
                <a:cubicBezTo>
                  <a:pt x="1224791" y="712275"/>
                  <a:pt x="1223252" y="709291"/>
                  <a:pt x="1222771" y="705297"/>
                </a:cubicBezTo>
                <a:cubicBezTo>
                  <a:pt x="1222002" y="697117"/>
                  <a:pt x="1225080" y="687493"/>
                  <a:pt x="1228542" y="678591"/>
                </a:cubicBezTo>
                <a:cubicBezTo>
                  <a:pt x="1235803" y="660497"/>
                  <a:pt x="1245757" y="643126"/>
                  <a:pt x="1255758" y="625851"/>
                </a:cubicBezTo>
                <a:cubicBezTo>
                  <a:pt x="1265856" y="608576"/>
                  <a:pt x="1276435" y="591541"/>
                  <a:pt x="1286581" y="574025"/>
                </a:cubicBezTo>
                <a:cubicBezTo>
                  <a:pt x="1291630" y="565268"/>
                  <a:pt x="1296583" y="556462"/>
                  <a:pt x="1301199" y="547319"/>
                </a:cubicBezTo>
                <a:cubicBezTo>
                  <a:pt x="1305671" y="538128"/>
                  <a:pt x="1310143" y="528744"/>
                  <a:pt x="1312596" y="518158"/>
                </a:cubicBezTo>
                <a:cubicBezTo>
                  <a:pt x="1314760" y="507908"/>
                  <a:pt x="1316058" y="496889"/>
                  <a:pt x="1313317" y="485917"/>
                </a:cubicBezTo>
                <a:cubicBezTo>
                  <a:pt x="1311971" y="480480"/>
                  <a:pt x="1309614" y="475187"/>
                  <a:pt x="1306489" y="470567"/>
                </a:cubicBezTo>
                <a:cubicBezTo>
                  <a:pt x="1303363" y="465948"/>
                  <a:pt x="1299564" y="461954"/>
                  <a:pt x="1295718" y="458393"/>
                </a:cubicBezTo>
                <a:cubicBezTo>
                  <a:pt x="1288072" y="451319"/>
                  <a:pt x="1279897" y="445545"/>
                  <a:pt x="1276195" y="438086"/>
                </a:cubicBezTo>
                <a:cubicBezTo>
                  <a:pt x="1272252" y="430868"/>
                  <a:pt x="1273694" y="421677"/>
                  <a:pt x="1276964" y="412871"/>
                </a:cubicBezTo>
                <a:cubicBezTo>
                  <a:pt x="1280330" y="403873"/>
                  <a:pt x="1284994" y="395836"/>
                  <a:pt x="1291294" y="388426"/>
                </a:cubicBezTo>
                <a:cubicBezTo>
                  <a:pt x="1297497" y="380967"/>
                  <a:pt x="1304613" y="374038"/>
                  <a:pt x="1311875" y="367205"/>
                </a:cubicBezTo>
                <a:cubicBezTo>
                  <a:pt x="1326492" y="353587"/>
                  <a:pt x="1341928" y="340498"/>
                  <a:pt x="1356498" y="326255"/>
                </a:cubicBezTo>
                <a:cubicBezTo>
                  <a:pt x="1363759" y="319085"/>
                  <a:pt x="1370972" y="311819"/>
                  <a:pt x="1377656" y="303975"/>
                </a:cubicBezTo>
                <a:cubicBezTo>
                  <a:pt x="1384195" y="296276"/>
                  <a:pt x="1390783" y="288817"/>
                  <a:pt x="1397563" y="281407"/>
                </a:cubicBezTo>
                <a:cubicBezTo>
                  <a:pt x="1410787" y="266923"/>
                  <a:pt x="1424251" y="252631"/>
                  <a:pt x="1437763" y="238291"/>
                </a:cubicBezTo>
                <a:cubicBezTo>
                  <a:pt x="1437282" y="239975"/>
                  <a:pt x="1436898" y="241708"/>
                  <a:pt x="1436609" y="243488"/>
                </a:cubicBezTo>
                <a:cubicBezTo>
                  <a:pt x="1434012" y="257828"/>
                  <a:pt x="1436224" y="272938"/>
                  <a:pt x="1430550" y="287037"/>
                </a:cubicBezTo>
                <a:cubicBezTo>
                  <a:pt x="1427954" y="294110"/>
                  <a:pt x="1423482" y="300510"/>
                  <a:pt x="1418336" y="306670"/>
                </a:cubicBezTo>
                <a:cubicBezTo>
                  <a:pt x="1413239" y="312877"/>
                  <a:pt x="1407325" y="318652"/>
                  <a:pt x="1400929" y="324234"/>
                </a:cubicBezTo>
                <a:cubicBezTo>
                  <a:pt x="1388235" y="335494"/>
                  <a:pt x="1373569" y="345647"/>
                  <a:pt x="1359095" y="357629"/>
                </a:cubicBezTo>
                <a:cubicBezTo>
                  <a:pt x="1351930" y="363692"/>
                  <a:pt x="1344621" y="370188"/>
                  <a:pt x="1339043" y="378850"/>
                </a:cubicBezTo>
                <a:cubicBezTo>
                  <a:pt x="1337600" y="380967"/>
                  <a:pt x="1336735" y="383470"/>
                  <a:pt x="1335581" y="385779"/>
                </a:cubicBezTo>
                <a:cubicBezTo>
                  <a:pt x="1334427" y="388137"/>
                  <a:pt x="1334138" y="390880"/>
                  <a:pt x="1333369" y="393430"/>
                </a:cubicBezTo>
                <a:cubicBezTo>
                  <a:pt x="1333080" y="396077"/>
                  <a:pt x="1332888" y="398868"/>
                  <a:pt x="1333128" y="401515"/>
                </a:cubicBezTo>
                <a:cubicBezTo>
                  <a:pt x="1333561" y="404161"/>
                  <a:pt x="1333802" y="406904"/>
                  <a:pt x="1334715" y="409406"/>
                </a:cubicBezTo>
                <a:cubicBezTo>
                  <a:pt x="1337841" y="419656"/>
                  <a:pt x="1343563" y="428269"/>
                  <a:pt x="1347794" y="437460"/>
                </a:cubicBezTo>
                <a:cubicBezTo>
                  <a:pt x="1352170" y="446555"/>
                  <a:pt x="1355296" y="456275"/>
                  <a:pt x="1355969" y="466477"/>
                </a:cubicBezTo>
                <a:cubicBezTo>
                  <a:pt x="1356931" y="476678"/>
                  <a:pt x="1354671" y="487169"/>
                  <a:pt x="1351834" y="497370"/>
                </a:cubicBezTo>
                <a:cubicBezTo>
                  <a:pt x="1348564" y="507523"/>
                  <a:pt x="1343707" y="517532"/>
                  <a:pt x="1338706" y="527589"/>
                </a:cubicBezTo>
                <a:cubicBezTo>
                  <a:pt x="1328512" y="547704"/>
                  <a:pt x="1316827" y="567914"/>
                  <a:pt x="1305816" y="589328"/>
                </a:cubicBezTo>
                <a:cubicBezTo>
                  <a:pt x="1300334" y="600058"/>
                  <a:pt x="1294948" y="611030"/>
                  <a:pt x="1290476" y="622771"/>
                </a:cubicBezTo>
                <a:cubicBezTo>
                  <a:pt x="1288264" y="628642"/>
                  <a:pt x="1286341" y="634705"/>
                  <a:pt x="1285091" y="641201"/>
                </a:cubicBezTo>
                <a:cubicBezTo>
                  <a:pt x="1284033" y="647601"/>
                  <a:pt x="1283312" y="654867"/>
                  <a:pt x="1286918" y="662037"/>
                </a:cubicBezTo>
                <a:cubicBezTo>
                  <a:pt x="1288986" y="665358"/>
                  <a:pt x="1292063" y="668485"/>
                  <a:pt x="1295669" y="669785"/>
                </a:cubicBezTo>
                <a:cubicBezTo>
                  <a:pt x="1299180" y="671373"/>
                  <a:pt x="1302786" y="671902"/>
                  <a:pt x="1306152" y="672094"/>
                </a:cubicBezTo>
                <a:cubicBezTo>
                  <a:pt x="1309614" y="672576"/>
                  <a:pt x="1312932" y="672191"/>
                  <a:pt x="1316298" y="672142"/>
                </a:cubicBezTo>
                <a:cubicBezTo>
                  <a:pt x="1319616" y="671806"/>
                  <a:pt x="1322934" y="671421"/>
                  <a:pt x="1326252" y="670891"/>
                </a:cubicBezTo>
                <a:cubicBezTo>
                  <a:pt x="1339331" y="668533"/>
                  <a:pt x="1351930" y="664347"/>
                  <a:pt x="1364384" y="659583"/>
                </a:cubicBezTo>
                <a:cubicBezTo>
                  <a:pt x="1389196" y="649863"/>
                  <a:pt x="1413384" y="637737"/>
                  <a:pt x="1437715" y="624840"/>
                </a:cubicBezTo>
                <a:cubicBezTo>
                  <a:pt x="1486378" y="599048"/>
                  <a:pt x="1535474" y="569598"/>
                  <a:pt x="1587791" y="542410"/>
                </a:cubicBezTo>
                <a:cubicBezTo>
                  <a:pt x="1614046" y="528985"/>
                  <a:pt x="1640926" y="515752"/>
                  <a:pt x="1669969" y="507475"/>
                </a:cubicBezTo>
                <a:cubicBezTo>
                  <a:pt x="1699013" y="498814"/>
                  <a:pt x="1729307" y="492077"/>
                  <a:pt x="1760082" y="485629"/>
                </a:cubicBezTo>
                <a:cubicBezTo>
                  <a:pt x="1790905" y="479229"/>
                  <a:pt x="1822305" y="473406"/>
                  <a:pt x="1854138" y="467199"/>
                </a:cubicBezTo>
                <a:cubicBezTo>
                  <a:pt x="1870055" y="464071"/>
                  <a:pt x="1886115" y="460943"/>
                  <a:pt x="1902224" y="457286"/>
                </a:cubicBezTo>
                <a:cubicBezTo>
                  <a:pt x="1918333" y="453773"/>
                  <a:pt x="1934730" y="448913"/>
                  <a:pt x="1950310" y="442754"/>
                </a:cubicBezTo>
                <a:cubicBezTo>
                  <a:pt x="1981662" y="430579"/>
                  <a:pt x="2012196" y="415518"/>
                  <a:pt x="2041336" y="396991"/>
                </a:cubicBezTo>
                <a:cubicBezTo>
                  <a:pt x="2055810" y="387560"/>
                  <a:pt x="2070043" y="377406"/>
                  <a:pt x="2082642" y="364655"/>
                </a:cubicBezTo>
                <a:cubicBezTo>
                  <a:pt x="2088893" y="358255"/>
                  <a:pt x="2094808" y="351229"/>
                  <a:pt x="2099039" y="342616"/>
                </a:cubicBezTo>
                <a:cubicBezTo>
                  <a:pt x="2101155" y="338333"/>
                  <a:pt x="2102694" y="333473"/>
                  <a:pt x="2103030" y="328324"/>
                </a:cubicBezTo>
                <a:cubicBezTo>
                  <a:pt x="2103607" y="323127"/>
                  <a:pt x="2102069" y="317689"/>
                  <a:pt x="2099809" y="313022"/>
                </a:cubicBezTo>
                <a:cubicBezTo>
                  <a:pt x="2097308" y="308450"/>
                  <a:pt x="2093750" y="304456"/>
                  <a:pt x="2089663" y="301617"/>
                </a:cubicBezTo>
                <a:cubicBezTo>
                  <a:pt x="2085623" y="298730"/>
                  <a:pt x="2081248" y="296613"/>
                  <a:pt x="2076872" y="294977"/>
                </a:cubicBezTo>
                <a:cubicBezTo>
                  <a:pt x="2068072" y="291704"/>
                  <a:pt x="2059032" y="290068"/>
                  <a:pt x="2050088" y="288913"/>
                </a:cubicBezTo>
                <a:cubicBezTo>
                  <a:pt x="2032104" y="286748"/>
                  <a:pt x="2014168" y="286892"/>
                  <a:pt x="1996280" y="287566"/>
                </a:cubicBezTo>
                <a:cubicBezTo>
                  <a:pt x="1960456" y="289202"/>
                  <a:pt x="1924680" y="293677"/>
                  <a:pt x="1888760" y="298874"/>
                </a:cubicBezTo>
                <a:cubicBezTo>
                  <a:pt x="1816920" y="309413"/>
                  <a:pt x="1744551" y="323464"/>
                  <a:pt x="1670883" y="336167"/>
                </a:cubicBezTo>
                <a:cubicBezTo>
                  <a:pt x="1634049" y="342327"/>
                  <a:pt x="1596975" y="348871"/>
                  <a:pt x="1559516" y="351710"/>
                </a:cubicBezTo>
                <a:cubicBezTo>
                  <a:pt x="1540811" y="353106"/>
                  <a:pt x="1521913" y="353731"/>
                  <a:pt x="1503304" y="352384"/>
                </a:cubicBezTo>
                <a:cubicBezTo>
                  <a:pt x="1494023" y="351710"/>
                  <a:pt x="1484791" y="350459"/>
                  <a:pt x="1475991" y="348197"/>
                </a:cubicBezTo>
                <a:cubicBezTo>
                  <a:pt x="1471664" y="346994"/>
                  <a:pt x="1467432" y="345551"/>
                  <a:pt x="1463681" y="343578"/>
                </a:cubicBezTo>
                <a:cubicBezTo>
                  <a:pt x="1459979" y="341605"/>
                  <a:pt x="1456757" y="339103"/>
                  <a:pt x="1454978" y="336216"/>
                </a:cubicBezTo>
                <a:cubicBezTo>
                  <a:pt x="1451660" y="331115"/>
                  <a:pt x="1453439" y="323801"/>
                  <a:pt x="1457671" y="317016"/>
                </a:cubicBezTo>
                <a:cubicBezTo>
                  <a:pt x="1459642" y="313407"/>
                  <a:pt x="1462095" y="310953"/>
                  <a:pt x="1464980" y="308017"/>
                </a:cubicBezTo>
                <a:cubicBezTo>
                  <a:pt x="1468009" y="305274"/>
                  <a:pt x="1471231" y="302676"/>
                  <a:pt x="1474597" y="300174"/>
                </a:cubicBezTo>
                <a:cubicBezTo>
                  <a:pt x="1488301" y="290309"/>
                  <a:pt x="1503544" y="282080"/>
                  <a:pt x="1518788" y="274237"/>
                </a:cubicBezTo>
                <a:cubicBezTo>
                  <a:pt x="1549466" y="258694"/>
                  <a:pt x="1581059" y="245076"/>
                  <a:pt x="1612555" y="231795"/>
                </a:cubicBezTo>
                <a:cubicBezTo>
                  <a:pt x="1628375" y="225250"/>
                  <a:pt x="1644099" y="218706"/>
                  <a:pt x="1659823" y="212210"/>
                </a:cubicBezTo>
                <a:cubicBezTo>
                  <a:pt x="1675547" y="205666"/>
                  <a:pt x="1691223" y="199362"/>
                  <a:pt x="1706755" y="192048"/>
                </a:cubicBezTo>
                <a:cubicBezTo>
                  <a:pt x="1730846" y="180451"/>
                  <a:pt x="1754793" y="168950"/>
                  <a:pt x="1778643" y="157497"/>
                </a:cubicBezTo>
                <a:cubicBezTo>
                  <a:pt x="1773594" y="160385"/>
                  <a:pt x="1768593" y="163272"/>
                  <a:pt x="1763545" y="166063"/>
                </a:cubicBezTo>
                <a:cubicBezTo>
                  <a:pt x="1746762" y="175398"/>
                  <a:pt x="1729452" y="183723"/>
                  <a:pt x="1712093" y="192336"/>
                </a:cubicBezTo>
                <a:cubicBezTo>
                  <a:pt x="1677375" y="209515"/>
                  <a:pt x="1642561" y="226742"/>
                  <a:pt x="1608997" y="246856"/>
                </a:cubicBezTo>
                <a:cubicBezTo>
                  <a:pt x="1600630" y="251909"/>
                  <a:pt x="1592359" y="257154"/>
                  <a:pt x="1584281" y="262880"/>
                </a:cubicBezTo>
                <a:cubicBezTo>
                  <a:pt x="1576250" y="268655"/>
                  <a:pt x="1568316" y="274670"/>
                  <a:pt x="1561296" y="282417"/>
                </a:cubicBezTo>
                <a:cubicBezTo>
                  <a:pt x="1557833" y="286267"/>
                  <a:pt x="1554371" y="290550"/>
                  <a:pt x="1552544" y="296661"/>
                </a:cubicBezTo>
                <a:cubicBezTo>
                  <a:pt x="1551967" y="298056"/>
                  <a:pt x="1552015" y="299981"/>
                  <a:pt x="1551823" y="301617"/>
                </a:cubicBezTo>
                <a:cubicBezTo>
                  <a:pt x="1551919" y="303301"/>
                  <a:pt x="1552015" y="305178"/>
                  <a:pt x="1552736" y="306814"/>
                </a:cubicBezTo>
                <a:close/>
                <a:moveTo>
                  <a:pt x="2245028" y="11020"/>
                </a:moveTo>
                <a:cubicBezTo>
                  <a:pt x="2250558" y="10635"/>
                  <a:pt x="2255895" y="10394"/>
                  <a:pt x="2261281" y="10153"/>
                </a:cubicBezTo>
                <a:cubicBezTo>
                  <a:pt x="2244162" y="12078"/>
                  <a:pt x="2228823" y="14532"/>
                  <a:pt x="2215743" y="17949"/>
                </a:cubicBezTo>
                <a:cubicBezTo>
                  <a:pt x="2208771" y="19777"/>
                  <a:pt x="2202376" y="21943"/>
                  <a:pt x="2196846" y="24686"/>
                </a:cubicBezTo>
                <a:cubicBezTo>
                  <a:pt x="2191460" y="27428"/>
                  <a:pt x="2186267" y="30941"/>
                  <a:pt x="2184680" y="36427"/>
                </a:cubicBezTo>
                <a:cubicBezTo>
                  <a:pt x="2183959" y="39122"/>
                  <a:pt x="2184632" y="41768"/>
                  <a:pt x="2185594" y="43837"/>
                </a:cubicBezTo>
                <a:cubicBezTo>
                  <a:pt x="2186603" y="45907"/>
                  <a:pt x="2187950" y="47543"/>
                  <a:pt x="2189248" y="48890"/>
                </a:cubicBezTo>
                <a:cubicBezTo>
                  <a:pt x="2191893" y="51633"/>
                  <a:pt x="2194490" y="53510"/>
                  <a:pt x="2196557" y="54905"/>
                </a:cubicBezTo>
                <a:cubicBezTo>
                  <a:pt x="2198673" y="56301"/>
                  <a:pt x="2200308" y="57263"/>
                  <a:pt x="2201462" y="57840"/>
                </a:cubicBezTo>
                <a:cubicBezTo>
                  <a:pt x="2202568" y="58418"/>
                  <a:pt x="2203193" y="58707"/>
                  <a:pt x="2203241" y="58610"/>
                </a:cubicBezTo>
                <a:cubicBezTo>
                  <a:pt x="2203386" y="58418"/>
                  <a:pt x="2201173" y="57022"/>
                  <a:pt x="2197231" y="53991"/>
                </a:cubicBezTo>
                <a:cubicBezTo>
                  <a:pt x="2195259" y="52451"/>
                  <a:pt x="2192855" y="50478"/>
                  <a:pt x="2190450" y="47783"/>
                </a:cubicBezTo>
                <a:cubicBezTo>
                  <a:pt x="2188142" y="45185"/>
                  <a:pt x="2185546" y="41239"/>
                  <a:pt x="2186700" y="37004"/>
                </a:cubicBezTo>
                <a:cubicBezTo>
                  <a:pt x="2187998" y="32818"/>
                  <a:pt x="2192710" y="29546"/>
                  <a:pt x="2197952" y="27092"/>
                </a:cubicBezTo>
                <a:cubicBezTo>
                  <a:pt x="2203289" y="24638"/>
                  <a:pt x="2209588" y="22665"/>
                  <a:pt x="2216465" y="21029"/>
                </a:cubicBezTo>
                <a:cubicBezTo>
                  <a:pt x="2230265" y="17756"/>
                  <a:pt x="2246566" y="15495"/>
                  <a:pt x="2265031" y="13859"/>
                </a:cubicBezTo>
                <a:cubicBezTo>
                  <a:pt x="2270706" y="13377"/>
                  <a:pt x="2276668" y="12944"/>
                  <a:pt x="2282775" y="12607"/>
                </a:cubicBezTo>
                <a:cubicBezTo>
                  <a:pt x="2277486" y="13233"/>
                  <a:pt x="2272100" y="13907"/>
                  <a:pt x="2266618" y="14773"/>
                </a:cubicBezTo>
                <a:cubicBezTo>
                  <a:pt x="2256232" y="16601"/>
                  <a:pt x="2245364" y="18526"/>
                  <a:pt x="2234497" y="23386"/>
                </a:cubicBezTo>
                <a:cubicBezTo>
                  <a:pt x="2231804" y="24686"/>
                  <a:pt x="2229063" y="26177"/>
                  <a:pt x="2226563" y="28583"/>
                </a:cubicBezTo>
                <a:cubicBezTo>
                  <a:pt x="2225313" y="29738"/>
                  <a:pt x="2224158" y="31278"/>
                  <a:pt x="2223437" y="33155"/>
                </a:cubicBezTo>
                <a:cubicBezTo>
                  <a:pt x="2222668" y="35031"/>
                  <a:pt x="2222620" y="37341"/>
                  <a:pt x="2223245" y="39218"/>
                </a:cubicBezTo>
                <a:cubicBezTo>
                  <a:pt x="2224399" y="43116"/>
                  <a:pt x="2226948" y="45474"/>
                  <a:pt x="2229352" y="47687"/>
                </a:cubicBezTo>
                <a:cubicBezTo>
                  <a:pt x="2231804" y="49804"/>
                  <a:pt x="2234449" y="51585"/>
                  <a:pt x="2237190" y="53173"/>
                </a:cubicBezTo>
                <a:cubicBezTo>
                  <a:pt x="2248057" y="59428"/>
                  <a:pt x="2260031" y="64144"/>
                  <a:pt x="2272821" y="67705"/>
                </a:cubicBezTo>
                <a:cubicBezTo>
                  <a:pt x="2285468" y="71218"/>
                  <a:pt x="2298547" y="74346"/>
                  <a:pt x="2312011" y="77377"/>
                </a:cubicBezTo>
                <a:cubicBezTo>
                  <a:pt x="2338939" y="83537"/>
                  <a:pt x="2367454" y="89744"/>
                  <a:pt x="2397075" y="97155"/>
                </a:cubicBezTo>
                <a:cubicBezTo>
                  <a:pt x="2411886" y="100908"/>
                  <a:pt x="2426985" y="104902"/>
                  <a:pt x="2442228" y="109666"/>
                </a:cubicBezTo>
                <a:cubicBezTo>
                  <a:pt x="2457423" y="114334"/>
                  <a:pt x="2472858" y="119675"/>
                  <a:pt x="2487669" y="126749"/>
                </a:cubicBezTo>
                <a:cubicBezTo>
                  <a:pt x="2502287" y="134111"/>
                  <a:pt x="2517290" y="142243"/>
                  <a:pt x="2529744" y="153503"/>
                </a:cubicBezTo>
                <a:cubicBezTo>
                  <a:pt x="2533014" y="156150"/>
                  <a:pt x="2535659" y="159422"/>
                  <a:pt x="2538640" y="162357"/>
                </a:cubicBezTo>
                <a:cubicBezTo>
                  <a:pt x="2541477" y="165437"/>
                  <a:pt x="2543689" y="168998"/>
                  <a:pt x="2546285" y="172318"/>
                </a:cubicBezTo>
                <a:cubicBezTo>
                  <a:pt x="2550373" y="179584"/>
                  <a:pt x="2554171" y="187187"/>
                  <a:pt x="2555710" y="195657"/>
                </a:cubicBezTo>
                <a:cubicBezTo>
                  <a:pt x="2559605" y="212402"/>
                  <a:pt x="2558211" y="230640"/>
                  <a:pt x="2557201" y="249166"/>
                </a:cubicBezTo>
                <a:cubicBezTo>
                  <a:pt x="2556047" y="267692"/>
                  <a:pt x="2555133" y="287037"/>
                  <a:pt x="2556479" y="306429"/>
                </a:cubicBezTo>
                <a:cubicBezTo>
                  <a:pt x="2557586" y="325773"/>
                  <a:pt x="2559750" y="345310"/>
                  <a:pt x="2562827" y="364991"/>
                </a:cubicBezTo>
                <a:cubicBezTo>
                  <a:pt x="2565664" y="384673"/>
                  <a:pt x="2569847" y="404402"/>
                  <a:pt x="2574319" y="424324"/>
                </a:cubicBezTo>
                <a:cubicBezTo>
                  <a:pt x="2583840" y="463975"/>
                  <a:pt x="2596535" y="504059"/>
                  <a:pt x="2613750" y="543277"/>
                </a:cubicBezTo>
                <a:cubicBezTo>
                  <a:pt x="2622742" y="562717"/>
                  <a:pt x="2632215" y="582254"/>
                  <a:pt x="2643996" y="600780"/>
                </a:cubicBezTo>
                <a:cubicBezTo>
                  <a:pt x="2649478" y="610260"/>
                  <a:pt x="2656017" y="619162"/>
                  <a:pt x="2662461" y="628209"/>
                </a:cubicBezTo>
                <a:cubicBezTo>
                  <a:pt x="2665490" y="632828"/>
                  <a:pt x="2669385" y="636918"/>
                  <a:pt x="2672799" y="641297"/>
                </a:cubicBezTo>
                <a:cubicBezTo>
                  <a:pt x="2676454" y="645580"/>
                  <a:pt x="2679627" y="650055"/>
                  <a:pt x="2683763" y="654097"/>
                </a:cubicBezTo>
                <a:cubicBezTo>
                  <a:pt x="2691697" y="662374"/>
                  <a:pt x="2700304" y="669736"/>
                  <a:pt x="2709248" y="676570"/>
                </a:cubicBezTo>
                <a:cubicBezTo>
                  <a:pt x="2718144" y="683547"/>
                  <a:pt x="2727473" y="689899"/>
                  <a:pt x="2736898" y="696202"/>
                </a:cubicBezTo>
                <a:cubicBezTo>
                  <a:pt x="2755843" y="708569"/>
                  <a:pt x="2775607" y="719926"/>
                  <a:pt x="2795899" y="730608"/>
                </a:cubicBezTo>
                <a:cubicBezTo>
                  <a:pt x="2836483" y="751829"/>
                  <a:pt x="2879232" y="770452"/>
                  <a:pt x="2923759" y="785658"/>
                </a:cubicBezTo>
                <a:cubicBezTo>
                  <a:pt x="2946071" y="793213"/>
                  <a:pt x="2968575" y="799805"/>
                  <a:pt x="2991320" y="804906"/>
                </a:cubicBezTo>
                <a:cubicBezTo>
                  <a:pt x="3014064" y="809959"/>
                  <a:pt x="3037145" y="813712"/>
                  <a:pt x="3060419" y="814241"/>
                </a:cubicBezTo>
                <a:cubicBezTo>
                  <a:pt x="3072056" y="814722"/>
                  <a:pt x="3083741" y="813856"/>
                  <a:pt x="3095329" y="812124"/>
                </a:cubicBezTo>
                <a:lnTo>
                  <a:pt x="3103985" y="810392"/>
                </a:lnTo>
                <a:cubicBezTo>
                  <a:pt x="3106870" y="809670"/>
                  <a:pt x="3109659" y="808707"/>
                  <a:pt x="3112544" y="807889"/>
                </a:cubicBezTo>
                <a:cubicBezTo>
                  <a:pt x="3118218" y="806157"/>
                  <a:pt x="3123844" y="803414"/>
                  <a:pt x="3129037" y="800094"/>
                </a:cubicBezTo>
                <a:cubicBezTo>
                  <a:pt x="3139328" y="793213"/>
                  <a:pt x="3147069" y="781905"/>
                  <a:pt x="3149666" y="769971"/>
                </a:cubicBezTo>
                <a:cubicBezTo>
                  <a:pt x="3152455" y="758037"/>
                  <a:pt x="3151878" y="746103"/>
                  <a:pt x="3149810" y="734843"/>
                </a:cubicBezTo>
                <a:cubicBezTo>
                  <a:pt x="3145627" y="712226"/>
                  <a:pt x="3136779" y="691535"/>
                  <a:pt x="3126921" y="671998"/>
                </a:cubicBezTo>
                <a:cubicBezTo>
                  <a:pt x="3121921" y="662230"/>
                  <a:pt x="3116487" y="652750"/>
                  <a:pt x="3110813" y="643511"/>
                </a:cubicBezTo>
                <a:cubicBezTo>
                  <a:pt x="3105043" y="634368"/>
                  <a:pt x="3099272" y="625129"/>
                  <a:pt x="3092300" y="616756"/>
                </a:cubicBezTo>
                <a:cubicBezTo>
                  <a:pt x="3065949" y="583072"/>
                  <a:pt x="3037482" y="552468"/>
                  <a:pt x="3008775" y="523644"/>
                </a:cubicBezTo>
                <a:cubicBezTo>
                  <a:pt x="3001129" y="516089"/>
                  <a:pt x="2993387" y="508726"/>
                  <a:pt x="2985645" y="501460"/>
                </a:cubicBezTo>
                <a:cubicBezTo>
                  <a:pt x="3011708" y="523403"/>
                  <a:pt x="3038396" y="545298"/>
                  <a:pt x="3064698" y="568155"/>
                </a:cubicBezTo>
                <a:cubicBezTo>
                  <a:pt x="3082538" y="583890"/>
                  <a:pt x="3100426" y="599962"/>
                  <a:pt x="3116968" y="617430"/>
                </a:cubicBezTo>
                <a:cubicBezTo>
                  <a:pt x="3125527" y="625947"/>
                  <a:pt x="3133173" y="635282"/>
                  <a:pt x="3141155" y="644377"/>
                </a:cubicBezTo>
                <a:cubicBezTo>
                  <a:pt x="3148416" y="654001"/>
                  <a:pt x="3156254" y="663336"/>
                  <a:pt x="3162457" y="673730"/>
                </a:cubicBezTo>
                <a:cubicBezTo>
                  <a:pt x="3169429" y="683691"/>
                  <a:pt x="3174719" y="694663"/>
                  <a:pt x="3180393" y="705442"/>
                </a:cubicBezTo>
                <a:cubicBezTo>
                  <a:pt x="3182701" y="711072"/>
                  <a:pt x="3185009" y="716702"/>
                  <a:pt x="3187317" y="722332"/>
                </a:cubicBezTo>
                <a:lnTo>
                  <a:pt x="3189049" y="726566"/>
                </a:lnTo>
                <a:lnTo>
                  <a:pt x="3190347" y="730945"/>
                </a:lnTo>
                <a:lnTo>
                  <a:pt x="3192895" y="739751"/>
                </a:lnTo>
                <a:lnTo>
                  <a:pt x="3195492" y="748557"/>
                </a:lnTo>
                <a:cubicBezTo>
                  <a:pt x="3196213" y="751252"/>
                  <a:pt x="3196454" y="753995"/>
                  <a:pt x="3196694" y="756930"/>
                </a:cubicBezTo>
                <a:cubicBezTo>
                  <a:pt x="3197031" y="762801"/>
                  <a:pt x="3196790" y="768864"/>
                  <a:pt x="3196165" y="774927"/>
                </a:cubicBezTo>
                <a:cubicBezTo>
                  <a:pt x="3194867" y="787005"/>
                  <a:pt x="3192222" y="799083"/>
                  <a:pt x="3188039" y="810488"/>
                </a:cubicBezTo>
                <a:cubicBezTo>
                  <a:pt x="3183807" y="821844"/>
                  <a:pt x="3177989" y="832623"/>
                  <a:pt x="3169958" y="841044"/>
                </a:cubicBezTo>
                <a:cubicBezTo>
                  <a:pt x="3162024" y="849465"/>
                  <a:pt x="3151590" y="854999"/>
                  <a:pt x="3140338" y="856058"/>
                </a:cubicBezTo>
                <a:cubicBezTo>
                  <a:pt x="3137645" y="856443"/>
                  <a:pt x="3134375" y="856346"/>
                  <a:pt x="3131394" y="856443"/>
                </a:cubicBezTo>
                <a:cubicBezTo>
                  <a:pt x="3128316" y="856443"/>
                  <a:pt x="3125287" y="856635"/>
                  <a:pt x="3122257" y="856587"/>
                </a:cubicBezTo>
                <a:cubicBezTo>
                  <a:pt x="3116150" y="856250"/>
                  <a:pt x="3110044" y="856346"/>
                  <a:pt x="3103937" y="855721"/>
                </a:cubicBezTo>
                <a:cubicBezTo>
                  <a:pt x="3097830" y="855192"/>
                  <a:pt x="3091723" y="854807"/>
                  <a:pt x="3085664" y="853892"/>
                </a:cubicBezTo>
                <a:cubicBezTo>
                  <a:pt x="3079605" y="853122"/>
                  <a:pt x="3073546" y="852352"/>
                  <a:pt x="3067536" y="851246"/>
                </a:cubicBezTo>
                <a:cubicBezTo>
                  <a:pt x="3019354" y="843065"/>
                  <a:pt x="2972903" y="828533"/>
                  <a:pt x="2928375" y="811980"/>
                </a:cubicBezTo>
                <a:cubicBezTo>
                  <a:pt x="2883896" y="795138"/>
                  <a:pt x="2841099" y="775938"/>
                  <a:pt x="2800419" y="754909"/>
                </a:cubicBezTo>
                <a:cubicBezTo>
                  <a:pt x="2759786" y="733784"/>
                  <a:pt x="2720933" y="711168"/>
                  <a:pt x="2685494" y="685760"/>
                </a:cubicBezTo>
                <a:cubicBezTo>
                  <a:pt x="2667943" y="672961"/>
                  <a:pt x="2650920" y="659583"/>
                  <a:pt x="2636735" y="644329"/>
                </a:cubicBezTo>
                <a:lnTo>
                  <a:pt x="2631590" y="638506"/>
                </a:lnTo>
                <a:lnTo>
                  <a:pt x="2626829" y="632251"/>
                </a:lnTo>
                <a:cubicBezTo>
                  <a:pt x="2623704" y="628064"/>
                  <a:pt x="2620386" y="624022"/>
                  <a:pt x="2617500" y="619691"/>
                </a:cubicBezTo>
                <a:cubicBezTo>
                  <a:pt x="2611826" y="610982"/>
                  <a:pt x="2605960" y="602464"/>
                  <a:pt x="2601103" y="593370"/>
                </a:cubicBezTo>
                <a:cubicBezTo>
                  <a:pt x="2580619" y="557616"/>
                  <a:pt x="2566337" y="519842"/>
                  <a:pt x="2554797" y="482741"/>
                </a:cubicBezTo>
                <a:cubicBezTo>
                  <a:pt x="2543256" y="445593"/>
                  <a:pt x="2535033" y="408829"/>
                  <a:pt x="2528494" y="373268"/>
                </a:cubicBezTo>
                <a:cubicBezTo>
                  <a:pt x="2525176" y="355512"/>
                  <a:pt x="2522483" y="337948"/>
                  <a:pt x="2520031" y="320769"/>
                </a:cubicBezTo>
                <a:cubicBezTo>
                  <a:pt x="2517434" y="303494"/>
                  <a:pt x="2515943" y="286989"/>
                  <a:pt x="2515847" y="270435"/>
                </a:cubicBezTo>
                <a:cubicBezTo>
                  <a:pt x="2515655" y="253978"/>
                  <a:pt x="2516713" y="237810"/>
                  <a:pt x="2516616" y="221786"/>
                </a:cubicBezTo>
                <a:cubicBezTo>
                  <a:pt x="2516568" y="205858"/>
                  <a:pt x="2515222" y="189738"/>
                  <a:pt x="2509452" y="175109"/>
                </a:cubicBezTo>
                <a:cubicBezTo>
                  <a:pt x="2503826" y="160433"/>
                  <a:pt x="2493583" y="148499"/>
                  <a:pt x="2482476" y="139404"/>
                </a:cubicBezTo>
                <a:cubicBezTo>
                  <a:pt x="2479590" y="137191"/>
                  <a:pt x="2476898" y="134833"/>
                  <a:pt x="2473964" y="132812"/>
                </a:cubicBezTo>
                <a:cubicBezTo>
                  <a:pt x="2470935" y="130935"/>
                  <a:pt x="2467954" y="129106"/>
                  <a:pt x="2465020" y="127278"/>
                </a:cubicBezTo>
                <a:lnTo>
                  <a:pt x="2460596" y="124535"/>
                </a:lnTo>
                <a:cubicBezTo>
                  <a:pt x="2459106" y="123717"/>
                  <a:pt x="2457519" y="122995"/>
                  <a:pt x="2456028" y="122225"/>
                </a:cubicBezTo>
                <a:cubicBezTo>
                  <a:pt x="2452999" y="120733"/>
                  <a:pt x="2449970" y="119242"/>
                  <a:pt x="2446940" y="117750"/>
                </a:cubicBezTo>
                <a:lnTo>
                  <a:pt x="2442468" y="115537"/>
                </a:lnTo>
                <a:lnTo>
                  <a:pt x="2437852" y="113708"/>
                </a:lnTo>
                <a:cubicBezTo>
                  <a:pt x="2434774" y="112505"/>
                  <a:pt x="2431745" y="111302"/>
                  <a:pt x="2428764" y="110147"/>
                </a:cubicBezTo>
                <a:cubicBezTo>
                  <a:pt x="2422657" y="108174"/>
                  <a:pt x="2416742" y="105961"/>
                  <a:pt x="2410780" y="104325"/>
                </a:cubicBezTo>
                <a:cubicBezTo>
                  <a:pt x="2398950" y="100812"/>
                  <a:pt x="2387458" y="97876"/>
                  <a:pt x="2376446" y="95230"/>
                </a:cubicBezTo>
                <a:cubicBezTo>
                  <a:pt x="2354375" y="89985"/>
                  <a:pt x="2334083" y="85991"/>
                  <a:pt x="2315810" y="82526"/>
                </a:cubicBezTo>
                <a:cubicBezTo>
                  <a:pt x="2279265" y="75597"/>
                  <a:pt x="2250846" y="70640"/>
                  <a:pt x="2231756" y="66502"/>
                </a:cubicBezTo>
                <a:cubicBezTo>
                  <a:pt x="2222187" y="64481"/>
                  <a:pt x="2215022" y="62508"/>
                  <a:pt x="2210262" y="61064"/>
                </a:cubicBezTo>
                <a:cubicBezTo>
                  <a:pt x="2205597" y="59428"/>
                  <a:pt x="2203241" y="58322"/>
                  <a:pt x="2203145" y="58562"/>
                </a:cubicBezTo>
                <a:cubicBezTo>
                  <a:pt x="2203145" y="58658"/>
                  <a:pt x="2203626" y="58995"/>
                  <a:pt x="2204780" y="59621"/>
                </a:cubicBezTo>
                <a:cubicBezTo>
                  <a:pt x="2205934" y="60198"/>
                  <a:pt x="2207569" y="61257"/>
                  <a:pt x="2209925" y="62123"/>
                </a:cubicBezTo>
                <a:cubicBezTo>
                  <a:pt x="2214638" y="63952"/>
                  <a:pt x="2221802" y="66261"/>
                  <a:pt x="2231275" y="68619"/>
                </a:cubicBezTo>
                <a:cubicBezTo>
                  <a:pt x="2250269" y="73479"/>
                  <a:pt x="2278640" y="79110"/>
                  <a:pt x="2314993" y="86664"/>
                </a:cubicBezTo>
                <a:cubicBezTo>
                  <a:pt x="2333169" y="90466"/>
                  <a:pt x="2353365" y="94749"/>
                  <a:pt x="2375244" y="100234"/>
                </a:cubicBezTo>
                <a:cubicBezTo>
                  <a:pt x="2386160" y="102977"/>
                  <a:pt x="2397508" y="106057"/>
                  <a:pt x="2409145" y="109666"/>
                </a:cubicBezTo>
                <a:cubicBezTo>
                  <a:pt x="2415011" y="111350"/>
                  <a:pt x="2420781" y="113612"/>
                  <a:pt x="2426792" y="115633"/>
                </a:cubicBezTo>
                <a:cubicBezTo>
                  <a:pt x="2429677" y="116836"/>
                  <a:pt x="2432659" y="117991"/>
                  <a:pt x="2435592" y="119242"/>
                </a:cubicBezTo>
                <a:lnTo>
                  <a:pt x="2440064" y="121070"/>
                </a:lnTo>
                <a:lnTo>
                  <a:pt x="2444392" y="123236"/>
                </a:lnTo>
                <a:cubicBezTo>
                  <a:pt x="2447277" y="124727"/>
                  <a:pt x="2450210" y="126219"/>
                  <a:pt x="2453191" y="127711"/>
                </a:cubicBezTo>
                <a:cubicBezTo>
                  <a:pt x="2454682" y="128481"/>
                  <a:pt x="2456173" y="129203"/>
                  <a:pt x="2457615" y="129973"/>
                </a:cubicBezTo>
                <a:lnTo>
                  <a:pt x="2461847" y="132667"/>
                </a:lnTo>
                <a:cubicBezTo>
                  <a:pt x="2464684" y="134448"/>
                  <a:pt x="2467521" y="136276"/>
                  <a:pt x="2470406" y="138057"/>
                </a:cubicBezTo>
                <a:cubicBezTo>
                  <a:pt x="2473195" y="139982"/>
                  <a:pt x="2475743" y="142291"/>
                  <a:pt x="2478436" y="144360"/>
                </a:cubicBezTo>
                <a:cubicBezTo>
                  <a:pt x="2488919" y="153118"/>
                  <a:pt x="2498152" y="164090"/>
                  <a:pt x="2503201" y="177612"/>
                </a:cubicBezTo>
                <a:cubicBezTo>
                  <a:pt x="2508394" y="191037"/>
                  <a:pt x="2509548" y="206243"/>
                  <a:pt x="2509500" y="221834"/>
                </a:cubicBezTo>
                <a:cubicBezTo>
                  <a:pt x="2509452" y="237473"/>
                  <a:pt x="2508250" y="253738"/>
                  <a:pt x="2508346" y="270483"/>
                </a:cubicBezTo>
                <a:cubicBezTo>
                  <a:pt x="2508298" y="287229"/>
                  <a:pt x="2509740" y="304649"/>
                  <a:pt x="2512241" y="321828"/>
                </a:cubicBezTo>
                <a:cubicBezTo>
                  <a:pt x="2514597" y="339103"/>
                  <a:pt x="2517193" y="356763"/>
                  <a:pt x="2520415" y="374712"/>
                </a:cubicBezTo>
                <a:cubicBezTo>
                  <a:pt x="2526762" y="410561"/>
                  <a:pt x="2534889" y="447662"/>
                  <a:pt x="2546382" y="485292"/>
                </a:cubicBezTo>
                <a:cubicBezTo>
                  <a:pt x="2557874" y="522826"/>
                  <a:pt x="2572155" y="561274"/>
                  <a:pt x="2592977" y="597941"/>
                </a:cubicBezTo>
                <a:cubicBezTo>
                  <a:pt x="2597930" y="607228"/>
                  <a:pt x="2603892" y="616034"/>
                  <a:pt x="2609710" y="625033"/>
                </a:cubicBezTo>
                <a:cubicBezTo>
                  <a:pt x="2612692" y="629508"/>
                  <a:pt x="2616106" y="633694"/>
                  <a:pt x="2619280" y="638025"/>
                </a:cubicBezTo>
                <a:lnTo>
                  <a:pt x="2624184" y="644521"/>
                </a:lnTo>
                <a:lnTo>
                  <a:pt x="2629666" y="650729"/>
                </a:lnTo>
                <a:cubicBezTo>
                  <a:pt x="2644621" y="666897"/>
                  <a:pt x="2661932" y="680515"/>
                  <a:pt x="2679772" y="693604"/>
                </a:cubicBezTo>
                <a:cubicBezTo>
                  <a:pt x="2715692" y="719541"/>
                  <a:pt x="2754833" y="742446"/>
                  <a:pt x="2795755" y="763811"/>
                </a:cubicBezTo>
                <a:cubicBezTo>
                  <a:pt x="2836724" y="785129"/>
                  <a:pt x="2879809" y="804521"/>
                  <a:pt x="2924721" y="821604"/>
                </a:cubicBezTo>
                <a:cubicBezTo>
                  <a:pt x="2969681" y="838398"/>
                  <a:pt x="3016565" y="853170"/>
                  <a:pt x="3065805" y="861592"/>
                </a:cubicBezTo>
                <a:cubicBezTo>
                  <a:pt x="3071959" y="862746"/>
                  <a:pt x="3078163" y="863564"/>
                  <a:pt x="3084366" y="864334"/>
                </a:cubicBezTo>
                <a:cubicBezTo>
                  <a:pt x="3090569" y="865249"/>
                  <a:pt x="3096868" y="865682"/>
                  <a:pt x="3103167" y="866211"/>
                </a:cubicBezTo>
                <a:cubicBezTo>
                  <a:pt x="3109418" y="866837"/>
                  <a:pt x="3115814" y="866789"/>
                  <a:pt x="3122161" y="867125"/>
                </a:cubicBezTo>
                <a:cubicBezTo>
                  <a:pt x="3125335" y="867173"/>
                  <a:pt x="3128557" y="867029"/>
                  <a:pt x="3131730" y="866981"/>
                </a:cubicBezTo>
                <a:cubicBezTo>
                  <a:pt x="3134952" y="866837"/>
                  <a:pt x="3137981" y="866981"/>
                  <a:pt x="3141540" y="866548"/>
                </a:cubicBezTo>
                <a:cubicBezTo>
                  <a:pt x="3155292" y="865297"/>
                  <a:pt x="3168468" y="858223"/>
                  <a:pt x="3177700" y="848310"/>
                </a:cubicBezTo>
                <a:cubicBezTo>
                  <a:pt x="3187125" y="838398"/>
                  <a:pt x="3193472" y="826416"/>
                  <a:pt x="3198089" y="814097"/>
                </a:cubicBezTo>
                <a:cubicBezTo>
                  <a:pt x="3202657" y="801682"/>
                  <a:pt x="3205446" y="788882"/>
                  <a:pt x="3206840" y="775890"/>
                </a:cubicBezTo>
                <a:cubicBezTo>
                  <a:pt x="3207513" y="769393"/>
                  <a:pt x="3207754" y="762849"/>
                  <a:pt x="3207417" y="756160"/>
                </a:cubicBezTo>
                <a:cubicBezTo>
                  <a:pt x="3207177" y="752840"/>
                  <a:pt x="3206840" y="749327"/>
                  <a:pt x="3205975" y="745911"/>
                </a:cubicBezTo>
                <a:lnTo>
                  <a:pt x="3203282" y="736672"/>
                </a:lnTo>
                <a:lnTo>
                  <a:pt x="3200589" y="727432"/>
                </a:lnTo>
                <a:lnTo>
                  <a:pt x="3199243" y="722813"/>
                </a:lnTo>
                <a:lnTo>
                  <a:pt x="3197464" y="718386"/>
                </a:lnTo>
                <a:cubicBezTo>
                  <a:pt x="3195059" y="712467"/>
                  <a:pt x="3192607" y="706596"/>
                  <a:pt x="3190203" y="700726"/>
                </a:cubicBezTo>
                <a:cubicBezTo>
                  <a:pt x="3184288" y="689514"/>
                  <a:pt x="3178758" y="678061"/>
                  <a:pt x="3171545" y="667764"/>
                </a:cubicBezTo>
                <a:cubicBezTo>
                  <a:pt x="3165054" y="656985"/>
                  <a:pt x="3156975" y="647361"/>
                  <a:pt x="3149522" y="637448"/>
                </a:cubicBezTo>
                <a:cubicBezTo>
                  <a:pt x="3141347" y="628112"/>
                  <a:pt x="3133461" y="618537"/>
                  <a:pt x="3124758" y="609923"/>
                </a:cubicBezTo>
                <a:cubicBezTo>
                  <a:pt x="3107832" y="592070"/>
                  <a:pt x="3089751" y="575902"/>
                  <a:pt x="3071719" y="560071"/>
                </a:cubicBezTo>
                <a:cubicBezTo>
                  <a:pt x="3035462" y="528648"/>
                  <a:pt x="2998773" y="499343"/>
                  <a:pt x="2964103" y="469268"/>
                </a:cubicBezTo>
                <a:cubicBezTo>
                  <a:pt x="2955544" y="461665"/>
                  <a:pt x="2946984" y="454110"/>
                  <a:pt x="2938473" y="446603"/>
                </a:cubicBezTo>
                <a:cubicBezTo>
                  <a:pt x="2930154" y="438904"/>
                  <a:pt x="2921932" y="431205"/>
                  <a:pt x="2913709" y="423554"/>
                </a:cubicBezTo>
                <a:cubicBezTo>
                  <a:pt x="2897408" y="408059"/>
                  <a:pt x="2881299" y="392709"/>
                  <a:pt x="2865575" y="377406"/>
                </a:cubicBezTo>
                <a:cubicBezTo>
                  <a:pt x="2834175" y="346802"/>
                  <a:pt x="2804170" y="316294"/>
                  <a:pt x="2777242" y="284823"/>
                </a:cubicBezTo>
                <a:cubicBezTo>
                  <a:pt x="2763826" y="269088"/>
                  <a:pt x="2751131" y="253112"/>
                  <a:pt x="2740071" y="236511"/>
                </a:cubicBezTo>
                <a:cubicBezTo>
                  <a:pt x="2729108" y="219909"/>
                  <a:pt x="2719731" y="202586"/>
                  <a:pt x="2712662" y="184733"/>
                </a:cubicBezTo>
                <a:cubicBezTo>
                  <a:pt x="2705450" y="166881"/>
                  <a:pt x="2701170" y="148499"/>
                  <a:pt x="2697035" y="130021"/>
                </a:cubicBezTo>
                <a:cubicBezTo>
                  <a:pt x="2694919" y="120782"/>
                  <a:pt x="2692563" y="111494"/>
                  <a:pt x="2689004" y="102496"/>
                </a:cubicBezTo>
                <a:cubicBezTo>
                  <a:pt x="2685494" y="93449"/>
                  <a:pt x="2679868" y="85221"/>
                  <a:pt x="2673424" y="78243"/>
                </a:cubicBezTo>
                <a:lnTo>
                  <a:pt x="2673280" y="78099"/>
                </a:lnTo>
                <a:cubicBezTo>
                  <a:pt x="2677944" y="80986"/>
                  <a:pt x="2682368" y="84162"/>
                  <a:pt x="2686215" y="87771"/>
                </a:cubicBezTo>
                <a:lnTo>
                  <a:pt x="2697467" y="99464"/>
                </a:lnTo>
                <a:cubicBezTo>
                  <a:pt x="2701026" y="103506"/>
                  <a:pt x="2704247" y="107837"/>
                  <a:pt x="2707661" y="111976"/>
                </a:cubicBezTo>
                <a:cubicBezTo>
                  <a:pt x="2720645" y="129203"/>
                  <a:pt x="2730069" y="148739"/>
                  <a:pt x="2738629" y="168757"/>
                </a:cubicBezTo>
                <a:cubicBezTo>
                  <a:pt x="2755314" y="208938"/>
                  <a:pt x="2773154" y="249503"/>
                  <a:pt x="2797870" y="285208"/>
                </a:cubicBezTo>
                <a:cubicBezTo>
                  <a:pt x="2822009" y="321298"/>
                  <a:pt x="2850284" y="353731"/>
                  <a:pt x="2879712" y="384336"/>
                </a:cubicBezTo>
                <a:cubicBezTo>
                  <a:pt x="2909622" y="414507"/>
                  <a:pt x="2940589" y="442705"/>
                  <a:pt x="2971220" y="470711"/>
                </a:cubicBezTo>
                <a:cubicBezTo>
                  <a:pt x="3001995" y="498910"/>
                  <a:pt x="3034308" y="524414"/>
                  <a:pt x="3065516" y="550447"/>
                </a:cubicBezTo>
                <a:cubicBezTo>
                  <a:pt x="3096772" y="576480"/>
                  <a:pt x="3127547" y="602464"/>
                  <a:pt x="3156302" y="629941"/>
                </a:cubicBezTo>
                <a:cubicBezTo>
                  <a:pt x="3163371" y="636918"/>
                  <a:pt x="3170632" y="643655"/>
                  <a:pt x="3177364" y="650873"/>
                </a:cubicBezTo>
                <a:lnTo>
                  <a:pt x="3187606" y="661556"/>
                </a:lnTo>
                <a:lnTo>
                  <a:pt x="3197367" y="672576"/>
                </a:lnTo>
                <a:cubicBezTo>
                  <a:pt x="3210014" y="687445"/>
                  <a:pt x="3222324" y="702747"/>
                  <a:pt x="3230931" y="719781"/>
                </a:cubicBezTo>
                <a:cubicBezTo>
                  <a:pt x="3235692" y="727962"/>
                  <a:pt x="3238288" y="737057"/>
                  <a:pt x="3240789" y="746344"/>
                </a:cubicBezTo>
                <a:cubicBezTo>
                  <a:pt x="3243241" y="755631"/>
                  <a:pt x="3245165" y="765014"/>
                  <a:pt x="3246848" y="774494"/>
                </a:cubicBezTo>
                <a:cubicBezTo>
                  <a:pt x="3250117" y="793405"/>
                  <a:pt x="3252329" y="812461"/>
                  <a:pt x="3253387" y="831420"/>
                </a:cubicBezTo>
                <a:cubicBezTo>
                  <a:pt x="3254445" y="850380"/>
                  <a:pt x="3254493" y="869339"/>
                  <a:pt x="3252474" y="887865"/>
                </a:cubicBezTo>
                <a:cubicBezTo>
                  <a:pt x="3251416" y="897104"/>
                  <a:pt x="3249877" y="906247"/>
                  <a:pt x="3247184" y="914909"/>
                </a:cubicBezTo>
                <a:cubicBezTo>
                  <a:pt x="3246559" y="917122"/>
                  <a:pt x="3245790" y="919191"/>
                  <a:pt x="3244924" y="921260"/>
                </a:cubicBezTo>
                <a:cubicBezTo>
                  <a:pt x="3244203" y="923378"/>
                  <a:pt x="3243145" y="925303"/>
                  <a:pt x="3242135" y="927276"/>
                </a:cubicBezTo>
                <a:cubicBezTo>
                  <a:pt x="3241173" y="929248"/>
                  <a:pt x="3239875" y="930933"/>
                  <a:pt x="3238721" y="932761"/>
                </a:cubicBezTo>
                <a:cubicBezTo>
                  <a:pt x="3237327" y="934253"/>
                  <a:pt x="3236124" y="936082"/>
                  <a:pt x="3234442" y="937188"/>
                </a:cubicBezTo>
                <a:cubicBezTo>
                  <a:pt x="3232999" y="938632"/>
                  <a:pt x="3231172" y="939402"/>
                  <a:pt x="3229489" y="940364"/>
                </a:cubicBezTo>
                <a:cubicBezTo>
                  <a:pt x="3227613" y="940894"/>
                  <a:pt x="3225930" y="941712"/>
                  <a:pt x="3223766" y="941712"/>
                </a:cubicBezTo>
                <a:cubicBezTo>
                  <a:pt x="3219727" y="942193"/>
                  <a:pt x="3215159" y="941712"/>
                  <a:pt x="3210783" y="941182"/>
                </a:cubicBezTo>
                <a:cubicBezTo>
                  <a:pt x="3201887" y="939931"/>
                  <a:pt x="3192944" y="937669"/>
                  <a:pt x="3184144" y="935167"/>
                </a:cubicBezTo>
                <a:cubicBezTo>
                  <a:pt x="3166496" y="930163"/>
                  <a:pt x="3149233" y="923907"/>
                  <a:pt x="3132163" y="917507"/>
                </a:cubicBezTo>
                <a:cubicBezTo>
                  <a:pt x="3098022" y="904563"/>
                  <a:pt x="3064747" y="890464"/>
                  <a:pt x="3031952" y="876413"/>
                </a:cubicBezTo>
                <a:cubicBezTo>
                  <a:pt x="2999110" y="862361"/>
                  <a:pt x="2966844" y="848118"/>
                  <a:pt x="2934482" y="834885"/>
                </a:cubicBezTo>
                <a:cubicBezTo>
                  <a:pt x="2902024" y="821844"/>
                  <a:pt x="2869855" y="810007"/>
                  <a:pt x="2838647" y="796726"/>
                </a:cubicBezTo>
                <a:cubicBezTo>
                  <a:pt x="2776280" y="770548"/>
                  <a:pt x="2715692" y="743216"/>
                  <a:pt x="2664048" y="705634"/>
                </a:cubicBezTo>
                <a:cubicBezTo>
                  <a:pt x="2638370" y="686867"/>
                  <a:pt x="2614663" y="665887"/>
                  <a:pt x="2596102" y="641201"/>
                </a:cubicBezTo>
                <a:cubicBezTo>
                  <a:pt x="2590957" y="635427"/>
                  <a:pt x="2587014" y="628786"/>
                  <a:pt x="2582734" y="622482"/>
                </a:cubicBezTo>
                <a:lnTo>
                  <a:pt x="2576387" y="612955"/>
                </a:lnTo>
                <a:cubicBezTo>
                  <a:pt x="2574223" y="609827"/>
                  <a:pt x="2572685" y="606314"/>
                  <a:pt x="2570761" y="602994"/>
                </a:cubicBezTo>
                <a:cubicBezTo>
                  <a:pt x="2567203" y="596257"/>
                  <a:pt x="2563356" y="589761"/>
                  <a:pt x="2560134" y="582928"/>
                </a:cubicBezTo>
                <a:cubicBezTo>
                  <a:pt x="2557105" y="575998"/>
                  <a:pt x="2554075" y="569117"/>
                  <a:pt x="2551046" y="562284"/>
                </a:cubicBezTo>
                <a:lnTo>
                  <a:pt x="2548786" y="557135"/>
                </a:lnTo>
                <a:lnTo>
                  <a:pt x="2546862" y="551842"/>
                </a:lnTo>
                <a:lnTo>
                  <a:pt x="2543112" y="541304"/>
                </a:lnTo>
                <a:cubicBezTo>
                  <a:pt x="2540707" y="534230"/>
                  <a:pt x="2537822" y="527397"/>
                  <a:pt x="2535947" y="520227"/>
                </a:cubicBezTo>
                <a:cubicBezTo>
                  <a:pt x="2531860" y="506032"/>
                  <a:pt x="2527388" y="492029"/>
                  <a:pt x="2524214" y="477833"/>
                </a:cubicBezTo>
                <a:cubicBezTo>
                  <a:pt x="2522483" y="470760"/>
                  <a:pt x="2520752" y="463734"/>
                  <a:pt x="2519069" y="456708"/>
                </a:cubicBezTo>
                <a:cubicBezTo>
                  <a:pt x="2517386" y="449683"/>
                  <a:pt x="2515751" y="442561"/>
                  <a:pt x="2513876" y="435632"/>
                </a:cubicBezTo>
                <a:cubicBezTo>
                  <a:pt x="2510173" y="421677"/>
                  <a:pt x="2506086" y="408011"/>
                  <a:pt x="2501902" y="394537"/>
                </a:cubicBezTo>
                <a:cubicBezTo>
                  <a:pt x="2493583" y="367542"/>
                  <a:pt x="2484687" y="341268"/>
                  <a:pt x="2478917" y="314946"/>
                </a:cubicBezTo>
                <a:cubicBezTo>
                  <a:pt x="2477475" y="308354"/>
                  <a:pt x="2476320" y="301762"/>
                  <a:pt x="2475551" y="295217"/>
                </a:cubicBezTo>
                <a:cubicBezTo>
                  <a:pt x="2474782" y="288673"/>
                  <a:pt x="2474589" y="282080"/>
                  <a:pt x="2474445" y="275392"/>
                </a:cubicBezTo>
                <a:cubicBezTo>
                  <a:pt x="2474061" y="262062"/>
                  <a:pt x="2473820" y="248829"/>
                  <a:pt x="2473195" y="235693"/>
                </a:cubicBezTo>
                <a:cubicBezTo>
                  <a:pt x="2472474" y="222556"/>
                  <a:pt x="2471560" y="209515"/>
                  <a:pt x="2468915" y="196715"/>
                </a:cubicBezTo>
                <a:cubicBezTo>
                  <a:pt x="2466415" y="183915"/>
                  <a:pt x="2462087" y="171452"/>
                  <a:pt x="2455211" y="160433"/>
                </a:cubicBezTo>
                <a:cubicBezTo>
                  <a:pt x="2448190" y="149557"/>
                  <a:pt x="2439006" y="140318"/>
                  <a:pt x="2428619" y="133245"/>
                </a:cubicBezTo>
                <a:cubicBezTo>
                  <a:pt x="2418281" y="126123"/>
                  <a:pt x="2407173" y="120637"/>
                  <a:pt x="2395921" y="116114"/>
                </a:cubicBezTo>
                <a:cubicBezTo>
                  <a:pt x="2373369" y="107067"/>
                  <a:pt x="2350288" y="101485"/>
                  <a:pt x="2327783" y="96722"/>
                </a:cubicBezTo>
                <a:cubicBezTo>
                  <a:pt x="2305279" y="91765"/>
                  <a:pt x="2282679" y="89552"/>
                  <a:pt x="2261040" y="87049"/>
                </a:cubicBezTo>
                <a:cubicBezTo>
                  <a:pt x="2239306" y="84547"/>
                  <a:pt x="2218148" y="82141"/>
                  <a:pt x="2197759" y="78773"/>
                </a:cubicBezTo>
                <a:cubicBezTo>
                  <a:pt x="2187565" y="77040"/>
                  <a:pt x="2177515" y="75116"/>
                  <a:pt x="2168187" y="71988"/>
                </a:cubicBezTo>
                <a:cubicBezTo>
                  <a:pt x="2163667" y="70304"/>
                  <a:pt x="2159243" y="68186"/>
                  <a:pt x="2156165" y="64914"/>
                </a:cubicBezTo>
                <a:cubicBezTo>
                  <a:pt x="2153040" y="61690"/>
                  <a:pt x="2151693" y="57311"/>
                  <a:pt x="2152607" y="52980"/>
                </a:cubicBezTo>
                <a:cubicBezTo>
                  <a:pt x="2153424" y="48601"/>
                  <a:pt x="2155829" y="44511"/>
                  <a:pt x="2158666" y="40854"/>
                </a:cubicBezTo>
                <a:cubicBezTo>
                  <a:pt x="2161551" y="37197"/>
                  <a:pt x="2164917" y="33925"/>
                  <a:pt x="2168523" y="30941"/>
                </a:cubicBezTo>
                <a:cubicBezTo>
                  <a:pt x="2175736" y="25119"/>
                  <a:pt x="2183863" y="20210"/>
                  <a:pt x="2192326" y="17708"/>
                </a:cubicBezTo>
                <a:cubicBezTo>
                  <a:pt x="2201029" y="15447"/>
                  <a:pt x="2210118" y="14292"/>
                  <a:pt x="2218965" y="13233"/>
                </a:cubicBezTo>
                <a:cubicBezTo>
                  <a:pt x="2227813" y="12271"/>
                  <a:pt x="2236613" y="11453"/>
                  <a:pt x="2245220" y="10923"/>
                </a:cubicBezTo>
                <a:close/>
                <a:moveTo>
                  <a:pt x="2564414" y="193636"/>
                </a:moveTo>
                <a:cubicBezTo>
                  <a:pt x="2562586" y="184300"/>
                  <a:pt x="2558355" y="175639"/>
                  <a:pt x="2553691" y="167603"/>
                </a:cubicBezTo>
                <a:cubicBezTo>
                  <a:pt x="2550854" y="163945"/>
                  <a:pt x="2548305" y="160000"/>
                  <a:pt x="2545179" y="156631"/>
                </a:cubicBezTo>
                <a:cubicBezTo>
                  <a:pt x="2541910" y="153455"/>
                  <a:pt x="2538928" y="149894"/>
                  <a:pt x="2535466" y="147103"/>
                </a:cubicBezTo>
                <a:cubicBezTo>
                  <a:pt x="2521906" y="135121"/>
                  <a:pt x="2506470" y="126941"/>
                  <a:pt x="2491275" y="119338"/>
                </a:cubicBezTo>
                <a:cubicBezTo>
                  <a:pt x="2475792" y="112072"/>
                  <a:pt x="2460068" y="106779"/>
                  <a:pt x="2444632" y="102159"/>
                </a:cubicBezTo>
                <a:cubicBezTo>
                  <a:pt x="2429196" y="97443"/>
                  <a:pt x="2413905" y="93546"/>
                  <a:pt x="2398999" y="89840"/>
                </a:cubicBezTo>
                <a:cubicBezTo>
                  <a:pt x="2369137" y="82574"/>
                  <a:pt x="2340526" y="76655"/>
                  <a:pt x="2313598" y="70737"/>
                </a:cubicBezTo>
                <a:cubicBezTo>
                  <a:pt x="2286718" y="64625"/>
                  <a:pt x="2260992" y="59861"/>
                  <a:pt x="2240315" y="47976"/>
                </a:cubicBezTo>
                <a:cubicBezTo>
                  <a:pt x="2237767" y="46532"/>
                  <a:pt x="2235363" y="44944"/>
                  <a:pt x="2233295" y="43212"/>
                </a:cubicBezTo>
                <a:cubicBezTo>
                  <a:pt x="2231275" y="41480"/>
                  <a:pt x="2229400" y="39459"/>
                  <a:pt x="2228919" y="37630"/>
                </a:cubicBezTo>
                <a:cubicBezTo>
                  <a:pt x="2227573" y="34310"/>
                  <a:pt x="2232285" y="30556"/>
                  <a:pt x="2236997" y="28391"/>
                </a:cubicBezTo>
                <a:cubicBezTo>
                  <a:pt x="2246086" y="24156"/>
                  <a:pt x="2255991" y="22039"/>
                  <a:pt x="2265464" y="20210"/>
                </a:cubicBezTo>
                <a:cubicBezTo>
                  <a:pt x="2263829" y="21077"/>
                  <a:pt x="2262194" y="22087"/>
                  <a:pt x="2260559" y="23338"/>
                </a:cubicBezTo>
                <a:cubicBezTo>
                  <a:pt x="2259165" y="24445"/>
                  <a:pt x="2257722" y="25985"/>
                  <a:pt x="2256616" y="28054"/>
                </a:cubicBezTo>
                <a:cubicBezTo>
                  <a:pt x="2255511" y="30075"/>
                  <a:pt x="2255126" y="32866"/>
                  <a:pt x="2255655" y="35176"/>
                </a:cubicBezTo>
                <a:cubicBezTo>
                  <a:pt x="2256809" y="39892"/>
                  <a:pt x="2259598" y="42250"/>
                  <a:pt x="2261906" y="44415"/>
                </a:cubicBezTo>
                <a:cubicBezTo>
                  <a:pt x="2266859" y="48505"/>
                  <a:pt x="2272004" y="51055"/>
                  <a:pt x="2277053" y="53413"/>
                </a:cubicBezTo>
                <a:cubicBezTo>
                  <a:pt x="2282150" y="55723"/>
                  <a:pt x="2287151" y="57648"/>
                  <a:pt x="2292152" y="59428"/>
                </a:cubicBezTo>
                <a:cubicBezTo>
                  <a:pt x="2302154" y="62893"/>
                  <a:pt x="2311675" y="65732"/>
                  <a:pt x="2321099" y="68090"/>
                </a:cubicBezTo>
                <a:cubicBezTo>
                  <a:pt x="2339853" y="72517"/>
                  <a:pt x="2356923" y="74923"/>
                  <a:pt x="2371830" y="77377"/>
                </a:cubicBezTo>
                <a:cubicBezTo>
                  <a:pt x="2386737" y="79783"/>
                  <a:pt x="2399527" y="81901"/>
                  <a:pt x="2409962" y="83825"/>
                </a:cubicBezTo>
                <a:cubicBezTo>
                  <a:pt x="2430831" y="87627"/>
                  <a:pt x="2442276" y="90273"/>
                  <a:pt x="2442516" y="89455"/>
                </a:cubicBezTo>
                <a:cubicBezTo>
                  <a:pt x="2442612" y="89119"/>
                  <a:pt x="2439872" y="88012"/>
                  <a:pt x="2434534" y="86279"/>
                </a:cubicBezTo>
                <a:cubicBezTo>
                  <a:pt x="2429196" y="84595"/>
                  <a:pt x="2421214" y="82285"/>
                  <a:pt x="2410876" y="79735"/>
                </a:cubicBezTo>
                <a:cubicBezTo>
                  <a:pt x="2400537" y="77185"/>
                  <a:pt x="2387747" y="74394"/>
                  <a:pt x="2372936" y="71458"/>
                </a:cubicBezTo>
                <a:cubicBezTo>
                  <a:pt x="2358126" y="68427"/>
                  <a:pt x="2341151" y="65492"/>
                  <a:pt x="2323023" y="60728"/>
                </a:cubicBezTo>
                <a:cubicBezTo>
                  <a:pt x="2314079" y="58274"/>
                  <a:pt x="2304558" y="55194"/>
                  <a:pt x="2295037" y="51633"/>
                </a:cubicBezTo>
                <a:cubicBezTo>
                  <a:pt x="2290276" y="49852"/>
                  <a:pt x="2285468" y="47880"/>
                  <a:pt x="2280756" y="45618"/>
                </a:cubicBezTo>
                <a:cubicBezTo>
                  <a:pt x="2276139" y="43356"/>
                  <a:pt x="2271379" y="40806"/>
                  <a:pt x="2267772" y="37630"/>
                </a:cubicBezTo>
                <a:cubicBezTo>
                  <a:pt x="2266041" y="36138"/>
                  <a:pt x="2264599" y="34213"/>
                  <a:pt x="2264503" y="33251"/>
                </a:cubicBezTo>
                <a:cubicBezTo>
                  <a:pt x="2264454" y="32770"/>
                  <a:pt x="2264503" y="32577"/>
                  <a:pt x="2264743" y="32096"/>
                </a:cubicBezTo>
                <a:cubicBezTo>
                  <a:pt x="2265031" y="31615"/>
                  <a:pt x="2265512" y="30941"/>
                  <a:pt x="2266378" y="30316"/>
                </a:cubicBezTo>
                <a:cubicBezTo>
                  <a:pt x="2269792" y="27669"/>
                  <a:pt x="2275322" y="25792"/>
                  <a:pt x="2280756" y="24349"/>
                </a:cubicBezTo>
                <a:cubicBezTo>
                  <a:pt x="2291815" y="21558"/>
                  <a:pt x="2303885" y="20114"/>
                  <a:pt x="2316195" y="19152"/>
                </a:cubicBezTo>
                <a:cubicBezTo>
                  <a:pt x="2321917" y="18719"/>
                  <a:pt x="2327783" y="18430"/>
                  <a:pt x="2333650" y="18189"/>
                </a:cubicBezTo>
                <a:cubicBezTo>
                  <a:pt x="2333361" y="18238"/>
                  <a:pt x="2333073" y="18286"/>
                  <a:pt x="2332784" y="18334"/>
                </a:cubicBezTo>
                <a:cubicBezTo>
                  <a:pt x="2324850" y="19874"/>
                  <a:pt x="2318743" y="21798"/>
                  <a:pt x="2314945" y="23964"/>
                </a:cubicBezTo>
                <a:cubicBezTo>
                  <a:pt x="2313983" y="24589"/>
                  <a:pt x="2313165" y="25022"/>
                  <a:pt x="2312492" y="25600"/>
                </a:cubicBezTo>
                <a:cubicBezTo>
                  <a:pt x="2311867" y="26225"/>
                  <a:pt x="2311338" y="26707"/>
                  <a:pt x="2311002" y="27140"/>
                </a:cubicBezTo>
                <a:cubicBezTo>
                  <a:pt x="2310424" y="28247"/>
                  <a:pt x="2310328" y="28776"/>
                  <a:pt x="2310473" y="28872"/>
                </a:cubicBezTo>
                <a:cubicBezTo>
                  <a:pt x="2310617" y="28968"/>
                  <a:pt x="2311146" y="28583"/>
                  <a:pt x="2311771" y="27910"/>
                </a:cubicBezTo>
                <a:cubicBezTo>
                  <a:pt x="2312636" y="27380"/>
                  <a:pt x="2313887" y="26610"/>
                  <a:pt x="2315810" y="25937"/>
                </a:cubicBezTo>
                <a:cubicBezTo>
                  <a:pt x="2319609" y="24589"/>
                  <a:pt x="2325572" y="23338"/>
                  <a:pt x="2333409" y="22472"/>
                </a:cubicBezTo>
                <a:cubicBezTo>
                  <a:pt x="2349037" y="20740"/>
                  <a:pt x="2372022" y="20355"/>
                  <a:pt x="2400297" y="21798"/>
                </a:cubicBezTo>
                <a:cubicBezTo>
                  <a:pt x="2401691" y="21847"/>
                  <a:pt x="2403134" y="21943"/>
                  <a:pt x="2404577" y="22039"/>
                </a:cubicBezTo>
                <a:cubicBezTo>
                  <a:pt x="2401162" y="22183"/>
                  <a:pt x="2397796" y="22376"/>
                  <a:pt x="2394382" y="22761"/>
                </a:cubicBezTo>
                <a:cubicBezTo>
                  <a:pt x="2391305" y="23146"/>
                  <a:pt x="2388227" y="23579"/>
                  <a:pt x="2384957" y="24493"/>
                </a:cubicBezTo>
                <a:cubicBezTo>
                  <a:pt x="2383948" y="24830"/>
                  <a:pt x="2382842" y="25119"/>
                  <a:pt x="2381640" y="25744"/>
                </a:cubicBezTo>
                <a:lnTo>
                  <a:pt x="2379764" y="26659"/>
                </a:lnTo>
                <a:lnTo>
                  <a:pt x="2378177" y="27813"/>
                </a:lnTo>
                <a:cubicBezTo>
                  <a:pt x="2376206" y="29450"/>
                  <a:pt x="2375052" y="31856"/>
                  <a:pt x="2375148" y="34358"/>
                </a:cubicBezTo>
                <a:cubicBezTo>
                  <a:pt x="2374956" y="39266"/>
                  <a:pt x="2381207" y="43789"/>
                  <a:pt x="2383226" y="44944"/>
                </a:cubicBezTo>
                <a:cubicBezTo>
                  <a:pt x="2385919" y="46628"/>
                  <a:pt x="2388516" y="47880"/>
                  <a:pt x="2391161" y="49083"/>
                </a:cubicBezTo>
                <a:cubicBezTo>
                  <a:pt x="2396402" y="51392"/>
                  <a:pt x="2401547" y="53221"/>
                  <a:pt x="2406596" y="54905"/>
                </a:cubicBezTo>
                <a:cubicBezTo>
                  <a:pt x="2426840" y="61305"/>
                  <a:pt x="2445449" y="64770"/>
                  <a:pt x="2461173" y="67031"/>
                </a:cubicBezTo>
                <a:cubicBezTo>
                  <a:pt x="2492670" y="71410"/>
                  <a:pt x="2512385" y="70207"/>
                  <a:pt x="2512385" y="68860"/>
                </a:cubicBezTo>
                <a:cubicBezTo>
                  <a:pt x="2512433" y="67272"/>
                  <a:pt x="2493055" y="65780"/>
                  <a:pt x="2462424" y="59621"/>
                </a:cubicBezTo>
                <a:cubicBezTo>
                  <a:pt x="2447181" y="56445"/>
                  <a:pt x="2429004" y="52307"/>
                  <a:pt x="2409722" y="45618"/>
                </a:cubicBezTo>
                <a:cubicBezTo>
                  <a:pt x="2404913" y="43934"/>
                  <a:pt x="2400056" y="42057"/>
                  <a:pt x="2395392" y="39892"/>
                </a:cubicBezTo>
                <a:cubicBezTo>
                  <a:pt x="2393084" y="38785"/>
                  <a:pt x="2390776" y="37582"/>
                  <a:pt x="2388756" y="36283"/>
                </a:cubicBezTo>
                <a:cubicBezTo>
                  <a:pt x="2386256" y="34550"/>
                  <a:pt x="2387266" y="35176"/>
                  <a:pt x="2387025" y="34983"/>
                </a:cubicBezTo>
                <a:lnTo>
                  <a:pt x="2387073" y="34983"/>
                </a:lnTo>
                <a:cubicBezTo>
                  <a:pt x="2387073" y="34983"/>
                  <a:pt x="2387073" y="34935"/>
                  <a:pt x="2387073" y="34935"/>
                </a:cubicBezTo>
                <a:lnTo>
                  <a:pt x="2387795" y="34743"/>
                </a:lnTo>
                <a:cubicBezTo>
                  <a:pt x="2390103" y="34117"/>
                  <a:pt x="2392747" y="33732"/>
                  <a:pt x="2395488" y="33395"/>
                </a:cubicBezTo>
                <a:cubicBezTo>
                  <a:pt x="2400970" y="32818"/>
                  <a:pt x="2406788" y="32674"/>
                  <a:pt x="2412655" y="32625"/>
                </a:cubicBezTo>
                <a:cubicBezTo>
                  <a:pt x="2436313" y="32722"/>
                  <a:pt x="2458913" y="34647"/>
                  <a:pt x="2479061" y="38063"/>
                </a:cubicBezTo>
                <a:cubicBezTo>
                  <a:pt x="2499161" y="41576"/>
                  <a:pt x="2517242" y="46292"/>
                  <a:pt x="2530610" y="53028"/>
                </a:cubicBezTo>
                <a:cubicBezTo>
                  <a:pt x="2533879" y="54713"/>
                  <a:pt x="2536957" y="56589"/>
                  <a:pt x="2538880" y="58610"/>
                </a:cubicBezTo>
                <a:cubicBezTo>
                  <a:pt x="2539842" y="59765"/>
                  <a:pt x="2540227" y="60102"/>
                  <a:pt x="2540323" y="60824"/>
                </a:cubicBezTo>
                <a:cubicBezTo>
                  <a:pt x="2540323" y="61498"/>
                  <a:pt x="2540082" y="62171"/>
                  <a:pt x="2539505" y="62604"/>
                </a:cubicBezTo>
                <a:cubicBezTo>
                  <a:pt x="2537918" y="63807"/>
                  <a:pt x="2535082" y="64818"/>
                  <a:pt x="2532725" y="65395"/>
                </a:cubicBezTo>
                <a:cubicBezTo>
                  <a:pt x="2530273" y="65973"/>
                  <a:pt x="2527917" y="66406"/>
                  <a:pt x="2525801" y="66695"/>
                </a:cubicBezTo>
                <a:cubicBezTo>
                  <a:pt x="2517242" y="67801"/>
                  <a:pt x="2512289" y="68090"/>
                  <a:pt x="2512289" y="68908"/>
                </a:cubicBezTo>
                <a:cubicBezTo>
                  <a:pt x="2512289" y="69534"/>
                  <a:pt x="2517049" y="70737"/>
                  <a:pt x="2526089" y="70833"/>
                </a:cubicBezTo>
                <a:cubicBezTo>
                  <a:pt x="2528349" y="70833"/>
                  <a:pt x="2530898" y="70737"/>
                  <a:pt x="2533687" y="70400"/>
                </a:cubicBezTo>
                <a:cubicBezTo>
                  <a:pt x="2536524" y="69919"/>
                  <a:pt x="2539553" y="69630"/>
                  <a:pt x="2543160" y="67272"/>
                </a:cubicBezTo>
                <a:cubicBezTo>
                  <a:pt x="2545179" y="65973"/>
                  <a:pt x="2546766" y="63711"/>
                  <a:pt x="2546862" y="61064"/>
                </a:cubicBezTo>
                <a:cubicBezTo>
                  <a:pt x="2546862" y="60391"/>
                  <a:pt x="2546766" y="59765"/>
                  <a:pt x="2546670" y="59092"/>
                </a:cubicBezTo>
                <a:cubicBezTo>
                  <a:pt x="2546478" y="58466"/>
                  <a:pt x="2546141" y="57840"/>
                  <a:pt x="2545901" y="57215"/>
                </a:cubicBezTo>
                <a:cubicBezTo>
                  <a:pt x="2545420" y="55723"/>
                  <a:pt x="2544699" y="55242"/>
                  <a:pt x="2544025" y="54183"/>
                </a:cubicBezTo>
                <a:cubicBezTo>
                  <a:pt x="2541236" y="50863"/>
                  <a:pt x="2537870" y="48649"/>
                  <a:pt x="2534360" y="46484"/>
                </a:cubicBezTo>
                <a:cubicBezTo>
                  <a:pt x="2532437" y="45329"/>
                  <a:pt x="2530369" y="44271"/>
                  <a:pt x="2528301" y="43260"/>
                </a:cubicBezTo>
                <a:cubicBezTo>
                  <a:pt x="2536764" y="46099"/>
                  <a:pt x="2545276" y="49227"/>
                  <a:pt x="2553739" y="52788"/>
                </a:cubicBezTo>
                <a:cubicBezTo>
                  <a:pt x="2563019" y="56686"/>
                  <a:pt x="2572300" y="61113"/>
                  <a:pt x="2581052" y="66310"/>
                </a:cubicBezTo>
                <a:cubicBezTo>
                  <a:pt x="2585427" y="68908"/>
                  <a:pt x="2589659" y="71747"/>
                  <a:pt x="2593457" y="74923"/>
                </a:cubicBezTo>
                <a:cubicBezTo>
                  <a:pt x="2595285" y="76511"/>
                  <a:pt x="2597016" y="78195"/>
                  <a:pt x="2598362" y="79879"/>
                </a:cubicBezTo>
                <a:cubicBezTo>
                  <a:pt x="2599709" y="81516"/>
                  <a:pt x="2600478" y="83344"/>
                  <a:pt x="2600430" y="84018"/>
                </a:cubicBezTo>
                <a:lnTo>
                  <a:pt x="2600190" y="84788"/>
                </a:lnTo>
                <a:cubicBezTo>
                  <a:pt x="2599901" y="85125"/>
                  <a:pt x="2599516" y="85606"/>
                  <a:pt x="2598747" y="86087"/>
                </a:cubicBezTo>
                <a:cubicBezTo>
                  <a:pt x="2597305" y="87049"/>
                  <a:pt x="2595141" y="87867"/>
                  <a:pt x="2592880" y="88493"/>
                </a:cubicBezTo>
                <a:cubicBezTo>
                  <a:pt x="2588313" y="89744"/>
                  <a:pt x="2583215" y="90322"/>
                  <a:pt x="2578166" y="90658"/>
                </a:cubicBezTo>
                <a:cubicBezTo>
                  <a:pt x="2567972" y="91284"/>
                  <a:pt x="2557682" y="90995"/>
                  <a:pt x="2547632" y="90370"/>
                </a:cubicBezTo>
                <a:cubicBezTo>
                  <a:pt x="2527436" y="89119"/>
                  <a:pt x="2507913" y="86616"/>
                  <a:pt x="2489400" y="83777"/>
                </a:cubicBezTo>
                <a:cubicBezTo>
                  <a:pt x="2452374" y="78051"/>
                  <a:pt x="2419339" y="70833"/>
                  <a:pt x="2391882" y="63759"/>
                </a:cubicBezTo>
                <a:cubicBezTo>
                  <a:pt x="2364473" y="56637"/>
                  <a:pt x="2342594" y="49612"/>
                  <a:pt x="2328216" y="43212"/>
                </a:cubicBezTo>
                <a:cubicBezTo>
                  <a:pt x="2321052" y="40036"/>
                  <a:pt x="2315762" y="36956"/>
                  <a:pt x="2313021" y="34165"/>
                </a:cubicBezTo>
                <a:cubicBezTo>
                  <a:pt x="2310088" y="31374"/>
                  <a:pt x="2310953" y="29113"/>
                  <a:pt x="2310521" y="28968"/>
                </a:cubicBezTo>
                <a:cubicBezTo>
                  <a:pt x="2310424" y="28920"/>
                  <a:pt x="2309896" y="29353"/>
                  <a:pt x="2309703" y="30556"/>
                </a:cubicBezTo>
                <a:cubicBezTo>
                  <a:pt x="2309511" y="31759"/>
                  <a:pt x="2309992" y="33684"/>
                  <a:pt x="2311338" y="35513"/>
                </a:cubicBezTo>
                <a:cubicBezTo>
                  <a:pt x="2313983" y="39218"/>
                  <a:pt x="2319224" y="43068"/>
                  <a:pt x="2326341" y="46917"/>
                </a:cubicBezTo>
                <a:cubicBezTo>
                  <a:pt x="2340574" y="54665"/>
                  <a:pt x="2362405" y="62893"/>
                  <a:pt x="2389814" y="71025"/>
                </a:cubicBezTo>
                <a:cubicBezTo>
                  <a:pt x="2417271" y="79061"/>
                  <a:pt x="2450402" y="87146"/>
                  <a:pt x="2487765" y="93449"/>
                </a:cubicBezTo>
                <a:cubicBezTo>
                  <a:pt x="2506422" y="96577"/>
                  <a:pt x="2526185" y="99320"/>
                  <a:pt x="2546862" y="100764"/>
                </a:cubicBezTo>
                <a:cubicBezTo>
                  <a:pt x="2557201" y="101437"/>
                  <a:pt x="2567828" y="101870"/>
                  <a:pt x="2578791" y="101197"/>
                </a:cubicBezTo>
                <a:cubicBezTo>
                  <a:pt x="2584273" y="100860"/>
                  <a:pt x="2589851" y="100282"/>
                  <a:pt x="2595621" y="98743"/>
                </a:cubicBezTo>
                <a:cubicBezTo>
                  <a:pt x="2598507" y="97925"/>
                  <a:pt x="2601488" y="96962"/>
                  <a:pt x="2604565" y="94989"/>
                </a:cubicBezTo>
                <a:cubicBezTo>
                  <a:pt x="2606104" y="94075"/>
                  <a:pt x="2607691" y="92631"/>
                  <a:pt x="2608989" y="90755"/>
                </a:cubicBezTo>
                <a:cubicBezTo>
                  <a:pt x="2610336" y="88830"/>
                  <a:pt x="2611105" y="86231"/>
                  <a:pt x="2611057" y="83873"/>
                </a:cubicBezTo>
                <a:cubicBezTo>
                  <a:pt x="2610865" y="79013"/>
                  <a:pt x="2608653" y="75885"/>
                  <a:pt x="2606729" y="73335"/>
                </a:cubicBezTo>
                <a:cubicBezTo>
                  <a:pt x="2604710" y="70785"/>
                  <a:pt x="2602546" y="68716"/>
                  <a:pt x="2600286" y="66791"/>
                </a:cubicBezTo>
                <a:cubicBezTo>
                  <a:pt x="2595814" y="63037"/>
                  <a:pt x="2591149" y="59958"/>
                  <a:pt x="2586437" y="57167"/>
                </a:cubicBezTo>
                <a:cubicBezTo>
                  <a:pt x="2577012" y="51585"/>
                  <a:pt x="2567347" y="47110"/>
                  <a:pt x="2557730" y="43116"/>
                </a:cubicBezTo>
                <a:cubicBezTo>
                  <a:pt x="2556383" y="42586"/>
                  <a:pt x="2555085" y="42105"/>
                  <a:pt x="2553739" y="41576"/>
                </a:cubicBezTo>
                <a:cubicBezTo>
                  <a:pt x="2555855" y="42153"/>
                  <a:pt x="2558018" y="42683"/>
                  <a:pt x="2560134" y="43308"/>
                </a:cubicBezTo>
                <a:cubicBezTo>
                  <a:pt x="2573069" y="47110"/>
                  <a:pt x="2585572" y="51489"/>
                  <a:pt x="2597160" y="56926"/>
                </a:cubicBezTo>
                <a:cubicBezTo>
                  <a:pt x="2608508" y="62412"/>
                  <a:pt x="2620097" y="68667"/>
                  <a:pt x="2626060" y="77570"/>
                </a:cubicBezTo>
                <a:cubicBezTo>
                  <a:pt x="2629137" y="82285"/>
                  <a:pt x="2631301" y="87579"/>
                  <a:pt x="2632792" y="93016"/>
                </a:cubicBezTo>
                <a:cubicBezTo>
                  <a:pt x="2634090" y="98502"/>
                  <a:pt x="2634475" y="104036"/>
                  <a:pt x="2634090" y="109377"/>
                </a:cubicBezTo>
                <a:cubicBezTo>
                  <a:pt x="2633417" y="114670"/>
                  <a:pt x="2631782" y="119579"/>
                  <a:pt x="2629137" y="123717"/>
                </a:cubicBezTo>
                <a:cubicBezTo>
                  <a:pt x="2626300" y="127711"/>
                  <a:pt x="2622405" y="130550"/>
                  <a:pt x="2617981" y="132427"/>
                </a:cubicBezTo>
                <a:cubicBezTo>
                  <a:pt x="2608941" y="135891"/>
                  <a:pt x="2598218" y="134688"/>
                  <a:pt x="2588313" y="133197"/>
                </a:cubicBezTo>
                <a:cubicBezTo>
                  <a:pt x="2578359" y="131512"/>
                  <a:pt x="2568838" y="128962"/>
                  <a:pt x="2559750" y="126412"/>
                </a:cubicBezTo>
                <a:cubicBezTo>
                  <a:pt x="2541669" y="121070"/>
                  <a:pt x="2525512" y="115296"/>
                  <a:pt x="2511231" y="110340"/>
                </a:cubicBezTo>
                <a:cubicBezTo>
                  <a:pt x="2496997" y="105335"/>
                  <a:pt x="2484687" y="101004"/>
                  <a:pt x="2474541" y="97780"/>
                </a:cubicBezTo>
                <a:cubicBezTo>
                  <a:pt x="2454249" y="91188"/>
                  <a:pt x="2442564" y="88974"/>
                  <a:pt x="2442420" y="89600"/>
                </a:cubicBezTo>
                <a:cubicBezTo>
                  <a:pt x="2442228" y="90370"/>
                  <a:pt x="2453384" y="93931"/>
                  <a:pt x="2473147" y="101678"/>
                </a:cubicBezTo>
                <a:cubicBezTo>
                  <a:pt x="2483004" y="105576"/>
                  <a:pt x="2495122" y="110388"/>
                  <a:pt x="2509163" y="115921"/>
                </a:cubicBezTo>
                <a:cubicBezTo>
                  <a:pt x="2523252" y="121455"/>
                  <a:pt x="2539313" y="127711"/>
                  <a:pt x="2557538" y="133630"/>
                </a:cubicBezTo>
                <a:cubicBezTo>
                  <a:pt x="2566722" y="136469"/>
                  <a:pt x="2576387" y="139308"/>
                  <a:pt x="2586870" y="141329"/>
                </a:cubicBezTo>
                <a:cubicBezTo>
                  <a:pt x="2589515" y="141714"/>
                  <a:pt x="2592207" y="142147"/>
                  <a:pt x="2594900" y="142580"/>
                </a:cubicBezTo>
                <a:cubicBezTo>
                  <a:pt x="2597593" y="142965"/>
                  <a:pt x="2600430" y="143013"/>
                  <a:pt x="2603267" y="143254"/>
                </a:cubicBezTo>
                <a:cubicBezTo>
                  <a:pt x="2606104" y="143398"/>
                  <a:pt x="2609133" y="143013"/>
                  <a:pt x="2612115" y="142869"/>
                </a:cubicBezTo>
                <a:cubicBezTo>
                  <a:pt x="2615096" y="142436"/>
                  <a:pt x="2618174" y="141618"/>
                  <a:pt x="2621155" y="140703"/>
                </a:cubicBezTo>
                <a:cubicBezTo>
                  <a:pt x="2627070" y="138345"/>
                  <a:pt x="2632648" y="134400"/>
                  <a:pt x="2636639" y="128914"/>
                </a:cubicBezTo>
                <a:cubicBezTo>
                  <a:pt x="2640389" y="123380"/>
                  <a:pt x="2642553" y="116932"/>
                  <a:pt x="2643419" y="110388"/>
                </a:cubicBezTo>
                <a:cubicBezTo>
                  <a:pt x="2644044" y="103843"/>
                  <a:pt x="2643611" y="97203"/>
                  <a:pt x="2642168" y="90755"/>
                </a:cubicBezTo>
                <a:cubicBezTo>
                  <a:pt x="2640534" y="84307"/>
                  <a:pt x="2638033" y="78003"/>
                  <a:pt x="2634283" y="72132"/>
                </a:cubicBezTo>
                <a:cubicBezTo>
                  <a:pt x="2632503" y="69678"/>
                  <a:pt x="2630628" y="67272"/>
                  <a:pt x="2628368" y="65107"/>
                </a:cubicBezTo>
                <a:cubicBezTo>
                  <a:pt x="2635292" y="69004"/>
                  <a:pt x="2642024" y="73431"/>
                  <a:pt x="2647843" y="78965"/>
                </a:cubicBezTo>
                <a:cubicBezTo>
                  <a:pt x="2648852" y="79976"/>
                  <a:pt x="2649910" y="80938"/>
                  <a:pt x="2650920" y="81997"/>
                </a:cubicBezTo>
                <a:lnTo>
                  <a:pt x="2653469" y="85510"/>
                </a:lnTo>
                <a:cubicBezTo>
                  <a:pt x="2655392" y="87723"/>
                  <a:pt x="2656402" y="90514"/>
                  <a:pt x="2657844" y="93064"/>
                </a:cubicBezTo>
                <a:cubicBezTo>
                  <a:pt x="2659960" y="98550"/>
                  <a:pt x="2661499" y="104373"/>
                  <a:pt x="2661595" y="110676"/>
                </a:cubicBezTo>
                <a:cubicBezTo>
                  <a:pt x="2662268" y="123188"/>
                  <a:pt x="2660345" y="136709"/>
                  <a:pt x="2660682" y="150809"/>
                </a:cubicBezTo>
                <a:cubicBezTo>
                  <a:pt x="2660874" y="164908"/>
                  <a:pt x="2663519" y="179584"/>
                  <a:pt x="2668664" y="193636"/>
                </a:cubicBezTo>
                <a:cubicBezTo>
                  <a:pt x="2670058" y="197100"/>
                  <a:pt x="2671501" y="200565"/>
                  <a:pt x="2672943" y="204078"/>
                </a:cubicBezTo>
                <a:cubicBezTo>
                  <a:pt x="2674674" y="207446"/>
                  <a:pt x="2676405" y="210814"/>
                  <a:pt x="2678137" y="214231"/>
                </a:cubicBezTo>
                <a:cubicBezTo>
                  <a:pt x="2681743" y="220968"/>
                  <a:pt x="2686167" y="227175"/>
                  <a:pt x="2690206" y="233816"/>
                </a:cubicBezTo>
                <a:cubicBezTo>
                  <a:pt x="2707373" y="259608"/>
                  <a:pt x="2728290" y="284583"/>
                  <a:pt x="2752285" y="308162"/>
                </a:cubicBezTo>
                <a:cubicBezTo>
                  <a:pt x="2776184" y="331837"/>
                  <a:pt x="2802246" y="355127"/>
                  <a:pt x="2829751" y="378513"/>
                </a:cubicBezTo>
                <a:cubicBezTo>
                  <a:pt x="2857256" y="401900"/>
                  <a:pt x="2885915" y="425719"/>
                  <a:pt x="2915008" y="450693"/>
                </a:cubicBezTo>
                <a:cubicBezTo>
                  <a:pt x="2943955" y="475812"/>
                  <a:pt x="2973384" y="502086"/>
                  <a:pt x="3002043" y="530525"/>
                </a:cubicBezTo>
                <a:cubicBezTo>
                  <a:pt x="3030461" y="559156"/>
                  <a:pt x="3058544" y="589616"/>
                  <a:pt x="3084462" y="622867"/>
                </a:cubicBezTo>
                <a:cubicBezTo>
                  <a:pt x="3091098" y="630855"/>
                  <a:pt x="3096627" y="639758"/>
                  <a:pt x="3102302" y="648756"/>
                </a:cubicBezTo>
                <a:cubicBezTo>
                  <a:pt x="3107832" y="657803"/>
                  <a:pt x="3113121" y="667042"/>
                  <a:pt x="3117929" y="676570"/>
                </a:cubicBezTo>
                <a:cubicBezTo>
                  <a:pt x="3127499" y="695577"/>
                  <a:pt x="3135962" y="715643"/>
                  <a:pt x="3139761" y="736527"/>
                </a:cubicBezTo>
                <a:cubicBezTo>
                  <a:pt x="3141636" y="746921"/>
                  <a:pt x="3142021" y="757556"/>
                  <a:pt x="3139712" y="767372"/>
                </a:cubicBezTo>
                <a:cubicBezTo>
                  <a:pt x="3137500" y="777237"/>
                  <a:pt x="3131634" y="785610"/>
                  <a:pt x="3123411" y="791240"/>
                </a:cubicBezTo>
                <a:cubicBezTo>
                  <a:pt x="3119132" y="793935"/>
                  <a:pt x="3114612" y="796244"/>
                  <a:pt x="3109514" y="797736"/>
                </a:cubicBezTo>
                <a:cubicBezTo>
                  <a:pt x="3106966" y="798458"/>
                  <a:pt x="3104466" y="799324"/>
                  <a:pt x="3101821" y="799998"/>
                </a:cubicBezTo>
                <a:lnTo>
                  <a:pt x="3093887" y="801586"/>
                </a:lnTo>
                <a:cubicBezTo>
                  <a:pt x="3083164" y="803222"/>
                  <a:pt x="3072152" y="804040"/>
                  <a:pt x="3060996" y="803559"/>
                </a:cubicBezTo>
                <a:cubicBezTo>
                  <a:pt x="3038732" y="803029"/>
                  <a:pt x="3016228" y="799420"/>
                  <a:pt x="2993964" y="794464"/>
                </a:cubicBezTo>
                <a:cubicBezTo>
                  <a:pt x="2971653" y="789459"/>
                  <a:pt x="2949485" y="783011"/>
                  <a:pt x="2927510" y="775505"/>
                </a:cubicBezTo>
                <a:cubicBezTo>
                  <a:pt x="2883559" y="760491"/>
                  <a:pt x="2841244" y="742109"/>
                  <a:pt x="2801140" y="721129"/>
                </a:cubicBezTo>
                <a:cubicBezTo>
                  <a:pt x="2781088" y="710639"/>
                  <a:pt x="2761614" y="699427"/>
                  <a:pt x="2742956" y="687300"/>
                </a:cubicBezTo>
                <a:cubicBezTo>
                  <a:pt x="2733724" y="681141"/>
                  <a:pt x="2724588" y="674933"/>
                  <a:pt x="2715932" y="668197"/>
                </a:cubicBezTo>
                <a:cubicBezTo>
                  <a:pt x="2707229" y="661556"/>
                  <a:pt x="2698958" y="654482"/>
                  <a:pt x="2691601" y="646831"/>
                </a:cubicBezTo>
                <a:cubicBezTo>
                  <a:pt x="2687802" y="643174"/>
                  <a:pt x="2684580" y="638651"/>
                  <a:pt x="2681070" y="634609"/>
                </a:cubicBezTo>
                <a:cubicBezTo>
                  <a:pt x="2677752" y="630374"/>
                  <a:pt x="2674001" y="626476"/>
                  <a:pt x="2671020" y="621953"/>
                </a:cubicBezTo>
                <a:cubicBezTo>
                  <a:pt x="2664769" y="613195"/>
                  <a:pt x="2658421" y="604534"/>
                  <a:pt x="2653036" y="595295"/>
                </a:cubicBezTo>
                <a:cubicBezTo>
                  <a:pt x="2641543" y="577249"/>
                  <a:pt x="2632215" y="558146"/>
                  <a:pt x="2623319" y="539090"/>
                </a:cubicBezTo>
                <a:cubicBezTo>
                  <a:pt x="2606345" y="500594"/>
                  <a:pt x="2593698" y="461136"/>
                  <a:pt x="2584177" y="422014"/>
                </a:cubicBezTo>
                <a:cubicBezTo>
                  <a:pt x="2579705" y="402381"/>
                  <a:pt x="2575522" y="382892"/>
                  <a:pt x="2572637" y="363500"/>
                </a:cubicBezTo>
                <a:cubicBezTo>
                  <a:pt x="2569511" y="344107"/>
                  <a:pt x="2567299" y="324859"/>
                  <a:pt x="2566145" y="305900"/>
                </a:cubicBezTo>
                <a:cubicBezTo>
                  <a:pt x="2564750" y="286941"/>
                  <a:pt x="2565520" y="268366"/>
                  <a:pt x="2566578" y="249696"/>
                </a:cubicBezTo>
                <a:cubicBezTo>
                  <a:pt x="2567491" y="231169"/>
                  <a:pt x="2568982" y="212258"/>
                  <a:pt x="2564606" y="193684"/>
                </a:cubicBezTo>
                <a:close/>
                <a:moveTo>
                  <a:pt x="2835377" y="371776"/>
                </a:moveTo>
                <a:cubicBezTo>
                  <a:pt x="2807824" y="348631"/>
                  <a:pt x="2781762" y="325629"/>
                  <a:pt x="2758007" y="302339"/>
                </a:cubicBezTo>
                <a:cubicBezTo>
                  <a:pt x="2734108" y="279145"/>
                  <a:pt x="2713432" y="254748"/>
                  <a:pt x="2696409" y="229678"/>
                </a:cubicBezTo>
                <a:cubicBezTo>
                  <a:pt x="2692418" y="223278"/>
                  <a:pt x="2687994" y="217118"/>
                  <a:pt x="2684484" y="210718"/>
                </a:cubicBezTo>
                <a:cubicBezTo>
                  <a:pt x="2682801" y="207494"/>
                  <a:pt x="2681118" y="204270"/>
                  <a:pt x="2679435" y="201046"/>
                </a:cubicBezTo>
                <a:cubicBezTo>
                  <a:pt x="2678041" y="197726"/>
                  <a:pt x="2676646" y="194405"/>
                  <a:pt x="2675300" y="191133"/>
                </a:cubicBezTo>
                <a:cubicBezTo>
                  <a:pt x="2670299" y="177852"/>
                  <a:pt x="2667702" y="164138"/>
                  <a:pt x="2667413" y="150616"/>
                </a:cubicBezTo>
                <a:cubicBezTo>
                  <a:pt x="2666885" y="137094"/>
                  <a:pt x="2668712" y="123813"/>
                  <a:pt x="2667895" y="110291"/>
                </a:cubicBezTo>
                <a:cubicBezTo>
                  <a:pt x="2667702" y="103555"/>
                  <a:pt x="2665923" y="96818"/>
                  <a:pt x="2663423" y="90610"/>
                </a:cubicBezTo>
                <a:cubicBezTo>
                  <a:pt x="2661788" y="87675"/>
                  <a:pt x="2660537" y="84547"/>
                  <a:pt x="2658373" y="81997"/>
                </a:cubicBezTo>
                <a:lnTo>
                  <a:pt x="2655440" y="78051"/>
                </a:lnTo>
                <a:cubicBezTo>
                  <a:pt x="2654334" y="76848"/>
                  <a:pt x="2653132" y="75789"/>
                  <a:pt x="2651978" y="74682"/>
                </a:cubicBezTo>
                <a:cubicBezTo>
                  <a:pt x="2646496" y="69582"/>
                  <a:pt x="2640582" y="65540"/>
                  <a:pt x="2634619" y="62075"/>
                </a:cubicBezTo>
                <a:cubicBezTo>
                  <a:pt x="2638899" y="64048"/>
                  <a:pt x="2643178" y="66069"/>
                  <a:pt x="2647314" y="68331"/>
                </a:cubicBezTo>
                <a:cubicBezTo>
                  <a:pt x="2651160" y="70448"/>
                  <a:pt x="2654575" y="72469"/>
                  <a:pt x="2657893" y="75356"/>
                </a:cubicBezTo>
                <a:lnTo>
                  <a:pt x="2662942" y="79446"/>
                </a:lnTo>
                <a:lnTo>
                  <a:pt x="2667462" y="84018"/>
                </a:lnTo>
                <a:cubicBezTo>
                  <a:pt x="2673232" y="90322"/>
                  <a:pt x="2678137" y="97540"/>
                  <a:pt x="2681310" y="105816"/>
                </a:cubicBezTo>
                <a:cubicBezTo>
                  <a:pt x="2684532" y="114045"/>
                  <a:pt x="2686744" y="122947"/>
                  <a:pt x="2688812" y="132090"/>
                </a:cubicBezTo>
                <a:cubicBezTo>
                  <a:pt x="2692803" y="150472"/>
                  <a:pt x="2697179" y="169672"/>
                  <a:pt x="2704536" y="188150"/>
                </a:cubicBezTo>
                <a:cubicBezTo>
                  <a:pt x="2711749" y="206724"/>
                  <a:pt x="2721318" y="224577"/>
                  <a:pt x="2732570" y="241756"/>
                </a:cubicBezTo>
                <a:cubicBezTo>
                  <a:pt x="2743870" y="258838"/>
                  <a:pt x="2756661" y="275103"/>
                  <a:pt x="2770221" y="291079"/>
                </a:cubicBezTo>
                <a:cubicBezTo>
                  <a:pt x="2797390" y="322983"/>
                  <a:pt x="2827395" y="353779"/>
                  <a:pt x="2858843" y="384576"/>
                </a:cubicBezTo>
                <a:cubicBezTo>
                  <a:pt x="2874567" y="399975"/>
                  <a:pt x="2890628" y="415373"/>
                  <a:pt x="2906929" y="430964"/>
                </a:cubicBezTo>
                <a:cubicBezTo>
                  <a:pt x="2909045" y="432937"/>
                  <a:pt x="2911209" y="434958"/>
                  <a:pt x="2913373" y="436979"/>
                </a:cubicBezTo>
                <a:cubicBezTo>
                  <a:pt x="2886829" y="414459"/>
                  <a:pt x="2860670" y="392901"/>
                  <a:pt x="2835570" y="371824"/>
                </a:cubicBezTo>
                <a:close/>
                <a:moveTo>
                  <a:pt x="2058070" y="22135"/>
                </a:moveTo>
                <a:cubicBezTo>
                  <a:pt x="2059945" y="21798"/>
                  <a:pt x="2061821" y="21558"/>
                  <a:pt x="2063696" y="21269"/>
                </a:cubicBezTo>
                <a:cubicBezTo>
                  <a:pt x="2058647" y="24060"/>
                  <a:pt x="2053887" y="27188"/>
                  <a:pt x="2049511" y="30364"/>
                </a:cubicBezTo>
                <a:cubicBezTo>
                  <a:pt x="2041673" y="35946"/>
                  <a:pt x="2033979" y="41095"/>
                  <a:pt x="2025660" y="45522"/>
                </a:cubicBezTo>
                <a:cubicBezTo>
                  <a:pt x="2009263" y="54472"/>
                  <a:pt x="1990990" y="60198"/>
                  <a:pt x="1972862" y="66743"/>
                </a:cubicBezTo>
                <a:cubicBezTo>
                  <a:pt x="1966034" y="69149"/>
                  <a:pt x="1959158" y="71555"/>
                  <a:pt x="1952329" y="73961"/>
                </a:cubicBezTo>
                <a:cubicBezTo>
                  <a:pt x="1959686" y="70448"/>
                  <a:pt x="1967044" y="66887"/>
                  <a:pt x="1974353" y="63374"/>
                </a:cubicBezTo>
                <a:cubicBezTo>
                  <a:pt x="1981614" y="59813"/>
                  <a:pt x="1988778" y="56589"/>
                  <a:pt x="1996087" y="52740"/>
                </a:cubicBezTo>
                <a:cubicBezTo>
                  <a:pt x="2003397" y="48842"/>
                  <a:pt x="2010273" y="43982"/>
                  <a:pt x="2016668" y="39362"/>
                </a:cubicBezTo>
                <a:cubicBezTo>
                  <a:pt x="2023064" y="34743"/>
                  <a:pt x="2029267" y="30845"/>
                  <a:pt x="2036239" y="28150"/>
                </a:cubicBezTo>
                <a:cubicBezTo>
                  <a:pt x="2043163" y="25407"/>
                  <a:pt x="2050569" y="23579"/>
                  <a:pt x="2058118" y="22135"/>
                </a:cubicBezTo>
                <a:close/>
                <a:moveTo>
                  <a:pt x="2912892" y="377888"/>
                </a:moveTo>
                <a:cubicBezTo>
                  <a:pt x="2907266" y="371632"/>
                  <a:pt x="2901399" y="365569"/>
                  <a:pt x="2896014" y="359169"/>
                </a:cubicBezTo>
                <a:lnTo>
                  <a:pt x="2879953" y="339825"/>
                </a:lnTo>
                <a:cubicBezTo>
                  <a:pt x="2858987" y="313695"/>
                  <a:pt x="2839657" y="286507"/>
                  <a:pt x="2822586" y="258020"/>
                </a:cubicBezTo>
                <a:cubicBezTo>
                  <a:pt x="2805468" y="229581"/>
                  <a:pt x="2790513" y="199987"/>
                  <a:pt x="2774404" y="170923"/>
                </a:cubicBezTo>
                <a:cubicBezTo>
                  <a:pt x="2770221" y="163753"/>
                  <a:pt x="2766182" y="156487"/>
                  <a:pt x="2761902" y="149365"/>
                </a:cubicBezTo>
                <a:cubicBezTo>
                  <a:pt x="2757382" y="142388"/>
                  <a:pt x="2753199" y="135170"/>
                  <a:pt x="2748390" y="128385"/>
                </a:cubicBezTo>
                <a:lnTo>
                  <a:pt x="2741177" y="118231"/>
                </a:lnTo>
                <a:cubicBezTo>
                  <a:pt x="2738821" y="114815"/>
                  <a:pt x="2736369" y="111446"/>
                  <a:pt x="2733676" y="108270"/>
                </a:cubicBezTo>
                <a:lnTo>
                  <a:pt x="2725790" y="98598"/>
                </a:lnTo>
                <a:lnTo>
                  <a:pt x="2721847" y="93786"/>
                </a:lnTo>
                <a:cubicBezTo>
                  <a:pt x="2720404" y="92198"/>
                  <a:pt x="2718721" y="90658"/>
                  <a:pt x="2717182" y="89119"/>
                </a:cubicBezTo>
                <a:cubicBezTo>
                  <a:pt x="2715644" y="87482"/>
                  <a:pt x="2713913" y="86231"/>
                  <a:pt x="2712229" y="84932"/>
                </a:cubicBezTo>
                <a:cubicBezTo>
                  <a:pt x="2712181" y="84932"/>
                  <a:pt x="2712134" y="84836"/>
                  <a:pt x="2712037" y="84788"/>
                </a:cubicBezTo>
                <a:cubicBezTo>
                  <a:pt x="2712422" y="85028"/>
                  <a:pt x="2712806" y="85269"/>
                  <a:pt x="2713191" y="85510"/>
                </a:cubicBezTo>
                <a:cubicBezTo>
                  <a:pt x="2731560" y="99031"/>
                  <a:pt x="2748053" y="116162"/>
                  <a:pt x="2761325" y="135266"/>
                </a:cubicBezTo>
                <a:cubicBezTo>
                  <a:pt x="2774645" y="154514"/>
                  <a:pt x="2785705" y="175398"/>
                  <a:pt x="2796572" y="196475"/>
                </a:cubicBezTo>
                <a:cubicBezTo>
                  <a:pt x="2807343" y="217599"/>
                  <a:pt x="2818115" y="238965"/>
                  <a:pt x="2829896" y="259801"/>
                </a:cubicBezTo>
                <a:lnTo>
                  <a:pt x="2838840" y="275392"/>
                </a:lnTo>
                <a:lnTo>
                  <a:pt x="2848312" y="290694"/>
                </a:lnTo>
                <a:cubicBezTo>
                  <a:pt x="2854467" y="300992"/>
                  <a:pt x="2861488" y="310760"/>
                  <a:pt x="2868268" y="320721"/>
                </a:cubicBezTo>
                <a:cubicBezTo>
                  <a:pt x="2885338" y="345070"/>
                  <a:pt x="2904140" y="368167"/>
                  <a:pt x="2924240" y="390110"/>
                </a:cubicBezTo>
                <a:cubicBezTo>
                  <a:pt x="2920393" y="386068"/>
                  <a:pt x="2916594" y="382026"/>
                  <a:pt x="2912892" y="377839"/>
                </a:cubicBezTo>
                <a:close/>
                <a:moveTo>
                  <a:pt x="1955359" y="56156"/>
                </a:moveTo>
                <a:cubicBezTo>
                  <a:pt x="1962860" y="52066"/>
                  <a:pt x="1970410" y="46773"/>
                  <a:pt x="1976757" y="40806"/>
                </a:cubicBezTo>
                <a:cubicBezTo>
                  <a:pt x="1979979" y="37871"/>
                  <a:pt x="1982864" y="35080"/>
                  <a:pt x="1985941" y="32914"/>
                </a:cubicBezTo>
                <a:cubicBezTo>
                  <a:pt x="1989019" y="30749"/>
                  <a:pt x="1992385" y="29113"/>
                  <a:pt x="1996136" y="27862"/>
                </a:cubicBezTo>
                <a:cubicBezTo>
                  <a:pt x="2003493" y="25359"/>
                  <a:pt x="2012100" y="24060"/>
                  <a:pt x="2020419" y="22665"/>
                </a:cubicBezTo>
                <a:cubicBezTo>
                  <a:pt x="2022054" y="22424"/>
                  <a:pt x="2023737" y="22183"/>
                  <a:pt x="2025372" y="21943"/>
                </a:cubicBezTo>
                <a:cubicBezTo>
                  <a:pt x="2020178" y="24638"/>
                  <a:pt x="2015226" y="27813"/>
                  <a:pt x="2010754" y="31038"/>
                </a:cubicBezTo>
                <a:cubicBezTo>
                  <a:pt x="2004214" y="35753"/>
                  <a:pt x="1998011" y="40132"/>
                  <a:pt x="1991231" y="43741"/>
                </a:cubicBezTo>
                <a:cubicBezTo>
                  <a:pt x="1984354" y="47350"/>
                  <a:pt x="1976901" y="50719"/>
                  <a:pt x="1969737" y="54231"/>
                </a:cubicBezTo>
                <a:cubicBezTo>
                  <a:pt x="1933720" y="71507"/>
                  <a:pt x="1897271" y="88974"/>
                  <a:pt x="1860486" y="106634"/>
                </a:cubicBezTo>
                <a:cubicBezTo>
                  <a:pt x="1891886" y="90658"/>
                  <a:pt x="1923526" y="73913"/>
                  <a:pt x="1955407" y="56204"/>
                </a:cubicBezTo>
                <a:close/>
                <a:moveTo>
                  <a:pt x="1534896" y="125112"/>
                </a:moveTo>
                <a:cubicBezTo>
                  <a:pt x="1544177" y="121985"/>
                  <a:pt x="1553602" y="118809"/>
                  <a:pt x="1563267" y="115585"/>
                </a:cubicBezTo>
                <a:cubicBezTo>
                  <a:pt x="1572932" y="112409"/>
                  <a:pt x="1582838" y="109377"/>
                  <a:pt x="1592936" y="106297"/>
                </a:cubicBezTo>
                <a:cubicBezTo>
                  <a:pt x="1603034" y="103266"/>
                  <a:pt x="1613324" y="100186"/>
                  <a:pt x="1623807" y="97058"/>
                </a:cubicBezTo>
                <a:cubicBezTo>
                  <a:pt x="1628375" y="95759"/>
                  <a:pt x="1632992" y="94412"/>
                  <a:pt x="1637656" y="93113"/>
                </a:cubicBezTo>
                <a:cubicBezTo>
                  <a:pt x="1634771" y="94460"/>
                  <a:pt x="1631886" y="95855"/>
                  <a:pt x="1628952" y="97203"/>
                </a:cubicBezTo>
                <a:cubicBezTo>
                  <a:pt x="1618325" y="102015"/>
                  <a:pt x="1607554" y="106923"/>
                  <a:pt x="1596591" y="111927"/>
                </a:cubicBezTo>
                <a:cubicBezTo>
                  <a:pt x="1591109" y="114430"/>
                  <a:pt x="1585579" y="116980"/>
                  <a:pt x="1580049" y="119675"/>
                </a:cubicBezTo>
                <a:cubicBezTo>
                  <a:pt x="1577260" y="121022"/>
                  <a:pt x="1574471" y="122418"/>
                  <a:pt x="1571682" y="124054"/>
                </a:cubicBezTo>
                <a:cubicBezTo>
                  <a:pt x="1568989" y="125642"/>
                  <a:pt x="1566296" y="127278"/>
                  <a:pt x="1563652" y="128962"/>
                </a:cubicBezTo>
                <a:cubicBezTo>
                  <a:pt x="1553073" y="135699"/>
                  <a:pt x="1542783" y="143061"/>
                  <a:pt x="1532636" y="150857"/>
                </a:cubicBezTo>
                <a:cubicBezTo>
                  <a:pt x="1522490" y="158700"/>
                  <a:pt x="1512488" y="166977"/>
                  <a:pt x="1502775" y="175975"/>
                </a:cubicBezTo>
                <a:cubicBezTo>
                  <a:pt x="1493158" y="185022"/>
                  <a:pt x="1483637" y="194550"/>
                  <a:pt x="1475703" y="206099"/>
                </a:cubicBezTo>
                <a:cubicBezTo>
                  <a:pt x="1473731" y="208986"/>
                  <a:pt x="1471952" y="212066"/>
                  <a:pt x="1470413" y="215482"/>
                </a:cubicBezTo>
                <a:cubicBezTo>
                  <a:pt x="1468971" y="218899"/>
                  <a:pt x="1467720" y="222652"/>
                  <a:pt x="1467913" y="227079"/>
                </a:cubicBezTo>
                <a:cubicBezTo>
                  <a:pt x="1468009" y="231554"/>
                  <a:pt x="1470942" y="236366"/>
                  <a:pt x="1474693" y="238484"/>
                </a:cubicBezTo>
                <a:cubicBezTo>
                  <a:pt x="1478348" y="240793"/>
                  <a:pt x="1482194" y="241756"/>
                  <a:pt x="1485849" y="242381"/>
                </a:cubicBezTo>
                <a:cubicBezTo>
                  <a:pt x="1493206" y="243488"/>
                  <a:pt x="1500371" y="243199"/>
                  <a:pt x="1507488" y="242574"/>
                </a:cubicBezTo>
                <a:cubicBezTo>
                  <a:pt x="1514556" y="241900"/>
                  <a:pt x="1521577" y="240938"/>
                  <a:pt x="1528549" y="239494"/>
                </a:cubicBezTo>
                <a:cubicBezTo>
                  <a:pt x="1535474" y="238002"/>
                  <a:pt x="1542446" y="236462"/>
                  <a:pt x="1549418" y="234971"/>
                </a:cubicBezTo>
                <a:cubicBezTo>
                  <a:pt x="1556439" y="233527"/>
                  <a:pt x="1563267" y="231266"/>
                  <a:pt x="1570239" y="229389"/>
                </a:cubicBezTo>
                <a:cubicBezTo>
                  <a:pt x="1584232" y="225780"/>
                  <a:pt x="1597937" y="220823"/>
                  <a:pt x="1611978" y="216348"/>
                </a:cubicBezTo>
                <a:cubicBezTo>
                  <a:pt x="1652611" y="202201"/>
                  <a:pt x="1693532" y="185311"/>
                  <a:pt x="1735030" y="166784"/>
                </a:cubicBezTo>
                <a:cubicBezTo>
                  <a:pt x="1724114" y="172030"/>
                  <a:pt x="1713247" y="177227"/>
                  <a:pt x="1702283" y="182520"/>
                </a:cubicBezTo>
                <a:cubicBezTo>
                  <a:pt x="1687232" y="189593"/>
                  <a:pt x="1671508" y="195897"/>
                  <a:pt x="1655832" y="202393"/>
                </a:cubicBezTo>
                <a:cubicBezTo>
                  <a:pt x="1640108" y="208890"/>
                  <a:pt x="1624336" y="215434"/>
                  <a:pt x="1608516" y="221978"/>
                </a:cubicBezTo>
                <a:cubicBezTo>
                  <a:pt x="1576923" y="235259"/>
                  <a:pt x="1545187" y="248926"/>
                  <a:pt x="1514027" y="264709"/>
                </a:cubicBezTo>
                <a:cubicBezTo>
                  <a:pt x="1498496" y="272697"/>
                  <a:pt x="1483012" y="281022"/>
                  <a:pt x="1468394" y="291512"/>
                </a:cubicBezTo>
                <a:cubicBezTo>
                  <a:pt x="1464739" y="294207"/>
                  <a:pt x="1461181" y="297046"/>
                  <a:pt x="1457767" y="300222"/>
                </a:cubicBezTo>
                <a:cubicBezTo>
                  <a:pt x="1456132" y="302002"/>
                  <a:pt x="1454353" y="303494"/>
                  <a:pt x="1452862" y="305515"/>
                </a:cubicBezTo>
                <a:lnTo>
                  <a:pt x="1450554" y="308498"/>
                </a:lnTo>
                <a:lnTo>
                  <a:pt x="1448630" y="311530"/>
                </a:lnTo>
                <a:cubicBezTo>
                  <a:pt x="1446226" y="315668"/>
                  <a:pt x="1443918" y="320143"/>
                  <a:pt x="1443053" y="325485"/>
                </a:cubicBezTo>
                <a:cubicBezTo>
                  <a:pt x="1442091" y="330730"/>
                  <a:pt x="1442908" y="336985"/>
                  <a:pt x="1445986" y="341846"/>
                </a:cubicBezTo>
                <a:cubicBezTo>
                  <a:pt x="1449304" y="347139"/>
                  <a:pt x="1454160" y="350507"/>
                  <a:pt x="1458825" y="353058"/>
                </a:cubicBezTo>
                <a:cubicBezTo>
                  <a:pt x="1463585" y="355512"/>
                  <a:pt x="1468490" y="357148"/>
                  <a:pt x="1473347" y="358495"/>
                </a:cubicBezTo>
                <a:cubicBezTo>
                  <a:pt x="1483108" y="361046"/>
                  <a:pt x="1492918" y="362297"/>
                  <a:pt x="1502631" y="363019"/>
                </a:cubicBezTo>
                <a:cubicBezTo>
                  <a:pt x="1522106" y="364366"/>
                  <a:pt x="1541340" y="363740"/>
                  <a:pt x="1560430" y="362297"/>
                </a:cubicBezTo>
                <a:cubicBezTo>
                  <a:pt x="1598658" y="359361"/>
                  <a:pt x="1635877" y="352769"/>
                  <a:pt x="1672758" y="346561"/>
                </a:cubicBezTo>
                <a:cubicBezTo>
                  <a:pt x="1746522" y="333810"/>
                  <a:pt x="1818843" y="319710"/>
                  <a:pt x="1890347" y="309172"/>
                </a:cubicBezTo>
                <a:cubicBezTo>
                  <a:pt x="1926075" y="303975"/>
                  <a:pt x="1961610" y="299500"/>
                  <a:pt x="1996809" y="297864"/>
                </a:cubicBezTo>
                <a:cubicBezTo>
                  <a:pt x="2014360" y="297142"/>
                  <a:pt x="2031960" y="296998"/>
                  <a:pt x="2048934" y="299067"/>
                </a:cubicBezTo>
                <a:cubicBezTo>
                  <a:pt x="2057397" y="300125"/>
                  <a:pt x="2065764" y="301713"/>
                  <a:pt x="2073410" y="304504"/>
                </a:cubicBezTo>
                <a:cubicBezTo>
                  <a:pt x="2081007" y="307343"/>
                  <a:pt x="2087739" y="311530"/>
                  <a:pt x="2090961" y="317786"/>
                </a:cubicBezTo>
                <a:cubicBezTo>
                  <a:pt x="2094182" y="323897"/>
                  <a:pt x="2093557" y="331259"/>
                  <a:pt x="2090047" y="338237"/>
                </a:cubicBezTo>
                <a:cubicBezTo>
                  <a:pt x="2086681" y="345214"/>
                  <a:pt x="2081392" y="351662"/>
                  <a:pt x="2075621" y="357581"/>
                </a:cubicBezTo>
                <a:cubicBezTo>
                  <a:pt x="2063985" y="369418"/>
                  <a:pt x="2050184" y="379379"/>
                  <a:pt x="2036143" y="388570"/>
                </a:cubicBezTo>
                <a:cubicBezTo>
                  <a:pt x="2007772" y="406664"/>
                  <a:pt x="1977623" y="421581"/>
                  <a:pt x="1946992" y="433563"/>
                </a:cubicBezTo>
                <a:cubicBezTo>
                  <a:pt x="1931604" y="439626"/>
                  <a:pt x="1916217" y="444245"/>
                  <a:pt x="1900252" y="447758"/>
                </a:cubicBezTo>
                <a:cubicBezTo>
                  <a:pt x="1884336" y="451367"/>
                  <a:pt x="1868372" y="454543"/>
                  <a:pt x="1852503" y="457719"/>
                </a:cubicBezTo>
                <a:cubicBezTo>
                  <a:pt x="1820718" y="463975"/>
                  <a:pt x="1789270" y="469893"/>
                  <a:pt x="1758351" y="476390"/>
                </a:cubicBezTo>
                <a:cubicBezTo>
                  <a:pt x="1727480" y="482982"/>
                  <a:pt x="1697042" y="489815"/>
                  <a:pt x="1667517" y="498717"/>
                </a:cubicBezTo>
                <a:cubicBezTo>
                  <a:pt x="1637656" y="507331"/>
                  <a:pt x="1610247" y="520949"/>
                  <a:pt x="1583896" y="534519"/>
                </a:cubicBezTo>
                <a:cubicBezTo>
                  <a:pt x="1531290" y="562092"/>
                  <a:pt x="1482339" y="591686"/>
                  <a:pt x="1434012" y="617526"/>
                </a:cubicBezTo>
                <a:cubicBezTo>
                  <a:pt x="1409873" y="630422"/>
                  <a:pt x="1385878" y="642549"/>
                  <a:pt x="1361691" y="652173"/>
                </a:cubicBezTo>
                <a:cubicBezTo>
                  <a:pt x="1349574" y="656888"/>
                  <a:pt x="1337360" y="660979"/>
                  <a:pt x="1325098" y="663240"/>
                </a:cubicBezTo>
                <a:cubicBezTo>
                  <a:pt x="1322021" y="663770"/>
                  <a:pt x="1318991" y="664155"/>
                  <a:pt x="1315962" y="664443"/>
                </a:cubicBezTo>
                <a:cubicBezTo>
                  <a:pt x="1312980" y="664443"/>
                  <a:pt x="1309903" y="664876"/>
                  <a:pt x="1307018" y="664443"/>
                </a:cubicBezTo>
                <a:cubicBezTo>
                  <a:pt x="1301007" y="664203"/>
                  <a:pt x="1296102" y="662326"/>
                  <a:pt x="1293746" y="658332"/>
                </a:cubicBezTo>
                <a:cubicBezTo>
                  <a:pt x="1291534" y="654146"/>
                  <a:pt x="1291678" y="648130"/>
                  <a:pt x="1292688" y="642452"/>
                </a:cubicBezTo>
                <a:cubicBezTo>
                  <a:pt x="1293746" y="636678"/>
                  <a:pt x="1295525" y="630952"/>
                  <a:pt x="1297593" y="625321"/>
                </a:cubicBezTo>
                <a:cubicBezTo>
                  <a:pt x="1301824" y="614061"/>
                  <a:pt x="1307066" y="603186"/>
                  <a:pt x="1312452" y="592552"/>
                </a:cubicBezTo>
                <a:cubicBezTo>
                  <a:pt x="1323271" y="571283"/>
                  <a:pt x="1334811" y="551024"/>
                  <a:pt x="1345006" y="530621"/>
                </a:cubicBezTo>
                <a:cubicBezTo>
                  <a:pt x="1350007" y="520371"/>
                  <a:pt x="1354911" y="510170"/>
                  <a:pt x="1358373" y="499295"/>
                </a:cubicBezTo>
                <a:cubicBezTo>
                  <a:pt x="1361355" y="488372"/>
                  <a:pt x="1363663" y="477208"/>
                  <a:pt x="1362557" y="465996"/>
                </a:cubicBezTo>
                <a:cubicBezTo>
                  <a:pt x="1361739" y="454832"/>
                  <a:pt x="1358229" y="444197"/>
                  <a:pt x="1353565" y="434766"/>
                </a:cubicBezTo>
                <a:cubicBezTo>
                  <a:pt x="1348997" y="425238"/>
                  <a:pt x="1343371" y="416672"/>
                  <a:pt x="1340630" y="407722"/>
                </a:cubicBezTo>
                <a:cubicBezTo>
                  <a:pt x="1339764" y="405509"/>
                  <a:pt x="1339620" y="403247"/>
                  <a:pt x="1339235" y="401033"/>
                </a:cubicBezTo>
                <a:cubicBezTo>
                  <a:pt x="1339043" y="398820"/>
                  <a:pt x="1339235" y="396558"/>
                  <a:pt x="1339379" y="394393"/>
                </a:cubicBezTo>
                <a:cubicBezTo>
                  <a:pt x="1340053" y="392276"/>
                  <a:pt x="1340149" y="390014"/>
                  <a:pt x="1341207" y="387945"/>
                </a:cubicBezTo>
                <a:cubicBezTo>
                  <a:pt x="1342217" y="385924"/>
                  <a:pt x="1342890" y="383758"/>
                  <a:pt x="1344188" y="381882"/>
                </a:cubicBezTo>
                <a:cubicBezTo>
                  <a:pt x="1348997" y="374230"/>
                  <a:pt x="1355969" y="367831"/>
                  <a:pt x="1362893" y="361864"/>
                </a:cubicBezTo>
                <a:cubicBezTo>
                  <a:pt x="1376935" y="350026"/>
                  <a:pt x="1391697" y="339680"/>
                  <a:pt x="1404536" y="328083"/>
                </a:cubicBezTo>
                <a:cubicBezTo>
                  <a:pt x="1410979" y="322357"/>
                  <a:pt x="1417086" y="316342"/>
                  <a:pt x="1422327" y="309846"/>
                </a:cubicBezTo>
                <a:cubicBezTo>
                  <a:pt x="1427617" y="303398"/>
                  <a:pt x="1432329" y="296468"/>
                  <a:pt x="1435118" y="288769"/>
                </a:cubicBezTo>
                <a:cubicBezTo>
                  <a:pt x="1438003" y="281118"/>
                  <a:pt x="1439013" y="273178"/>
                  <a:pt x="1439398" y="265720"/>
                </a:cubicBezTo>
                <a:cubicBezTo>
                  <a:pt x="1439735" y="258213"/>
                  <a:pt x="1439783" y="251091"/>
                  <a:pt x="1440937" y="244354"/>
                </a:cubicBezTo>
                <a:cubicBezTo>
                  <a:pt x="1441658" y="239590"/>
                  <a:pt x="1443101" y="235163"/>
                  <a:pt x="1444928" y="231025"/>
                </a:cubicBezTo>
                <a:cubicBezTo>
                  <a:pt x="1456805" y="218369"/>
                  <a:pt x="1468682" y="205666"/>
                  <a:pt x="1480367" y="192769"/>
                </a:cubicBezTo>
                <a:cubicBezTo>
                  <a:pt x="1484262" y="188487"/>
                  <a:pt x="1488061" y="184108"/>
                  <a:pt x="1491908" y="179729"/>
                </a:cubicBezTo>
                <a:cubicBezTo>
                  <a:pt x="1504939" y="168661"/>
                  <a:pt x="1516528" y="159470"/>
                  <a:pt x="1526097" y="151675"/>
                </a:cubicBezTo>
                <a:cubicBezTo>
                  <a:pt x="1537589" y="142339"/>
                  <a:pt x="1546341" y="135073"/>
                  <a:pt x="1551630" y="129539"/>
                </a:cubicBezTo>
                <a:cubicBezTo>
                  <a:pt x="1552929" y="128144"/>
                  <a:pt x="1554035" y="126845"/>
                  <a:pt x="1554852" y="125594"/>
                </a:cubicBezTo>
                <a:cubicBezTo>
                  <a:pt x="1555237" y="124968"/>
                  <a:pt x="1555573" y="124342"/>
                  <a:pt x="1555669" y="123621"/>
                </a:cubicBezTo>
                <a:cubicBezTo>
                  <a:pt x="1555814" y="122899"/>
                  <a:pt x="1555237" y="122129"/>
                  <a:pt x="1554708" y="122033"/>
                </a:cubicBezTo>
                <a:cubicBezTo>
                  <a:pt x="1552640" y="121600"/>
                  <a:pt x="1551726" y="122129"/>
                  <a:pt x="1551726" y="122129"/>
                </a:cubicBezTo>
                <a:cubicBezTo>
                  <a:pt x="1551726" y="122321"/>
                  <a:pt x="1552832" y="121985"/>
                  <a:pt x="1554467" y="122562"/>
                </a:cubicBezTo>
                <a:cubicBezTo>
                  <a:pt x="1555381" y="122851"/>
                  <a:pt x="1554948" y="124054"/>
                  <a:pt x="1554131" y="125161"/>
                </a:cubicBezTo>
                <a:cubicBezTo>
                  <a:pt x="1553313" y="126267"/>
                  <a:pt x="1552159" y="127470"/>
                  <a:pt x="1550813" y="128770"/>
                </a:cubicBezTo>
                <a:cubicBezTo>
                  <a:pt x="1545331" y="133967"/>
                  <a:pt x="1536435" y="140896"/>
                  <a:pt x="1524702" y="149991"/>
                </a:cubicBezTo>
                <a:cubicBezTo>
                  <a:pt x="1518018" y="155188"/>
                  <a:pt x="1510373" y="161010"/>
                  <a:pt x="1502006" y="167651"/>
                </a:cubicBezTo>
                <a:cubicBezTo>
                  <a:pt x="1504698" y="164330"/>
                  <a:pt x="1507343" y="161010"/>
                  <a:pt x="1509892" y="157449"/>
                </a:cubicBezTo>
                <a:cubicBezTo>
                  <a:pt x="1511431" y="155332"/>
                  <a:pt x="1512921" y="153118"/>
                  <a:pt x="1514364" y="150760"/>
                </a:cubicBezTo>
                <a:lnTo>
                  <a:pt x="1515614" y="148499"/>
                </a:lnTo>
                <a:cubicBezTo>
                  <a:pt x="1516095" y="147392"/>
                  <a:pt x="1516720" y="146285"/>
                  <a:pt x="1517105" y="145179"/>
                </a:cubicBezTo>
                <a:cubicBezTo>
                  <a:pt x="1517922" y="142917"/>
                  <a:pt x="1518163" y="140800"/>
                  <a:pt x="1517778" y="138923"/>
                </a:cubicBezTo>
                <a:cubicBezTo>
                  <a:pt x="1517441" y="137094"/>
                  <a:pt x="1516047" y="135170"/>
                  <a:pt x="1514364" y="134303"/>
                </a:cubicBezTo>
                <a:cubicBezTo>
                  <a:pt x="1513979" y="134063"/>
                  <a:pt x="1513546" y="133870"/>
                  <a:pt x="1513066" y="133726"/>
                </a:cubicBezTo>
                <a:cubicBezTo>
                  <a:pt x="1513066" y="133726"/>
                  <a:pt x="1513066" y="133726"/>
                  <a:pt x="1513066" y="133726"/>
                </a:cubicBezTo>
                <a:cubicBezTo>
                  <a:pt x="1525087" y="129828"/>
                  <a:pt x="1534416" y="126941"/>
                  <a:pt x="1540907" y="125064"/>
                </a:cubicBezTo>
                <a:cubicBezTo>
                  <a:pt x="1544466" y="124006"/>
                  <a:pt x="1547158" y="123284"/>
                  <a:pt x="1548986" y="122851"/>
                </a:cubicBezTo>
                <a:cubicBezTo>
                  <a:pt x="1550813" y="122418"/>
                  <a:pt x="1551726" y="122177"/>
                  <a:pt x="1551726" y="122081"/>
                </a:cubicBezTo>
                <a:cubicBezTo>
                  <a:pt x="1551726" y="121985"/>
                  <a:pt x="1550765" y="122081"/>
                  <a:pt x="1548889" y="122321"/>
                </a:cubicBezTo>
                <a:cubicBezTo>
                  <a:pt x="1547014" y="122610"/>
                  <a:pt x="1544273" y="123139"/>
                  <a:pt x="1540667" y="124054"/>
                </a:cubicBezTo>
                <a:cubicBezTo>
                  <a:pt x="1538359" y="124583"/>
                  <a:pt x="1535666" y="125305"/>
                  <a:pt x="1532684" y="126075"/>
                </a:cubicBezTo>
                <a:cubicBezTo>
                  <a:pt x="1533502" y="125786"/>
                  <a:pt x="1534319" y="125546"/>
                  <a:pt x="1535137" y="125257"/>
                </a:cubicBezTo>
                <a:close/>
                <a:moveTo>
                  <a:pt x="1346015" y="222267"/>
                </a:moveTo>
                <a:cubicBezTo>
                  <a:pt x="1345583" y="220390"/>
                  <a:pt x="1344477" y="218514"/>
                  <a:pt x="1342986" y="217214"/>
                </a:cubicBezTo>
                <a:cubicBezTo>
                  <a:pt x="1342217" y="216444"/>
                  <a:pt x="1341495" y="215963"/>
                  <a:pt x="1340774" y="215626"/>
                </a:cubicBezTo>
                <a:cubicBezTo>
                  <a:pt x="1340053" y="215241"/>
                  <a:pt x="1339235" y="214760"/>
                  <a:pt x="1338562" y="214616"/>
                </a:cubicBezTo>
                <a:cubicBezTo>
                  <a:pt x="1337648" y="214327"/>
                  <a:pt x="1336783" y="214087"/>
                  <a:pt x="1335917" y="213894"/>
                </a:cubicBezTo>
                <a:cubicBezTo>
                  <a:pt x="1339235" y="212932"/>
                  <a:pt x="1342553" y="211969"/>
                  <a:pt x="1345871" y="211103"/>
                </a:cubicBezTo>
                <a:cubicBezTo>
                  <a:pt x="1349910" y="210141"/>
                  <a:pt x="1354286" y="209034"/>
                  <a:pt x="1357748" y="208793"/>
                </a:cubicBezTo>
                <a:cubicBezTo>
                  <a:pt x="1359479" y="208697"/>
                  <a:pt x="1361595" y="208745"/>
                  <a:pt x="1363230" y="208986"/>
                </a:cubicBezTo>
                <a:cubicBezTo>
                  <a:pt x="1364961" y="209178"/>
                  <a:pt x="1366356" y="209756"/>
                  <a:pt x="1366644" y="210093"/>
                </a:cubicBezTo>
                <a:cubicBezTo>
                  <a:pt x="1366885" y="210333"/>
                  <a:pt x="1366933" y="210141"/>
                  <a:pt x="1366837" y="211440"/>
                </a:cubicBezTo>
                <a:cubicBezTo>
                  <a:pt x="1366548" y="212691"/>
                  <a:pt x="1366019" y="214279"/>
                  <a:pt x="1365057" y="215963"/>
                </a:cubicBezTo>
                <a:cubicBezTo>
                  <a:pt x="1363278" y="219284"/>
                  <a:pt x="1360778" y="222604"/>
                  <a:pt x="1358181" y="225828"/>
                </a:cubicBezTo>
                <a:cubicBezTo>
                  <a:pt x="1352844" y="232276"/>
                  <a:pt x="1346929" y="238435"/>
                  <a:pt x="1340822" y="244402"/>
                </a:cubicBezTo>
                <a:cubicBezTo>
                  <a:pt x="1334138" y="250899"/>
                  <a:pt x="1327310" y="257299"/>
                  <a:pt x="1320386" y="263554"/>
                </a:cubicBezTo>
                <a:cubicBezTo>
                  <a:pt x="1320963" y="262929"/>
                  <a:pt x="1321588" y="262351"/>
                  <a:pt x="1322165" y="261774"/>
                </a:cubicBezTo>
                <a:cubicBezTo>
                  <a:pt x="1327791" y="255903"/>
                  <a:pt x="1333321" y="249936"/>
                  <a:pt x="1338370" y="243055"/>
                </a:cubicBezTo>
                <a:cubicBezTo>
                  <a:pt x="1340870" y="239590"/>
                  <a:pt x="1343323" y="236029"/>
                  <a:pt x="1345150" y="231314"/>
                </a:cubicBezTo>
                <a:cubicBezTo>
                  <a:pt x="1345967" y="229004"/>
                  <a:pt x="1346929" y="226117"/>
                  <a:pt x="1346015" y="222219"/>
                </a:cubicBezTo>
                <a:close/>
                <a:moveTo>
                  <a:pt x="1376502" y="207735"/>
                </a:moveTo>
                <a:cubicBezTo>
                  <a:pt x="1376069" y="205858"/>
                  <a:pt x="1374771" y="203741"/>
                  <a:pt x="1373280" y="202634"/>
                </a:cubicBezTo>
                <a:cubicBezTo>
                  <a:pt x="1371405" y="201046"/>
                  <a:pt x="1369529" y="200228"/>
                  <a:pt x="1367750" y="199747"/>
                </a:cubicBezTo>
                <a:cubicBezTo>
                  <a:pt x="1371068" y="198881"/>
                  <a:pt x="1374434" y="198063"/>
                  <a:pt x="1377752" y="197341"/>
                </a:cubicBezTo>
                <a:cubicBezTo>
                  <a:pt x="1380397" y="196811"/>
                  <a:pt x="1383090" y="196234"/>
                  <a:pt x="1385542" y="195993"/>
                </a:cubicBezTo>
                <a:cubicBezTo>
                  <a:pt x="1386215" y="195897"/>
                  <a:pt x="1386792" y="195849"/>
                  <a:pt x="1387129" y="195849"/>
                </a:cubicBezTo>
                <a:lnTo>
                  <a:pt x="1387994" y="195849"/>
                </a:lnTo>
                <a:cubicBezTo>
                  <a:pt x="1387994" y="195849"/>
                  <a:pt x="1388090" y="195849"/>
                  <a:pt x="1388090" y="195849"/>
                </a:cubicBezTo>
                <a:cubicBezTo>
                  <a:pt x="1387994" y="196186"/>
                  <a:pt x="1388523" y="195127"/>
                  <a:pt x="1387177" y="197966"/>
                </a:cubicBezTo>
                <a:cubicBezTo>
                  <a:pt x="1386071" y="200036"/>
                  <a:pt x="1384580" y="202201"/>
                  <a:pt x="1382945" y="204318"/>
                </a:cubicBezTo>
                <a:cubicBezTo>
                  <a:pt x="1381022" y="206820"/>
                  <a:pt x="1378954" y="209226"/>
                  <a:pt x="1376886" y="211681"/>
                </a:cubicBezTo>
                <a:cubicBezTo>
                  <a:pt x="1376983" y="210429"/>
                  <a:pt x="1376983" y="209130"/>
                  <a:pt x="1376502" y="207639"/>
                </a:cubicBezTo>
                <a:close/>
                <a:moveTo>
                  <a:pt x="1368135" y="236414"/>
                </a:moveTo>
                <a:cubicBezTo>
                  <a:pt x="1376069" y="228186"/>
                  <a:pt x="1383955" y="220053"/>
                  <a:pt x="1391216" y="210670"/>
                </a:cubicBezTo>
                <a:cubicBezTo>
                  <a:pt x="1392995" y="208312"/>
                  <a:pt x="1394774" y="205810"/>
                  <a:pt x="1396313" y="202923"/>
                </a:cubicBezTo>
                <a:cubicBezTo>
                  <a:pt x="1397131" y="201479"/>
                  <a:pt x="1397756" y="200084"/>
                  <a:pt x="1398525" y="197100"/>
                </a:cubicBezTo>
                <a:cubicBezTo>
                  <a:pt x="1398958" y="194454"/>
                  <a:pt x="1398717" y="191663"/>
                  <a:pt x="1397179" y="189545"/>
                </a:cubicBezTo>
                <a:cubicBezTo>
                  <a:pt x="1396746" y="188968"/>
                  <a:pt x="1396217" y="188487"/>
                  <a:pt x="1395640" y="188005"/>
                </a:cubicBezTo>
                <a:cubicBezTo>
                  <a:pt x="1399871" y="186995"/>
                  <a:pt x="1404103" y="186129"/>
                  <a:pt x="1408286" y="185407"/>
                </a:cubicBezTo>
                <a:cubicBezTo>
                  <a:pt x="1410210" y="185166"/>
                  <a:pt x="1412710" y="184830"/>
                  <a:pt x="1413768" y="184878"/>
                </a:cubicBezTo>
                <a:lnTo>
                  <a:pt x="1413768" y="184878"/>
                </a:lnTo>
                <a:cubicBezTo>
                  <a:pt x="1413576" y="185455"/>
                  <a:pt x="1413287" y="186225"/>
                  <a:pt x="1412951" y="186947"/>
                </a:cubicBezTo>
                <a:cubicBezTo>
                  <a:pt x="1412133" y="188583"/>
                  <a:pt x="1411124" y="190315"/>
                  <a:pt x="1409873" y="191999"/>
                </a:cubicBezTo>
                <a:cubicBezTo>
                  <a:pt x="1407517" y="195416"/>
                  <a:pt x="1404776" y="198784"/>
                  <a:pt x="1401939" y="202057"/>
                </a:cubicBezTo>
                <a:cubicBezTo>
                  <a:pt x="1390399" y="215193"/>
                  <a:pt x="1377512" y="227608"/>
                  <a:pt x="1364673" y="239831"/>
                </a:cubicBezTo>
                <a:cubicBezTo>
                  <a:pt x="1364432" y="240071"/>
                  <a:pt x="1364192" y="240264"/>
                  <a:pt x="1363951" y="240505"/>
                </a:cubicBezTo>
                <a:cubicBezTo>
                  <a:pt x="1365346" y="239109"/>
                  <a:pt x="1366740" y="237665"/>
                  <a:pt x="1368135" y="236270"/>
                </a:cubicBezTo>
                <a:close/>
                <a:moveTo>
                  <a:pt x="1453439" y="165870"/>
                </a:moveTo>
                <a:cubicBezTo>
                  <a:pt x="1453006" y="165197"/>
                  <a:pt x="1452477" y="164619"/>
                  <a:pt x="1451900" y="164090"/>
                </a:cubicBezTo>
                <a:cubicBezTo>
                  <a:pt x="1452862" y="163849"/>
                  <a:pt x="1453872" y="163560"/>
                  <a:pt x="1454834" y="163320"/>
                </a:cubicBezTo>
                <a:cubicBezTo>
                  <a:pt x="1457142" y="162791"/>
                  <a:pt x="1459546" y="162165"/>
                  <a:pt x="1461710" y="161780"/>
                </a:cubicBezTo>
                <a:lnTo>
                  <a:pt x="1464210" y="161299"/>
                </a:lnTo>
                <a:lnTo>
                  <a:pt x="1464306" y="161299"/>
                </a:lnTo>
                <a:cubicBezTo>
                  <a:pt x="1464306" y="161299"/>
                  <a:pt x="1464355" y="161491"/>
                  <a:pt x="1464355" y="161491"/>
                </a:cubicBezTo>
                <a:cubicBezTo>
                  <a:pt x="1464547" y="161154"/>
                  <a:pt x="1463104" y="164042"/>
                  <a:pt x="1461950" y="165726"/>
                </a:cubicBezTo>
                <a:cubicBezTo>
                  <a:pt x="1459305" y="169816"/>
                  <a:pt x="1456228" y="173810"/>
                  <a:pt x="1453054" y="177804"/>
                </a:cubicBezTo>
                <a:cubicBezTo>
                  <a:pt x="1453535" y="176649"/>
                  <a:pt x="1454016" y="175350"/>
                  <a:pt x="1454401" y="173810"/>
                </a:cubicBezTo>
                <a:cubicBezTo>
                  <a:pt x="1454930" y="171163"/>
                  <a:pt x="1454737" y="168228"/>
                  <a:pt x="1453391" y="165918"/>
                </a:cubicBezTo>
                <a:close/>
                <a:moveTo>
                  <a:pt x="701137" y="624696"/>
                </a:moveTo>
                <a:cubicBezTo>
                  <a:pt x="707388" y="619018"/>
                  <a:pt x="714072" y="612955"/>
                  <a:pt x="721140" y="606507"/>
                </a:cubicBezTo>
                <a:cubicBezTo>
                  <a:pt x="719986" y="608672"/>
                  <a:pt x="719265" y="610693"/>
                  <a:pt x="719169" y="612281"/>
                </a:cubicBezTo>
                <a:cubicBezTo>
                  <a:pt x="719169" y="613484"/>
                  <a:pt x="718928" y="614639"/>
                  <a:pt x="720034" y="615938"/>
                </a:cubicBezTo>
                <a:cubicBezTo>
                  <a:pt x="721284" y="616997"/>
                  <a:pt x="722438" y="616900"/>
                  <a:pt x="723641" y="616900"/>
                </a:cubicBezTo>
                <a:cubicBezTo>
                  <a:pt x="727968" y="617334"/>
                  <a:pt x="738451" y="609875"/>
                  <a:pt x="742442" y="607228"/>
                </a:cubicBezTo>
                <a:cubicBezTo>
                  <a:pt x="761436" y="594380"/>
                  <a:pt x="780718" y="579415"/>
                  <a:pt x="800578" y="563006"/>
                </a:cubicBezTo>
                <a:cubicBezTo>
                  <a:pt x="820437" y="546549"/>
                  <a:pt x="840874" y="528648"/>
                  <a:pt x="861647" y="509159"/>
                </a:cubicBezTo>
                <a:cubicBezTo>
                  <a:pt x="872033" y="499439"/>
                  <a:pt x="882516" y="489286"/>
                  <a:pt x="892903" y="478651"/>
                </a:cubicBezTo>
                <a:cubicBezTo>
                  <a:pt x="898096" y="473310"/>
                  <a:pt x="903289" y="467824"/>
                  <a:pt x="908386" y="462098"/>
                </a:cubicBezTo>
                <a:cubicBezTo>
                  <a:pt x="910935" y="459211"/>
                  <a:pt x="913435" y="456275"/>
                  <a:pt x="915840" y="453099"/>
                </a:cubicBezTo>
                <a:cubicBezTo>
                  <a:pt x="917042" y="451511"/>
                  <a:pt x="918244" y="449875"/>
                  <a:pt x="919398" y="448047"/>
                </a:cubicBezTo>
                <a:cubicBezTo>
                  <a:pt x="919975" y="447133"/>
                  <a:pt x="920552" y="446122"/>
                  <a:pt x="921081" y="444919"/>
                </a:cubicBezTo>
                <a:cubicBezTo>
                  <a:pt x="921321" y="444245"/>
                  <a:pt x="921562" y="443716"/>
                  <a:pt x="921802" y="442657"/>
                </a:cubicBezTo>
                <a:cubicBezTo>
                  <a:pt x="935459" y="432985"/>
                  <a:pt x="949355" y="423169"/>
                  <a:pt x="963589" y="413112"/>
                </a:cubicBezTo>
                <a:cubicBezTo>
                  <a:pt x="967291" y="410465"/>
                  <a:pt x="971042" y="407818"/>
                  <a:pt x="974793" y="405172"/>
                </a:cubicBezTo>
                <a:lnTo>
                  <a:pt x="977630" y="403199"/>
                </a:lnTo>
                <a:cubicBezTo>
                  <a:pt x="978447" y="402670"/>
                  <a:pt x="977630" y="403054"/>
                  <a:pt x="978928" y="402766"/>
                </a:cubicBezTo>
                <a:cubicBezTo>
                  <a:pt x="981092" y="402381"/>
                  <a:pt x="983593" y="401948"/>
                  <a:pt x="986045" y="401322"/>
                </a:cubicBezTo>
                <a:cubicBezTo>
                  <a:pt x="995854" y="398724"/>
                  <a:pt x="1004462" y="394200"/>
                  <a:pt x="1012877" y="389581"/>
                </a:cubicBezTo>
                <a:cubicBezTo>
                  <a:pt x="1029466" y="380197"/>
                  <a:pt x="1046008" y="370140"/>
                  <a:pt x="1062309" y="359073"/>
                </a:cubicBezTo>
                <a:cubicBezTo>
                  <a:pt x="1078610" y="348005"/>
                  <a:pt x="1094334" y="335831"/>
                  <a:pt x="1110683" y="324426"/>
                </a:cubicBezTo>
                <a:cubicBezTo>
                  <a:pt x="1126984" y="312974"/>
                  <a:pt x="1144151" y="302387"/>
                  <a:pt x="1162039" y="292426"/>
                </a:cubicBezTo>
                <a:cubicBezTo>
                  <a:pt x="1179975" y="282465"/>
                  <a:pt x="1198392" y="272889"/>
                  <a:pt x="1217386" y="264180"/>
                </a:cubicBezTo>
                <a:cubicBezTo>
                  <a:pt x="1219309" y="263265"/>
                  <a:pt x="1221329" y="262495"/>
                  <a:pt x="1223300" y="261581"/>
                </a:cubicBezTo>
                <a:cubicBezTo>
                  <a:pt x="1214116" y="265960"/>
                  <a:pt x="1205172" y="270435"/>
                  <a:pt x="1196565" y="275392"/>
                </a:cubicBezTo>
                <a:cubicBezTo>
                  <a:pt x="1173483" y="288769"/>
                  <a:pt x="1152566" y="302724"/>
                  <a:pt x="1133091" y="315957"/>
                </a:cubicBezTo>
                <a:cubicBezTo>
                  <a:pt x="1113665" y="329238"/>
                  <a:pt x="1095777" y="341942"/>
                  <a:pt x="1079716" y="353828"/>
                </a:cubicBezTo>
                <a:cubicBezTo>
                  <a:pt x="1047450" y="377503"/>
                  <a:pt x="1022157" y="397809"/>
                  <a:pt x="1005327" y="412582"/>
                </a:cubicBezTo>
                <a:cubicBezTo>
                  <a:pt x="996864" y="419945"/>
                  <a:pt x="990613" y="426056"/>
                  <a:pt x="986526" y="430290"/>
                </a:cubicBezTo>
                <a:cubicBezTo>
                  <a:pt x="982535" y="434669"/>
                  <a:pt x="980563" y="437075"/>
                  <a:pt x="980852" y="437316"/>
                </a:cubicBezTo>
                <a:cubicBezTo>
                  <a:pt x="981429" y="437845"/>
                  <a:pt x="990325" y="429376"/>
                  <a:pt x="1007972" y="415758"/>
                </a:cubicBezTo>
                <a:cubicBezTo>
                  <a:pt x="1025523" y="402044"/>
                  <a:pt x="1051394" y="382748"/>
                  <a:pt x="1084092" y="359939"/>
                </a:cubicBezTo>
                <a:cubicBezTo>
                  <a:pt x="1100393" y="348486"/>
                  <a:pt x="1118473" y="336167"/>
                  <a:pt x="1137996" y="323271"/>
                </a:cubicBezTo>
                <a:cubicBezTo>
                  <a:pt x="1157567" y="310423"/>
                  <a:pt x="1178629" y="296805"/>
                  <a:pt x="1201373" y="283909"/>
                </a:cubicBezTo>
                <a:cubicBezTo>
                  <a:pt x="1212625" y="277605"/>
                  <a:pt x="1224839" y="271879"/>
                  <a:pt x="1237341" y="266201"/>
                </a:cubicBezTo>
                <a:cubicBezTo>
                  <a:pt x="1243593" y="263458"/>
                  <a:pt x="1249940" y="260667"/>
                  <a:pt x="1256383" y="258213"/>
                </a:cubicBezTo>
                <a:cubicBezTo>
                  <a:pt x="1262827" y="255807"/>
                  <a:pt x="1269463" y="253401"/>
                  <a:pt x="1275858" y="252198"/>
                </a:cubicBezTo>
                <a:cubicBezTo>
                  <a:pt x="1278888" y="251476"/>
                  <a:pt x="1282734" y="251668"/>
                  <a:pt x="1281965" y="251717"/>
                </a:cubicBezTo>
                <a:lnTo>
                  <a:pt x="1281965" y="251813"/>
                </a:lnTo>
                <a:cubicBezTo>
                  <a:pt x="1281965" y="251813"/>
                  <a:pt x="1281821" y="252486"/>
                  <a:pt x="1281580" y="253016"/>
                </a:cubicBezTo>
                <a:cubicBezTo>
                  <a:pt x="1281244" y="253689"/>
                  <a:pt x="1281099" y="254267"/>
                  <a:pt x="1280667" y="254989"/>
                </a:cubicBezTo>
                <a:cubicBezTo>
                  <a:pt x="1277782" y="260571"/>
                  <a:pt x="1273021" y="266249"/>
                  <a:pt x="1268357" y="271686"/>
                </a:cubicBezTo>
                <a:cubicBezTo>
                  <a:pt x="1258788" y="282610"/>
                  <a:pt x="1248065" y="293052"/>
                  <a:pt x="1237101" y="303494"/>
                </a:cubicBezTo>
                <a:cubicBezTo>
                  <a:pt x="1192862" y="345118"/>
                  <a:pt x="1149152" y="383421"/>
                  <a:pt x="1108904" y="417394"/>
                </a:cubicBezTo>
                <a:cubicBezTo>
                  <a:pt x="1088756" y="434381"/>
                  <a:pt x="1069330" y="450164"/>
                  <a:pt x="1050720" y="464263"/>
                </a:cubicBezTo>
                <a:cubicBezTo>
                  <a:pt x="1041392" y="471289"/>
                  <a:pt x="1032303" y="477929"/>
                  <a:pt x="1023311" y="483848"/>
                </a:cubicBezTo>
                <a:cubicBezTo>
                  <a:pt x="1018888" y="486976"/>
                  <a:pt x="1014319" y="489286"/>
                  <a:pt x="1009944" y="491981"/>
                </a:cubicBezTo>
                <a:cubicBezTo>
                  <a:pt x="1005375" y="494387"/>
                  <a:pt x="1000855" y="496600"/>
                  <a:pt x="996431" y="498621"/>
                </a:cubicBezTo>
                <a:cubicBezTo>
                  <a:pt x="987487" y="502567"/>
                  <a:pt x="978688" y="505695"/>
                  <a:pt x="970321" y="506994"/>
                </a:cubicBezTo>
                <a:cubicBezTo>
                  <a:pt x="962098" y="508293"/>
                  <a:pt x="953683" y="507042"/>
                  <a:pt x="951375" y="501075"/>
                </a:cubicBezTo>
                <a:cubicBezTo>
                  <a:pt x="950077" y="498236"/>
                  <a:pt x="949981" y="494723"/>
                  <a:pt x="950413" y="491355"/>
                </a:cubicBezTo>
                <a:cubicBezTo>
                  <a:pt x="950846" y="487987"/>
                  <a:pt x="951760" y="484714"/>
                  <a:pt x="952914" y="481635"/>
                </a:cubicBezTo>
                <a:cubicBezTo>
                  <a:pt x="955174" y="475475"/>
                  <a:pt x="958059" y="470086"/>
                  <a:pt x="960896" y="465370"/>
                </a:cubicBezTo>
                <a:cubicBezTo>
                  <a:pt x="966618" y="455939"/>
                  <a:pt x="971956" y="449154"/>
                  <a:pt x="975562" y="444534"/>
                </a:cubicBezTo>
                <a:cubicBezTo>
                  <a:pt x="979169" y="439915"/>
                  <a:pt x="981092" y="437460"/>
                  <a:pt x="980804" y="437220"/>
                </a:cubicBezTo>
                <a:cubicBezTo>
                  <a:pt x="980563" y="436979"/>
                  <a:pt x="978111" y="438952"/>
                  <a:pt x="973927" y="443139"/>
                </a:cubicBezTo>
                <a:cubicBezTo>
                  <a:pt x="969744" y="447325"/>
                  <a:pt x="963829" y="453773"/>
                  <a:pt x="957386" y="463157"/>
                </a:cubicBezTo>
                <a:cubicBezTo>
                  <a:pt x="954212" y="467872"/>
                  <a:pt x="950894" y="473310"/>
                  <a:pt x="948153" y="479806"/>
                </a:cubicBezTo>
                <a:cubicBezTo>
                  <a:pt x="946807" y="483078"/>
                  <a:pt x="945605" y="486591"/>
                  <a:pt x="944932" y="490537"/>
                </a:cubicBezTo>
                <a:cubicBezTo>
                  <a:pt x="944306" y="494435"/>
                  <a:pt x="944066" y="498910"/>
                  <a:pt x="945893" y="503385"/>
                </a:cubicBezTo>
                <a:cubicBezTo>
                  <a:pt x="946711" y="505647"/>
                  <a:pt x="948346" y="507716"/>
                  <a:pt x="950221" y="509448"/>
                </a:cubicBezTo>
                <a:cubicBezTo>
                  <a:pt x="952192" y="511036"/>
                  <a:pt x="954501" y="512239"/>
                  <a:pt x="956857" y="512865"/>
                </a:cubicBezTo>
                <a:cubicBezTo>
                  <a:pt x="961569" y="514212"/>
                  <a:pt x="966426" y="514212"/>
                  <a:pt x="971186" y="513683"/>
                </a:cubicBezTo>
                <a:cubicBezTo>
                  <a:pt x="980659" y="512480"/>
                  <a:pt x="989988" y="509352"/>
                  <a:pt x="999413" y="505502"/>
                </a:cubicBezTo>
                <a:cubicBezTo>
                  <a:pt x="1004077" y="503529"/>
                  <a:pt x="1008790" y="501316"/>
                  <a:pt x="1013550" y="498958"/>
                </a:cubicBezTo>
                <a:cubicBezTo>
                  <a:pt x="1018166" y="496263"/>
                  <a:pt x="1023167" y="493857"/>
                  <a:pt x="1027735" y="490729"/>
                </a:cubicBezTo>
                <a:cubicBezTo>
                  <a:pt x="1037112" y="484859"/>
                  <a:pt x="1046441" y="478266"/>
                  <a:pt x="1056010" y="471289"/>
                </a:cubicBezTo>
                <a:cubicBezTo>
                  <a:pt x="1075052" y="457334"/>
                  <a:pt x="1094767" y="441695"/>
                  <a:pt x="1115203" y="424853"/>
                </a:cubicBezTo>
                <a:cubicBezTo>
                  <a:pt x="1156028" y="391121"/>
                  <a:pt x="1199931" y="353058"/>
                  <a:pt x="1244458" y="311145"/>
                </a:cubicBezTo>
                <a:cubicBezTo>
                  <a:pt x="1255566" y="300607"/>
                  <a:pt x="1266433" y="289972"/>
                  <a:pt x="1276387" y="278520"/>
                </a:cubicBezTo>
                <a:cubicBezTo>
                  <a:pt x="1281292" y="272649"/>
                  <a:pt x="1286197" y="267019"/>
                  <a:pt x="1290091" y="259608"/>
                </a:cubicBezTo>
                <a:cubicBezTo>
                  <a:pt x="1290621" y="258742"/>
                  <a:pt x="1291005" y="257587"/>
                  <a:pt x="1291438" y="256577"/>
                </a:cubicBezTo>
                <a:cubicBezTo>
                  <a:pt x="1291823" y="255374"/>
                  <a:pt x="1292255" y="254123"/>
                  <a:pt x="1292448" y="252535"/>
                </a:cubicBezTo>
                <a:cubicBezTo>
                  <a:pt x="1292977" y="249022"/>
                  <a:pt x="1291727" y="245268"/>
                  <a:pt x="1288793" y="243296"/>
                </a:cubicBezTo>
                <a:cubicBezTo>
                  <a:pt x="1287351" y="242333"/>
                  <a:pt x="1285668" y="241611"/>
                  <a:pt x="1284081" y="241467"/>
                </a:cubicBezTo>
                <a:cubicBezTo>
                  <a:pt x="1282302" y="241034"/>
                  <a:pt x="1281292" y="241130"/>
                  <a:pt x="1280138" y="241130"/>
                </a:cubicBezTo>
                <a:cubicBezTo>
                  <a:pt x="1277878" y="241178"/>
                  <a:pt x="1275858" y="241467"/>
                  <a:pt x="1273935" y="241852"/>
                </a:cubicBezTo>
                <a:cubicBezTo>
                  <a:pt x="1269703" y="242670"/>
                  <a:pt x="1265760" y="243825"/>
                  <a:pt x="1261913" y="245124"/>
                </a:cubicBezTo>
                <a:cubicBezTo>
                  <a:pt x="1266626" y="243296"/>
                  <a:pt x="1271242" y="241323"/>
                  <a:pt x="1275954" y="239590"/>
                </a:cubicBezTo>
                <a:cubicBezTo>
                  <a:pt x="1285956" y="235885"/>
                  <a:pt x="1296102" y="232372"/>
                  <a:pt x="1306345" y="229244"/>
                </a:cubicBezTo>
                <a:cubicBezTo>
                  <a:pt x="1311442" y="227656"/>
                  <a:pt x="1316587" y="226261"/>
                  <a:pt x="1321684" y="225154"/>
                </a:cubicBezTo>
                <a:cubicBezTo>
                  <a:pt x="1324136" y="224673"/>
                  <a:pt x="1326829" y="224096"/>
                  <a:pt x="1328897" y="223999"/>
                </a:cubicBezTo>
                <a:cubicBezTo>
                  <a:pt x="1331061" y="223807"/>
                  <a:pt x="1333657" y="223999"/>
                  <a:pt x="1334907" y="224529"/>
                </a:cubicBezTo>
                <a:lnTo>
                  <a:pt x="1335437" y="224769"/>
                </a:lnTo>
                <a:lnTo>
                  <a:pt x="1335677" y="224866"/>
                </a:lnTo>
                <a:lnTo>
                  <a:pt x="1335677" y="224866"/>
                </a:lnTo>
                <a:cubicBezTo>
                  <a:pt x="1335677" y="224866"/>
                  <a:pt x="1335677" y="225299"/>
                  <a:pt x="1335629" y="225732"/>
                </a:cubicBezTo>
                <a:cubicBezTo>
                  <a:pt x="1335485" y="226261"/>
                  <a:pt x="1335388" y="226887"/>
                  <a:pt x="1335100" y="227608"/>
                </a:cubicBezTo>
                <a:cubicBezTo>
                  <a:pt x="1334042" y="230447"/>
                  <a:pt x="1331974" y="233672"/>
                  <a:pt x="1329762" y="236703"/>
                </a:cubicBezTo>
                <a:cubicBezTo>
                  <a:pt x="1325290" y="242814"/>
                  <a:pt x="1319905" y="248637"/>
                  <a:pt x="1314471" y="254315"/>
                </a:cubicBezTo>
                <a:cubicBezTo>
                  <a:pt x="1303507" y="265623"/>
                  <a:pt x="1291871" y="276306"/>
                  <a:pt x="1280234" y="286796"/>
                </a:cubicBezTo>
                <a:cubicBezTo>
                  <a:pt x="1256864" y="307728"/>
                  <a:pt x="1233110" y="327746"/>
                  <a:pt x="1209836" y="347476"/>
                </a:cubicBezTo>
                <a:cubicBezTo>
                  <a:pt x="1186563" y="367205"/>
                  <a:pt x="1163626" y="386549"/>
                  <a:pt x="1141506" y="405894"/>
                </a:cubicBezTo>
                <a:cubicBezTo>
                  <a:pt x="1119435" y="425334"/>
                  <a:pt x="1097941" y="444582"/>
                  <a:pt x="1078370" y="465081"/>
                </a:cubicBezTo>
                <a:cubicBezTo>
                  <a:pt x="1058655" y="485773"/>
                  <a:pt x="1043075" y="508726"/>
                  <a:pt x="1028072" y="530669"/>
                </a:cubicBezTo>
                <a:cubicBezTo>
                  <a:pt x="1020571" y="541641"/>
                  <a:pt x="1013310" y="552468"/>
                  <a:pt x="1005712" y="562717"/>
                </a:cubicBezTo>
                <a:cubicBezTo>
                  <a:pt x="998114" y="572919"/>
                  <a:pt x="990276" y="582735"/>
                  <a:pt x="981332" y="590434"/>
                </a:cubicBezTo>
                <a:cubicBezTo>
                  <a:pt x="979169" y="592504"/>
                  <a:pt x="976716" y="593947"/>
                  <a:pt x="974456" y="595679"/>
                </a:cubicBezTo>
                <a:cubicBezTo>
                  <a:pt x="971956" y="597171"/>
                  <a:pt x="969407" y="598711"/>
                  <a:pt x="966811" y="599866"/>
                </a:cubicBezTo>
                <a:cubicBezTo>
                  <a:pt x="961665" y="602320"/>
                  <a:pt x="956280" y="604052"/>
                  <a:pt x="951087" y="604245"/>
                </a:cubicBezTo>
                <a:cubicBezTo>
                  <a:pt x="945941" y="604437"/>
                  <a:pt x="941085" y="602946"/>
                  <a:pt x="937094" y="599866"/>
                </a:cubicBezTo>
                <a:cubicBezTo>
                  <a:pt x="933054" y="596883"/>
                  <a:pt x="929881" y="592407"/>
                  <a:pt x="927284" y="587740"/>
                </a:cubicBezTo>
                <a:cubicBezTo>
                  <a:pt x="924736" y="582928"/>
                  <a:pt x="922716" y="577827"/>
                  <a:pt x="920985" y="572534"/>
                </a:cubicBezTo>
                <a:cubicBezTo>
                  <a:pt x="919158" y="567240"/>
                  <a:pt x="917955" y="562044"/>
                  <a:pt x="915840" y="556269"/>
                </a:cubicBezTo>
                <a:cubicBezTo>
                  <a:pt x="915599" y="555547"/>
                  <a:pt x="915166" y="554729"/>
                  <a:pt x="914686" y="553815"/>
                </a:cubicBezTo>
                <a:cubicBezTo>
                  <a:pt x="914397" y="553334"/>
                  <a:pt x="913868" y="552612"/>
                  <a:pt x="913628" y="552371"/>
                </a:cubicBezTo>
                <a:lnTo>
                  <a:pt x="912954" y="551601"/>
                </a:lnTo>
                <a:lnTo>
                  <a:pt x="910310" y="548522"/>
                </a:lnTo>
                <a:cubicBezTo>
                  <a:pt x="908579" y="546453"/>
                  <a:pt x="906751" y="544287"/>
                  <a:pt x="904828" y="542218"/>
                </a:cubicBezTo>
                <a:cubicBezTo>
                  <a:pt x="900981" y="538080"/>
                  <a:pt x="896461" y="534038"/>
                  <a:pt x="890979" y="531535"/>
                </a:cubicBezTo>
                <a:cubicBezTo>
                  <a:pt x="885497" y="528985"/>
                  <a:pt x="879343" y="528311"/>
                  <a:pt x="873765" y="528889"/>
                </a:cubicBezTo>
                <a:cubicBezTo>
                  <a:pt x="870879" y="528985"/>
                  <a:pt x="868283" y="529803"/>
                  <a:pt x="865542" y="530284"/>
                </a:cubicBezTo>
                <a:cubicBezTo>
                  <a:pt x="862993" y="531150"/>
                  <a:pt x="860349" y="531824"/>
                  <a:pt x="857944" y="532883"/>
                </a:cubicBezTo>
                <a:cubicBezTo>
                  <a:pt x="848087" y="536780"/>
                  <a:pt x="839672" y="542266"/>
                  <a:pt x="831593" y="547511"/>
                </a:cubicBezTo>
                <a:cubicBezTo>
                  <a:pt x="815533" y="558338"/>
                  <a:pt x="801540" y="569887"/>
                  <a:pt x="788701" y="580858"/>
                </a:cubicBezTo>
                <a:cubicBezTo>
                  <a:pt x="763167" y="603042"/>
                  <a:pt x="742154" y="623012"/>
                  <a:pt x="724458" y="638747"/>
                </a:cubicBezTo>
                <a:cubicBezTo>
                  <a:pt x="706859" y="654579"/>
                  <a:pt x="692673" y="666272"/>
                  <a:pt x="682768" y="673779"/>
                </a:cubicBezTo>
                <a:cubicBezTo>
                  <a:pt x="672910" y="681382"/>
                  <a:pt x="667428" y="684942"/>
                  <a:pt x="667669" y="685375"/>
                </a:cubicBezTo>
                <a:cubicBezTo>
                  <a:pt x="667765" y="685520"/>
                  <a:pt x="669208" y="684798"/>
                  <a:pt x="671997" y="683162"/>
                </a:cubicBezTo>
                <a:cubicBezTo>
                  <a:pt x="674737" y="681526"/>
                  <a:pt x="678921" y="679120"/>
                  <a:pt x="684018" y="675511"/>
                </a:cubicBezTo>
                <a:cubicBezTo>
                  <a:pt x="694404" y="668533"/>
                  <a:pt x="709119" y="657273"/>
                  <a:pt x="727199" y="641875"/>
                </a:cubicBezTo>
                <a:cubicBezTo>
                  <a:pt x="745375" y="626573"/>
                  <a:pt x="766822" y="606988"/>
                  <a:pt x="792548" y="585382"/>
                </a:cubicBezTo>
                <a:cubicBezTo>
                  <a:pt x="805483" y="574699"/>
                  <a:pt x="819476" y="563487"/>
                  <a:pt x="835296" y="553141"/>
                </a:cubicBezTo>
                <a:cubicBezTo>
                  <a:pt x="843230" y="548089"/>
                  <a:pt x="851501" y="542940"/>
                  <a:pt x="860493" y="539523"/>
                </a:cubicBezTo>
                <a:cubicBezTo>
                  <a:pt x="862705" y="538609"/>
                  <a:pt x="865061" y="538080"/>
                  <a:pt x="867321" y="537310"/>
                </a:cubicBezTo>
                <a:cubicBezTo>
                  <a:pt x="869629" y="536973"/>
                  <a:pt x="871985" y="536203"/>
                  <a:pt x="874293" y="536203"/>
                </a:cubicBezTo>
                <a:cubicBezTo>
                  <a:pt x="878958" y="535770"/>
                  <a:pt x="883574" y="536347"/>
                  <a:pt x="887758" y="538368"/>
                </a:cubicBezTo>
                <a:cubicBezTo>
                  <a:pt x="891941" y="540341"/>
                  <a:pt x="895596" y="543565"/>
                  <a:pt x="899058" y="547415"/>
                </a:cubicBezTo>
                <a:cubicBezTo>
                  <a:pt x="900789" y="549340"/>
                  <a:pt x="902472" y="551409"/>
                  <a:pt x="904251" y="553526"/>
                </a:cubicBezTo>
                <a:lnTo>
                  <a:pt x="906944" y="556750"/>
                </a:lnTo>
                <a:lnTo>
                  <a:pt x="907617" y="557568"/>
                </a:lnTo>
                <a:cubicBezTo>
                  <a:pt x="906799" y="558435"/>
                  <a:pt x="909060" y="556558"/>
                  <a:pt x="908338" y="557183"/>
                </a:cubicBezTo>
                <a:lnTo>
                  <a:pt x="907713" y="557761"/>
                </a:lnTo>
                <a:lnTo>
                  <a:pt x="907713" y="557761"/>
                </a:lnTo>
                <a:cubicBezTo>
                  <a:pt x="907857" y="558146"/>
                  <a:pt x="908098" y="558531"/>
                  <a:pt x="908290" y="559156"/>
                </a:cubicBezTo>
                <a:cubicBezTo>
                  <a:pt x="909973" y="563824"/>
                  <a:pt x="911320" y="569598"/>
                  <a:pt x="913099" y="575036"/>
                </a:cubicBezTo>
                <a:cubicBezTo>
                  <a:pt x="914830" y="580570"/>
                  <a:pt x="916946" y="586152"/>
                  <a:pt x="919783" y="591637"/>
                </a:cubicBezTo>
                <a:cubicBezTo>
                  <a:pt x="922716" y="597027"/>
                  <a:pt x="926370" y="602464"/>
                  <a:pt x="931804" y="606603"/>
                </a:cubicBezTo>
                <a:cubicBezTo>
                  <a:pt x="937094" y="610837"/>
                  <a:pt x="944306" y="613099"/>
                  <a:pt x="951135" y="612858"/>
                </a:cubicBezTo>
                <a:cubicBezTo>
                  <a:pt x="958011" y="612618"/>
                  <a:pt x="964406" y="610549"/>
                  <a:pt x="970321" y="607806"/>
                </a:cubicBezTo>
                <a:cubicBezTo>
                  <a:pt x="973302" y="606458"/>
                  <a:pt x="976091" y="604822"/>
                  <a:pt x="978880" y="603186"/>
                </a:cubicBezTo>
                <a:cubicBezTo>
                  <a:pt x="981573" y="601261"/>
                  <a:pt x="984458" y="599481"/>
                  <a:pt x="986862" y="597267"/>
                </a:cubicBezTo>
                <a:cubicBezTo>
                  <a:pt x="996864" y="588750"/>
                  <a:pt x="1004991" y="578597"/>
                  <a:pt x="1012877" y="568203"/>
                </a:cubicBezTo>
                <a:cubicBezTo>
                  <a:pt x="1020667" y="557761"/>
                  <a:pt x="1028120" y="546934"/>
                  <a:pt x="1035669" y="536010"/>
                </a:cubicBezTo>
                <a:cubicBezTo>
                  <a:pt x="1050768" y="514164"/>
                  <a:pt x="1066204" y="491788"/>
                  <a:pt x="1085342" y="471914"/>
                </a:cubicBezTo>
                <a:cubicBezTo>
                  <a:pt x="1104576" y="451945"/>
                  <a:pt x="1126023" y="432889"/>
                  <a:pt x="1148094" y="413641"/>
                </a:cubicBezTo>
                <a:cubicBezTo>
                  <a:pt x="1161991" y="401563"/>
                  <a:pt x="1176224" y="389485"/>
                  <a:pt x="1190698" y="377262"/>
                </a:cubicBezTo>
                <a:cubicBezTo>
                  <a:pt x="1189736" y="378128"/>
                  <a:pt x="1188727" y="378994"/>
                  <a:pt x="1187765" y="379909"/>
                </a:cubicBezTo>
                <a:cubicBezTo>
                  <a:pt x="1162905" y="402670"/>
                  <a:pt x="1138717" y="425815"/>
                  <a:pt x="1116598" y="450886"/>
                </a:cubicBezTo>
                <a:cubicBezTo>
                  <a:pt x="1105586" y="463397"/>
                  <a:pt x="1095104" y="476486"/>
                  <a:pt x="1086015" y="490585"/>
                </a:cubicBezTo>
                <a:cubicBezTo>
                  <a:pt x="1081495" y="497707"/>
                  <a:pt x="1077360" y="504973"/>
                  <a:pt x="1074090" y="513009"/>
                </a:cubicBezTo>
                <a:cubicBezTo>
                  <a:pt x="1070628" y="521574"/>
                  <a:pt x="1070243" y="530573"/>
                  <a:pt x="1070339" y="538994"/>
                </a:cubicBezTo>
                <a:cubicBezTo>
                  <a:pt x="1071013" y="555884"/>
                  <a:pt x="1073898" y="571619"/>
                  <a:pt x="1073032" y="587114"/>
                </a:cubicBezTo>
                <a:cubicBezTo>
                  <a:pt x="1072551" y="602609"/>
                  <a:pt x="1067598" y="617382"/>
                  <a:pt x="1059472" y="630278"/>
                </a:cubicBezTo>
                <a:cubicBezTo>
                  <a:pt x="1057212" y="633358"/>
                  <a:pt x="1055433" y="636774"/>
                  <a:pt x="1052836" y="639661"/>
                </a:cubicBezTo>
                <a:lnTo>
                  <a:pt x="1045335" y="648419"/>
                </a:lnTo>
                <a:cubicBezTo>
                  <a:pt x="1039661" y="653664"/>
                  <a:pt x="1034275" y="659198"/>
                  <a:pt x="1028072" y="663962"/>
                </a:cubicBezTo>
                <a:cubicBezTo>
                  <a:pt x="1015954" y="673730"/>
                  <a:pt x="1003019" y="682296"/>
                  <a:pt x="989219" y="689081"/>
                </a:cubicBezTo>
                <a:cubicBezTo>
                  <a:pt x="961858" y="702843"/>
                  <a:pt x="931035" y="709628"/>
                  <a:pt x="901318" y="706500"/>
                </a:cubicBezTo>
                <a:cubicBezTo>
                  <a:pt x="893913" y="705730"/>
                  <a:pt x="886603" y="704287"/>
                  <a:pt x="879583" y="702121"/>
                </a:cubicBezTo>
                <a:cubicBezTo>
                  <a:pt x="872610" y="699956"/>
                  <a:pt x="865782" y="697069"/>
                  <a:pt x="860156" y="693027"/>
                </a:cubicBezTo>
                <a:cubicBezTo>
                  <a:pt x="857415" y="691054"/>
                  <a:pt x="854867" y="688696"/>
                  <a:pt x="853569" y="686338"/>
                </a:cubicBezTo>
                <a:cubicBezTo>
                  <a:pt x="853136" y="685760"/>
                  <a:pt x="853088" y="685231"/>
                  <a:pt x="852847" y="684750"/>
                </a:cubicBezTo>
                <a:cubicBezTo>
                  <a:pt x="852655" y="684221"/>
                  <a:pt x="852655" y="683258"/>
                  <a:pt x="852511" y="682536"/>
                </a:cubicBezTo>
                <a:cubicBezTo>
                  <a:pt x="852222" y="681045"/>
                  <a:pt x="852414" y="679264"/>
                  <a:pt x="852366" y="677628"/>
                </a:cubicBezTo>
                <a:cubicBezTo>
                  <a:pt x="852847" y="670747"/>
                  <a:pt x="854771" y="663625"/>
                  <a:pt x="857031" y="656552"/>
                </a:cubicBezTo>
                <a:cubicBezTo>
                  <a:pt x="859291" y="649478"/>
                  <a:pt x="861935" y="642452"/>
                  <a:pt x="864340" y="635186"/>
                </a:cubicBezTo>
                <a:cubicBezTo>
                  <a:pt x="866648" y="627968"/>
                  <a:pt x="869389" y="620461"/>
                  <a:pt x="869533" y="612088"/>
                </a:cubicBezTo>
                <a:cubicBezTo>
                  <a:pt x="869773" y="604245"/>
                  <a:pt x="869341" y="595824"/>
                  <a:pt x="864773" y="587932"/>
                </a:cubicBezTo>
                <a:cubicBezTo>
                  <a:pt x="862464" y="584034"/>
                  <a:pt x="858666" y="580666"/>
                  <a:pt x="854290" y="579030"/>
                </a:cubicBezTo>
                <a:cubicBezTo>
                  <a:pt x="849962" y="577394"/>
                  <a:pt x="845538" y="577201"/>
                  <a:pt x="841403" y="577490"/>
                </a:cubicBezTo>
                <a:cubicBezTo>
                  <a:pt x="833180" y="578260"/>
                  <a:pt x="825775" y="580858"/>
                  <a:pt x="818754" y="583938"/>
                </a:cubicBezTo>
                <a:cubicBezTo>
                  <a:pt x="811782" y="587018"/>
                  <a:pt x="805194" y="590675"/>
                  <a:pt x="798751" y="594476"/>
                </a:cubicBezTo>
                <a:cubicBezTo>
                  <a:pt x="786008" y="602224"/>
                  <a:pt x="773986" y="610789"/>
                  <a:pt x="762446" y="619788"/>
                </a:cubicBezTo>
                <a:cubicBezTo>
                  <a:pt x="739413" y="637833"/>
                  <a:pt x="717774" y="656696"/>
                  <a:pt x="697193" y="676618"/>
                </a:cubicBezTo>
                <a:cubicBezTo>
                  <a:pt x="676853" y="696636"/>
                  <a:pt x="658148" y="717423"/>
                  <a:pt x="636750" y="734458"/>
                </a:cubicBezTo>
                <a:cubicBezTo>
                  <a:pt x="631412" y="738596"/>
                  <a:pt x="625930" y="742927"/>
                  <a:pt x="620449" y="746392"/>
                </a:cubicBezTo>
                <a:cubicBezTo>
                  <a:pt x="619054" y="747210"/>
                  <a:pt x="617708" y="748076"/>
                  <a:pt x="616313" y="748750"/>
                </a:cubicBezTo>
                <a:cubicBezTo>
                  <a:pt x="615592" y="749135"/>
                  <a:pt x="615015" y="749375"/>
                  <a:pt x="614390" y="749616"/>
                </a:cubicBezTo>
                <a:lnTo>
                  <a:pt x="613572" y="749953"/>
                </a:lnTo>
                <a:lnTo>
                  <a:pt x="613284" y="750049"/>
                </a:lnTo>
                <a:lnTo>
                  <a:pt x="612130" y="749808"/>
                </a:lnTo>
                <a:cubicBezTo>
                  <a:pt x="611889" y="749375"/>
                  <a:pt x="611889" y="749135"/>
                  <a:pt x="611985" y="748461"/>
                </a:cubicBezTo>
                <a:cubicBezTo>
                  <a:pt x="612130" y="747499"/>
                  <a:pt x="612514" y="746007"/>
                  <a:pt x="612995" y="744515"/>
                </a:cubicBezTo>
                <a:cubicBezTo>
                  <a:pt x="613524" y="743023"/>
                  <a:pt x="614053" y="741532"/>
                  <a:pt x="614678" y="740040"/>
                </a:cubicBezTo>
                <a:cubicBezTo>
                  <a:pt x="615928" y="737057"/>
                  <a:pt x="617371" y="734073"/>
                  <a:pt x="618910" y="731138"/>
                </a:cubicBezTo>
                <a:cubicBezTo>
                  <a:pt x="621987" y="725267"/>
                  <a:pt x="625449" y="719493"/>
                  <a:pt x="629008" y="713863"/>
                </a:cubicBezTo>
                <a:cubicBezTo>
                  <a:pt x="641318" y="694615"/>
                  <a:pt x="655022" y="676570"/>
                  <a:pt x="669304" y="659246"/>
                </a:cubicBezTo>
                <a:cubicBezTo>
                  <a:pt x="669111" y="659535"/>
                  <a:pt x="668871" y="659872"/>
                  <a:pt x="668679" y="660161"/>
                </a:cubicBezTo>
                <a:cubicBezTo>
                  <a:pt x="665168" y="665646"/>
                  <a:pt x="662283" y="670699"/>
                  <a:pt x="660167" y="675270"/>
                </a:cubicBezTo>
                <a:cubicBezTo>
                  <a:pt x="659109" y="677532"/>
                  <a:pt x="658244" y="679745"/>
                  <a:pt x="657619" y="681815"/>
                </a:cubicBezTo>
                <a:cubicBezTo>
                  <a:pt x="657138" y="683884"/>
                  <a:pt x="656465" y="685953"/>
                  <a:pt x="657523" y="688022"/>
                </a:cubicBezTo>
                <a:cubicBezTo>
                  <a:pt x="658148" y="689129"/>
                  <a:pt x="659446" y="689321"/>
                  <a:pt x="660264" y="689273"/>
                </a:cubicBezTo>
                <a:cubicBezTo>
                  <a:pt x="661129" y="689225"/>
                  <a:pt x="661802" y="688984"/>
                  <a:pt x="662475" y="688744"/>
                </a:cubicBezTo>
                <a:cubicBezTo>
                  <a:pt x="663726" y="688215"/>
                  <a:pt x="664639" y="687685"/>
                  <a:pt x="665409" y="687252"/>
                </a:cubicBezTo>
                <a:cubicBezTo>
                  <a:pt x="666851" y="686290"/>
                  <a:pt x="667524" y="685712"/>
                  <a:pt x="667476" y="685616"/>
                </a:cubicBezTo>
                <a:cubicBezTo>
                  <a:pt x="667380" y="685472"/>
                  <a:pt x="666611" y="685857"/>
                  <a:pt x="665072" y="686530"/>
                </a:cubicBezTo>
                <a:cubicBezTo>
                  <a:pt x="664303" y="686867"/>
                  <a:pt x="663341" y="687252"/>
                  <a:pt x="662139" y="687637"/>
                </a:cubicBezTo>
                <a:cubicBezTo>
                  <a:pt x="661033" y="687926"/>
                  <a:pt x="659350" y="688166"/>
                  <a:pt x="658965" y="687252"/>
                </a:cubicBezTo>
                <a:cubicBezTo>
                  <a:pt x="658484" y="686242"/>
                  <a:pt x="658917" y="684269"/>
                  <a:pt x="659542" y="682440"/>
                </a:cubicBezTo>
                <a:cubicBezTo>
                  <a:pt x="660215" y="680563"/>
                  <a:pt x="661177" y="678494"/>
                  <a:pt x="662283" y="676377"/>
                </a:cubicBezTo>
                <a:cubicBezTo>
                  <a:pt x="664591" y="672046"/>
                  <a:pt x="667621" y="667234"/>
                  <a:pt x="671275" y="661941"/>
                </a:cubicBezTo>
                <a:cubicBezTo>
                  <a:pt x="678584" y="651355"/>
                  <a:pt x="688490" y="638795"/>
                  <a:pt x="700800" y="624792"/>
                </a:cubicBezTo>
                <a:close/>
                <a:moveTo>
                  <a:pt x="543319" y="823577"/>
                </a:moveTo>
                <a:cubicBezTo>
                  <a:pt x="545194" y="820689"/>
                  <a:pt x="547118" y="817754"/>
                  <a:pt x="549041" y="814867"/>
                </a:cubicBezTo>
                <a:cubicBezTo>
                  <a:pt x="539568" y="830698"/>
                  <a:pt x="530047" y="846241"/>
                  <a:pt x="520238" y="861303"/>
                </a:cubicBezTo>
                <a:cubicBezTo>
                  <a:pt x="513602" y="871264"/>
                  <a:pt x="507062" y="881176"/>
                  <a:pt x="500619" y="891041"/>
                </a:cubicBezTo>
                <a:cubicBezTo>
                  <a:pt x="514323" y="868906"/>
                  <a:pt x="528556" y="846386"/>
                  <a:pt x="543367" y="823577"/>
                </a:cubicBezTo>
                <a:close/>
                <a:moveTo>
                  <a:pt x="1137034" y="445111"/>
                </a:moveTo>
                <a:cubicBezTo>
                  <a:pt x="1133524" y="449924"/>
                  <a:pt x="1130110" y="454832"/>
                  <a:pt x="1126744" y="459836"/>
                </a:cubicBezTo>
                <a:lnTo>
                  <a:pt x="1122176" y="467728"/>
                </a:lnTo>
                <a:lnTo>
                  <a:pt x="1119916" y="471674"/>
                </a:lnTo>
                <a:cubicBezTo>
                  <a:pt x="1119243" y="473021"/>
                  <a:pt x="1118666" y="474465"/>
                  <a:pt x="1118041" y="475908"/>
                </a:cubicBezTo>
                <a:cubicBezTo>
                  <a:pt x="1112703" y="486928"/>
                  <a:pt x="1109577" y="499535"/>
                  <a:pt x="1109914" y="512191"/>
                </a:cubicBezTo>
                <a:cubicBezTo>
                  <a:pt x="1110154" y="524943"/>
                  <a:pt x="1114097" y="537117"/>
                  <a:pt x="1118569" y="548041"/>
                </a:cubicBezTo>
                <a:cubicBezTo>
                  <a:pt x="1122945" y="559060"/>
                  <a:pt x="1127513" y="569598"/>
                  <a:pt x="1128571" y="580281"/>
                </a:cubicBezTo>
                <a:cubicBezTo>
                  <a:pt x="1129773" y="591060"/>
                  <a:pt x="1126792" y="601213"/>
                  <a:pt x="1121214" y="611415"/>
                </a:cubicBezTo>
                <a:cubicBezTo>
                  <a:pt x="1120060" y="614013"/>
                  <a:pt x="1118666" y="616516"/>
                  <a:pt x="1117175" y="619018"/>
                </a:cubicBezTo>
                <a:lnTo>
                  <a:pt x="1112799" y="626525"/>
                </a:lnTo>
                <a:cubicBezTo>
                  <a:pt x="1109722" y="631433"/>
                  <a:pt x="1106404" y="636293"/>
                  <a:pt x="1103230" y="641153"/>
                </a:cubicBezTo>
                <a:cubicBezTo>
                  <a:pt x="1089814" y="660353"/>
                  <a:pt x="1074811" y="678687"/>
                  <a:pt x="1059135" y="696443"/>
                </a:cubicBezTo>
                <a:cubicBezTo>
                  <a:pt x="1043411" y="714199"/>
                  <a:pt x="1026966" y="731378"/>
                  <a:pt x="1009847" y="747932"/>
                </a:cubicBezTo>
                <a:cubicBezTo>
                  <a:pt x="992681" y="764389"/>
                  <a:pt x="974793" y="780268"/>
                  <a:pt x="955703" y="794368"/>
                </a:cubicBezTo>
                <a:cubicBezTo>
                  <a:pt x="945989" y="801056"/>
                  <a:pt x="936372" y="807745"/>
                  <a:pt x="925697" y="812124"/>
                </a:cubicBezTo>
                <a:cubicBezTo>
                  <a:pt x="915070" y="816599"/>
                  <a:pt x="903962" y="819390"/>
                  <a:pt x="892470" y="819583"/>
                </a:cubicBezTo>
                <a:cubicBezTo>
                  <a:pt x="886748" y="819871"/>
                  <a:pt x="880881" y="819342"/>
                  <a:pt x="874822" y="819005"/>
                </a:cubicBezTo>
                <a:cubicBezTo>
                  <a:pt x="868764" y="818668"/>
                  <a:pt x="862176" y="818139"/>
                  <a:pt x="855155" y="819823"/>
                </a:cubicBezTo>
                <a:cubicBezTo>
                  <a:pt x="853424" y="820256"/>
                  <a:pt x="851741" y="820930"/>
                  <a:pt x="850010" y="821556"/>
                </a:cubicBezTo>
                <a:cubicBezTo>
                  <a:pt x="848327" y="822229"/>
                  <a:pt x="846836" y="823240"/>
                  <a:pt x="845202" y="824106"/>
                </a:cubicBezTo>
                <a:cubicBezTo>
                  <a:pt x="843567" y="824972"/>
                  <a:pt x="842413" y="826271"/>
                  <a:pt x="840970" y="827330"/>
                </a:cubicBezTo>
                <a:cubicBezTo>
                  <a:pt x="840297" y="827955"/>
                  <a:pt x="839624" y="828292"/>
                  <a:pt x="838950" y="829207"/>
                </a:cubicBezTo>
                <a:lnTo>
                  <a:pt x="836883" y="832334"/>
                </a:lnTo>
                <a:lnTo>
                  <a:pt x="834815" y="835462"/>
                </a:lnTo>
                <a:lnTo>
                  <a:pt x="833757" y="837002"/>
                </a:lnTo>
                <a:lnTo>
                  <a:pt x="833517" y="837387"/>
                </a:lnTo>
                <a:lnTo>
                  <a:pt x="833613" y="837820"/>
                </a:lnTo>
                <a:lnTo>
                  <a:pt x="833421" y="838783"/>
                </a:lnTo>
                <a:cubicBezTo>
                  <a:pt x="833757" y="841140"/>
                  <a:pt x="836017" y="843258"/>
                  <a:pt x="838421" y="845086"/>
                </a:cubicBezTo>
                <a:lnTo>
                  <a:pt x="840874" y="846915"/>
                </a:lnTo>
                <a:lnTo>
                  <a:pt x="842797" y="848310"/>
                </a:lnTo>
                <a:lnTo>
                  <a:pt x="846644" y="850957"/>
                </a:lnTo>
                <a:cubicBezTo>
                  <a:pt x="874678" y="869050"/>
                  <a:pt x="903385" y="885026"/>
                  <a:pt x="932429" y="900521"/>
                </a:cubicBezTo>
                <a:cubicBezTo>
                  <a:pt x="947095" y="908124"/>
                  <a:pt x="961473" y="915727"/>
                  <a:pt x="977438" y="921790"/>
                </a:cubicBezTo>
                <a:cubicBezTo>
                  <a:pt x="979553" y="922512"/>
                  <a:pt x="981525" y="923233"/>
                  <a:pt x="984266" y="923715"/>
                </a:cubicBezTo>
                <a:cubicBezTo>
                  <a:pt x="986862" y="924003"/>
                  <a:pt x="988642" y="923907"/>
                  <a:pt x="990902" y="924051"/>
                </a:cubicBezTo>
                <a:cubicBezTo>
                  <a:pt x="995133" y="924100"/>
                  <a:pt x="999413" y="924533"/>
                  <a:pt x="1003596" y="924244"/>
                </a:cubicBezTo>
                <a:cubicBezTo>
                  <a:pt x="1011963" y="923666"/>
                  <a:pt x="1020330" y="923282"/>
                  <a:pt x="1028457" y="921838"/>
                </a:cubicBezTo>
                <a:cubicBezTo>
                  <a:pt x="1061251" y="917026"/>
                  <a:pt x="1092699" y="907835"/>
                  <a:pt x="1123522" y="897585"/>
                </a:cubicBezTo>
                <a:cubicBezTo>
                  <a:pt x="1154345" y="887191"/>
                  <a:pt x="1184447" y="875402"/>
                  <a:pt x="1214116" y="862939"/>
                </a:cubicBezTo>
                <a:cubicBezTo>
                  <a:pt x="1243785" y="850428"/>
                  <a:pt x="1272973" y="837098"/>
                  <a:pt x="1301728" y="823240"/>
                </a:cubicBezTo>
                <a:cubicBezTo>
                  <a:pt x="1330436" y="809333"/>
                  <a:pt x="1358950" y="794849"/>
                  <a:pt x="1386359" y="778873"/>
                </a:cubicBezTo>
                <a:cubicBezTo>
                  <a:pt x="1441321" y="747162"/>
                  <a:pt x="1493206" y="711793"/>
                  <a:pt x="1547591" y="682440"/>
                </a:cubicBezTo>
                <a:cubicBezTo>
                  <a:pt x="1574760" y="667764"/>
                  <a:pt x="1602697" y="654964"/>
                  <a:pt x="1631501" y="645147"/>
                </a:cubicBezTo>
                <a:cubicBezTo>
                  <a:pt x="1660256" y="635282"/>
                  <a:pt x="1690021" y="628834"/>
                  <a:pt x="1719835" y="625562"/>
                </a:cubicBezTo>
                <a:cubicBezTo>
                  <a:pt x="1749600" y="622771"/>
                  <a:pt x="1779749" y="625177"/>
                  <a:pt x="1808361" y="632588"/>
                </a:cubicBezTo>
                <a:cubicBezTo>
                  <a:pt x="1836875" y="640094"/>
                  <a:pt x="1864380" y="652558"/>
                  <a:pt x="1886211" y="671517"/>
                </a:cubicBezTo>
                <a:cubicBezTo>
                  <a:pt x="1896983" y="680997"/>
                  <a:pt x="1906359" y="692160"/>
                  <a:pt x="1911697" y="704960"/>
                </a:cubicBezTo>
                <a:cubicBezTo>
                  <a:pt x="1914342" y="711312"/>
                  <a:pt x="1915976" y="718049"/>
                  <a:pt x="1916169" y="724738"/>
                </a:cubicBezTo>
                <a:cubicBezTo>
                  <a:pt x="1916457" y="728058"/>
                  <a:pt x="1915832" y="731715"/>
                  <a:pt x="1915688" y="735180"/>
                </a:cubicBezTo>
                <a:cubicBezTo>
                  <a:pt x="1915448" y="738693"/>
                  <a:pt x="1914630" y="742157"/>
                  <a:pt x="1914149" y="745622"/>
                </a:cubicBezTo>
                <a:cubicBezTo>
                  <a:pt x="1908523" y="773532"/>
                  <a:pt x="1891501" y="797880"/>
                  <a:pt x="1872074" y="818813"/>
                </a:cubicBezTo>
                <a:cubicBezTo>
                  <a:pt x="1852359" y="839793"/>
                  <a:pt x="1829855" y="858031"/>
                  <a:pt x="1807014" y="875498"/>
                </a:cubicBezTo>
                <a:cubicBezTo>
                  <a:pt x="1784077" y="892870"/>
                  <a:pt x="1760611" y="909423"/>
                  <a:pt x="1737530" y="926361"/>
                </a:cubicBezTo>
                <a:cubicBezTo>
                  <a:pt x="1714449" y="943300"/>
                  <a:pt x="1691656" y="960478"/>
                  <a:pt x="1670354" y="979342"/>
                </a:cubicBezTo>
                <a:cubicBezTo>
                  <a:pt x="1659631" y="988773"/>
                  <a:pt x="1649437" y="998493"/>
                  <a:pt x="1639724" y="1009176"/>
                </a:cubicBezTo>
                <a:cubicBezTo>
                  <a:pt x="1630347" y="1019955"/>
                  <a:pt x="1621884" y="1031167"/>
                  <a:pt x="1613517" y="1042379"/>
                </a:cubicBezTo>
                <a:cubicBezTo>
                  <a:pt x="1580482" y="1087371"/>
                  <a:pt x="1549226" y="1132412"/>
                  <a:pt x="1515662" y="1174661"/>
                </a:cubicBezTo>
                <a:cubicBezTo>
                  <a:pt x="1498880" y="1195786"/>
                  <a:pt x="1481762" y="1216333"/>
                  <a:pt x="1463633" y="1235678"/>
                </a:cubicBezTo>
                <a:cubicBezTo>
                  <a:pt x="1445457" y="1254926"/>
                  <a:pt x="1426607" y="1273356"/>
                  <a:pt x="1405978" y="1288947"/>
                </a:cubicBezTo>
                <a:cubicBezTo>
                  <a:pt x="1395784" y="1296887"/>
                  <a:pt x="1384965" y="1303912"/>
                  <a:pt x="1373809" y="1309975"/>
                </a:cubicBezTo>
                <a:cubicBezTo>
                  <a:pt x="1362653" y="1316086"/>
                  <a:pt x="1350920" y="1320850"/>
                  <a:pt x="1338754" y="1323497"/>
                </a:cubicBezTo>
                <a:cubicBezTo>
                  <a:pt x="1335725" y="1324123"/>
                  <a:pt x="1332696" y="1324892"/>
                  <a:pt x="1329618" y="1325422"/>
                </a:cubicBezTo>
                <a:lnTo>
                  <a:pt x="1320338" y="1326384"/>
                </a:lnTo>
                <a:cubicBezTo>
                  <a:pt x="1318799" y="1326529"/>
                  <a:pt x="1317260" y="1326769"/>
                  <a:pt x="1315673" y="1326817"/>
                </a:cubicBezTo>
                <a:lnTo>
                  <a:pt x="1311009" y="1326817"/>
                </a:lnTo>
                <a:cubicBezTo>
                  <a:pt x="1311009" y="1326817"/>
                  <a:pt x="1301680" y="1326817"/>
                  <a:pt x="1301680" y="1326817"/>
                </a:cubicBezTo>
                <a:cubicBezTo>
                  <a:pt x="1289226" y="1325855"/>
                  <a:pt x="1276820" y="1324363"/>
                  <a:pt x="1264702" y="1321235"/>
                </a:cubicBezTo>
                <a:cubicBezTo>
                  <a:pt x="1240371" y="1315557"/>
                  <a:pt x="1217001" y="1306462"/>
                  <a:pt x="1193728" y="1297416"/>
                </a:cubicBezTo>
                <a:cubicBezTo>
                  <a:pt x="1170502" y="1288466"/>
                  <a:pt x="1147229" y="1278938"/>
                  <a:pt x="1122368" y="1274607"/>
                </a:cubicBezTo>
                <a:cubicBezTo>
                  <a:pt x="1097941" y="1270517"/>
                  <a:pt x="1073513" y="1268592"/>
                  <a:pt x="1049422" y="1267389"/>
                </a:cubicBezTo>
                <a:cubicBezTo>
                  <a:pt x="1025331" y="1266186"/>
                  <a:pt x="1001529" y="1265849"/>
                  <a:pt x="978303" y="1263732"/>
                </a:cubicBezTo>
                <a:cubicBezTo>
                  <a:pt x="966714" y="1262673"/>
                  <a:pt x="955222" y="1261181"/>
                  <a:pt x="944210" y="1258342"/>
                </a:cubicBezTo>
                <a:cubicBezTo>
                  <a:pt x="933295" y="1255455"/>
                  <a:pt x="922524" y="1251653"/>
                  <a:pt x="914012" y="1245157"/>
                </a:cubicBezTo>
                <a:cubicBezTo>
                  <a:pt x="905309" y="1238613"/>
                  <a:pt x="898384" y="1229711"/>
                  <a:pt x="892229" y="1220424"/>
                </a:cubicBezTo>
                <a:cubicBezTo>
                  <a:pt x="886075" y="1211088"/>
                  <a:pt x="880833" y="1201127"/>
                  <a:pt x="875880" y="1191070"/>
                </a:cubicBezTo>
                <a:cubicBezTo>
                  <a:pt x="865975" y="1170908"/>
                  <a:pt x="857560" y="1150168"/>
                  <a:pt x="847029" y="1130343"/>
                </a:cubicBezTo>
                <a:cubicBezTo>
                  <a:pt x="841739" y="1120478"/>
                  <a:pt x="835873" y="1110806"/>
                  <a:pt x="828372" y="1102144"/>
                </a:cubicBezTo>
                <a:cubicBezTo>
                  <a:pt x="824525" y="1097910"/>
                  <a:pt x="820389" y="1093819"/>
                  <a:pt x="815340" y="1090692"/>
                </a:cubicBezTo>
                <a:cubicBezTo>
                  <a:pt x="812984" y="1088959"/>
                  <a:pt x="810147" y="1087853"/>
                  <a:pt x="807502" y="1086553"/>
                </a:cubicBezTo>
                <a:cubicBezTo>
                  <a:pt x="804665" y="1085687"/>
                  <a:pt x="801828" y="1084580"/>
                  <a:pt x="798847" y="1084340"/>
                </a:cubicBezTo>
                <a:cubicBezTo>
                  <a:pt x="786874" y="1082319"/>
                  <a:pt x="775237" y="1086650"/>
                  <a:pt x="765716" y="1091991"/>
                </a:cubicBezTo>
                <a:cubicBezTo>
                  <a:pt x="756099" y="1097525"/>
                  <a:pt x="747587" y="1104213"/>
                  <a:pt x="739509" y="1111191"/>
                </a:cubicBezTo>
                <a:cubicBezTo>
                  <a:pt x="723400" y="1125242"/>
                  <a:pt x="709167" y="1140688"/>
                  <a:pt x="695607" y="1156231"/>
                </a:cubicBezTo>
                <a:cubicBezTo>
                  <a:pt x="673102" y="1182312"/>
                  <a:pt x="652666" y="1208971"/>
                  <a:pt x="633384" y="1235533"/>
                </a:cubicBezTo>
                <a:cubicBezTo>
                  <a:pt x="642616" y="1220809"/>
                  <a:pt x="651752" y="1205987"/>
                  <a:pt x="660793" y="1190926"/>
                </a:cubicBezTo>
                <a:cubicBezTo>
                  <a:pt x="681566" y="1156520"/>
                  <a:pt x="700992" y="1121777"/>
                  <a:pt x="718495" y="1086601"/>
                </a:cubicBezTo>
                <a:cubicBezTo>
                  <a:pt x="722823" y="1077795"/>
                  <a:pt x="727295" y="1069086"/>
                  <a:pt x="731046" y="1060039"/>
                </a:cubicBezTo>
                <a:cubicBezTo>
                  <a:pt x="734893" y="1051041"/>
                  <a:pt x="739124" y="1042283"/>
                  <a:pt x="742250" y="1032996"/>
                </a:cubicBezTo>
                <a:cubicBezTo>
                  <a:pt x="749463" y="1014950"/>
                  <a:pt x="755041" y="995991"/>
                  <a:pt x="756627" y="976262"/>
                </a:cubicBezTo>
                <a:cubicBezTo>
                  <a:pt x="757349" y="966397"/>
                  <a:pt x="756772" y="956484"/>
                  <a:pt x="755425" y="947005"/>
                </a:cubicBezTo>
                <a:cubicBezTo>
                  <a:pt x="754079" y="937477"/>
                  <a:pt x="752252" y="928382"/>
                  <a:pt x="751001" y="919336"/>
                </a:cubicBezTo>
                <a:cubicBezTo>
                  <a:pt x="749751" y="910337"/>
                  <a:pt x="748886" y="901387"/>
                  <a:pt x="748886" y="892388"/>
                </a:cubicBezTo>
                <a:cubicBezTo>
                  <a:pt x="748693" y="887913"/>
                  <a:pt x="749030" y="883438"/>
                  <a:pt x="749126" y="878963"/>
                </a:cubicBezTo>
                <a:cubicBezTo>
                  <a:pt x="749174" y="876701"/>
                  <a:pt x="749511" y="874825"/>
                  <a:pt x="749751" y="872659"/>
                </a:cubicBezTo>
                <a:cubicBezTo>
                  <a:pt x="750184" y="870494"/>
                  <a:pt x="750473" y="868376"/>
                  <a:pt x="751001" y="866211"/>
                </a:cubicBezTo>
                <a:cubicBezTo>
                  <a:pt x="754848" y="848888"/>
                  <a:pt x="760378" y="831613"/>
                  <a:pt x="765091" y="814386"/>
                </a:cubicBezTo>
                <a:cubicBezTo>
                  <a:pt x="767447" y="805772"/>
                  <a:pt x="769707" y="797110"/>
                  <a:pt x="771486" y="788208"/>
                </a:cubicBezTo>
                <a:cubicBezTo>
                  <a:pt x="771967" y="785995"/>
                  <a:pt x="772303" y="783733"/>
                  <a:pt x="772640" y="781471"/>
                </a:cubicBezTo>
                <a:cubicBezTo>
                  <a:pt x="773025" y="779258"/>
                  <a:pt x="773217" y="776852"/>
                  <a:pt x="773361" y="774494"/>
                </a:cubicBezTo>
                <a:cubicBezTo>
                  <a:pt x="773506" y="773339"/>
                  <a:pt x="773458" y="772088"/>
                  <a:pt x="773361" y="770789"/>
                </a:cubicBezTo>
                <a:lnTo>
                  <a:pt x="773265" y="768864"/>
                </a:lnTo>
                <a:lnTo>
                  <a:pt x="773265" y="767805"/>
                </a:lnTo>
                <a:cubicBezTo>
                  <a:pt x="773265" y="767805"/>
                  <a:pt x="772688" y="766314"/>
                  <a:pt x="772688" y="766314"/>
                </a:cubicBezTo>
                <a:cubicBezTo>
                  <a:pt x="772255" y="764196"/>
                  <a:pt x="770813" y="762656"/>
                  <a:pt x="769707" y="761502"/>
                </a:cubicBezTo>
                <a:cubicBezTo>
                  <a:pt x="768505" y="760443"/>
                  <a:pt x="767303" y="759529"/>
                  <a:pt x="766148" y="758903"/>
                </a:cubicBezTo>
                <a:cubicBezTo>
                  <a:pt x="761436" y="756256"/>
                  <a:pt x="756916" y="755198"/>
                  <a:pt x="752444" y="754187"/>
                </a:cubicBezTo>
                <a:cubicBezTo>
                  <a:pt x="747972" y="753225"/>
                  <a:pt x="743500" y="752792"/>
                  <a:pt x="739076" y="752311"/>
                </a:cubicBezTo>
                <a:cubicBezTo>
                  <a:pt x="730228" y="751637"/>
                  <a:pt x="721477" y="751685"/>
                  <a:pt x="712869" y="752214"/>
                </a:cubicBezTo>
                <a:cubicBezTo>
                  <a:pt x="695607" y="753273"/>
                  <a:pt x="678777" y="756256"/>
                  <a:pt x="662620" y="760828"/>
                </a:cubicBezTo>
                <a:cubicBezTo>
                  <a:pt x="630354" y="770067"/>
                  <a:pt x="600541" y="785465"/>
                  <a:pt x="578181" y="809044"/>
                </a:cubicBezTo>
                <a:cubicBezTo>
                  <a:pt x="575488" y="812220"/>
                  <a:pt x="573324" y="815204"/>
                  <a:pt x="570920" y="817946"/>
                </a:cubicBezTo>
                <a:cubicBezTo>
                  <a:pt x="568372" y="820786"/>
                  <a:pt x="565871" y="823625"/>
                  <a:pt x="563371" y="826464"/>
                </a:cubicBezTo>
                <a:cubicBezTo>
                  <a:pt x="558322" y="832190"/>
                  <a:pt x="553321" y="837868"/>
                  <a:pt x="548416" y="843498"/>
                </a:cubicBezTo>
                <a:cubicBezTo>
                  <a:pt x="538847" y="854999"/>
                  <a:pt x="529326" y="866259"/>
                  <a:pt x="520622" y="877712"/>
                </a:cubicBezTo>
                <a:cubicBezTo>
                  <a:pt x="509322" y="892244"/>
                  <a:pt x="498839" y="906728"/>
                  <a:pt x="488982" y="921164"/>
                </a:cubicBezTo>
                <a:cubicBezTo>
                  <a:pt x="501003" y="902686"/>
                  <a:pt x="513313" y="884064"/>
                  <a:pt x="525960" y="865152"/>
                </a:cubicBezTo>
                <a:cubicBezTo>
                  <a:pt x="537452" y="847637"/>
                  <a:pt x="548560" y="829592"/>
                  <a:pt x="559572" y="811162"/>
                </a:cubicBezTo>
                <a:cubicBezTo>
                  <a:pt x="570632" y="792732"/>
                  <a:pt x="581403" y="773868"/>
                  <a:pt x="592991" y="755294"/>
                </a:cubicBezTo>
                <a:cubicBezTo>
                  <a:pt x="599772" y="744323"/>
                  <a:pt x="606984" y="733544"/>
                  <a:pt x="614582" y="722909"/>
                </a:cubicBezTo>
                <a:cubicBezTo>
                  <a:pt x="613765" y="724401"/>
                  <a:pt x="612899" y="725845"/>
                  <a:pt x="612082" y="727384"/>
                </a:cubicBezTo>
                <a:cubicBezTo>
                  <a:pt x="610447" y="730464"/>
                  <a:pt x="608908" y="733592"/>
                  <a:pt x="607513" y="736912"/>
                </a:cubicBezTo>
                <a:cubicBezTo>
                  <a:pt x="606792" y="738548"/>
                  <a:pt x="606167" y="740281"/>
                  <a:pt x="605590" y="742013"/>
                </a:cubicBezTo>
                <a:cubicBezTo>
                  <a:pt x="605061" y="743793"/>
                  <a:pt x="604484" y="745574"/>
                  <a:pt x="604195" y="747980"/>
                </a:cubicBezTo>
                <a:cubicBezTo>
                  <a:pt x="604051" y="750578"/>
                  <a:pt x="604051" y="753899"/>
                  <a:pt x="605927" y="755968"/>
                </a:cubicBezTo>
                <a:cubicBezTo>
                  <a:pt x="607706" y="758229"/>
                  <a:pt x="610783" y="758711"/>
                  <a:pt x="613572" y="758278"/>
                </a:cubicBezTo>
                <a:lnTo>
                  <a:pt x="615736" y="757893"/>
                </a:lnTo>
                <a:cubicBezTo>
                  <a:pt x="616361" y="757748"/>
                  <a:pt x="616794" y="757508"/>
                  <a:pt x="617323" y="757363"/>
                </a:cubicBezTo>
                <a:cubicBezTo>
                  <a:pt x="618333" y="756978"/>
                  <a:pt x="619342" y="756593"/>
                  <a:pt x="620112" y="756160"/>
                </a:cubicBezTo>
                <a:cubicBezTo>
                  <a:pt x="621843" y="755342"/>
                  <a:pt x="623382" y="754380"/>
                  <a:pt x="624969" y="753466"/>
                </a:cubicBezTo>
                <a:cubicBezTo>
                  <a:pt x="631124" y="749568"/>
                  <a:pt x="636509" y="745333"/>
                  <a:pt x="642087" y="741002"/>
                </a:cubicBezTo>
                <a:cubicBezTo>
                  <a:pt x="664159" y="723487"/>
                  <a:pt x="683152" y="702458"/>
                  <a:pt x="703252" y="682777"/>
                </a:cubicBezTo>
                <a:cubicBezTo>
                  <a:pt x="723496" y="663288"/>
                  <a:pt x="745183" y="644377"/>
                  <a:pt x="767880" y="626717"/>
                </a:cubicBezTo>
                <a:cubicBezTo>
                  <a:pt x="779276" y="617911"/>
                  <a:pt x="791057" y="609538"/>
                  <a:pt x="803367" y="602079"/>
                </a:cubicBezTo>
                <a:cubicBezTo>
                  <a:pt x="809570" y="598422"/>
                  <a:pt x="815869" y="594958"/>
                  <a:pt x="822361" y="592070"/>
                </a:cubicBezTo>
                <a:cubicBezTo>
                  <a:pt x="828852" y="589231"/>
                  <a:pt x="835633" y="586970"/>
                  <a:pt x="842172" y="586392"/>
                </a:cubicBezTo>
                <a:cubicBezTo>
                  <a:pt x="845394" y="586200"/>
                  <a:pt x="848568" y="586392"/>
                  <a:pt x="851212" y="587403"/>
                </a:cubicBezTo>
                <a:cubicBezTo>
                  <a:pt x="853857" y="588413"/>
                  <a:pt x="855877" y="590194"/>
                  <a:pt x="857415" y="592744"/>
                </a:cubicBezTo>
                <a:cubicBezTo>
                  <a:pt x="860445" y="597797"/>
                  <a:pt x="861166" y="605015"/>
                  <a:pt x="860878" y="611992"/>
                </a:cubicBezTo>
                <a:cubicBezTo>
                  <a:pt x="860781" y="618681"/>
                  <a:pt x="858377" y="625562"/>
                  <a:pt x="856069" y="632636"/>
                </a:cubicBezTo>
                <a:cubicBezTo>
                  <a:pt x="853665" y="639661"/>
                  <a:pt x="851020" y="646783"/>
                  <a:pt x="848664" y="654097"/>
                </a:cubicBezTo>
                <a:cubicBezTo>
                  <a:pt x="846356" y="661460"/>
                  <a:pt x="844192" y="669063"/>
                  <a:pt x="843567" y="677388"/>
                </a:cubicBezTo>
                <a:cubicBezTo>
                  <a:pt x="843567" y="679553"/>
                  <a:pt x="843374" y="681574"/>
                  <a:pt x="843759" y="683836"/>
                </a:cubicBezTo>
                <a:cubicBezTo>
                  <a:pt x="843951" y="684991"/>
                  <a:pt x="843951" y="686001"/>
                  <a:pt x="844336" y="687252"/>
                </a:cubicBezTo>
                <a:cubicBezTo>
                  <a:pt x="844769" y="688551"/>
                  <a:pt x="845202" y="689899"/>
                  <a:pt x="845875" y="690909"/>
                </a:cubicBezTo>
                <a:cubicBezTo>
                  <a:pt x="848327" y="695240"/>
                  <a:pt x="851693" y="698031"/>
                  <a:pt x="855059" y="700581"/>
                </a:cubicBezTo>
                <a:cubicBezTo>
                  <a:pt x="861887" y="705442"/>
                  <a:pt x="869389" y="708569"/>
                  <a:pt x="877034" y="710975"/>
                </a:cubicBezTo>
                <a:cubicBezTo>
                  <a:pt x="884680" y="713333"/>
                  <a:pt x="892566" y="714873"/>
                  <a:pt x="900452" y="715739"/>
                </a:cubicBezTo>
                <a:cubicBezTo>
                  <a:pt x="932237" y="719156"/>
                  <a:pt x="964695" y="711938"/>
                  <a:pt x="993402" y="697598"/>
                </a:cubicBezTo>
                <a:cubicBezTo>
                  <a:pt x="1007828" y="690524"/>
                  <a:pt x="1021388" y="681622"/>
                  <a:pt x="1033987" y="671469"/>
                </a:cubicBezTo>
                <a:cubicBezTo>
                  <a:pt x="1040382" y="666561"/>
                  <a:pt x="1046152" y="660690"/>
                  <a:pt x="1052163" y="655108"/>
                </a:cubicBezTo>
                <a:lnTo>
                  <a:pt x="1060241" y="645724"/>
                </a:lnTo>
                <a:cubicBezTo>
                  <a:pt x="1062982" y="642645"/>
                  <a:pt x="1065050" y="638940"/>
                  <a:pt x="1067454" y="635523"/>
                </a:cubicBezTo>
                <a:cubicBezTo>
                  <a:pt x="1076446" y="621472"/>
                  <a:pt x="1082024" y="604678"/>
                  <a:pt x="1082505" y="587836"/>
                </a:cubicBezTo>
                <a:cubicBezTo>
                  <a:pt x="1083467" y="571042"/>
                  <a:pt x="1080486" y="554585"/>
                  <a:pt x="1079908" y="538946"/>
                </a:cubicBezTo>
                <a:cubicBezTo>
                  <a:pt x="1079764" y="531198"/>
                  <a:pt x="1080293" y="523499"/>
                  <a:pt x="1082986" y="516811"/>
                </a:cubicBezTo>
                <a:cubicBezTo>
                  <a:pt x="1085871" y="509689"/>
                  <a:pt x="1089862" y="502663"/>
                  <a:pt x="1094142" y="495926"/>
                </a:cubicBezTo>
                <a:cubicBezTo>
                  <a:pt x="1102845" y="482453"/>
                  <a:pt x="1113040" y="469701"/>
                  <a:pt x="1123859" y="457430"/>
                </a:cubicBezTo>
                <a:cubicBezTo>
                  <a:pt x="1131601" y="448672"/>
                  <a:pt x="1139727" y="440155"/>
                  <a:pt x="1148046" y="431734"/>
                </a:cubicBezTo>
                <a:cubicBezTo>
                  <a:pt x="1144247" y="436161"/>
                  <a:pt x="1140545" y="440636"/>
                  <a:pt x="1136890" y="445256"/>
                </a:cubicBezTo>
                <a:close/>
                <a:moveTo>
                  <a:pt x="1384195" y="742542"/>
                </a:moveTo>
                <a:cubicBezTo>
                  <a:pt x="1356113" y="760058"/>
                  <a:pt x="1327791" y="777429"/>
                  <a:pt x="1298170" y="792298"/>
                </a:cubicBezTo>
                <a:cubicBezTo>
                  <a:pt x="1268501" y="807071"/>
                  <a:pt x="1237534" y="820064"/>
                  <a:pt x="1206182" y="831709"/>
                </a:cubicBezTo>
                <a:cubicBezTo>
                  <a:pt x="1174782" y="843161"/>
                  <a:pt x="1142564" y="853315"/>
                  <a:pt x="1109626" y="859089"/>
                </a:cubicBezTo>
                <a:cubicBezTo>
                  <a:pt x="1101403" y="860437"/>
                  <a:pt x="1093132" y="861592"/>
                  <a:pt x="1084861" y="862073"/>
                </a:cubicBezTo>
                <a:cubicBezTo>
                  <a:pt x="1076591" y="862698"/>
                  <a:pt x="1068368" y="862554"/>
                  <a:pt x="1060386" y="861640"/>
                </a:cubicBezTo>
                <a:cubicBezTo>
                  <a:pt x="1052403" y="860677"/>
                  <a:pt x="1044565" y="858752"/>
                  <a:pt x="1038266" y="854807"/>
                </a:cubicBezTo>
                <a:cubicBezTo>
                  <a:pt x="1031919" y="850957"/>
                  <a:pt x="1027591" y="844990"/>
                  <a:pt x="1025812" y="837820"/>
                </a:cubicBezTo>
                <a:cubicBezTo>
                  <a:pt x="1023985" y="830650"/>
                  <a:pt x="1024369" y="822614"/>
                  <a:pt x="1026052" y="814722"/>
                </a:cubicBezTo>
                <a:cubicBezTo>
                  <a:pt x="1027783" y="806831"/>
                  <a:pt x="1030380" y="799228"/>
                  <a:pt x="1034083" y="791769"/>
                </a:cubicBezTo>
                <a:cubicBezTo>
                  <a:pt x="1041344" y="776900"/>
                  <a:pt x="1050961" y="762897"/>
                  <a:pt x="1061251" y="749279"/>
                </a:cubicBezTo>
                <a:cubicBezTo>
                  <a:pt x="1081928" y="722091"/>
                  <a:pt x="1104913" y="696202"/>
                  <a:pt x="1125927" y="668293"/>
                </a:cubicBezTo>
                <a:cubicBezTo>
                  <a:pt x="1136554" y="654434"/>
                  <a:pt x="1146459" y="639854"/>
                  <a:pt x="1155403" y="624600"/>
                </a:cubicBezTo>
                <a:lnTo>
                  <a:pt x="1161799" y="612907"/>
                </a:lnTo>
                <a:cubicBezTo>
                  <a:pt x="1163818" y="608961"/>
                  <a:pt x="1165501" y="604774"/>
                  <a:pt x="1167377" y="600732"/>
                </a:cubicBezTo>
                <a:cubicBezTo>
                  <a:pt x="1168242" y="598663"/>
                  <a:pt x="1169300" y="596690"/>
                  <a:pt x="1170069" y="594573"/>
                </a:cubicBezTo>
                <a:lnTo>
                  <a:pt x="1172233" y="588173"/>
                </a:lnTo>
                <a:lnTo>
                  <a:pt x="1174397" y="581773"/>
                </a:lnTo>
                <a:cubicBezTo>
                  <a:pt x="1174734" y="580666"/>
                  <a:pt x="1175166" y="579704"/>
                  <a:pt x="1175455" y="578501"/>
                </a:cubicBezTo>
                <a:lnTo>
                  <a:pt x="1176128" y="574892"/>
                </a:lnTo>
                <a:cubicBezTo>
                  <a:pt x="1178052" y="565268"/>
                  <a:pt x="1176513" y="555210"/>
                  <a:pt x="1173483" y="546501"/>
                </a:cubicBezTo>
                <a:cubicBezTo>
                  <a:pt x="1170502" y="537695"/>
                  <a:pt x="1166367" y="529755"/>
                  <a:pt x="1162808" y="521959"/>
                </a:cubicBezTo>
                <a:cubicBezTo>
                  <a:pt x="1159202" y="514164"/>
                  <a:pt x="1156173" y="506417"/>
                  <a:pt x="1154826" y="498477"/>
                </a:cubicBezTo>
                <a:cubicBezTo>
                  <a:pt x="1153480" y="490537"/>
                  <a:pt x="1153768" y="482501"/>
                  <a:pt x="1155836" y="474705"/>
                </a:cubicBezTo>
                <a:cubicBezTo>
                  <a:pt x="1158144" y="467006"/>
                  <a:pt x="1161702" y="459403"/>
                  <a:pt x="1166174" y="452137"/>
                </a:cubicBezTo>
                <a:cubicBezTo>
                  <a:pt x="1168386" y="448528"/>
                  <a:pt x="1170550" y="444823"/>
                  <a:pt x="1173147" y="441406"/>
                </a:cubicBezTo>
                <a:cubicBezTo>
                  <a:pt x="1175647" y="437893"/>
                  <a:pt x="1178052" y="434333"/>
                  <a:pt x="1180841" y="431012"/>
                </a:cubicBezTo>
                <a:cubicBezTo>
                  <a:pt x="1191468" y="417394"/>
                  <a:pt x="1203297" y="404498"/>
                  <a:pt x="1215655" y="392131"/>
                </a:cubicBezTo>
                <a:cubicBezTo>
                  <a:pt x="1240371" y="367253"/>
                  <a:pt x="1266962" y="343963"/>
                  <a:pt x="1293506" y="320336"/>
                </a:cubicBezTo>
                <a:cubicBezTo>
                  <a:pt x="1306825" y="308546"/>
                  <a:pt x="1319905" y="296276"/>
                  <a:pt x="1332888" y="284198"/>
                </a:cubicBezTo>
                <a:cubicBezTo>
                  <a:pt x="1345919" y="272023"/>
                  <a:pt x="1358999" y="259897"/>
                  <a:pt x="1372030" y="247674"/>
                </a:cubicBezTo>
                <a:cubicBezTo>
                  <a:pt x="1385013" y="235308"/>
                  <a:pt x="1397948" y="222893"/>
                  <a:pt x="1410018" y="209130"/>
                </a:cubicBezTo>
                <a:cubicBezTo>
                  <a:pt x="1413047" y="205666"/>
                  <a:pt x="1415932" y="202057"/>
                  <a:pt x="1418673" y="198111"/>
                </a:cubicBezTo>
                <a:cubicBezTo>
                  <a:pt x="1420068" y="196138"/>
                  <a:pt x="1421366" y="194020"/>
                  <a:pt x="1422520" y="191663"/>
                </a:cubicBezTo>
                <a:cubicBezTo>
                  <a:pt x="1423097" y="190460"/>
                  <a:pt x="1423674" y="189160"/>
                  <a:pt x="1424107" y="187621"/>
                </a:cubicBezTo>
                <a:cubicBezTo>
                  <a:pt x="1424828" y="185311"/>
                  <a:pt x="1424732" y="183097"/>
                  <a:pt x="1424203" y="181076"/>
                </a:cubicBezTo>
                <a:cubicBezTo>
                  <a:pt x="1423626" y="179199"/>
                  <a:pt x="1422568" y="177323"/>
                  <a:pt x="1420837" y="176312"/>
                </a:cubicBezTo>
                <a:cubicBezTo>
                  <a:pt x="1421222" y="176216"/>
                  <a:pt x="1421606" y="176072"/>
                  <a:pt x="1422039" y="175975"/>
                </a:cubicBezTo>
                <a:cubicBezTo>
                  <a:pt x="1427377" y="174580"/>
                  <a:pt x="1432762" y="173281"/>
                  <a:pt x="1437955" y="172366"/>
                </a:cubicBezTo>
                <a:cubicBezTo>
                  <a:pt x="1439254" y="172126"/>
                  <a:pt x="1440552" y="171933"/>
                  <a:pt x="1441706" y="171837"/>
                </a:cubicBezTo>
                <a:cubicBezTo>
                  <a:pt x="1443053" y="171645"/>
                  <a:pt x="1443726" y="171741"/>
                  <a:pt x="1443966" y="171741"/>
                </a:cubicBezTo>
                <a:lnTo>
                  <a:pt x="1443966" y="171741"/>
                </a:lnTo>
                <a:cubicBezTo>
                  <a:pt x="1443678" y="172944"/>
                  <a:pt x="1442475" y="175542"/>
                  <a:pt x="1441177" y="177515"/>
                </a:cubicBezTo>
                <a:cubicBezTo>
                  <a:pt x="1439831" y="179681"/>
                  <a:pt x="1438292" y="181846"/>
                  <a:pt x="1436657" y="183963"/>
                </a:cubicBezTo>
                <a:cubicBezTo>
                  <a:pt x="1433387" y="188198"/>
                  <a:pt x="1429781" y="192384"/>
                  <a:pt x="1426126" y="196427"/>
                </a:cubicBezTo>
                <a:cubicBezTo>
                  <a:pt x="1411268" y="212691"/>
                  <a:pt x="1395111" y="228090"/>
                  <a:pt x="1379002" y="243440"/>
                </a:cubicBezTo>
                <a:cubicBezTo>
                  <a:pt x="1362797" y="258742"/>
                  <a:pt x="1346592" y="273996"/>
                  <a:pt x="1330387" y="289250"/>
                </a:cubicBezTo>
                <a:cubicBezTo>
                  <a:pt x="1298795" y="320288"/>
                  <a:pt x="1264125" y="347764"/>
                  <a:pt x="1232389" y="379139"/>
                </a:cubicBezTo>
                <a:cubicBezTo>
                  <a:pt x="1224503" y="387030"/>
                  <a:pt x="1216713" y="395018"/>
                  <a:pt x="1209548" y="403728"/>
                </a:cubicBezTo>
                <a:cubicBezTo>
                  <a:pt x="1202383" y="412390"/>
                  <a:pt x="1195507" y="421436"/>
                  <a:pt x="1190121" y="431830"/>
                </a:cubicBezTo>
                <a:cubicBezTo>
                  <a:pt x="1187476" y="437075"/>
                  <a:pt x="1185264" y="442754"/>
                  <a:pt x="1184159" y="448817"/>
                </a:cubicBezTo>
                <a:cubicBezTo>
                  <a:pt x="1183053" y="454880"/>
                  <a:pt x="1183245" y="461424"/>
                  <a:pt x="1184880" y="467439"/>
                </a:cubicBezTo>
                <a:cubicBezTo>
                  <a:pt x="1188150" y="479614"/>
                  <a:pt x="1195507" y="488805"/>
                  <a:pt x="1201469" y="497707"/>
                </a:cubicBezTo>
                <a:cubicBezTo>
                  <a:pt x="1207576" y="506609"/>
                  <a:pt x="1212866" y="515511"/>
                  <a:pt x="1215414" y="525280"/>
                </a:cubicBezTo>
                <a:cubicBezTo>
                  <a:pt x="1217963" y="535000"/>
                  <a:pt x="1217915" y="545298"/>
                  <a:pt x="1215847" y="555403"/>
                </a:cubicBezTo>
                <a:cubicBezTo>
                  <a:pt x="1211519" y="575661"/>
                  <a:pt x="1201421" y="594958"/>
                  <a:pt x="1190362" y="613243"/>
                </a:cubicBezTo>
                <a:cubicBezTo>
                  <a:pt x="1167857" y="649911"/>
                  <a:pt x="1139920" y="683210"/>
                  <a:pt x="1116454" y="720070"/>
                </a:cubicBezTo>
                <a:cubicBezTo>
                  <a:pt x="1110635" y="729357"/>
                  <a:pt x="1105153" y="738885"/>
                  <a:pt x="1100633" y="749135"/>
                </a:cubicBezTo>
                <a:cubicBezTo>
                  <a:pt x="1096113" y="759288"/>
                  <a:pt x="1092507" y="770356"/>
                  <a:pt x="1092459" y="782386"/>
                </a:cubicBezTo>
                <a:cubicBezTo>
                  <a:pt x="1092603" y="788353"/>
                  <a:pt x="1093421" y="794560"/>
                  <a:pt x="1096161" y="800190"/>
                </a:cubicBezTo>
                <a:cubicBezTo>
                  <a:pt x="1096690" y="801682"/>
                  <a:pt x="1097460" y="802981"/>
                  <a:pt x="1098229" y="804232"/>
                </a:cubicBezTo>
                <a:cubicBezTo>
                  <a:pt x="1098999" y="805531"/>
                  <a:pt x="1099768" y="806783"/>
                  <a:pt x="1100585" y="808034"/>
                </a:cubicBezTo>
                <a:cubicBezTo>
                  <a:pt x="1102509" y="810344"/>
                  <a:pt x="1104192" y="812894"/>
                  <a:pt x="1106500" y="814867"/>
                </a:cubicBezTo>
                <a:cubicBezTo>
                  <a:pt x="1115155" y="823528"/>
                  <a:pt x="1126936" y="827667"/>
                  <a:pt x="1138140" y="829399"/>
                </a:cubicBezTo>
                <a:cubicBezTo>
                  <a:pt x="1149489" y="831131"/>
                  <a:pt x="1160693" y="830362"/>
                  <a:pt x="1171560" y="828966"/>
                </a:cubicBezTo>
                <a:cubicBezTo>
                  <a:pt x="1182475" y="827474"/>
                  <a:pt x="1193102" y="825068"/>
                  <a:pt x="1203537" y="822133"/>
                </a:cubicBezTo>
                <a:cubicBezTo>
                  <a:pt x="1224406" y="816310"/>
                  <a:pt x="1244458" y="808659"/>
                  <a:pt x="1264125" y="800335"/>
                </a:cubicBezTo>
                <a:cubicBezTo>
                  <a:pt x="1303411" y="783589"/>
                  <a:pt x="1341111" y="764100"/>
                  <a:pt x="1378137" y="743986"/>
                </a:cubicBezTo>
                <a:cubicBezTo>
                  <a:pt x="1389533" y="737778"/>
                  <a:pt x="1400785" y="731523"/>
                  <a:pt x="1412037" y="725171"/>
                </a:cubicBezTo>
                <a:cubicBezTo>
                  <a:pt x="1402805" y="730993"/>
                  <a:pt x="1393524" y="736816"/>
                  <a:pt x="1384244" y="742638"/>
                </a:cubicBezTo>
                <a:close/>
                <a:moveTo>
                  <a:pt x="42505" y="1903056"/>
                </a:moveTo>
                <a:cubicBezTo>
                  <a:pt x="44477" y="1902768"/>
                  <a:pt x="45775" y="1901901"/>
                  <a:pt x="47217" y="1900361"/>
                </a:cubicBezTo>
                <a:cubicBezTo>
                  <a:pt x="48564" y="1898870"/>
                  <a:pt x="49910" y="1896031"/>
                  <a:pt x="50728" y="1893769"/>
                </a:cubicBezTo>
                <a:lnTo>
                  <a:pt x="52651" y="1887706"/>
                </a:lnTo>
                <a:cubicBezTo>
                  <a:pt x="54142" y="1883279"/>
                  <a:pt x="54623" y="1880728"/>
                  <a:pt x="55440" y="1877504"/>
                </a:cubicBezTo>
                <a:cubicBezTo>
                  <a:pt x="56258" y="1874376"/>
                  <a:pt x="56835" y="1871297"/>
                  <a:pt x="57508" y="1868217"/>
                </a:cubicBezTo>
                <a:cubicBezTo>
                  <a:pt x="58854" y="1862010"/>
                  <a:pt x="59960" y="1855850"/>
                  <a:pt x="61018" y="1849691"/>
                </a:cubicBezTo>
                <a:cubicBezTo>
                  <a:pt x="63519" y="1835110"/>
                  <a:pt x="65586" y="1820674"/>
                  <a:pt x="67462" y="1806286"/>
                </a:cubicBezTo>
                <a:cubicBezTo>
                  <a:pt x="66308" y="1824043"/>
                  <a:pt x="65442" y="1841462"/>
                  <a:pt x="65682" y="1858641"/>
                </a:cubicBezTo>
                <a:cubicBezTo>
                  <a:pt x="65682" y="1870094"/>
                  <a:pt x="66836" y="1881402"/>
                  <a:pt x="68279" y="1892422"/>
                </a:cubicBezTo>
                <a:cubicBezTo>
                  <a:pt x="69866" y="1903441"/>
                  <a:pt x="72126" y="1914124"/>
                  <a:pt x="74578" y="1924518"/>
                </a:cubicBezTo>
                <a:cubicBezTo>
                  <a:pt x="79627" y="1945258"/>
                  <a:pt x="84869" y="1964987"/>
                  <a:pt x="87898" y="1984427"/>
                </a:cubicBezTo>
                <a:cubicBezTo>
                  <a:pt x="91072" y="2003820"/>
                  <a:pt x="92418" y="2022731"/>
                  <a:pt x="92610" y="2040920"/>
                </a:cubicBezTo>
                <a:cubicBezTo>
                  <a:pt x="92851" y="2077347"/>
                  <a:pt x="90543" y="2110935"/>
                  <a:pt x="89148" y="2141155"/>
                </a:cubicBezTo>
                <a:cubicBezTo>
                  <a:pt x="88764" y="2148854"/>
                  <a:pt x="88331" y="2156361"/>
                  <a:pt x="87994" y="2163675"/>
                </a:cubicBezTo>
                <a:cubicBezTo>
                  <a:pt x="87658" y="2140529"/>
                  <a:pt x="87225" y="2117191"/>
                  <a:pt x="86504" y="2093564"/>
                </a:cubicBezTo>
                <a:cubicBezTo>
                  <a:pt x="86119" y="2079657"/>
                  <a:pt x="85542" y="2065750"/>
                  <a:pt x="84821" y="2051651"/>
                </a:cubicBezTo>
                <a:cubicBezTo>
                  <a:pt x="83811" y="2037263"/>
                  <a:pt x="81455" y="2023212"/>
                  <a:pt x="78521" y="2009161"/>
                </a:cubicBezTo>
                <a:cubicBezTo>
                  <a:pt x="75444" y="1995110"/>
                  <a:pt x="72174" y="1981203"/>
                  <a:pt x="66211" y="1967248"/>
                </a:cubicBezTo>
                <a:cubicBezTo>
                  <a:pt x="65394" y="1965516"/>
                  <a:pt x="64528" y="1963736"/>
                  <a:pt x="63470" y="1961955"/>
                </a:cubicBezTo>
                <a:cubicBezTo>
                  <a:pt x="62028" y="1959742"/>
                  <a:pt x="59720" y="1956421"/>
                  <a:pt x="56883" y="1955363"/>
                </a:cubicBezTo>
                <a:cubicBezTo>
                  <a:pt x="55488" y="1954689"/>
                  <a:pt x="53949" y="1954497"/>
                  <a:pt x="52411" y="1954641"/>
                </a:cubicBezTo>
                <a:cubicBezTo>
                  <a:pt x="51689" y="1954882"/>
                  <a:pt x="50920" y="1955074"/>
                  <a:pt x="50247" y="1955363"/>
                </a:cubicBezTo>
                <a:lnTo>
                  <a:pt x="48323" y="1956614"/>
                </a:lnTo>
                <a:cubicBezTo>
                  <a:pt x="47314" y="1957913"/>
                  <a:pt x="46111" y="1958924"/>
                  <a:pt x="45486" y="1960608"/>
                </a:cubicBezTo>
                <a:lnTo>
                  <a:pt x="43996" y="1963639"/>
                </a:lnTo>
                <a:cubicBezTo>
                  <a:pt x="43851" y="1963928"/>
                  <a:pt x="43851" y="1963928"/>
                  <a:pt x="43226" y="1964554"/>
                </a:cubicBezTo>
                <a:cubicBezTo>
                  <a:pt x="42601" y="1965131"/>
                  <a:pt x="41399" y="1966430"/>
                  <a:pt x="40726" y="1967778"/>
                </a:cubicBezTo>
                <a:cubicBezTo>
                  <a:pt x="39283" y="1970472"/>
                  <a:pt x="38947" y="1972734"/>
                  <a:pt x="38658" y="1974755"/>
                </a:cubicBezTo>
                <a:lnTo>
                  <a:pt x="37312" y="1985534"/>
                </a:lnTo>
                <a:cubicBezTo>
                  <a:pt x="36110" y="1995014"/>
                  <a:pt x="35004" y="2004542"/>
                  <a:pt x="33946" y="2014117"/>
                </a:cubicBezTo>
                <a:cubicBezTo>
                  <a:pt x="33802" y="1991357"/>
                  <a:pt x="33705" y="1968788"/>
                  <a:pt x="33561" y="1946509"/>
                </a:cubicBezTo>
                <a:cubicBezTo>
                  <a:pt x="33561" y="1940542"/>
                  <a:pt x="33513" y="1934623"/>
                  <a:pt x="33465" y="1928704"/>
                </a:cubicBezTo>
                <a:cubicBezTo>
                  <a:pt x="33465" y="1926876"/>
                  <a:pt x="33465" y="1926779"/>
                  <a:pt x="33753" y="1924951"/>
                </a:cubicBezTo>
                <a:lnTo>
                  <a:pt x="34427" y="1920572"/>
                </a:lnTo>
                <a:lnTo>
                  <a:pt x="35773" y="1911862"/>
                </a:lnTo>
                <a:cubicBezTo>
                  <a:pt x="36350" y="1908205"/>
                  <a:pt x="36879" y="1904596"/>
                  <a:pt x="37456" y="1900939"/>
                </a:cubicBezTo>
                <a:cubicBezTo>
                  <a:pt x="38754" y="1902142"/>
                  <a:pt x="40197" y="1903104"/>
                  <a:pt x="42553" y="1902960"/>
                </a:cubicBezTo>
                <a:close/>
                <a:moveTo>
                  <a:pt x="23511" y="2058629"/>
                </a:moveTo>
                <a:cubicBezTo>
                  <a:pt x="23511" y="2056704"/>
                  <a:pt x="23511" y="2054827"/>
                  <a:pt x="23463" y="2052902"/>
                </a:cubicBezTo>
                <a:cubicBezTo>
                  <a:pt x="23463" y="2053480"/>
                  <a:pt x="23559" y="2054009"/>
                  <a:pt x="23607" y="2054538"/>
                </a:cubicBezTo>
                <a:cubicBezTo>
                  <a:pt x="23607" y="2055886"/>
                  <a:pt x="23559" y="2057281"/>
                  <a:pt x="23511" y="2058629"/>
                </a:cubicBezTo>
                <a:close/>
                <a:moveTo>
                  <a:pt x="77415" y="2145967"/>
                </a:moveTo>
                <a:cubicBezTo>
                  <a:pt x="76261" y="2127104"/>
                  <a:pt x="74819" y="2107856"/>
                  <a:pt x="71453" y="2088126"/>
                </a:cubicBezTo>
                <a:cubicBezTo>
                  <a:pt x="70539" y="2083218"/>
                  <a:pt x="69577" y="2078262"/>
                  <a:pt x="68135" y="2073209"/>
                </a:cubicBezTo>
                <a:cubicBezTo>
                  <a:pt x="67750" y="2071958"/>
                  <a:pt x="67414" y="2070707"/>
                  <a:pt x="66933" y="2069407"/>
                </a:cubicBezTo>
                <a:cubicBezTo>
                  <a:pt x="66356" y="2068012"/>
                  <a:pt x="66259" y="2067242"/>
                  <a:pt x="64961" y="2064836"/>
                </a:cubicBezTo>
                <a:cubicBezTo>
                  <a:pt x="64432" y="2063826"/>
                  <a:pt x="63951" y="2062719"/>
                  <a:pt x="63326" y="2061805"/>
                </a:cubicBezTo>
                <a:lnTo>
                  <a:pt x="61259" y="2059206"/>
                </a:lnTo>
                <a:cubicBezTo>
                  <a:pt x="59816" y="2057762"/>
                  <a:pt x="58229" y="2056656"/>
                  <a:pt x="56546" y="2056174"/>
                </a:cubicBezTo>
                <a:cubicBezTo>
                  <a:pt x="55729" y="2055741"/>
                  <a:pt x="54767" y="2055934"/>
                  <a:pt x="53901" y="2055741"/>
                </a:cubicBezTo>
                <a:cubicBezTo>
                  <a:pt x="52940" y="2055838"/>
                  <a:pt x="52074" y="2056078"/>
                  <a:pt x="51401" y="2056463"/>
                </a:cubicBezTo>
                <a:cubicBezTo>
                  <a:pt x="50055" y="2057185"/>
                  <a:pt x="48900" y="2058388"/>
                  <a:pt x="48035" y="2060457"/>
                </a:cubicBezTo>
                <a:cubicBezTo>
                  <a:pt x="47121" y="2062478"/>
                  <a:pt x="46592" y="2065029"/>
                  <a:pt x="45919" y="2067435"/>
                </a:cubicBezTo>
                <a:lnTo>
                  <a:pt x="44813" y="2070851"/>
                </a:lnTo>
                <a:cubicBezTo>
                  <a:pt x="42890" y="2076241"/>
                  <a:pt x="42265" y="2081245"/>
                  <a:pt x="41159" y="2086442"/>
                </a:cubicBezTo>
                <a:cubicBezTo>
                  <a:pt x="38322" y="2104920"/>
                  <a:pt x="36831" y="2123495"/>
                  <a:pt x="35629" y="2142262"/>
                </a:cubicBezTo>
                <a:cubicBezTo>
                  <a:pt x="37360" y="2089570"/>
                  <a:pt x="41207" y="2037696"/>
                  <a:pt x="47698" y="1986978"/>
                </a:cubicBezTo>
                <a:lnTo>
                  <a:pt x="48997" y="1976295"/>
                </a:lnTo>
                <a:cubicBezTo>
                  <a:pt x="49189" y="1974755"/>
                  <a:pt x="49526" y="1973456"/>
                  <a:pt x="49814" y="1972975"/>
                </a:cubicBezTo>
                <a:cubicBezTo>
                  <a:pt x="49958" y="1972734"/>
                  <a:pt x="50006" y="1972686"/>
                  <a:pt x="50632" y="1972012"/>
                </a:cubicBezTo>
                <a:cubicBezTo>
                  <a:pt x="51305" y="1971387"/>
                  <a:pt x="52507" y="1969991"/>
                  <a:pt x="53180" y="1968692"/>
                </a:cubicBezTo>
                <a:lnTo>
                  <a:pt x="53998" y="1966863"/>
                </a:lnTo>
                <a:lnTo>
                  <a:pt x="54094" y="1966863"/>
                </a:lnTo>
                <a:cubicBezTo>
                  <a:pt x="54094" y="1966863"/>
                  <a:pt x="54094" y="1966719"/>
                  <a:pt x="54478" y="1967441"/>
                </a:cubicBezTo>
                <a:cubicBezTo>
                  <a:pt x="55248" y="1968740"/>
                  <a:pt x="55969" y="1970184"/>
                  <a:pt x="56642" y="1971675"/>
                </a:cubicBezTo>
                <a:cubicBezTo>
                  <a:pt x="61980" y="1983994"/>
                  <a:pt x="65346" y="1997901"/>
                  <a:pt x="68327" y="2011471"/>
                </a:cubicBezTo>
                <a:cubicBezTo>
                  <a:pt x="71212" y="2025089"/>
                  <a:pt x="73520" y="2038899"/>
                  <a:pt x="74482" y="2052469"/>
                </a:cubicBezTo>
                <a:cubicBezTo>
                  <a:pt x="75252" y="2066328"/>
                  <a:pt x="75829" y="2080235"/>
                  <a:pt x="76213" y="2094045"/>
                </a:cubicBezTo>
                <a:cubicBezTo>
                  <a:pt x="76838" y="2113726"/>
                  <a:pt x="77271" y="2133167"/>
                  <a:pt x="77608" y="2152511"/>
                </a:cubicBezTo>
                <a:cubicBezTo>
                  <a:pt x="77512" y="2150346"/>
                  <a:pt x="77415" y="2148228"/>
                  <a:pt x="77319" y="2146063"/>
                </a:cubicBezTo>
                <a:close/>
                <a:moveTo>
                  <a:pt x="83859" y="2705027"/>
                </a:moveTo>
                <a:cubicBezTo>
                  <a:pt x="83234" y="2721724"/>
                  <a:pt x="82464" y="2738855"/>
                  <a:pt x="80733" y="2756371"/>
                </a:cubicBezTo>
                <a:cubicBezTo>
                  <a:pt x="79675" y="2767583"/>
                  <a:pt x="78040" y="2778891"/>
                  <a:pt x="76406" y="2790488"/>
                </a:cubicBezTo>
                <a:cubicBezTo>
                  <a:pt x="73280" y="2777544"/>
                  <a:pt x="70154" y="2764455"/>
                  <a:pt x="66933" y="2751078"/>
                </a:cubicBezTo>
                <a:lnTo>
                  <a:pt x="66067" y="2747421"/>
                </a:lnTo>
                <a:lnTo>
                  <a:pt x="66067" y="2747132"/>
                </a:lnTo>
                <a:cubicBezTo>
                  <a:pt x="66067" y="2747132"/>
                  <a:pt x="66067" y="2746218"/>
                  <a:pt x="66067" y="2746218"/>
                </a:cubicBezTo>
                <a:lnTo>
                  <a:pt x="66067" y="2744293"/>
                </a:lnTo>
                <a:cubicBezTo>
                  <a:pt x="66067" y="2744293"/>
                  <a:pt x="66067" y="2736497"/>
                  <a:pt x="66067" y="2736497"/>
                </a:cubicBezTo>
                <a:cubicBezTo>
                  <a:pt x="66115" y="2731300"/>
                  <a:pt x="66211" y="2726055"/>
                  <a:pt x="66259" y="2720810"/>
                </a:cubicBezTo>
                <a:cubicBezTo>
                  <a:pt x="66452" y="2710272"/>
                  <a:pt x="66740" y="2699637"/>
                  <a:pt x="67173" y="2688906"/>
                </a:cubicBezTo>
                <a:cubicBezTo>
                  <a:pt x="68279" y="2667397"/>
                  <a:pt x="69048" y="2645502"/>
                  <a:pt x="73665" y="2623848"/>
                </a:cubicBezTo>
                <a:cubicBezTo>
                  <a:pt x="75877" y="2612973"/>
                  <a:pt x="78618" y="2601953"/>
                  <a:pt x="80878" y="2590549"/>
                </a:cubicBezTo>
                <a:cubicBezTo>
                  <a:pt x="82609" y="2581791"/>
                  <a:pt x="83955" y="2572792"/>
                  <a:pt x="84676" y="2563698"/>
                </a:cubicBezTo>
                <a:cubicBezTo>
                  <a:pt x="84772" y="2578711"/>
                  <a:pt x="84821" y="2594302"/>
                  <a:pt x="84917" y="2610567"/>
                </a:cubicBezTo>
                <a:cubicBezTo>
                  <a:pt x="84917" y="2640065"/>
                  <a:pt x="84917" y="2671583"/>
                  <a:pt x="83811" y="2704979"/>
                </a:cubicBezTo>
                <a:close/>
                <a:moveTo>
                  <a:pt x="88860" y="2287969"/>
                </a:moveTo>
                <a:cubicBezTo>
                  <a:pt x="88860" y="2277431"/>
                  <a:pt x="88860" y="2266845"/>
                  <a:pt x="88764" y="2256162"/>
                </a:cubicBezTo>
                <a:cubicBezTo>
                  <a:pt x="88764" y="2247693"/>
                  <a:pt x="88667" y="2239175"/>
                  <a:pt x="88619" y="2230610"/>
                </a:cubicBezTo>
                <a:cubicBezTo>
                  <a:pt x="89918" y="2205299"/>
                  <a:pt x="91745" y="2175464"/>
                  <a:pt x="93957" y="2141492"/>
                </a:cubicBezTo>
                <a:cubicBezTo>
                  <a:pt x="95688" y="2111224"/>
                  <a:pt x="98333" y="2077781"/>
                  <a:pt x="98477" y="2040920"/>
                </a:cubicBezTo>
                <a:cubicBezTo>
                  <a:pt x="98477" y="2022490"/>
                  <a:pt x="97275" y="2003242"/>
                  <a:pt x="94197" y="1983465"/>
                </a:cubicBezTo>
                <a:cubicBezTo>
                  <a:pt x="91264" y="1963687"/>
                  <a:pt x="86119" y="1943573"/>
                  <a:pt x="81262" y="1922978"/>
                </a:cubicBezTo>
                <a:cubicBezTo>
                  <a:pt x="78954" y="1912680"/>
                  <a:pt x="76790" y="1902190"/>
                  <a:pt x="75300" y="1891459"/>
                </a:cubicBezTo>
                <a:cubicBezTo>
                  <a:pt x="74001" y="1880728"/>
                  <a:pt x="72943" y="1869757"/>
                  <a:pt x="72991" y="1858593"/>
                </a:cubicBezTo>
                <a:cubicBezTo>
                  <a:pt x="72847" y="1836217"/>
                  <a:pt x="74530" y="1812975"/>
                  <a:pt x="76406" y="1789156"/>
                </a:cubicBezTo>
                <a:cubicBezTo>
                  <a:pt x="76790" y="1784536"/>
                  <a:pt x="77271" y="1779724"/>
                  <a:pt x="77704" y="1775057"/>
                </a:cubicBezTo>
                <a:cubicBezTo>
                  <a:pt x="77463" y="1778762"/>
                  <a:pt x="77223" y="1782467"/>
                  <a:pt x="77031" y="1786124"/>
                </a:cubicBezTo>
                <a:cubicBezTo>
                  <a:pt x="76213" y="1802677"/>
                  <a:pt x="75684" y="1819231"/>
                  <a:pt x="76069" y="1835784"/>
                </a:cubicBezTo>
                <a:cubicBezTo>
                  <a:pt x="76502" y="1852241"/>
                  <a:pt x="78137" y="1869276"/>
                  <a:pt x="82945" y="1885204"/>
                </a:cubicBezTo>
                <a:cubicBezTo>
                  <a:pt x="87465" y="1901228"/>
                  <a:pt x="93813" y="1915952"/>
                  <a:pt x="98237" y="1930918"/>
                </a:cubicBezTo>
                <a:cubicBezTo>
                  <a:pt x="102757" y="1945883"/>
                  <a:pt x="105594" y="1961089"/>
                  <a:pt x="106844" y="1976487"/>
                </a:cubicBezTo>
                <a:cubicBezTo>
                  <a:pt x="108094" y="1991886"/>
                  <a:pt x="108142" y="2007236"/>
                  <a:pt x="107277" y="2022683"/>
                </a:cubicBezTo>
                <a:cubicBezTo>
                  <a:pt x="106603" y="2038081"/>
                  <a:pt x="105546" y="2053432"/>
                  <a:pt x="104392" y="2068686"/>
                </a:cubicBezTo>
                <a:cubicBezTo>
                  <a:pt x="99583" y="2129606"/>
                  <a:pt x="93765" y="2188746"/>
                  <a:pt x="90639" y="2245864"/>
                </a:cubicBezTo>
                <a:cubicBezTo>
                  <a:pt x="89822" y="2260012"/>
                  <a:pt x="89196" y="2274063"/>
                  <a:pt x="88764" y="2287969"/>
                </a:cubicBezTo>
                <a:close/>
                <a:moveTo>
                  <a:pt x="107950" y="2147795"/>
                </a:moveTo>
                <a:cubicBezTo>
                  <a:pt x="110210" y="2122051"/>
                  <a:pt x="112518" y="2095970"/>
                  <a:pt x="114682" y="2069456"/>
                </a:cubicBezTo>
                <a:cubicBezTo>
                  <a:pt x="115884" y="2054153"/>
                  <a:pt x="116990" y="2038755"/>
                  <a:pt x="117663" y="2023164"/>
                </a:cubicBezTo>
                <a:cubicBezTo>
                  <a:pt x="118529" y="2007621"/>
                  <a:pt x="118529" y="1991597"/>
                  <a:pt x="117278" y="1975621"/>
                </a:cubicBezTo>
                <a:cubicBezTo>
                  <a:pt x="115980" y="1959645"/>
                  <a:pt x="112999" y="1943525"/>
                  <a:pt x="108335" y="1927934"/>
                </a:cubicBezTo>
                <a:cubicBezTo>
                  <a:pt x="103718" y="1912295"/>
                  <a:pt x="97371" y="1897474"/>
                  <a:pt x="93139" y="1882364"/>
                </a:cubicBezTo>
                <a:cubicBezTo>
                  <a:pt x="88619" y="1867303"/>
                  <a:pt x="87129" y="1851712"/>
                  <a:pt x="86696" y="1835544"/>
                </a:cubicBezTo>
                <a:cubicBezTo>
                  <a:pt x="86359" y="1819423"/>
                  <a:pt x="86888" y="1803111"/>
                  <a:pt x="87706" y="1786702"/>
                </a:cubicBezTo>
                <a:cubicBezTo>
                  <a:pt x="88138" y="1778233"/>
                  <a:pt x="88667" y="1769763"/>
                  <a:pt x="89293" y="1761246"/>
                </a:cubicBezTo>
                <a:cubicBezTo>
                  <a:pt x="89293" y="1762545"/>
                  <a:pt x="89293" y="1763893"/>
                  <a:pt x="89293" y="1765192"/>
                </a:cubicBezTo>
                <a:cubicBezTo>
                  <a:pt x="89533" y="1775490"/>
                  <a:pt x="89870" y="1785739"/>
                  <a:pt x="90976" y="1795941"/>
                </a:cubicBezTo>
                <a:cubicBezTo>
                  <a:pt x="92082" y="1806286"/>
                  <a:pt x="93188" y="1816103"/>
                  <a:pt x="96409" y="1826641"/>
                </a:cubicBezTo>
                <a:cubicBezTo>
                  <a:pt x="99871" y="1837180"/>
                  <a:pt x="106171" y="1845793"/>
                  <a:pt x="112085" y="1853733"/>
                </a:cubicBezTo>
                <a:cubicBezTo>
                  <a:pt x="118096" y="1861673"/>
                  <a:pt x="123962" y="1869324"/>
                  <a:pt x="128819" y="1877408"/>
                </a:cubicBezTo>
                <a:cubicBezTo>
                  <a:pt x="138917" y="1893432"/>
                  <a:pt x="144303" y="1911573"/>
                  <a:pt x="146611" y="1930052"/>
                </a:cubicBezTo>
                <a:cubicBezTo>
                  <a:pt x="147380" y="1934623"/>
                  <a:pt x="147476" y="1939291"/>
                  <a:pt x="147765" y="1943958"/>
                </a:cubicBezTo>
                <a:cubicBezTo>
                  <a:pt x="148150" y="1948578"/>
                  <a:pt x="148053" y="1953246"/>
                  <a:pt x="147909" y="1957865"/>
                </a:cubicBezTo>
                <a:cubicBezTo>
                  <a:pt x="147813" y="1962484"/>
                  <a:pt x="147813" y="1967152"/>
                  <a:pt x="147284" y="1971724"/>
                </a:cubicBezTo>
                <a:cubicBezTo>
                  <a:pt x="146996" y="1976295"/>
                  <a:pt x="146370" y="1980866"/>
                  <a:pt x="145745" y="1985438"/>
                </a:cubicBezTo>
                <a:cubicBezTo>
                  <a:pt x="143149" y="2003675"/>
                  <a:pt x="139013" y="2021624"/>
                  <a:pt x="134686" y="2039284"/>
                </a:cubicBezTo>
                <a:cubicBezTo>
                  <a:pt x="125934" y="2074605"/>
                  <a:pt x="116076" y="2108914"/>
                  <a:pt x="108863" y="2142935"/>
                </a:cubicBezTo>
                <a:cubicBezTo>
                  <a:pt x="108527" y="2144523"/>
                  <a:pt x="108238" y="2146159"/>
                  <a:pt x="107902" y="2147747"/>
                </a:cubicBezTo>
                <a:close/>
                <a:moveTo>
                  <a:pt x="157142" y="2952027"/>
                </a:moveTo>
                <a:lnTo>
                  <a:pt x="156324" y="2954722"/>
                </a:lnTo>
                <a:lnTo>
                  <a:pt x="155314" y="2956984"/>
                </a:lnTo>
                <a:cubicBezTo>
                  <a:pt x="154930" y="2957658"/>
                  <a:pt x="154401" y="2958187"/>
                  <a:pt x="154016" y="2958813"/>
                </a:cubicBezTo>
                <a:cubicBezTo>
                  <a:pt x="153583" y="2959390"/>
                  <a:pt x="153054" y="2959582"/>
                  <a:pt x="152670" y="2960064"/>
                </a:cubicBezTo>
                <a:cubicBezTo>
                  <a:pt x="151035" y="2961170"/>
                  <a:pt x="148294" y="2961026"/>
                  <a:pt x="144736" y="2959679"/>
                </a:cubicBezTo>
                <a:cubicBezTo>
                  <a:pt x="141273" y="2958331"/>
                  <a:pt x="137619" y="2956166"/>
                  <a:pt x="133724" y="2953952"/>
                </a:cubicBezTo>
                <a:cubicBezTo>
                  <a:pt x="131752" y="2952846"/>
                  <a:pt x="129733" y="2951691"/>
                  <a:pt x="127280" y="2950632"/>
                </a:cubicBezTo>
                <a:lnTo>
                  <a:pt x="125405" y="2949862"/>
                </a:lnTo>
                <a:cubicBezTo>
                  <a:pt x="124828" y="2949670"/>
                  <a:pt x="123337" y="2949333"/>
                  <a:pt x="123818" y="2949477"/>
                </a:cubicBezTo>
                <a:lnTo>
                  <a:pt x="123818" y="2949477"/>
                </a:lnTo>
                <a:cubicBezTo>
                  <a:pt x="123818" y="2949477"/>
                  <a:pt x="116509" y="2926668"/>
                  <a:pt x="116509" y="2926668"/>
                </a:cubicBezTo>
                <a:lnTo>
                  <a:pt x="115980" y="2925032"/>
                </a:lnTo>
                <a:lnTo>
                  <a:pt x="115980" y="2925032"/>
                </a:lnTo>
                <a:cubicBezTo>
                  <a:pt x="115980" y="2925032"/>
                  <a:pt x="117375" y="2925128"/>
                  <a:pt x="117375" y="2925128"/>
                </a:cubicBezTo>
                <a:cubicBezTo>
                  <a:pt x="119923" y="2925369"/>
                  <a:pt x="122760" y="2925321"/>
                  <a:pt x="125597" y="2924695"/>
                </a:cubicBezTo>
                <a:cubicBezTo>
                  <a:pt x="128483" y="2923974"/>
                  <a:pt x="131223" y="2922578"/>
                  <a:pt x="133483" y="2920798"/>
                </a:cubicBezTo>
                <a:cubicBezTo>
                  <a:pt x="135695" y="2918969"/>
                  <a:pt x="137523" y="2916852"/>
                  <a:pt x="138917" y="2914638"/>
                </a:cubicBezTo>
                <a:cubicBezTo>
                  <a:pt x="140360" y="2912473"/>
                  <a:pt x="141418" y="2910211"/>
                  <a:pt x="142427" y="2907950"/>
                </a:cubicBezTo>
                <a:lnTo>
                  <a:pt x="144591" y="2901213"/>
                </a:lnTo>
                <a:cubicBezTo>
                  <a:pt x="145409" y="2898951"/>
                  <a:pt x="145890" y="2896737"/>
                  <a:pt x="146274" y="2894476"/>
                </a:cubicBezTo>
                <a:lnTo>
                  <a:pt x="147621" y="2887787"/>
                </a:lnTo>
                <a:cubicBezTo>
                  <a:pt x="148390" y="2883312"/>
                  <a:pt x="148775" y="2878885"/>
                  <a:pt x="149352" y="2874458"/>
                </a:cubicBezTo>
                <a:cubicBezTo>
                  <a:pt x="150121" y="2865604"/>
                  <a:pt x="150794" y="2856750"/>
                  <a:pt x="150939" y="2847944"/>
                </a:cubicBezTo>
                <a:cubicBezTo>
                  <a:pt x="151227" y="2838368"/>
                  <a:pt x="151227" y="2828840"/>
                  <a:pt x="151131" y="2819312"/>
                </a:cubicBezTo>
                <a:cubicBezTo>
                  <a:pt x="151227" y="2819938"/>
                  <a:pt x="151275" y="2820563"/>
                  <a:pt x="151371" y="2821141"/>
                </a:cubicBezTo>
                <a:cubicBezTo>
                  <a:pt x="153439" y="2838849"/>
                  <a:pt x="155362" y="2856557"/>
                  <a:pt x="156901" y="2874217"/>
                </a:cubicBezTo>
                <a:cubicBezTo>
                  <a:pt x="158440" y="2891877"/>
                  <a:pt x="159738" y="2909538"/>
                  <a:pt x="159594" y="2926909"/>
                </a:cubicBezTo>
                <a:cubicBezTo>
                  <a:pt x="159450" y="2935522"/>
                  <a:pt x="159065" y="2944328"/>
                  <a:pt x="157190" y="2951980"/>
                </a:cubicBezTo>
                <a:close/>
                <a:moveTo>
                  <a:pt x="131945" y="2355241"/>
                </a:moveTo>
                <a:cubicBezTo>
                  <a:pt x="132666" y="2342923"/>
                  <a:pt x="133628" y="2329256"/>
                  <a:pt x="135551" y="2314387"/>
                </a:cubicBezTo>
                <a:cubicBezTo>
                  <a:pt x="137571" y="2299566"/>
                  <a:pt x="140264" y="2283398"/>
                  <a:pt x="145890" y="2267037"/>
                </a:cubicBezTo>
                <a:cubicBezTo>
                  <a:pt x="151371" y="2250772"/>
                  <a:pt x="160508" y="2233834"/>
                  <a:pt x="176472" y="2223103"/>
                </a:cubicBezTo>
                <a:cubicBezTo>
                  <a:pt x="184454" y="2217906"/>
                  <a:pt x="193735" y="2214201"/>
                  <a:pt x="203785" y="2212084"/>
                </a:cubicBezTo>
                <a:cubicBezTo>
                  <a:pt x="213883" y="2209967"/>
                  <a:pt x="224318" y="2209052"/>
                  <a:pt x="235618" y="2208812"/>
                </a:cubicBezTo>
                <a:cubicBezTo>
                  <a:pt x="238407" y="2208379"/>
                  <a:pt x="240090" y="2207368"/>
                  <a:pt x="241436" y="2206502"/>
                </a:cubicBezTo>
                <a:lnTo>
                  <a:pt x="245475" y="2203903"/>
                </a:lnTo>
                <a:cubicBezTo>
                  <a:pt x="248072" y="2202267"/>
                  <a:pt x="250620" y="2200535"/>
                  <a:pt x="253265" y="2199188"/>
                </a:cubicBezTo>
                <a:cubicBezTo>
                  <a:pt x="258458" y="2196301"/>
                  <a:pt x="264181" y="2194279"/>
                  <a:pt x="268989" y="2195290"/>
                </a:cubicBezTo>
                <a:cubicBezTo>
                  <a:pt x="273846" y="2196012"/>
                  <a:pt x="277452" y="2200679"/>
                  <a:pt x="280001" y="2206069"/>
                </a:cubicBezTo>
                <a:cubicBezTo>
                  <a:pt x="282357" y="2211747"/>
                  <a:pt x="284184" y="2217906"/>
                  <a:pt x="285290" y="2224451"/>
                </a:cubicBezTo>
                <a:cubicBezTo>
                  <a:pt x="287647" y="2237443"/>
                  <a:pt x="288368" y="2251206"/>
                  <a:pt x="288704" y="2265257"/>
                </a:cubicBezTo>
                <a:cubicBezTo>
                  <a:pt x="288993" y="2279308"/>
                  <a:pt x="288753" y="2293744"/>
                  <a:pt x="288464" y="2308469"/>
                </a:cubicBezTo>
                <a:cubicBezTo>
                  <a:pt x="288224" y="2323193"/>
                  <a:pt x="287839" y="2338255"/>
                  <a:pt x="288224" y="2353750"/>
                </a:cubicBezTo>
                <a:cubicBezTo>
                  <a:pt x="288368" y="2361449"/>
                  <a:pt x="288849" y="2369389"/>
                  <a:pt x="289810" y="2377280"/>
                </a:cubicBezTo>
                <a:cubicBezTo>
                  <a:pt x="290820" y="2385028"/>
                  <a:pt x="291878" y="2392871"/>
                  <a:pt x="293176" y="2400715"/>
                </a:cubicBezTo>
                <a:cubicBezTo>
                  <a:pt x="298033" y="2432137"/>
                  <a:pt x="305150" y="2464186"/>
                  <a:pt x="313613" y="2496811"/>
                </a:cubicBezTo>
                <a:cubicBezTo>
                  <a:pt x="330828" y="2561965"/>
                  <a:pt x="354005" y="2629238"/>
                  <a:pt x="384347" y="2696558"/>
                </a:cubicBezTo>
                <a:cubicBezTo>
                  <a:pt x="400071" y="2730242"/>
                  <a:pt x="418584" y="2762723"/>
                  <a:pt x="436039" y="2796455"/>
                </a:cubicBezTo>
                <a:cubicBezTo>
                  <a:pt x="453591" y="2830091"/>
                  <a:pt x="470661" y="2864593"/>
                  <a:pt x="484654" y="2900731"/>
                </a:cubicBezTo>
                <a:cubicBezTo>
                  <a:pt x="491001" y="2918007"/>
                  <a:pt x="497060" y="2935330"/>
                  <a:pt x="500859" y="2952990"/>
                </a:cubicBezTo>
                <a:cubicBezTo>
                  <a:pt x="503167" y="2961748"/>
                  <a:pt x="504273" y="2970602"/>
                  <a:pt x="505620" y="2979456"/>
                </a:cubicBezTo>
                <a:cubicBezTo>
                  <a:pt x="506341" y="2983883"/>
                  <a:pt x="506197" y="2988262"/>
                  <a:pt x="506533" y="2992689"/>
                </a:cubicBezTo>
                <a:lnTo>
                  <a:pt x="506870" y="2999281"/>
                </a:lnTo>
                <a:cubicBezTo>
                  <a:pt x="506870" y="3001447"/>
                  <a:pt x="506677" y="3003468"/>
                  <a:pt x="506581" y="3005585"/>
                </a:cubicBezTo>
                <a:cubicBezTo>
                  <a:pt x="505956" y="3013910"/>
                  <a:pt x="502975" y="3021369"/>
                  <a:pt x="497589" y="3026373"/>
                </a:cubicBezTo>
                <a:cubicBezTo>
                  <a:pt x="492107" y="3031282"/>
                  <a:pt x="484221" y="3033736"/>
                  <a:pt x="475951" y="3034409"/>
                </a:cubicBezTo>
                <a:cubicBezTo>
                  <a:pt x="459265" y="3035757"/>
                  <a:pt x="441858" y="3032533"/>
                  <a:pt x="424835" y="3029212"/>
                </a:cubicBezTo>
                <a:cubicBezTo>
                  <a:pt x="407717" y="3025844"/>
                  <a:pt x="390839" y="3021561"/>
                  <a:pt x="373143" y="3019540"/>
                </a:cubicBezTo>
                <a:cubicBezTo>
                  <a:pt x="368719" y="3019011"/>
                  <a:pt x="364199" y="3018818"/>
                  <a:pt x="359583" y="3018866"/>
                </a:cubicBezTo>
                <a:cubicBezTo>
                  <a:pt x="357227" y="3019011"/>
                  <a:pt x="354919" y="3019107"/>
                  <a:pt x="352466" y="3019588"/>
                </a:cubicBezTo>
                <a:cubicBezTo>
                  <a:pt x="350399" y="3019733"/>
                  <a:pt x="346600" y="3021128"/>
                  <a:pt x="344580" y="3022620"/>
                </a:cubicBezTo>
                <a:cubicBezTo>
                  <a:pt x="340108" y="3025700"/>
                  <a:pt x="337319" y="3029309"/>
                  <a:pt x="334482" y="3032773"/>
                </a:cubicBezTo>
                <a:cubicBezTo>
                  <a:pt x="331741" y="3036286"/>
                  <a:pt x="329289" y="3039847"/>
                  <a:pt x="326885" y="3043360"/>
                </a:cubicBezTo>
                <a:cubicBezTo>
                  <a:pt x="322076" y="3050385"/>
                  <a:pt x="317556" y="3057314"/>
                  <a:pt x="312603" y="3063714"/>
                </a:cubicBezTo>
                <a:cubicBezTo>
                  <a:pt x="307698" y="3070115"/>
                  <a:pt x="302313" y="3076033"/>
                  <a:pt x="296302" y="3080124"/>
                </a:cubicBezTo>
                <a:cubicBezTo>
                  <a:pt x="293273" y="3082145"/>
                  <a:pt x="290051" y="3083492"/>
                  <a:pt x="286877" y="3084166"/>
                </a:cubicBezTo>
                <a:cubicBezTo>
                  <a:pt x="283655" y="3084887"/>
                  <a:pt x="280386" y="3084406"/>
                  <a:pt x="277164" y="3083492"/>
                </a:cubicBezTo>
                <a:cubicBezTo>
                  <a:pt x="270720" y="3081327"/>
                  <a:pt x="264758" y="3076515"/>
                  <a:pt x="259613" y="3070981"/>
                </a:cubicBezTo>
                <a:cubicBezTo>
                  <a:pt x="256920" y="3068286"/>
                  <a:pt x="254660" y="3065158"/>
                  <a:pt x="252255" y="3062175"/>
                </a:cubicBezTo>
                <a:cubicBezTo>
                  <a:pt x="250140" y="3058999"/>
                  <a:pt x="247495" y="3055823"/>
                  <a:pt x="246004" y="3052695"/>
                </a:cubicBezTo>
                <a:cubicBezTo>
                  <a:pt x="244129" y="3049712"/>
                  <a:pt x="242831" y="3045862"/>
                  <a:pt x="241244" y="3042494"/>
                </a:cubicBezTo>
                <a:cubicBezTo>
                  <a:pt x="239897" y="3038836"/>
                  <a:pt x="238599" y="3035227"/>
                  <a:pt x="237253" y="3031618"/>
                </a:cubicBezTo>
                <a:cubicBezTo>
                  <a:pt x="232252" y="3016942"/>
                  <a:pt x="228212" y="3002024"/>
                  <a:pt x="224269" y="2987348"/>
                </a:cubicBezTo>
                <a:cubicBezTo>
                  <a:pt x="216576" y="2957898"/>
                  <a:pt x="210084" y="2928978"/>
                  <a:pt x="204073" y="2900972"/>
                </a:cubicBezTo>
                <a:cubicBezTo>
                  <a:pt x="192100" y="2844912"/>
                  <a:pt x="182242" y="2792413"/>
                  <a:pt x="173731" y="2744389"/>
                </a:cubicBezTo>
                <a:cubicBezTo>
                  <a:pt x="156757" y="2648341"/>
                  <a:pt x="145409" y="2570194"/>
                  <a:pt x="138677" y="2516107"/>
                </a:cubicBezTo>
                <a:cubicBezTo>
                  <a:pt x="135311" y="2489064"/>
                  <a:pt x="133243" y="2467987"/>
                  <a:pt x="131993" y="2453695"/>
                </a:cubicBezTo>
                <a:cubicBezTo>
                  <a:pt x="131608" y="2449364"/>
                  <a:pt x="131271" y="2445707"/>
                  <a:pt x="131031" y="2442628"/>
                </a:cubicBezTo>
                <a:cubicBezTo>
                  <a:pt x="130743" y="2435939"/>
                  <a:pt x="130502" y="2429202"/>
                  <a:pt x="130310" y="2422513"/>
                </a:cubicBezTo>
                <a:cubicBezTo>
                  <a:pt x="130310" y="2419674"/>
                  <a:pt x="130406" y="2416210"/>
                  <a:pt x="130454" y="2412071"/>
                </a:cubicBezTo>
                <a:cubicBezTo>
                  <a:pt x="130598" y="2399079"/>
                  <a:pt x="130743" y="2379927"/>
                  <a:pt x="131993" y="2355289"/>
                </a:cubicBezTo>
                <a:close/>
                <a:moveTo>
                  <a:pt x="508841" y="3483659"/>
                </a:moveTo>
                <a:cubicBezTo>
                  <a:pt x="495810" y="3475094"/>
                  <a:pt x="482635" y="3465903"/>
                  <a:pt x="471046" y="3454402"/>
                </a:cubicBezTo>
                <a:cubicBezTo>
                  <a:pt x="447580" y="3431737"/>
                  <a:pt x="426230" y="3404501"/>
                  <a:pt x="408630" y="3373753"/>
                </a:cubicBezTo>
                <a:cubicBezTo>
                  <a:pt x="391127" y="3342956"/>
                  <a:pt x="378144" y="3307780"/>
                  <a:pt x="373432" y="3269957"/>
                </a:cubicBezTo>
                <a:cubicBezTo>
                  <a:pt x="371268" y="3251094"/>
                  <a:pt x="371124" y="3231606"/>
                  <a:pt x="373864" y="3212213"/>
                </a:cubicBezTo>
                <a:cubicBezTo>
                  <a:pt x="376798" y="3192917"/>
                  <a:pt x="382328" y="3173380"/>
                  <a:pt x="392714" y="3156298"/>
                </a:cubicBezTo>
                <a:cubicBezTo>
                  <a:pt x="397907" y="3147877"/>
                  <a:pt x="404303" y="3139841"/>
                  <a:pt x="412477" y="3134547"/>
                </a:cubicBezTo>
                <a:cubicBezTo>
                  <a:pt x="416468" y="3131756"/>
                  <a:pt x="421037" y="3130024"/>
                  <a:pt x="425557" y="3129350"/>
                </a:cubicBezTo>
                <a:cubicBezTo>
                  <a:pt x="430173" y="3128821"/>
                  <a:pt x="435366" y="3129350"/>
                  <a:pt x="440511" y="3129976"/>
                </a:cubicBezTo>
                <a:cubicBezTo>
                  <a:pt x="461140" y="3132959"/>
                  <a:pt x="482154" y="3138349"/>
                  <a:pt x="504033" y="3141188"/>
                </a:cubicBezTo>
                <a:cubicBezTo>
                  <a:pt x="514948" y="3142632"/>
                  <a:pt x="526104" y="3143642"/>
                  <a:pt x="537500" y="3143016"/>
                </a:cubicBezTo>
                <a:cubicBezTo>
                  <a:pt x="548801" y="3142391"/>
                  <a:pt x="560630" y="3140514"/>
                  <a:pt x="571112" y="3134499"/>
                </a:cubicBezTo>
                <a:cubicBezTo>
                  <a:pt x="581836" y="3128869"/>
                  <a:pt x="589722" y="3118235"/>
                  <a:pt x="593520" y="3106878"/>
                </a:cubicBezTo>
                <a:cubicBezTo>
                  <a:pt x="597463" y="3095474"/>
                  <a:pt x="597992" y="3083203"/>
                  <a:pt x="597271" y="3071703"/>
                </a:cubicBezTo>
                <a:cubicBezTo>
                  <a:pt x="596069" y="3024785"/>
                  <a:pt x="581787" y="2978301"/>
                  <a:pt x="562986" y="2933501"/>
                </a:cubicBezTo>
                <a:cubicBezTo>
                  <a:pt x="544281" y="2888509"/>
                  <a:pt x="519901" y="2844960"/>
                  <a:pt x="497205" y="2799872"/>
                </a:cubicBezTo>
                <a:cubicBezTo>
                  <a:pt x="475085" y="2754254"/>
                  <a:pt x="451475" y="2708058"/>
                  <a:pt x="429788" y="2659986"/>
                </a:cubicBezTo>
                <a:cubicBezTo>
                  <a:pt x="418873" y="2635974"/>
                  <a:pt x="408871" y="2611289"/>
                  <a:pt x="399398" y="2586170"/>
                </a:cubicBezTo>
                <a:cubicBezTo>
                  <a:pt x="390454" y="2560859"/>
                  <a:pt x="382039" y="2535066"/>
                  <a:pt x="375547" y="2508552"/>
                </a:cubicBezTo>
                <a:cubicBezTo>
                  <a:pt x="369200" y="2481990"/>
                  <a:pt x="363718" y="2454898"/>
                  <a:pt x="360929" y="2427229"/>
                </a:cubicBezTo>
                <a:cubicBezTo>
                  <a:pt x="359006" y="2413467"/>
                  <a:pt x="358477" y="2399464"/>
                  <a:pt x="357515" y="2385509"/>
                </a:cubicBezTo>
                <a:cubicBezTo>
                  <a:pt x="356986" y="2378532"/>
                  <a:pt x="357227" y="2371458"/>
                  <a:pt x="357034" y="2364432"/>
                </a:cubicBezTo>
                <a:lnTo>
                  <a:pt x="356890" y="2353846"/>
                </a:lnTo>
                <a:cubicBezTo>
                  <a:pt x="356794" y="2350333"/>
                  <a:pt x="356794" y="2346772"/>
                  <a:pt x="357082" y="2343308"/>
                </a:cubicBezTo>
                <a:cubicBezTo>
                  <a:pt x="357756" y="2315205"/>
                  <a:pt x="362805" y="2287103"/>
                  <a:pt x="370546" y="2259434"/>
                </a:cubicBezTo>
                <a:cubicBezTo>
                  <a:pt x="378192" y="2231717"/>
                  <a:pt x="388194" y="2204385"/>
                  <a:pt x="398052" y="2176571"/>
                </a:cubicBezTo>
                <a:cubicBezTo>
                  <a:pt x="407861" y="2148806"/>
                  <a:pt x="417382" y="2120415"/>
                  <a:pt x="423826" y="2090821"/>
                </a:cubicBezTo>
                <a:cubicBezTo>
                  <a:pt x="430317" y="2061323"/>
                  <a:pt x="433491" y="2030671"/>
                  <a:pt x="432048" y="1999874"/>
                </a:cubicBezTo>
                <a:cubicBezTo>
                  <a:pt x="431519" y="1992127"/>
                  <a:pt x="431615" y="1984572"/>
                  <a:pt x="430125" y="1976536"/>
                </a:cubicBezTo>
                <a:cubicBezTo>
                  <a:pt x="428538" y="1968692"/>
                  <a:pt x="426326" y="1960704"/>
                  <a:pt x="422143" y="1953582"/>
                </a:cubicBezTo>
                <a:cubicBezTo>
                  <a:pt x="418103" y="1946412"/>
                  <a:pt x="412718" y="1939964"/>
                  <a:pt x="406370" y="1934671"/>
                </a:cubicBezTo>
                <a:cubicBezTo>
                  <a:pt x="399927" y="1929522"/>
                  <a:pt x="392618" y="1925625"/>
                  <a:pt x="385020" y="1922737"/>
                </a:cubicBezTo>
                <a:cubicBezTo>
                  <a:pt x="369777" y="1917011"/>
                  <a:pt x="353572" y="1915375"/>
                  <a:pt x="337704" y="1915664"/>
                </a:cubicBezTo>
                <a:cubicBezTo>
                  <a:pt x="321787" y="1916001"/>
                  <a:pt x="306015" y="1918503"/>
                  <a:pt x="290580" y="1922352"/>
                </a:cubicBezTo>
                <a:cubicBezTo>
                  <a:pt x="275144" y="1926346"/>
                  <a:pt x="260045" y="1931736"/>
                  <a:pt x="245668" y="1939002"/>
                </a:cubicBezTo>
                <a:cubicBezTo>
                  <a:pt x="238503" y="1942707"/>
                  <a:pt x="231482" y="1946845"/>
                  <a:pt x="224895" y="1951802"/>
                </a:cubicBezTo>
                <a:cubicBezTo>
                  <a:pt x="221529" y="1954208"/>
                  <a:pt x="218547" y="1957191"/>
                  <a:pt x="215470" y="1960030"/>
                </a:cubicBezTo>
                <a:cubicBezTo>
                  <a:pt x="212729" y="1963062"/>
                  <a:pt x="209796" y="1965949"/>
                  <a:pt x="207295" y="1969125"/>
                </a:cubicBezTo>
                <a:cubicBezTo>
                  <a:pt x="186714" y="1994051"/>
                  <a:pt x="170317" y="2021721"/>
                  <a:pt x="155411" y="2050400"/>
                </a:cubicBezTo>
                <a:cubicBezTo>
                  <a:pt x="140744" y="2079176"/>
                  <a:pt x="128098" y="2109299"/>
                  <a:pt x="119394" y="2141059"/>
                </a:cubicBezTo>
                <a:cubicBezTo>
                  <a:pt x="115259" y="2156986"/>
                  <a:pt x="112470" y="2173155"/>
                  <a:pt x="110595" y="2189467"/>
                </a:cubicBezTo>
                <a:cubicBezTo>
                  <a:pt x="112085" y="2174550"/>
                  <a:pt x="114586" y="2159729"/>
                  <a:pt x="117807" y="2144619"/>
                </a:cubicBezTo>
                <a:cubicBezTo>
                  <a:pt x="125068" y="2111080"/>
                  <a:pt x="135022" y="2076962"/>
                  <a:pt x="144014" y="2041402"/>
                </a:cubicBezTo>
                <a:cubicBezTo>
                  <a:pt x="148438" y="2023597"/>
                  <a:pt x="152718" y="2005456"/>
                  <a:pt x="155459" y="1986593"/>
                </a:cubicBezTo>
                <a:cubicBezTo>
                  <a:pt x="156132" y="1981877"/>
                  <a:pt x="156805" y="1977161"/>
                  <a:pt x="157142" y="1972301"/>
                </a:cubicBezTo>
                <a:cubicBezTo>
                  <a:pt x="157671" y="1967489"/>
                  <a:pt x="157719" y="1962677"/>
                  <a:pt x="157815" y="1957817"/>
                </a:cubicBezTo>
                <a:cubicBezTo>
                  <a:pt x="157959" y="1953005"/>
                  <a:pt x="158055" y="1948145"/>
                  <a:pt x="157719" y="1943236"/>
                </a:cubicBezTo>
                <a:cubicBezTo>
                  <a:pt x="157478" y="1938376"/>
                  <a:pt x="157382" y="1933468"/>
                  <a:pt x="156565" y="1928560"/>
                </a:cubicBezTo>
                <a:cubicBezTo>
                  <a:pt x="154257" y="1909071"/>
                  <a:pt x="148342" y="1889149"/>
                  <a:pt x="137571" y="1871874"/>
                </a:cubicBezTo>
                <a:cubicBezTo>
                  <a:pt x="132377" y="1863213"/>
                  <a:pt x="126222" y="1855128"/>
                  <a:pt x="120308" y="1847333"/>
                </a:cubicBezTo>
                <a:cubicBezTo>
                  <a:pt x="114441" y="1839489"/>
                  <a:pt x="108960" y="1831694"/>
                  <a:pt x="106219" y="1823129"/>
                </a:cubicBezTo>
                <a:cubicBezTo>
                  <a:pt x="104776" y="1819038"/>
                  <a:pt x="104055" y="1814034"/>
                  <a:pt x="103141" y="1809270"/>
                </a:cubicBezTo>
                <a:cubicBezTo>
                  <a:pt x="102468" y="1804410"/>
                  <a:pt x="101699" y="1799550"/>
                  <a:pt x="101314" y="1794641"/>
                </a:cubicBezTo>
                <a:cubicBezTo>
                  <a:pt x="100304" y="1784777"/>
                  <a:pt x="99968" y="1774768"/>
                  <a:pt x="99727" y="1764711"/>
                </a:cubicBezTo>
                <a:cubicBezTo>
                  <a:pt x="99487" y="1744548"/>
                  <a:pt x="100304" y="1724145"/>
                  <a:pt x="101554" y="1703598"/>
                </a:cubicBezTo>
                <a:cubicBezTo>
                  <a:pt x="102276" y="1692290"/>
                  <a:pt x="103141" y="1680885"/>
                  <a:pt x="104103" y="1669481"/>
                </a:cubicBezTo>
                <a:cubicBezTo>
                  <a:pt x="103911" y="1679875"/>
                  <a:pt x="103814" y="1689451"/>
                  <a:pt x="103911" y="1698112"/>
                </a:cubicBezTo>
                <a:cubicBezTo>
                  <a:pt x="104007" y="1718034"/>
                  <a:pt x="104969" y="1733144"/>
                  <a:pt x="106026" y="1743249"/>
                </a:cubicBezTo>
                <a:cubicBezTo>
                  <a:pt x="106603" y="1748302"/>
                  <a:pt x="107084" y="1752103"/>
                  <a:pt x="107565" y="1754605"/>
                </a:cubicBezTo>
                <a:cubicBezTo>
                  <a:pt x="107806" y="1755857"/>
                  <a:pt x="107950" y="1756819"/>
                  <a:pt x="108094" y="1757445"/>
                </a:cubicBezTo>
                <a:cubicBezTo>
                  <a:pt x="108238" y="1758070"/>
                  <a:pt x="108286" y="1758407"/>
                  <a:pt x="108335" y="1758359"/>
                </a:cubicBezTo>
                <a:cubicBezTo>
                  <a:pt x="108335" y="1758359"/>
                  <a:pt x="108335" y="1758022"/>
                  <a:pt x="108335" y="1757396"/>
                </a:cubicBezTo>
                <a:cubicBezTo>
                  <a:pt x="108286" y="1756771"/>
                  <a:pt x="108142" y="1755808"/>
                  <a:pt x="108046" y="1754509"/>
                </a:cubicBezTo>
                <a:cubicBezTo>
                  <a:pt x="107709" y="1751959"/>
                  <a:pt x="107325" y="1748157"/>
                  <a:pt x="106892" y="1743153"/>
                </a:cubicBezTo>
                <a:cubicBezTo>
                  <a:pt x="106123" y="1733048"/>
                  <a:pt x="105449" y="1717986"/>
                  <a:pt x="105594" y="1698112"/>
                </a:cubicBezTo>
                <a:cubicBezTo>
                  <a:pt x="105690" y="1678239"/>
                  <a:pt x="106459" y="1653553"/>
                  <a:pt x="108335" y="1624392"/>
                </a:cubicBezTo>
                <a:cubicBezTo>
                  <a:pt x="108431" y="1623334"/>
                  <a:pt x="108479" y="1622227"/>
                  <a:pt x="108575" y="1621120"/>
                </a:cubicBezTo>
                <a:cubicBezTo>
                  <a:pt x="109921" y="1606925"/>
                  <a:pt x="111316" y="1592633"/>
                  <a:pt x="112710" y="1578293"/>
                </a:cubicBezTo>
                <a:lnTo>
                  <a:pt x="112710" y="1578293"/>
                </a:lnTo>
                <a:cubicBezTo>
                  <a:pt x="112710" y="1577956"/>
                  <a:pt x="112807" y="1577620"/>
                  <a:pt x="112807" y="1577283"/>
                </a:cubicBezTo>
                <a:cubicBezTo>
                  <a:pt x="113287" y="1573096"/>
                  <a:pt x="113816" y="1568813"/>
                  <a:pt x="114297" y="1564483"/>
                </a:cubicBezTo>
                <a:cubicBezTo>
                  <a:pt x="114586" y="1562414"/>
                  <a:pt x="114778" y="1559863"/>
                  <a:pt x="115115" y="1558179"/>
                </a:cubicBezTo>
                <a:cubicBezTo>
                  <a:pt x="115836" y="1556062"/>
                  <a:pt x="116509" y="1553944"/>
                  <a:pt x="117230" y="1551827"/>
                </a:cubicBezTo>
                <a:cubicBezTo>
                  <a:pt x="118096" y="1549181"/>
                  <a:pt x="119010" y="1546486"/>
                  <a:pt x="119923" y="1543791"/>
                </a:cubicBezTo>
                <a:cubicBezTo>
                  <a:pt x="117807" y="1558371"/>
                  <a:pt x="116221" y="1573577"/>
                  <a:pt x="115307" y="1589457"/>
                </a:cubicBezTo>
                <a:cubicBezTo>
                  <a:pt x="114634" y="1600958"/>
                  <a:pt x="114249" y="1612795"/>
                  <a:pt x="114490" y="1624970"/>
                </a:cubicBezTo>
                <a:cubicBezTo>
                  <a:pt x="114778" y="1637144"/>
                  <a:pt x="115932" y="1649607"/>
                  <a:pt x="117856" y="1662215"/>
                </a:cubicBezTo>
                <a:cubicBezTo>
                  <a:pt x="121702" y="1687430"/>
                  <a:pt x="128098" y="1713607"/>
                  <a:pt x="138965" y="1739496"/>
                </a:cubicBezTo>
                <a:cubicBezTo>
                  <a:pt x="144543" y="1752344"/>
                  <a:pt x="151179" y="1765240"/>
                  <a:pt x="160700" y="1776644"/>
                </a:cubicBezTo>
                <a:cubicBezTo>
                  <a:pt x="165460" y="1782323"/>
                  <a:pt x="170942" y="1787616"/>
                  <a:pt x="177530" y="1791706"/>
                </a:cubicBezTo>
                <a:cubicBezTo>
                  <a:pt x="184022" y="1795748"/>
                  <a:pt x="191763" y="1798587"/>
                  <a:pt x="199794" y="1798635"/>
                </a:cubicBezTo>
                <a:cubicBezTo>
                  <a:pt x="207824" y="1798780"/>
                  <a:pt x="215662" y="1796614"/>
                  <a:pt x="222827" y="1793438"/>
                </a:cubicBezTo>
                <a:cubicBezTo>
                  <a:pt x="226529" y="1792043"/>
                  <a:pt x="229895" y="1789974"/>
                  <a:pt x="233454" y="1788241"/>
                </a:cubicBezTo>
                <a:cubicBezTo>
                  <a:pt x="236772" y="1786172"/>
                  <a:pt x="240282" y="1784248"/>
                  <a:pt x="243504" y="1781938"/>
                </a:cubicBezTo>
                <a:cubicBezTo>
                  <a:pt x="256583" y="1773035"/>
                  <a:pt x="268797" y="1762545"/>
                  <a:pt x="280578" y="1751333"/>
                </a:cubicBezTo>
                <a:cubicBezTo>
                  <a:pt x="304140" y="1728861"/>
                  <a:pt x="326259" y="1703550"/>
                  <a:pt x="348235" y="1676795"/>
                </a:cubicBezTo>
                <a:cubicBezTo>
                  <a:pt x="392089" y="1623093"/>
                  <a:pt x="435030" y="1563424"/>
                  <a:pt x="480471" y="1500290"/>
                </a:cubicBezTo>
                <a:cubicBezTo>
                  <a:pt x="524325" y="1436002"/>
                  <a:pt x="567169" y="1366324"/>
                  <a:pt x="618044" y="1297512"/>
                </a:cubicBezTo>
                <a:cubicBezTo>
                  <a:pt x="630787" y="1280333"/>
                  <a:pt x="644011" y="1263250"/>
                  <a:pt x="658148" y="1246649"/>
                </a:cubicBezTo>
                <a:cubicBezTo>
                  <a:pt x="672333" y="1230144"/>
                  <a:pt x="687240" y="1213783"/>
                  <a:pt x="704166" y="1199636"/>
                </a:cubicBezTo>
                <a:cubicBezTo>
                  <a:pt x="712581" y="1192514"/>
                  <a:pt x="721621" y="1186066"/>
                  <a:pt x="731382" y="1181446"/>
                </a:cubicBezTo>
                <a:cubicBezTo>
                  <a:pt x="736239" y="1179088"/>
                  <a:pt x="741336" y="1177549"/>
                  <a:pt x="746578" y="1176490"/>
                </a:cubicBezTo>
                <a:cubicBezTo>
                  <a:pt x="751819" y="1175816"/>
                  <a:pt x="757156" y="1175479"/>
                  <a:pt x="762350" y="1176490"/>
                </a:cubicBezTo>
                <a:cubicBezTo>
                  <a:pt x="767495" y="1177500"/>
                  <a:pt x="772496" y="1179377"/>
                  <a:pt x="777112" y="1182120"/>
                </a:cubicBezTo>
                <a:cubicBezTo>
                  <a:pt x="781680" y="1184959"/>
                  <a:pt x="785960" y="1188376"/>
                  <a:pt x="789903" y="1192273"/>
                </a:cubicBezTo>
                <a:cubicBezTo>
                  <a:pt x="797741" y="1200165"/>
                  <a:pt x="804473" y="1209404"/>
                  <a:pt x="810820" y="1219076"/>
                </a:cubicBezTo>
                <a:cubicBezTo>
                  <a:pt x="823611" y="1238324"/>
                  <a:pt x="834911" y="1259305"/>
                  <a:pt x="850828" y="1277879"/>
                </a:cubicBezTo>
                <a:cubicBezTo>
                  <a:pt x="858714" y="1287118"/>
                  <a:pt x="868139" y="1295587"/>
                  <a:pt x="879439" y="1301458"/>
                </a:cubicBezTo>
                <a:cubicBezTo>
                  <a:pt x="890979" y="1306992"/>
                  <a:pt x="903097" y="1309783"/>
                  <a:pt x="915214" y="1311707"/>
                </a:cubicBezTo>
                <a:cubicBezTo>
                  <a:pt x="939546" y="1315653"/>
                  <a:pt x="964070" y="1316520"/>
                  <a:pt x="988738" y="1317723"/>
                </a:cubicBezTo>
                <a:cubicBezTo>
                  <a:pt x="1013358" y="1318877"/>
                  <a:pt x="1038170" y="1319936"/>
                  <a:pt x="1062982" y="1322535"/>
                </a:cubicBezTo>
                <a:cubicBezTo>
                  <a:pt x="1075340" y="1324026"/>
                  <a:pt x="1087746" y="1325662"/>
                  <a:pt x="1099912" y="1328309"/>
                </a:cubicBezTo>
                <a:lnTo>
                  <a:pt x="1109049" y="1330330"/>
                </a:lnTo>
                <a:lnTo>
                  <a:pt x="1118041" y="1332880"/>
                </a:lnTo>
                <a:cubicBezTo>
                  <a:pt x="1124196" y="1334420"/>
                  <a:pt x="1129581" y="1336730"/>
                  <a:pt x="1135159" y="1339425"/>
                </a:cubicBezTo>
                <a:cubicBezTo>
                  <a:pt x="1157086" y="1351022"/>
                  <a:pt x="1176849" y="1367767"/>
                  <a:pt x="1196517" y="1384465"/>
                </a:cubicBezTo>
                <a:cubicBezTo>
                  <a:pt x="1216136" y="1401355"/>
                  <a:pt x="1235514" y="1419016"/>
                  <a:pt x="1255951" y="1435906"/>
                </a:cubicBezTo>
                <a:cubicBezTo>
                  <a:pt x="1266193" y="1444327"/>
                  <a:pt x="1276724" y="1452603"/>
                  <a:pt x="1287928" y="1460158"/>
                </a:cubicBezTo>
                <a:cubicBezTo>
                  <a:pt x="1299132" y="1467665"/>
                  <a:pt x="1311057" y="1474642"/>
                  <a:pt x="1324761" y="1478685"/>
                </a:cubicBezTo>
                <a:cubicBezTo>
                  <a:pt x="1331638" y="1480465"/>
                  <a:pt x="1339187" y="1481379"/>
                  <a:pt x="1346737" y="1479647"/>
                </a:cubicBezTo>
                <a:cubicBezTo>
                  <a:pt x="1354238" y="1477866"/>
                  <a:pt x="1360441" y="1473921"/>
                  <a:pt x="1366163" y="1469782"/>
                </a:cubicBezTo>
                <a:cubicBezTo>
                  <a:pt x="1377415" y="1461169"/>
                  <a:pt x="1386696" y="1450871"/>
                  <a:pt x="1395400" y="1440236"/>
                </a:cubicBezTo>
                <a:cubicBezTo>
                  <a:pt x="1412807" y="1418871"/>
                  <a:pt x="1427857" y="1395773"/>
                  <a:pt x="1442524" y="1372339"/>
                </a:cubicBezTo>
                <a:cubicBezTo>
                  <a:pt x="1457142" y="1348856"/>
                  <a:pt x="1471135" y="1324796"/>
                  <a:pt x="1485368" y="1300784"/>
                </a:cubicBezTo>
                <a:cubicBezTo>
                  <a:pt x="1492533" y="1288802"/>
                  <a:pt x="1499698" y="1276772"/>
                  <a:pt x="1507439" y="1265272"/>
                </a:cubicBezTo>
                <a:cubicBezTo>
                  <a:pt x="1515422" y="1253723"/>
                  <a:pt x="1523452" y="1242126"/>
                  <a:pt x="1531530" y="1230481"/>
                </a:cubicBezTo>
                <a:cubicBezTo>
                  <a:pt x="1563796" y="1183900"/>
                  <a:pt x="1597504" y="1137561"/>
                  <a:pt x="1635588" y="1093868"/>
                </a:cubicBezTo>
                <a:cubicBezTo>
                  <a:pt x="1654678" y="1072021"/>
                  <a:pt x="1674297" y="1050463"/>
                  <a:pt x="1695214" y="1030060"/>
                </a:cubicBezTo>
                <a:cubicBezTo>
                  <a:pt x="1716228" y="1009657"/>
                  <a:pt x="1738347" y="990169"/>
                  <a:pt x="1761188" y="971113"/>
                </a:cubicBezTo>
                <a:cubicBezTo>
                  <a:pt x="1784029" y="952106"/>
                  <a:pt x="1807495" y="933531"/>
                  <a:pt x="1831057" y="914764"/>
                </a:cubicBezTo>
                <a:cubicBezTo>
                  <a:pt x="1854619" y="895949"/>
                  <a:pt x="1878325" y="876942"/>
                  <a:pt x="1901118" y="856395"/>
                </a:cubicBezTo>
                <a:cubicBezTo>
                  <a:pt x="1923766" y="835799"/>
                  <a:pt x="1945790" y="813519"/>
                  <a:pt x="1962812" y="786909"/>
                </a:cubicBezTo>
                <a:cubicBezTo>
                  <a:pt x="1971227" y="773580"/>
                  <a:pt x="1978200" y="759047"/>
                  <a:pt x="1982335" y="743505"/>
                </a:cubicBezTo>
                <a:cubicBezTo>
                  <a:pt x="1986470" y="727962"/>
                  <a:pt x="1987721" y="711553"/>
                  <a:pt x="1985364" y="695384"/>
                </a:cubicBezTo>
                <a:cubicBezTo>
                  <a:pt x="1983008" y="679216"/>
                  <a:pt x="1976324" y="663625"/>
                  <a:pt x="1966611" y="650392"/>
                </a:cubicBezTo>
                <a:cubicBezTo>
                  <a:pt x="1956705" y="637303"/>
                  <a:pt x="1943962" y="626669"/>
                  <a:pt x="1930066" y="618296"/>
                </a:cubicBezTo>
                <a:cubicBezTo>
                  <a:pt x="1902080" y="601646"/>
                  <a:pt x="1870247" y="593514"/>
                  <a:pt x="1838462" y="589231"/>
                </a:cubicBezTo>
                <a:cubicBezTo>
                  <a:pt x="1806533" y="585189"/>
                  <a:pt x="1774075" y="585382"/>
                  <a:pt x="1741906" y="588365"/>
                </a:cubicBezTo>
                <a:cubicBezTo>
                  <a:pt x="1709736" y="591589"/>
                  <a:pt x="1677711" y="597123"/>
                  <a:pt x="1646263" y="606218"/>
                </a:cubicBezTo>
                <a:cubicBezTo>
                  <a:pt x="1616210" y="614831"/>
                  <a:pt x="1587166" y="626525"/>
                  <a:pt x="1558939" y="640046"/>
                </a:cubicBezTo>
                <a:cubicBezTo>
                  <a:pt x="1571009" y="633117"/>
                  <a:pt x="1583078" y="626284"/>
                  <a:pt x="1595196" y="619547"/>
                </a:cubicBezTo>
                <a:cubicBezTo>
                  <a:pt x="1613180" y="609634"/>
                  <a:pt x="1631260" y="599962"/>
                  <a:pt x="1649629" y="591252"/>
                </a:cubicBezTo>
                <a:cubicBezTo>
                  <a:pt x="1658814" y="586922"/>
                  <a:pt x="1668094" y="582831"/>
                  <a:pt x="1677471" y="579415"/>
                </a:cubicBezTo>
                <a:cubicBezTo>
                  <a:pt x="1682135" y="577779"/>
                  <a:pt x="1686896" y="576143"/>
                  <a:pt x="1691560" y="575084"/>
                </a:cubicBezTo>
                <a:cubicBezTo>
                  <a:pt x="1696369" y="573977"/>
                  <a:pt x="1701418" y="573015"/>
                  <a:pt x="1706370" y="572004"/>
                </a:cubicBezTo>
                <a:cubicBezTo>
                  <a:pt x="1746089" y="564353"/>
                  <a:pt x="1786385" y="560600"/>
                  <a:pt x="1826393" y="561081"/>
                </a:cubicBezTo>
                <a:cubicBezTo>
                  <a:pt x="1866352" y="561659"/>
                  <a:pt x="1906215" y="566326"/>
                  <a:pt x="1944059" y="577201"/>
                </a:cubicBezTo>
                <a:cubicBezTo>
                  <a:pt x="1962956" y="582687"/>
                  <a:pt x="1981277" y="589713"/>
                  <a:pt x="1998347" y="598952"/>
                </a:cubicBezTo>
                <a:cubicBezTo>
                  <a:pt x="2006762" y="603716"/>
                  <a:pt x="2015033" y="608768"/>
                  <a:pt x="2022487" y="614783"/>
                </a:cubicBezTo>
                <a:cubicBezTo>
                  <a:pt x="2026382" y="617622"/>
                  <a:pt x="2029748" y="620991"/>
                  <a:pt x="2033306" y="624118"/>
                </a:cubicBezTo>
                <a:cubicBezTo>
                  <a:pt x="2036528" y="627583"/>
                  <a:pt x="2040038" y="630855"/>
                  <a:pt x="2042779" y="634657"/>
                </a:cubicBezTo>
                <a:cubicBezTo>
                  <a:pt x="2045856" y="638266"/>
                  <a:pt x="2048309" y="642260"/>
                  <a:pt x="2050857" y="646158"/>
                </a:cubicBezTo>
                <a:cubicBezTo>
                  <a:pt x="2053021" y="650296"/>
                  <a:pt x="2055377" y="654338"/>
                  <a:pt x="2056868" y="658765"/>
                </a:cubicBezTo>
                <a:cubicBezTo>
                  <a:pt x="2060282" y="667427"/>
                  <a:pt x="2062254" y="676425"/>
                  <a:pt x="2062542" y="685953"/>
                </a:cubicBezTo>
                <a:cubicBezTo>
                  <a:pt x="2062638" y="688311"/>
                  <a:pt x="2062927" y="690669"/>
                  <a:pt x="2062879" y="693027"/>
                </a:cubicBezTo>
                <a:lnTo>
                  <a:pt x="2062638" y="700100"/>
                </a:lnTo>
                <a:cubicBezTo>
                  <a:pt x="2062686" y="704816"/>
                  <a:pt x="2061677" y="709484"/>
                  <a:pt x="2061244" y="714151"/>
                </a:cubicBezTo>
                <a:cubicBezTo>
                  <a:pt x="2059561" y="723390"/>
                  <a:pt x="2057301" y="732581"/>
                  <a:pt x="2053646" y="741291"/>
                </a:cubicBezTo>
                <a:cubicBezTo>
                  <a:pt x="2046722" y="758807"/>
                  <a:pt x="2036239" y="774879"/>
                  <a:pt x="2023833" y="789219"/>
                </a:cubicBezTo>
                <a:cubicBezTo>
                  <a:pt x="2011475" y="803655"/>
                  <a:pt x="1997434" y="816599"/>
                  <a:pt x="1982720" y="828677"/>
                </a:cubicBezTo>
                <a:cubicBezTo>
                  <a:pt x="1953147" y="852737"/>
                  <a:pt x="1920929" y="873237"/>
                  <a:pt x="1889000" y="893784"/>
                </a:cubicBezTo>
                <a:cubicBezTo>
                  <a:pt x="1857071" y="914331"/>
                  <a:pt x="1824902" y="934494"/>
                  <a:pt x="1795762" y="958987"/>
                </a:cubicBezTo>
                <a:cubicBezTo>
                  <a:pt x="1767103" y="983384"/>
                  <a:pt x="1739790" y="1008887"/>
                  <a:pt x="1713776" y="1035353"/>
                </a:cubicBezTo>
                <a:cubicBezTo>
                  <a:pt x="1661891" y="1088286"/>
                  <a:pt x="1614719" y="1144634"/>
                  <a:pt x="1575577" y="1205218"/>
                </a:cubicBezTo>
                <a:cubicBezTo>
                  <a:pt x="1556054" y="1235485"/>
                  <a:pt x="1538551" y="1266811"/>
                  <a:pt x="1523885" y="1299196"/>
                </a:cubicBezTo>
                <a:cubicBezTo>
                  <a:pt x="1516143" y="1315124"/>
                  <a:pt x="1510084" y="1332110"/>
                  <a:pt x="1504987" y="1348952"/>
                </a:cubicBezTo>
                <a:cubicBezTo>
                  <a:pt x="1499842" y="1365843"/>
                  <a:pt x="1495803" y="1382973"/>
                  <a:pt x="1492292" y="1400008"/>
                </a:cubicBezTo>
                <a:cubicBezTo>
                  <a:pt x="1478251" y="1468291"/>
                  <a:pt x="1472000" y="1536429"/>
                  <a:pt x="1456997" y="1601343"/>
                </a:cubicBezTo>
                <a:cubicBezTo>
                  <a:pt x="1453150" y="1617511"/>
                  <a:pt x="1448871" y="1633487"/>
                  <a:pt x="1443533" y="1648982"/>
                </a:cubicBezTo>
                <a:cubicBezTo>
                  <a:pt x="1438100" y="1664428"/>
                  <a:pt x="1431704" y="1679442"/>
                  <a:pt x="1423818" y="1693445"/>
                </a:cubicBezTo>
                <a:cubicBezTo>
                  <a:pt x="1415980" y="1707496"/>
                  <a:pt x="1406171" y="1720248"/>
                  <a:pt x="1394582" y="1730882"/>
                </a:cubicBezTo>
                <a:cubicBezTo>
                  <a:pt x="1382993" y="1741517"/>
                  <a:pt x="1369433" y="1749745"/>
                  <a:pt x="1354863" y="1755231"/>
                </a:cubicBezTo>
                <a:lnTo>
                  <a:pt x="1343755" y="1758840"/>
                </a:lnTo>
                <a:cubicBezTo>
                  <a:pt x="1339957" y="1759754"/>
                  <a:pt x="1336110" y="1760476"/>
                  <a:pt x="1332311" y="1761294"/>
                </a:cubicBezTo>
                <a:cubicBezTo>
                  <a:pt x="1324713" y="1762882"/>
                  <a:pt x="1317020" y="1763363"/>
                  <a:pt x="1309422" y="1763171"/>
                </a:cubicBezTo>
                <a:cubicBezTo>
                  <a:pt x="1294179" y="1762834"/>
                  <a:pt x="1279705" y="1757108"/>
                  <a:pt x="1268212" y="1747628"/>
                </a:cubicBezTo>
                <a:cubicBezTo>
                  <a:pt x="1256960" y="1737763"/>
                  <a:pt x="1248497" y="1724819"/>
                  <a:pt x="1242246" y="1710960"/>
                </a:cubicBezTo>
                <a:cubicBezTo>
                  <a:pt x="1235947" y="1697054"/>
                  <a:pt x="1231427" y="1682377"/>
                  <a:pt x="1227676" y="1667556"/>
                </a:cubicBezTo>
                <a:cubicBezTo>
                  <a:pt x="1220223" y="1637866"/>
                  <a:pt x="1215895" y="1607646"/>
                  <a:pt x="1210606" y="1577860"/>
                </a:cubicBezTo>
                <a:cubicBezTo>
                  <a:pt x="1207961" y="1562943"/>
                  <a:pt x="1205172" y="1548122"/>
                  <a:pt x="1201373" y="1533445"/>
                </a:cubicBezTo>
                <a:cubicBezTo>
                  <a:pt x="1199354" y="1526131"/>
                  <a:pt x="1197286" y="1518865"/>
                  <a:pt x="1194401" y="1511791"/>
                </a:cubicBezTo>
                <a:cubicBezTo>
                  <a:pt x="1193054" y="1508182"/>
                  <a:pt x="1191468" y="1504766"/>
                  <a:pt x="1189881" y="1501397"/>
                </a:cubicBezTo>
                <a:cubicBezTo>
                  <a:pt x="1188294" y="1498029"/>
                  <a:pt x="1186803" y="1494612"/>
                  <a:pt x="1185120" y="1491244"/>
                </a:cubicBezTo>
                <a:cubicBezTo>
                  <a:pt x="1171704" y="1464730"/>
                  <a:pt x="1154682" y="1439467"/>
                  <a:pt x="1131264" y="1421229"/>
                </a:cubicBezTo>
                <a:cubicBezTo>
                  <a:pt x="1119675" y="1412086"/>
                  <a:pt x="1106788" y="1404772"/>
                  <a:pt x="1093324" y="1399382"/>
                </a:cubicBezTo>
                <a:cubicBezTo>
                  <a:pt x="1079860" y="1393993"/>
                  <a:pt x="1065867" y="1390336"/>
                  <a:pt x="1051971" y="1387689"/>
                </a:cubicBezTo>
                <a:cubicBezTo>
                  <a:pt x="1024081" y="1382444"/>
                  <a:pt x="996335" y="1380616"/>
                  <a:pt x="969263" y="1377680"/>
                </a:cubicBezTo>
                <a:cubicBezTo>
                  <a:pt x="942191" y="1374841"/>
                  <a:pt x="915599" y="1371232"/>
                  <a:pt x="889873" y="1365217"/>
                </a:cubicBezTo>
                <a:cubicBezTo>
                  <a:pt x="876986" y="1362378"/>
                  <a:pt x="864436" y="1358673"/>
                  <a:pt x="852030" y="1354823"/>
                </a:cubicBezTo>
                <a:cubicBezTo>
                  <a:pt x="839912" y="1350781"/>
                  <a:pt x="828420" y="1345199"/>
                  <a:pt x="817985" y="1338077"/>
                </a:cubicBezTo>
                <a:cubicBezTo>
                  <a:pt x="796827" y="1324026"/>
                  <a:pt x="780718" y="1304441"/>
                  <a:pt x="764081" y="1285626"/>
                </a:cubicBezTo>
                <a:cubicBezTo>
                  <a:pt x="755618" y="1276387"/>
                  <a:pt x="746866" y="1266811"/>
                  <a:pt x="735085" y="1260748"/>
                </a:cubicBezTo>
                <a:cubicBezTo>
                  <a:pt x="729219" y="1257765"/>
                  <a:pt x="722583" y="1256081"/>
                  <a:pt x="715947" y="1256129"/>
                </a:cubicBezTo>
                <a:cubicBezTo>
                  <a:pt x="709359" y="1256129"/>
                  <a:pt x="702916" y="1257765"/>
                  <a:pt x="697145" y="1260171"/>
                </a:cubicBezTo>
                <a:cubicBezTo>
                  <a:pt x="685412" y="1264790"/>
                  <a:pt x="675122" y="1271720"/>
                  <a:pt x="665601" y="1279082"/>
                </a:cubicBezTo>
                <a:cubicBezTo>
                  <a:pt x="656032" y="1286493"/>
                  <a:pt x="647280" y="1294625"/>
                  <a:pt x="639010" y="1303046"/>
                </a:cubicBezTo>
                <a:cubicBezTo>
                  <a:pt x="622372" y="1319792"/>
                  <a:pt x="607561" y="1337644"/>
                  <a:pt x="593569" y="1355449"/>
                </a:cubicBezTo>
                <a:cubicBezTo>
                  <a:pt x="579576" y="1373301"/>
                  <a:pt x="566448" y="1391250"/>
                  <a:pt x="553898" y="1409103"/>
                </a:cubicBezTo>
                <a:cubicBezTo>
                  <a:pt x="528797" y="1444808"/>
                  <a:pt x="505908" y="1479936"/>
                  <a:pt x="483789" y="1513379"/>
                </a:cubicBezTo>
                <a:cubicBezTo>
                  <a:pt x="472729" y="1530125"/>
                  <a:pt x="461861" y="1546486"/>
                  <a:pt x="450802" y="1562077"/>
                </a:cubicBezTo>
                <a:cubicBezTo>
                  <a:pt x="439790" y="1577716"/>
                  <a:pt x="428057" y="1592296"/>
                  <a:pt x="416517" y="1606492"/>
                </a:cubicBezTo>
                <a:cubicBezTo>
                  <a:pt x="393387" y="1634834"/>
                  <a:pt x="370883" y="1661493"/>
                  <a:pt x="350735" y="1687670"/>
                </a:cubicBezTo>
                <a:cubicBezTo>
                  <a:pt x="330491" y="1713752"/>
                  <a:pt x="312555" y="1739496"/>
                  <a:pt x="297745" y="1764759"/>
                </a:cubicBezTo>
                <a:cubicBezTo>
                  <a:pt x="282646" y="1789829"/>
                  <a:pt x="268989" y="1813505"/>
                  <a:pt x="255189" y="1834774"/>
                </a:cubicBezTo>
                <a:cubicBezTo>
                  <a:pt x="248216" y="1845312"/>
                  <a:pt x="241292" y="1855369"/>
                  <a:pt x="233694" y="1864127"/>
                </a:cubicBezTo>
                <a:lnTo>
                  <a:pt x="230857" y="1867351"/>
                </a:lnTo>
                <a:lnTo>
                  <a:pt x="227780" y="1870286"/>
                </a:lnTo>
                <a:cubicBezTo>
                  <a:pt x="225856" y="1872356"/>
                  <a:pt x="223548" y="1873799"/>
                  <a:pt x="221384" y="1875387"/>
                </a:cubicBezTo>
                <a:cubicBezTo>
                  <a:pt x="216816" y="1878178"/>
                  <a:pt x="211527" y="1879333"/>
                  <a:pt x="206430" y="1879140"/>
                </a:cubicBezTo>
                <a:cubicBezTo>
                  <a:pt x="196043" y="1878659"/>
                  <a:pt x="186859" y="1873510"/>
                  <a:pt x="179117" y="1868073"/>
                </a:cubicBezTo>
                <a:cubicBezTo>
                  <a:pt x="171375" y="1862443"/>
                  <a:pt x="164739" y="1856043"/>
                  <a:pt x="158921" y="1849691"/>
                </a:cubicBezTo>
                <a:cubicBezTo>
                  <a:pt x="147284" y="1836891"/>
                  <a:pt x="138629" y="1824235"/>
                  <a:pt x="131849" y="1812975"/>
                </a:cubicBezTo>
                <a:cubicBezTo>
                  <a:pt x="125020" y="1801715"/>
                  <a:pt x="120212" y="1791754"/>
                  <a:pt x="116701" y="1783574"/>
                </a:cubicBezTo>
                <a:cubicBezTo>
                  <a:pt x="113191" y="1775393"/>
                  <a:pt x="111172" y="1768993"/>
                  <a:pt x="110018" y="1764663"/>
                </a:cubicBezTo>
                <a:cubicBezTo>
                  <a:pt x="108815" y="1760332"/>
                  <a:pt x="108431" y="1758070"/>
                  <a:pt x="108286" y="1758118"/>
                </a:cubicBezTo>
                <a:cubicBezTo>
                  <a:pt x="108286" y="1758118"/>
                  <a:pt x="108286" y="1758696"/>
                  <a:pt x="108479" y="1759802"/>
                </a:cubicBezTo>
                <a:cubicBezTo>
                  <a:pt x="108671" y="1760909"/>
                  <a:pt x="108912" y="1762593"/>
                  <a:pt x="109489" y="1764807"/>
                </a:cubicBezTo>
                <a:cubicBezTo>
                  <a:pt x="110498" y="1769186"/>
                  <a:pt x="112374" y="1775730"/>
                  <a:pt x="115740" y="1784007"/>
                </a:cubicBezTo>
                <a:cubicBezTo>
                  <a:pt x="119106" y="1792284"/>
                  <a:pt x="123770" y="1802389"/>
                  <a:pt x="130454" y="1813793"/>
                </a:cubicBezTo>
                <a:cubicBezTo>
                  <a:pt x="137138" y="1825198"/>
                  <a:pt x="145697" y="1838046"/>
                  <a:pt x="157334" y="1851086"/>
                </a:cubicBezTo>
                <a:cubicBezTo>
                  <a:pt x="163152" y="1857583"/>
                  <a:pt x="169836" y="1864079"/>
                  <a:pt x="177722" y="1869950"/>
                </a:cubicBezTo>
                <a:cubicBezTo>
                  <a:pt x="185657" y="1875579"/>
                  <a:pt x="195081" y="1881065"/>
                  <a:pt x="206333" y="1881739"/>
                </a:cubicBezTo>
                <a:cubicBezTo>
                  <a:pt x="211911" y="1882028"/>
                  <a:pt x="217778" y="1880777"/>
                  <a:pt x="222827" y="1877745"/>
                </a:cubicBezTo>
                <a:cubicBezTo>
                  <a:pt x="225231" y="1876061"/>
                  <a:pt x="227732" y="1874473"/>
                  <a:pt x="229751" y="1872356"/>
                </a:cubicBezTo>
                <a:lnTo>
                  <a:pt x="232973" y="1869324"/>
                </a:lnTo>
                <a:lnTo>
                  <a:pt x="235906" y="1866004"/>
                </a:lnTo>
                <a:cubicBezTo>
                  <a:pt x="243744" y="1857101"/>
                  <a:pt x="250765" y="1847044"/>
                  <a:pt x="257881" y="1836458"/>
                </a:cubicBezTo>
                <a:cubicBezTo>
                  <a:pt x="286108" y="1794016"/>
                  <a:pt x="312411" y="1741421"/>
                  <a:pt x="354053" y="1690125"/>
                </a:cubicBezTo>
                <a:cubicBezTo>
                  <a:pt x="374249" y="1664091"/>
                  <a:pt x="396801" y="1637625"/>
                  <a:pt x="420123" y="1609331"/>
                </a:cubicBezTo>
                <a:cubicBezTo>
                  <a:pt x="431712" y="1595135"/>
                  <a:pt x="443589" y="1580507"/>
                  <a:pt x="454745" y="1564820"/>
                </a:cubicBezTo>
                <a:cubicBezTo>
                  <a:pt x="465949" y="1549132"/>
                  <a:pt x="476864" y="1532820"/>
                  <a:pt x="488020" y="1516122"/>
                </a:cubicBezTo>
                <a:cubicBezTo>
                  <a:pt x="510284" y="1482678"/>
                  <a:pt x="533269" y="1447695"/>
                  <a:pt x="558418" y="1412182"/>
                </a:cubicBezTo>
                <a:cubicBezTo>
                  <a:pt x="571016" y="1394426"/>
                  <a:pt x="584144" y="1376574"/>
                  <a:pt x="598089" y="1358913"/>
                </a:cubicBezTo>
                <a:cubicBezTo>
                  <a:pt x="612082" y="1341253"/>
                  <a:pt x="626844" y="1323641"/>
                  <a:pt x="643241" y="1307184"/>
                </a:cubicBezTo>
                <a:cubicBezTo>
                  <a:pt x="651416" y="1298908"/>
                  <a:pt x="660023" y="1290968"/>
                  <a:pt x="669304" y="1283798"/>
                </a:cubicBezTo>
                <a:cubicBezTo>
                  <a:pt x="678584" y="1276628"/>
                  <a:pt x="688490" y="1270035"/>
                  <a:pt x="699357" y="1265849"/>
                </a:cubicBezTo>
                <a:cubicBezTo>
                  <a:pt x="710080" y="1261278"/>
                  <a:pt x="722006" y="1260844"/>
                  <a:pt x="732248" y="1266282"/>
                </a:cubicBezTo>
                <a:cubicBezTo>
                  <a:pt x="742538" y="1271575"/>
                  <a:pt x="751050" y="1280670"/>
                  <a:pt x="759320" y="1289813"/>
                </a:cubicBezTo>
                <a:cubicBezTo>
                  <a:pt x="775718" y="1308387"/>
                  <a:pt x="792259" y="1328694"/>
                  <a:pt x="814282" y="1343467"/>
                </a:cubicBezTo>
                <a:cubicBezTo>
                  <a:pt x="825150" y="1350925"/>
                  <a:pt x="837267" y="1356844"/>
                  <a:pt x="849962" y="1361079"/>
                </a:cubicBezTo>
                <a:cubicBezTo>
                  <a:pt x="862561" y="1365025"/>
                  <a:pt x="875303" y="1368826"/>
                  <a:pt x="888335" y="1371762"/>
                </a:cubicBezTo>
                <a:cubicBezTo>
                  <a:pt x="914397" y="1377921"/>
                  <a:pt x="941277" y="1381674"/>
                  <a:pt x="968494" y="1384561"/>
                </a:cubicBezTo>
                <a:cubicBezTo>
                  <a:pt x="995662" y="1387593"/>
                  <a:pt x="1023311" y="1389470"/>
                  <a:pt x="1050576" y="1394667"/>
                </a:cubicBezTo>
                <a:cubicBezTo>
                  <a:pt x="1064184" y="1397313"/>
                  <a:pt x="1077697" y="1400826"/>
                  <a:pt x="1090583" y="1406071"/>
                </a:cubicBezTo>
                <a:cubicBezTo>
                  <a:pt x="1103471" y="1411268"/>
                  <a:pt x="1115684" y="1418246"/>
                  <a:pt x="1126696" y="1426955"/>
                </a:cubicBezTo>
                <a:cubicBezTo>
                  <a:pt x="1148912" y="1444327"/>
                  <a:pt x="1165309" y="1468675"/>
                  <a:pt x="1178340" y="1494564"/>
                </a:cubicBezTo>
                <a:cubicBezTo>
                  <a:pt x="1179975" y="1497836"/>
                  <a:pt x="1181418" y="1501157"/>
                  <a:pt x="1183004" y="1504477"/>
                </a:cubicBezTo>
                <a:cubicBezTo>
                  <a:pt x="1184543" y="1507797"/>
                  <a:pt x="1186082" y="1511117"/>
                  <a:pt x="1187332" y="1514486"/>
                </a:cubicBezTo>
                <a:cubicBezTo>
                  <a:pt x="1190025" y="1521175"/>
                  <a:pt x="1192045" y="1528248"/>
                  <a:pt x="1193968" y="1535322"/>
                </a:cubicBezTo>
                <a:cubicBezTo>
                  <a:pt x="1197671" y="1549565"/>
                  <a:pt x="1200412" y="1564290"/>
                  <a:pt x="1203008" y="1579111"/>
                </a:cubicBezTo>
                <a:cubicBezTo>
                  <a:pt x="1208201" y="1608801"/>
                  <a:pt x="1212481" y="1639165"/>
                  <a:pt x="1219982" y="1669433"/>
                </a:cubicBezTo>
                <a:cubicBezTo>
                  <a:pt x="1223781" y="1684543"/>
                  <a:pt x="1228397" y="1699652"/>
                  <a:pt x="1234937" y="1714233"/>
                </a:cubicBezTo>
                <a:cubicBezTo>
                  <a:pt x="1241429" y="1728765"/>
                  <a:pt x="1250421" y="1742768"/>
                  <a:pt x="1262971" y="1753739"/>
                </a:cubicBezTo>
                <a:cubicBezTo>
                  <a:pt x="1275714" y="1764422"/>
                  <a:pt x="1292352" y="1770918"/>
                  <a:pt x="1309037" y="1771255"/>
                </a:cubicBezTo>
                <a:cubicBezTo>
                  <a:pt x="1317356" y="1771496"/>
                  <a:pt x="1325675" y="1770918"/>
                  <a:pt x="1333753" y="1769282"/>
                </a:cubicBezTo>
                <a:cubicBezTo>
                  <a:pt x="1337793" y="1768416"/>
                  <a:pt x="1341832" y="1767694"/>
                  <a:pt x="1345823" y="1766732"/>
                </a:cubicBezTo>
                <a:lnTo>
                  <a:pt x="1357652" y="1762930"/>
                </a:lnTo>
                <a:cubicBezTo>
                  <a:pt x="1373232" y="1757108"/>
                  <a:pt x="1387754" y="1748302"/>
                  <a:pt x="1400112" y="1736993"/>
                </a:cubicBezTo>
                <a:cubicBezTo>
                  <a:pt x="1412470" y="1725685"/>
                  <a:pt x="1422856" y="1712212"/>
                  <a:pt x="1431031" y="1697583"/>
                </a:cubicBezTo>
                <a:cubicBezTo>
                  <a:pt x="1439302" y="1683003"/>
                  <a:pt x="1445890" y="1667556"/>
                  <a:pt x="1451468" y="1651725"/>
                </a:cubicBezTo>
                <a:cubicBezTo>
                  <a:pt x="1456949" y="1635845"/>
                  <a:pt x="1461325" y="1619628"/>
                  <a:pt x="1465220" y="1603220"/>
                </a:cubicBezTo>
                <a:cubicBezTo>
                  <a:pt x="1480463" y="1537535"/>
                  <a:pt x="1486811" y="1469349"/>
                  <a:pt x="1500852" y="1401740"/>
                </a:cubicBezTo>
                <a:cubicBezTo>
                  <a:pt x="1504362" y="1384850"/>
                  <a:pt x="1508353" y="1368008"/>
                  <a:pt x="1513402" y="1351455"/>
                </a:cubicBezTo>
                <a:cubicBezTo>
                  <a:pt x="1518451" y="1334853"/>
                  <a:pt x="1524269" y="1318637"/>
                  <a:pt x="1531963" y="1302805"/>
                </a:cubicBezTo>
                <a:cubicBezTo>
                  <a:pt x="1546437" y="1270950"/>
                  <a:pt x="1563796" y="1240008"/>
                  <a:pt x="1583126" y="1210078"/>
                </a:cubicBezTo>
                <a:cubicBezTo>
                  <a:pt x="1621884" y="1150168"/>
                  <a:pt x="1668719" y="1094301"/>
                  <a:pt x="1720315" y="1041850"/>
                </a:cubicBezTo>
                <a:cubicBezTo>
                  <a:pt x="1746185" y="1015672"/>
                  <a:pt x="1773354" y="990361"/>
                  <a:pt x="1801773" y="966157"/>
                </a:cubicBezTo>
                <a:cubicBezTo>
                  <a:pt x="1830095" y="942337"/>
                  <a:pt x="1862120" y="922319"/>
                  <a:pt x="1894049" y="901820"/>
                </a:cubicBezTo>
                <a:cubicBezTo>
                  <a:pt x="1926026" y="881321"/>
                  <a:pt x="1958532" y="860725"/>
                  <a:pt x="1988730" y="836136"/>
                </a:cubicBezTo>
                <a:cubicBezTo>
                  <a:pt x="2003781" y="823817"/>
                  <a:pt x="2018255" y="810488"/>
                  <a:pt x="2031142" y="795474"/>
                </a:cubicBezTo>
                <a:cubicBezTo>
                  <a:pt x="2044077" y="780557"/>
                  <a:pt x="2055233" y="763619"/>
                  <a:pt x="2062638" y="744852"/>
                </a:cubicBezTo>
                <a:cubicBezTo>
                  <a:pt x="2066533" y="735517"/>
                  <a:pt x="2069034" y="725652"/>
                  <a:pt x="2070813" y="715691"/>
                </a:cubicBezTo>
                <a:cubicBezTo>
                  <a:pt x="2071294" y="710639"/>
                  <a:pt x="2072352" y="705634"/>
                  <a:pt x="2072303" y="700533"/>
                </a:cubicBezTo>
                <a:lnTo>
                  <a:pt x="2072544" y="692930"/>
                </a:lnTo>
                <a:cubicBezTo>
                  <a:pt x="2072544" y="690380"/>
                  <a:pt x="2072303" y="687878"/>
                  <a:pt x="2072207" y="685327"/>
                </a:cubicBezTo>
                <a:cubicBezTo>
                  <a:pt x="2071919" y="675222"/>
                  <a:pt x="2069707" y="664684"/>
                  <a:pt x="2065908" y="655108"/>
                </a:cubicBezTo>
                <a:cubicBezTo>
                  <a:pt x="2064177" y="650200"/>
                  <a:pt x="2061580" y="645676"/>
                  <a:pt x="2059176" y="641105"/>
                </a:cubicBezTo>
                <a:cubicBezTo>
                  <a:pt x="2056339" y="636774"/>
                  <a:pt x="2053646" y="632347"/>
                  <a:pt x="2050280" y="628449"/>
                </a:cubicBezTo>
                <a:cubicBezTo>
                  <a:pt x="2047203" y="624263"/>
                  <a:pt x="2043452" y="620750"/>
                  <a:pt x="2039990" y="616997"/>
                </a:cubicBezTo>
                <a:cubicBezTo>
                  <a:pt x="2036143" y="613580"/>
                  <a:pt x="2032488" y="609971"/>
                  <a:pt x="2028401" y="606940"/>
                </a:cubicBezTo>
                <a:cubicBezTo>
                  <a:pt x="2020467" y="600492"/>
                  <a:pt x="2011715" y="595198"/>
                  <a:pt x="2002916" y="590146"/>
                </a:cubicBezTo>
                <a:cubicBezTo>
                  <a:pt x="1985028" y="580474"/>
                  <a:pt x="1966034" y="573159"/>
                  <a:pt x="1946607" y="567529"/>
                </a:cubicBezTo>
                <a:cubicBezTo>
                  <a:pt x="1907658" y="556317"/>
                  <a:pt x="1867025" y="551505"/>
                  <a:pt x="1826296" y="550928"/>
                </a:cubicBezTo>
                <a:cubicBezTo>
                  <a:pt x="1785568" y="550398"/>
                  <a:pt x="1744599" y="554200"/>
                  <a:pt x="1704159" y="561947"/>
                </a:cubicBezTo>
                <a:cubicBezTo>
                  <a:pt x="1699110" y="563006"/>
                  <a:pt x="1694109" y="563920"/>
                  <a:pt x="1688963" y="565123"/>
                </a:cubicBezTo>
                <a:cubicBezTo>
                  <a:pt x="1683674" y="566326"/>
                  <a:pt x="1678721" y="568010"/>
                  <a:pt x="1673768" y="569791"/>
                </a:cubicBezTo>
                <a:cubicBezTo>
                  <a:pt x="1663911" y="573352"/>
                  <a:pt x="1654390" y="577538"/>
                  <a:pt x="1645061" y="581965"/>
                </a:cubicBezTo>
                <a:cubicBezTo>
                  <a:pt x="1626356" y="590819"/>
                  <a:pt x="1608131" y="600588"/>
                  <a:pt x="1590003" y="610549"/>
                </a:cubicBezTo>
                <a:cubicBezTo>
                  <a:pt x="1553842" y="630567"/>
                  <a:pt x="1518066" y="651595"/>
                  <a:pt x="1482098" y="672527"/>
                </a:cubicBezTo>
                <a:cubicBezTo>
                  <a:pt x="1446082" y="693460"/>
                  <a:pt x="1409873" y="714392"/>
                  <a:pt x="1373040" y="734410"/>
                </a:cubicBezTo>
                <a:cubicBezTo>
                  <a:pt x="1336158" y="754428"/>
                  <a:pt x="1298699" y="773772"/>
                  <a:pt x="1259942" y="790277"/>
                </a:cubicBezTo>
                <a:cubicBezTo>
                  <a:pt x="1240563" y="798506"/>
                  <a:pt x="1220800" y="805965"/>
                  <a:pt x="1200604" y="811643"/>
                </a:cubicBezTo>
                <a:cubicBezTo>
                  <a:pt x="1190506" y="814482"/>
                  <a:pt x="1180312" y="816792"/>
                  <a:pt x="1170021" y="818187"/>
                </a:cubicBezTo>
                <a:cubicBezTo>
                  <a:pt x="1159779" y="819534"/>
                  <a:pt x="1149392" y="820160"/>
                  <a:pt x="1139535" y="818620"/>
                </a:cubicBezTo>
                <a:cubicBezTo>
                  <a:pt x="1129725" y="817128"/>
                  <a:pt x="1120349" y="813664"/>
                  <a:pt x="1113713" y="806975"/>
                </a:cubicBezTo>
                <a:cubicBezTo>
                  <a:pt x="1111886" y="805483"/>
                  <a:pt x="1110635" y="803462"/>
                  <a:pt x="1109097" y="801682"/>
                </a:cubicBezTo>
                <a:lnTo>
                  <a:pt x="1107269" y="798650"/>
                </a:lnTo>
                <a:cubicBezTo>
                  <a:pt x="1106596" y="797640"/>
                  <a:pt x="1106019" y="796629"/>
                  <a:pt x="1105682" y="795571"/>
                </a:cubicBezTo>
                <a:cubicBezTo>
                  <a:pt x="1103615" y="791480"/>
                  <a:pt x="1103038" y="786765"/>
                  <a:pt x="1102893" y="782049"/>
                </a:cubicBezTo>
                <a:cubicBezTo>
                  <a:pt x="1102893" y="772473"/>
                  <a:pt x="1105971" y="762560"/>
                  <a:pt x="1110203" y="753129"/>
                </a:cubicBezTo>
                <a:cubicBezTo>
                  <a:pt x="1114434" y="743649"/>
                  <a:pt x="1119675" y="734458"/>
                  <a:pt x="1125350" y="725460"/>
                </a:cubicBezTo>
                <a:cubicBezTo>
                  <a:pt x="1148238" y="689466"/>
                  <a:pt x="1176272" y="656070"/>
                  <a:pt x="1199354" y="618537"/>
                </a:cubicBezTo>
                <a:cubicBezTo>
                  <a:pt x="1210702" y="599673"/>
                  <a:pt x="1221377" y="579848"/>
                  <a:pt x="1226234" y="557232"/>
                </a:cubicBezTo>
                <a:cubicBezTo>
                  <a:pt x="1228542" y="545971"/>
                  <a:pt x="1228686" y="533845"/>
                  <a:pt x="1225657" y="522344"/>
                </a:cubicBezTo>
                <a:cubicBezTo>
                  <a:pt x="1222627" y="510844"/>
                  <a:pt x="1216472" y="500642"/>
                  <a:pt x="1210221" y="491547"/>
                </a:cubicBezTo>
                <a:cubicBezTo>
                  <a:pt x="1204018" y="482405"/>
                  <a:pt x="1197526" y="473839"/>
                  <a:pt x="1195122" y="464552"/>
                </a:cubicBezTo>
                <a:cubicBezTo>
                  <a:pt x="1192525" y="455361"/>
                  <a:pt x="1194882" y="445641"/>
                  <a:pt x="1199546" y="436498"/>
                </a:cubicBezTo>
                <a:cubicBezTo>
                  <a:pt x="1204306" y="427259"/>
                  <a:pt x="1210798" y="418645"/>
                  <a:pt x="1217674" y="410369"/>
                </a:cubicBezTo>
                <a:cubicBezTo>
                  <a:pt x="1224503" y="402044"/>
                  <a:pt x="1232148" y="394248"/>
                  <a:pt x="1239842" y="386501"/>
                </a:cubicBezTo>
                <a:cubicBezTo>
                  <a:pt x="1270953" y="355752"/>
                  <a:pt x="1305816" y="328083"/>
                  <a:pt x="1337697" y="296757"/>
                </a:cubicBezTo>
                <a:cubicBezTo>
                  <a:pt x="1352074" y="283235"/>
                  <a:pt x="1366452" y="269665"/>
                  <a:pt x="1380830" y="256096"/>
                </a:cubicBezTo>
                <a:lnTo>
                  <a:pt x="1363759" y="274092"/>
                </a:lnTo>
                <a:cubicBezTo>
                  <a:pt x="1356979" y="281359"/>
                  <a:pt x="1350487" y="288577"/>
                  <a:pt x="1343563" y="295313"/>
                </a:cubicBezTo>
                <a:cubicBezTo>
                  <a:pt x="1336687" y="302195"/>
                  <a:pt x="1329426" y="308739"/>
                  <a:pt x="1322165" y="315331"/>
                </a:cubicBezTo>
                <a:lnTo>
                  <a:pt x="1277734" y="354357"/>
                </a:lnTo>
                <a:cubicBezTo>
                  <a:pt x="1263019" y="367638"/>
                  <a:pt x="1248449" y="381352"/>
                  <a:pt x="1235947" y="397424"/>
                </a:cubicBezTo>
                <a:cubicBezTo>
                  <a:pt x="1229840" y="405557"/>
                  <a:pt x="1223926" y="413978"/>
                  <a:pt x="1220030" y="424035"/>
                </a:cubicBezTo>
                <a:cubicBezTo>
                  <a:pt x="1216039" y="433851"/>
                  <a:pt x="1214741" y="445785"/>
                  <a:pt x="1218203" y="456420"/>
                </a:cubicBezTo>
                <a:cubicBezTo>
                  <a:pt x="1221521" y="467054"/>
                  <a:pt x="1227965" y="475572"/>
                  <a:pt x="1233831" y="483463"/>
                </a:cubicBezTo>
                <a:cubicBezTo>
                  <a:pt x="1239794" y="491355"/>
                  <a:pt x="1245564" y="499006"/>
                  <a:pt x="1249411" y="507283"/>
                </a:cubicBezTo>
                <a:cubicBezTo>
                  <a:pt x="1253258" y="515559"/>
                  <a:pt x="1254893" y="524462"/>
                  <a:pt x="1254027" y="533508"/>
                </a:cubicBezTo>
                <a:cubicBezTo>
                  <a:pt x="1253354" y="542651"/>
                  <a:pt x="1250180" y="551361"/>
                  <a:pt x="1246045" y="559926"/>
                </a:cubicBezTo>
                <a:cubicBezTo>
                  <a:pt x="1237582" y="577153"/>
                  <a:pt x="1226474" y="593514"/>
                  <a:pt x="1215414" y="609779"/>
                </a:cubicBezTo>
                <a:cubicBezTo>
                  <a:pt x="1204258" y="626043"/>
                  <a:pt x="1192766" y="642212"/>
                  <a:pt x="1181706" y="658765"/>
                </a:cubicBezTo>
                <a:cubicBezTo>
                  <a:pt x="1170694" y="675367"/>
                  <a:pt x="1159923" y="692257"/>
                  <a:pt x="1151268" y="710639"/>
                </a:cubicBezTo>
                <a:cubicBezTo>
                  <a:pt x="1146988" y="719829"/>
                  <a:pt x="1143141" y="729454"/>
                  <a:pt x="1141074" y="739847"/>
                </a:cubicBezTo>
                <a:cubicBezTo>
                  <a:pt x="1140593" y="742446"/>
                  <a:pt x="1140064" y="745044"/>
                  <a:pt x="1139968" y="747787"/>
                </a:cubicBezTo>
                <a:cubicBezTo>
                  <a:pt x="1139631" y="750482"/>
                  <a:pt x="1139727" y="753225"/>
                  <a:pt x="1139920" y="756016"/>
                </a:cubicBezTo>
                <a:cubicBezTo>
                  <a:pt x="1140016" y="758759"/>
                  <a:pt x="1140737" y="761598"/>
                  <a:pt x="1141362" y="764389"/>
                </a:cubicBezTo>
                <a:cubicBezTo>
                  <a:pt x="1142372" y="767084"/>
                  <a:pt x="1143189" y="769923"/>
                  <a:pt x="1144824" y="772377"/>
                </a:cubicBezTo>
                <a:cubicBezTo>
                  <a:pt x="1150450" y="782482"/>
                  <a:pt x="1160741" y="789074"/>
                  <a:pt x="1171271" y="791962"/>
                </a:cubicBezTo>
                <a:cubicBezTo>
                  <a:pt x="1181898" y="794753"/>
                  <a:pt x="1192622" y="794560"/>
                  <a:pt x="1202864" y="793165"/>
                </a:cubicBezTo>
                <a:cubicBezTo>
                  <a:pt x="1223348" y="790326"/>
                  <a:pt x="1242535" y="783541"/>
                  <a:pt x="1261096" y="775938"/>
                </a:cubicBezTo>
                <a:cubicBezTo>
                  <a:pt x="1279657" y="768238"/>
                  <a:pt x="1297641" y="759432"/>
                  <a:pt x="1315337" y="750145"/>
                </a:cubicBezTo>
                <a:cubicBezTo>
                  <a:pt x="1350680" y="731523"/>
                  <a:pt x="1384917" y="711023"/>
                  <a:pt x="1418913" y="690332"/>
                </a:cubicBezTo>
                <a:cubicBezTo>
                  <a:pt x="1452958" y="669592"/>
                  <a:pt x="1486714" y="648515"/>
                  <a:pt x="1520903" y="628161"/>
                </a:cubicBezTo>
                <a:cubicBezTo>
                  <a:pt x="1538022" y="618007"/>
                  <a:pt x="1555189" y="608046"/>
                  <a:pt x="1572692" y="598663"/>
                </a:cubicBezTo>
                <a:cubicBezTo>
                  <a:pt x="1590147" y="589280"/>
                  <a:pt x="1607891" y="580377"/>
                  <a:pt x="1626115" y="573207"/>
                </a:cubicBezTo>
                <a:cubicBezTo>
                  <a:pt x="1644340" y="566134"/>
                  <a:pt x="1663478" y="561081"/>
                  <a:pt x="1682808" y="556895"/>
                </a:cubicBezTo>
                <a:cubicBezTo>
                  <a:pt x="1702139" y="552756"/>
                  <a:pt x="1721758" y="549532"/>
                  <a:pt x="1741425" y="546982"/>
                </a:cubicBezTo>
                <a:cubicBezTo>
                  <a:pt x="1780807" y="541929"/>
                  <a:pt x="1820622" y="539427"/>
                  <a:pt x="1860437" y="538994"/>
                </a:cubicBezTo>
                <a:cubicBezTo>
                  <a:pt x="1900252" y="538609"/>
                  <a:pt x="1940164" y="540245"/>
                  <a:pt x="1979690" y="544816"/>
                </a:cubicBezTo>
                <a:cubicBezTo>
                  <a:pt x="1999454" y="547126"/>
                  <a:pt x="2019121" y="550158"/>
                  <a:pt x="2038499" y="554344"/>
                </a:cubicBezTo>
                <a:cubicBezTo>
                  <a:pt x="2057878" y="558579"/>
                  <a:pt x="2077016" y="563872"/>
                  <a:pt x="2095144" y="571331"/>
                </a:cubicBezTo>
                <a:cubicBezTo>
                  <a:pt x="2113080" y="578837"/>
                  <a:pt x="2130824" y="588558"/>
                  <a:pt x="2142124" y="603234"/>
                </a:cubicBezTo>
                <a:cubicBezTo>
                  <a:pt x="2144913" y="606988"/>
                  <a:pt x="2147173" y="610597"/>
                  <a:pt x="2148760" y="615216"/>
                </a:cubicBezTo>
                <a:cubicBezTo>
                  <a:pt x="2150347" y="619740"/>
                  <a:pt x="2152463" y="624070"/>
                  <a:pt x="2153328" y="628786"/>
                </a:cubicBezTo>
                <a:lnTo>
                  <a:pt x="2155059" y="635764"/>
                </a:lnTo>
                <a:cubicBezTo>
                  <a:pt x="2155636" y="638073"/>
                  <a:pt x="2155684" y="640479"/>
                  <a:pt x="2156021" y="642837"/>
                </a:cubicBezTo>
                <a:cubicBezTo>
                  <a:pt x="2156261" y="645195"/>
                  <a:pt x="2156694" y="647553"/>
                  <a:pt x="2156742" y="649959"/>
                </a:cubicBezTo>
                <a:lnTo>
                  <a:pt x="2156742" y="657129"/>
                </a:lnTo>
                <a:cubicBezTo>
                  <a:pt x="2156983" y="661941"/>
                  <a:pt x="2155877" y="666657"/>
                  <a:pt x="2155444" y="671421"/>
                </a:cubicBezTo>
                <a:cubicBezTo>
                  <a:pt x="2154723" y="676185"/>
                  <a:pt x="2153376" y="680804"/>
                  <a:pt x="2152366" y="685520"/>
                </a:cubicBezTo>
                <a:cubicBezTo>
                  <a:pt x="2150731" y="690091"/>
                  <a:pt x="2149433" y="694759"/>
                  <a:pt x="2147510" y="699234"/>
                </a:cubicBezTo>
                <a:cubicBezTo>
                  <a:pt x="2145394" y="703613"/>
                  <a:pt x="2143855" y="708233"/>
                  <a:pt x="2141355" y="712467"/>
                </a:cubicBezTo>
                <a:cubicBezTo>
                  <a:pt x="2132315" y="729790"/>
                  <a:pt x="2120534" y="745814"/>
                  <a:pt x="2107502" y="760732"/>
                </a:cubicBezTo>
                <a:cubicBezTo>
                  <a:pt x="2081296" y="790566"/>
                  <a:pt x="2050472" y="816455"/>
                  <a:pt x="2018640" y="840707"/>
                </a:cubicBezTo>
                <a:cubicBezTo>
                  <a:pt x="1986711" y="865008"/>
                  <a:pt x="1953387" y="887528"/>
                  <a:pt x="1919920" y="910097"/>
                </a:cubicBezTo>
                <a:cubicBezTo>
                  <a:pt x="1903186" y="921405"/>
                  <a:pt x="1886452" y="932713"/>
                  <a:pt x="1869910" y="944551"/>
                </a:cubicBezTo>
                <a:cubicBezTo>
                  <a:pt x="1861640" y="950469"/>
                  <a:pt x="1853561" y="956629"/>
                  <a:pt x="1845579" y="962884"/>
                </a:cubicBezTo>
                <a:lnTo>
                  <a:pt x="1833557" y="972220"/>
                </a:lnTo>
                <a:lnTo>
                  <a:pt x="1821776" y="981892"/>
                </a:lnTo>
                <a:cubicBezTo>
                  <a:pt x="1790424" y="1007684"/>
                  <a:pt x="1760467" y="1035257"/>
                  <a:pt x="1732096" y="1064370"/>
                </a:cubicBezTo>
                <a:cubicBezTo>
                  <a:pt x="1703678" y="1093434"/>
                  <a:pt x="1677230" y="1124520"/>
                  <a:pt x="1652659" y="1157049"/>
                </a:cubicBezTo>
                <a:lnTo>
                  <a:pt x="1643474" y="1169272"/>
                </a:lnTo>
                <a:cubicBezTo>
                  <a:pt x="1640397" y="1173362"/>
                  <a:pt x="1637656" y="1177645"/>
                  <a:pt x="1634723" y="1181783"/>
                </a:cubicBezTo>
                <a:cubicBezTo>
                  <a:pt x="1629048" y="1190252"/>
                  <a:pt x="1622894" y="1198433"/>
                  <a:pt x="1617604" y="1207142"/>
                </a:cubicBezTo>
                <a:lnTo>
                  <a:pt x="1601399" y="1233127"/>
                </a:lnTo>
                <a:lnTo>
                  <a:pt x="1586444" y="1259882"/>
                </a:lnTo>
                <a:cubicBezTo>
                  <a:pt x="1567258" y="1295972"/>
                  <a:pt x="1551053" y="1333747"/>
                  <a:pt x="1538888" y="1372916"/>
                </a:cubicBezTo>
                <a:lnTo>
                  <a:pt x="1530617" y="1402558"/>
                </a:lnTo>
                <a:cubicBezTo>
                  <a:pt x="1528309" y="1412567"/>
                  <a:pt x="1526001" y="1422576"/>
                  <a:pt x="1524173" y="1432633"/>
                </a:cubicBezTo>
                <a:cubicBezTo>
                  <a:pt x="1520326" y="1452748"/>
                  <a:pt x="1517345" y="1473006"/>
                  <a:pt x="1514797" y="1493217"/>
                </a:cubicBezTo>
                <a:cubicBezTo>
                  <a:pt x="1509603" y="1533734"/>
                  <a:pt x="1505997" y="1574299"/>
                  <a:pt x="1500996" y="1614624"/>
                </a:cubicBezTo>
                <a:cubicBezTo>
                  <a:pt x="1498496" y="1634786"/>
                  <a:pt x="1495755" y="1654901"/>
                  <a:pt x="1492196" y="1674822"/>
                </a:cubicBezTo>
                <a:cubicBezTo>
                  <a:pt x="1488590" y="1694744"/>
                  <a:pt x="1484503" y="1714569"/>
                  <a:pt x="1478732" y="1733866"/>
                </a:cubicBezTo>
                <a:cubicBezTo>
                  <a:pt x="1473058" y="1753162"/>
                  <a:pt x="1466038" y="1772073"/>
                  <a:pt x="1456901" y="1789829"/>
                </a:cubicBezTo>
                <a:cubicBezTo>
                  <a:pt x="1447813" y="1807586"/>
                  <a:pt x="1436369" y="1824139"/>
                  <a:pt x="1422135" y="1837853"/>
                </a:cubicBezTo>
                <a:cubicBezTo>
                  <a:pt x="1393813" y="1865715"/>
                  <a:pt x="1354863" y="1880584"/>
                  <a:pt x="1315048" y="1883856"/>
                </a:cubicBezTo>
                <a:lnTo>
                  <a:pt x="1307595" y="1884674"/>
                </a:lnTo>
                <a:lnTo>
                  <a:pt x="1300093" y="1884867"/>
                </a:lnTo>
                <a:lnTo>
                  <a:pt x="1285043" y="1885252"/>
                </a:lnTo>
                <a:cubicBezTo>
                  <a:pt x="1280234" y="1884770"/>
                  <a:pt x="1275329" y="1884722"/>
                  <a:pt x="1270569" y="1883953"/>
                </a:cubicBezTo>
                <a:lnTo>
                  <a:pt x="1263500" y="1882413"/>
                </a:lnTo>
                <a:cubicBezTo>
                  <a:pt x="1262346" y="1882124"/>
                  <a:pt x="1261144" y="1881931"/>
                  <a:pt x="1259990" y="1881643"/>
                </a:cubicBezTo>
                <a:lnTo>
                  <a:pt x="1256624" y="1880392"/>
                </a:lnTo>
                <a:lnTo>
                  <a:pt x="1249844" y="1877937"/>
                </a:lnTo>
                <a:cubicBezTo>
                  <a:pt x="1247680" y="1876927"/>
                  <a:pt x="1245612" y="1875676"/>
                  <a:pt x="1243448" y="1874569"/>
                </a:cubicBezTo>
                <a:cubicBezTo>
                  <a:pt x="1239073" y="1872596"/>
                  <a:pt x="1235370" y="1869372"/>
                  <a:pt x="1231379" y="1866629"/>
                </a:cubicBezTo>
                <a:cubicBezTo>
                  <a:pt x="1229359" y="1865282"/>
                  <a:pt x="1227772" y="1863405"/>
                  <a:pt x="1225945" y="1861817"/>
                </a:cubicBezTo>
                <a:cubicBezTo>
                  <a:pt x="1224214" y="1860133"/>
                  <a:pt x="1222291" y="1858641"/>
                  <a:pt x="1220704" y="1856764"/>
                </a:cubicBezTo>
                <a:cubicBezTo>
                  <a:pt x="1217626" y="1852963"/>
                  <a:pt x="1214068" y="1849595"/>
                  <a:pt x="1211375" y="1845408"/>
                </a:cubicBezTo>
                <a:cubicBezTo>
                  <a:pt x="1199786" y="1829432"/>
                  <a:pt x="1191323" y="1811050"/>
                  <a:pt x="1184399" y="1792139"/>
                </a:cubicBezTo>
                <a:cubicBezTo>
                  <a:pt x="1177523" y="1773180"/>
                  <a:pt x="1172137" y="1753547"/>
                  <a:pt x="1167328" y="1733721"/>
                </a:cubicBezTo>
                <a:cubicBezTo>
                  <a:pt x="1157808" y="1694070"/>
                  <a:pt x="1150787" y="1653649"/>
                  <a:pt x="1141747" y="1613421"/>
                </a:cubicBezTo>
                <a:cubicBezTo>
                  <a:pt x="1137227" y="1593307"/>
                  <a:pt x="1132226" y="1573241"/>
                  <a:pt x="1125830" y="1553463"/>
                </a:cubicBezTo>
                <a:cubicBezTo>
                  <a:pt x="1119339" y="1533734"/>
                  <a:pt x="1111597" y="1514101"/>
                  <a:pt x="1099960" y="1496200"/>
                </a:cubicBezTo>
                <a:cubicBezTo>
                  <a:pt x="1094094" y="1487250"/>
                  <a:pt x="1086977" y="1479214"/>
                  <a:pt x="1079331" y="1471755"/>
                </a:cubicBezTo>
                <a:cubicBezTo>
                  <a:pt x="1075196" y="1468339"/>
                  <a:pt x="1071349" y="1464537"/>
                  <a:pt x="1066925" y="1461506"/>
                </a:cubicBezTo>
                <a:cubicBezTo>
                  <a:pt x="1062357" y="1458667"/>
                  <a:pt x="1058078" y="1455394"/>
                  <a:pt x="1053269" y="1452988"/>
                </a:cubicBezTo>
                <a:cubicBezTo>
                  <a:pt x="1034323" y="1442787"/>
                  <a:pt x="1013406" y="1437734"/>
                  <a:pt x="992825" y="1434703"/>
                </a:cubicBezTo>
                <a:cubicBezTo>
                  <a:pt x="972148" y="1431623"/>
                  <a:pt x="951567" y="1430420"/>
                  <a:pt x="931083" y="1428688"/>
                </a:cubicBezTo>
                <a:cubicBezTo>
                  <a:pt x="910646" y="1427003"/>
                  <a:pt x="890258" y="1425223"/>
                  <a:pt x="870110" y="1421951"/>
                </a:cubicBezTo>
                <a:cubicBezTo>
                  <a:pt x="859964" y="1420652"/>
                  <a:pt x="850058" y="1418342"/>
                  <a:pt x="840056" y="1416513"/>
                </a:cubicBezTo>
                <a:lnTo>
                  <a:pt x="825246" y="1412904"/>
                </a:lnTo>
                <a:lnTo>
                  <a:pt x="817841" y="1411076"/>
                </a:lnTo>
                <a:cubicBezTo>
                  <a:pt x="815485" y="1410354"/>
                  <a:pt x="813273" y="1409728"/>
                  <a:pt x="811013" y="1408862"/>
                </a:cubicBezTo>
                <a:cubicBezTo>
                  <a:pt x="792980" y="1402029"/>
                  <a:pt x="778266" y="1387641"/>
                  <a:pt x="764225" y="1372965"/>
                </a:cubicBezTo>
                <a:cubicBezTo>
                  <a:pt x="757156" y="1365554"/>
                  <a:pt x="750184" y="1357903"/>
                  <a:pt x="742586" y="1350540"/>
                </a:cubicBezTo>
                <a:cubicBezTo>
                  <a:pt x="734989" y="1343274"/>
                  <a:pt x="726766" y="1336153"/>
                  <a:pt x="716909" y="1330907"/>
                </a:cubicBezTo>
                <a:cubicBezTo>
                  <a:pt x="712004" y="1328357"/>
                  <a:pt x="706714" y="1326192"/>
                  <a:pt x="701088" y="1325037"/>
                </a:cubicBezTo>
                <a:cubicBezTo>
                  <a:pt x="695510" y="1323882"/>
                  <a:pt x="689740" y="1323545"/>
                  <a:pt x="684066" y="1324123"/>
                </a:cubicBezTo>
                <a:cubicBezTo>
                  <a:pt x="672718" y="1325374"/>
                  <a:pt x="662427" y="1329704"/>
                  <a:pt x="653003" y="1334805"/>
                </a:cubicBezTo>
                <a:cubicBezTo>
                  <a:pt x="634153" y="1345343"/>
                  <a:pt x="618333" y="1359587"/>
                  <a:pt x="603859" y="1374697"/>
                </a:cubicBezTo>
                <a:cubicBezTo>
                  <a:pt x="589385" y="1389807"/>
                  <a:pt x="576161" y="1405975"/>
                  <a:pt x="563563" y="1422480"/>
                </a:cubicBezTo>
                <a:cubicBezTo>
                  <a:pt x="538318" y="1455539"/>
                  <a:pt x="515381" y="1490041"/>
                  <a:pt x="492011" y="1524158"/>
                </a:cubicBezTo>
                <a:cubicBezTo>
                  <a:pt x="480326" y="1541241"/>
                  <a:pt x="468593" y="1558179"/>
                  <a:pt x="456380" y="1574780"/>
                </a:cubicBezTo>
                <a:cubicBezTo>
                  <a:pt x="444262" y="1591237"/>
                  <a:pt x="431038" y="1607213"/>
                  <a:pt x="418055" y="1623334"/>
                </a:cubicBezTo>
                <a:cubicBezTo>
                  <a:pt x="391993" y="1655574"/>
                  <a:pt x="366026" y="1688103"/>
                  <a:pt x="343089" y="1723135"/>
                </a:cubicBezTo>
                <a:cubicBezTo>
                  <a:pt x="331693" y="1740651"/>
                  <a:pt x="321018" y="1758792"/>
                  <a:pt x="312315" y="1778088"/>
                </a:cubicBezTo>
                <a:cubicBezTo>
                  <a:pt x="308035" y="1787760"/>
                  <a:pt x="304284" y="1797769"/>
                  <a:pt x="301543" y="1808163"/>
                </a:cubicBezTo>
                <a:cubicBezTo>
                  <a:pt x="298851" y="1818557"/>
                  <a:pt x="297071" y="1829432"/>
                  <a:pt x="297745" y="1840596"/>
                </a:cubicBezTo>
                <a:cubicBezTo>
                  <a:pt x="297889" y="1843387"/>
                  <a:pt x="298129" y="1846226"/>
                  <a:pt x="298802" y="1849017"/>
                </a:cubicBezTo>
                <a:cubicBezTo>
                  <a:pt x="299139" y="1850413"/>
                  <a:pt x="299283" y="1851856"/>
                  <a:pt x="299764" y="1853252"/>
                </a:cubicBezTo>
                <a:lnTo>
                  <a:pt x="301255" y="1857438"/>
                </a:lnTo>
                <a:cubicBezTo>
                  <a:pt x="303515" y="1862876"/>
                  <a:pt x="306929" y="1868217"/>
                  <a:pt x="311641" y="1872019"/>
                </a:cubicBezTo>
                <a:cubicBezTo>
                  <a:pt x="316210" y="1875916"/>
                  <a:pt x="321499" y="1878755"/>
                  <a:pt x="326836" y="1880488"/>
                </a:cubicBezTo>
                <a:cubicBezTo>
                  <a:pt x="332174" y="1882413"/>
                  <a:pt x="337512" y="1883567"/>
                  <a:pt x="342849" y="1884482"/>
                </a:cubicBezTo>
                <a:cubicBezTo>
                  <a:pt x="364007" y="1887898"/>
                  <a:pt x="384828" y="1887562"/>
                  <a:pt x="403966" y="1892903"/>
                </a:cubicBezTo>
                <a:cubicBezTo>
                  <a:pt x="413487" y="1895453"/>
                  <a:pt x="422335" y="1899592"/>
                  <a:pt x="429115" y="1905991"/>
                </a:cubicBezTo>
                <a:cubicBezTo>
                  <a:pt x="435991" y="1912295"/>
                  <a:pt x="440800" y="1920716"/>
                  <a:pt x="443541" y="1930003"/>
                </a:cubicBezTo>
                <a:cubicBezTo>
                  <a:pt x="446282" y="1939339"/>
                  <a:pt x="447436" y="1949155"/>
                  <a:pt x="447628" y="1959501"/>
                </a:cubicBezTo>
                <a:lnTo>
                  <a:pt x="448301" y="1974851"/>
                </a:lnTo>
                <a:cubicBezTo>
                  <a:pt x="448397" y="1979952"/>
                  <a:pt x="448013" y="1985101"/>
                  <a:pt x="447868" y="1990202"/>
                </a:cubicBezTo>
                <a:cubicBezTo>
                  <a:pt x="447484" y="2010701"/>
                  <a:pt x="444118" y="2031008"/>
                  <a:pt x="440319" y="2051170"/>
                </a:cubicBezTo>
                <a:cubicBezTo>
                  <a:pt x="435655" y="2071188"/>
                  <a:pt x="430365" y="2091110"/>
                  <a:pt x="423537" y="2110695"/>
                </a:cubicBezTo>
                <a:cubicBezTo>
                  <a:pt x="410410" y="2149913"/>
                  <a:pt x="394109" y="2188409"/>
                  <a:pt x="381510" y="2228589"/>
                </a:cubicBezTo>
                <a:cubicBezTo>
                  <a:pt x="375451" y="2248703"/>
                  <a:pt x="369825" y="2269106"/>
                  <a:pt x="366700" y="2290087"/>
                </a:cubicBezTo>
                <a:cubicBezTo>
                  <a:pt x="362901" y="2310971"/>
                  <a:pt x="362180" y="2332288"/>
                  <a:pt x="361795" y="2353220"/>
                </a:cubicBezTo>
                <a:cubicBezTo>
                  <a:pt x="361314" y="2395325"/>
                  <a:pt x="365449" y="2437575"/>
                  <a:pt x="374009" y="2478814"/>
                </a:cubicBezTo>
                <a:cubicBezTo>
                  <a:pt x="382520" y="2520101"/>
                  <a:pt x="394974" y="2560522"/>
                  <a:pt x="410362" y="2599644"/>
                </a:cubicBezTo>
                <a:cubicBezTo>
                  <a:pt x="425605" y="2638862"/>
                  <a:pt x="443445" y="2676925"/>
                  <a:pt x="460948" y="2714940"/>
                </a:cubicBezTo>
                <a:cubicBezTo>
                  <a:pt x="478595" y="2753291"/>
                  <a:pt x="499272" y="2789863"/>
                  <a:pt x="518843" y="2826819"/>
                </a:cubicBezTo>
                <a:cubicBezTo>
                  <a:pt x="538462" y="2863775"/>
                  <a:pt x="557360" y="2901068"/>
                  <a:pt x="573276" y="2939661"/>
                </a:cubicBezTo>
                <a:cubicBezTo>
                  <a:pt x="589193" y="2978157"/>
                  <a:pt x="601599" y="3018145"/>
                  <a:pt x="607513" y="3059191"/>
                </a:cubicBezTo>
                <a:cubicBezTo>
                  <a:pt x="609341" y="3069393"/>
                  <a:pt x="609773" y="3079739"/>
                  <a:pt x="610543" y="3090036"/>
                </a:cubicBezTo>
                <a:cubicBezTo>
                  <a:pt x="611360" y="3100334"/>
                  <a:pt x="611120" y="3110439"/>
                  <a:pt x="609052" y="3120015"/>
                </a:cubicBezTo>
                <a:cubicBezTo>
                  <a:pt x="607129" y="3129591"/>
                  <a:pt x="602609" y="3138108"/>
                  <a:pt x="595588" y="3143786"/>
                </a:cubicBezTo>
                <a:cubicBezTo>
                  <a:pt x="588471" y="3149368"/>
                  <a:pt x="578950" y="3152015"/>
                  <a:pt x="569093" y="3152833"/>
                </a:cubicBezTo>
                <a:cubicBezTo>
                  <a:pt x="549137" y="3154325"/>
                  <a:pt x="528364" y="3150764"/>
                  <a:pt x="507591" y="3147925"/>
                </a:cubicBezTo>
                <a:cubicBezTo>
                  <a:pt x="486770" y="3145086"/>
                  <a:pt x="465468" y="3141910"/>
                  <a:pt x="443445" y="3144075"/>
                </a:cubicBezTo>
                <a:cubicBezTo>
                  <a:pt x="437915" y="3144797"/>
                  <a:pt x="432529" y="3145567"/>
                  <a:pt x="426951" y="3147444"/>
                </a:cubicBezTo>
                <a:lnTo>
                  <a:pt x="422720" y="3149080"/>
                </a:lnTo>
                <a:cubicBezTo>
                  <a:pt x="421277" y="3149609"/>
                  <a:pt x="420075" y="3150523"/>
                  <a:pt x="418777" y="3151245"/>
                </a:cubicBezTo>
                <a:cubicBezTo>
                  <a:pt x="417526" y="3152063"/>
                  <a:pt x="416132" y="3152689"/>
                  <a:pt x="414978" y="3153651"/>
                </a:cubicBezTo>
                <a:lnTo>
                  <a:pt x="411564" y="3156490"/>
                </a:lnTo>
                <a:cubicBezTo>
                  <a:pt x="402716" y="3164286"/>
                  <a:pt x="396994" y="3174391"/>
                  <a:pt x="392954" y="3184640"/>
                </a:cubicBezTo>
                <a:cubicBezTo>
                  <a:pt x="388915" y="3194986"/>
                  <a:pt x="386511" y="3205717"/>
                  <a:pt x="384972" y="3216448"/>
                </a:cubicBezTo>
                <a:cubicBezTo>
                  <a:pt x="383578" y="3227227"/>
                  <a:pt x="383193" y="3238054"/>
                  <a:pt x="383482" y="3248881"/>
                </a:cubicBezTo>
                <a:cubicBezTo>
                  <a:pt x="385261" y="3292045"/>
                  <a:pt x="398196" y="3334150"/>
                  <a:pt x="418825" y="3371732"/>
                </a:cubicBezTo>
                <a:cubicBezTo>
                  <a:pt x="429163" y="3390546"/>
                  <a:pt x="441425" y="3408303"/>
                  <a:pt x="455274" y="3424664"/>
                </a:cubicBezTo>
                <a:cubicBezTo>
                  <a:pt x="469170" y="3441025"/>
                  <a:pt x="484654" y="3455942"/>
                  <a:pt x="501340" y="3469416"/>
                </a:cubicBezTo>
                <a:cubicBezTo>
                  <a:pt x="517930" y="3482889"/>
                  <a:pt x="535914" y="3494919"/>
                  <a:pt x="554282" y="3505506"/>
                </a:cubicBezTo>
                <a:cubicBezTo>
                  <a:pt x="564284" y="3511376"/>
                  <a:pt x="574334" y="3517103"/>
                  <a:pt x="584432" y="3522733"/>
                </a:cubicBezTo>
                <a:cubicBezTo>
                  <a:pt x="572940" y="3517103"/>
                  <a:pt x="561159" y="3511521"/>
                  <a:pt x="549185" y="3505650"/>
                </a:cubicBezTo>
                <a:cubicBezTo>
                  <a:pt x="535673" y="3499106"/>
                  <a:pt x="522257" y="3491743"/>
                  <a:pt x="508889" y="3483611"/>
                </a:cubicBezTo>
                <a:close/>
                <a:moveTo>
                  <a:pt x="477634" y="3424616"/>
                </a:moveTo>
                <a:cubicBezTo>
                  <a:pt x="501388" y="3444826"/>
                  <a:pt x="527691" y="3461091"/>
                  <a:pt x="553994" y="3476826"/>
                </a:cubicBezTo>
                <a:cubicBezTo>
                  <a:pt x="580345" y="3492513"/>
                  <a:pt x="606936" y="3507527"/>
                  <a:pt x="632326" y="3524224"/>
                </a:cubicBezTo>
                <a:cubicBezTo>
                  <a:pt x="657763" y="3540826"/>
                  <a:pt x="682094" y="3559063"/>
                  <a:pt x="703733" y="3580140"/>
                </a:cubicBezTo>
                <a:cubicBezTo>
                  <a:pt x="714697" y="3590534"/>
                  <a:pt x="724650" y="3601890"/>
                  <a:pt x="734123" y="3613632"/>
                </a:cubicBezTo>
                <a:cubicBezTo>
                  <a:pt x="738692" y="3619647"/>
                  <a:pt x="743356" y="3625565"/>
                  <a:pt x="747443" y="3631869"/>
                </a:cubicBezTo>
                <a:cubicBezTo>
                  <a:pt x="751819" y="3638029"/>
                  <a:pt x="755666" y="3644525"/>
                  <a:pt x="759561" y="3650973"/>
                </a:cubicBezTo>
                <a:cubicBezTo>
                  <a:pt x="772015" y="3672386"/>
                  <a:pt x="782546" y="3695147"/>
                  <a:pt x="788556" y="3718871"/>
                </a:cubicBezTo>
                <a:cubicBezTo>
                  <a:pt x="791490" y="3730708"/>
                  <a:pt x="793077" y="3742834"/>
                  <a:pt x="792403" y="3754768"/>
                </a:cubicBezTo>
                <a:cubicBezTo>
                  <a:pt x="791730" y="3766702"/>
                  <a:pt x="788941" y="3778395"/>
                  <a:pt x="783700" y="3789126"/>
                </a:cubicBezTo>
                <a:cubicBezTo>
                  <a:pt x="778603" y="3799905"/>
                  <a:pt x="771342" y="3809769"/>
                  <a:pt x="763408" y="3819297"/>
                </a:cubicBezTo>
                <a:cubicBezTo>
                  <a:pt x="755522" y="3828921"/>
                  <a:pt x="746722" y="3838160"/>
                  <a:pt x="739701" y="3849661"/>
                </a:cubicBezTo>
                <a:cubicBezTo>
                  <a:pt x="736239" y="3855387"/>
                  <a:pt x="733306" y="3861739"/>
                  <a:pt x="731863" y="3868669"/>
                </a:cubicBezTo>
                <a:cubicBezTo>
                  <a:pt x="730325" y="3875598"/>
                  <a:pt x="730469" y="3882720"/>
                  <a:pt x="732056" y="3889745"/>
                </a:cubicBezTo>
                <a:cubicBezTo>
                  <a:pt x="732825" y="3892777"/>
                  <a:pt x="733835" y="3895712"/>
                  <a:pt x="734941" y="3898503"/>
                </a:cubicBezTo>
                <a:lnTo>
                  <a:pt x="711908" y="3877234"/>
                </a:lnTo>
                <a:cubicBezTo>
                  <a:pt x="709984" y="3872085"/>
                  <a:pt x="707868" y="3867273"/>
                  <a:pt x="706282" y="3862557"/>
                </a:cubicBezTo>
                <a:cubicBezTo>
                  <a:pt x="705464" y="3860199"/>
                  <a:pt x="704791" y="3857889"/>
                  <a:pt x="704551" y="3855869"/>
                </a:cubicBezTo>
                <a:cubicBezTo>
                  <a:pt x="704310" y="3853655"/>
                  <a:pt x="704406" y="3852981"/>
                  <a:pt x="705176" y="3851730"/>
                </a:cubicBezTo>
                <a:cubicBezTo>
                  <a:pt x="705320" y="3851153"/>
                  <a:pt x="706282" y="3850479"/>
                  <a:pt x="706763" y="3849805"/>
                </a:cubicBezTo>
                <a:cubicBezTo>
                  <a:pt x="707628" y="3849180"/>
                  <a:pt x="708301" y="3848458"/>
                  <a:pt x="709311" y="3847833"/>
                </a:cubicBezTo>
                <a:cubicBezTo>
                  <a:pt x="711186" y="3846533"/>
                  <a:pt x="713350" y="3845282"/>
                  <a:pt x="715610" y="3844031"/>
                </a:cubicBezTo>
                <a:cubicBezTo>
                  <a:pt x="720130" y="3841529"/>
                  <a:pt x="724987" y="3839075"/>
                  <a:pt x="729699" y="3836139"/>
                </a:cubicBezTo>
                <a:cubicBezTo>
                  <a:pt x="734412" y="3833204"/>
                  <a:pt x="739028" y="3829836"/>
                  <a:pt x="743212" y="3825890"/>
                </a:cubicBezTo>
                <a:cubicBezTo>
                  <a:pt x="747347" y="3821848"/>
                  <a:pt x="751001" y="3817276"/>
                  <a:pt x="753935" y="3812223"/>
                </a:cubicBezTo>
                <a:cubicBezTo>
                  <a:pt x="756483" y="3807989"/>
                  <a:pt x="759465" y="3803177"/>
                  <a:pt x="762013" y="3798365"/>
                </a:cubicBezTo>
                <a:cubicBezTo>
                  <a:pt x="764562" y="3793505"/>
                  <a:pt x="766870" y="3788452"/>
                  <a:pt x="768841" y="3783255"/>
                </a:cubicBezTo>
                <a:cubicBezTo>
                  <a:pt x="776824" y="3762563"/>
                  <a:pt x="778410" y="3739755"/>
                  <a:pt x="775333" y="3718052"/>
                </a:cubicBezTo>
                <a:cubicBezTo>
                  <a:pt x="772255" y="3696254"/>
                  <a:pt x="764321" y="3675658"/>
                  <a:pt x="754175" y="3656603"/>
                </a:cubicBezTo>
                <a:lnTo>
                  <a:pt x="750424" y="3649433"/>
                </a:lnTo>
                <a:cubicBezTo>
                  <a:pt x="749078" y="3647075"/>
                  <a:pt x="747587" y="3644862"/>
                  <a:pt x="746193" y="3642552"/>
                </a:cubicBezTo>
                <a:cubicBezTo>
                  <a:pt x="743308" y="3637981"/>
                  <a:pt x="740519" y="3633361"/>
                  <a:pt x="737586" y="3628886"/>
                </a:cubicBezTo>
                <a:cubicBezTo>
                  <a:pt x="734412" y="3624507"/>
                  <a:pt x="731382" y="3620080"/>
                  <a:pt x="728113" y="3615797"/>
                </a:cubicBezTo>
                <a:cubicBezTo>
                  <a:pt x="724699" y="3611611"/>
                  <a:pt x="721429" y="3607328"/>
                  <a:pt x="717822" y="3603286"/>
                </a:cubicBezTo>
                <a:cubicBezTo>
                  <a:pt x="703589" y="3587021"/>
                  <a:pt x="687047" y="3572778"/>
                  <a:pt x="669448" y="3560555"/>
                </a:cubicBezTo>
                <a:cubicBezTo>
                  <a:pt x="651800" y="3548236"/>
                  <a:pt x="633191" y="3537890"/>
                  <a:pt x="614726" y="3527593"/>
                </a:cubicBezTo>
                <a:cubicBezTo>
                  <a:pt x="596213" y="3517343"/>
                  <a:pt x="577748" y="3507238"/>
                  <a:pt x="559668" y="3496555"/>
                </a:cubicBezTo>
                <a:cubicBezTo>
                  <a:pt x="541395" y="3486017"/>
                  <a:pt x="524229" y="3474516"/>
                  <a:pt x="508024" y="3461380"/>
                </a:cubicBezTo>
                <a:cubicBezTo>
                  <a:pt x="491867" y="3448291"/>
                  <a:pt x="476864" y="3433855"/>
                  <a:pt x="463400" y="3418023"/>
                </a:cubicBezTo>
                <a:cubicBezTo>
                  <a:pt x="451571" y="3404020"/>
                  <a:pt x="441040" y="3389007"/>
                  <a:pt x="431856" y="3373175"/>
                </a:cubicBezTo>
                <a:cubicBezTo>
                  <a:pt x="435799" y="3379527"/>
                  <a:pt x="440127" y="3385638"/>
                  <a:pt x="444743" y="3391461"/>
                </a:cubicBezTo>
                <a:cubicBezTo>
                  <a:pt x="454504" y="3403732"/>
                  <a:pt x="465756" y="3414703"/>
                  <a:pt x="477586" y="3424808"/>
                </a:cubicBezTo>
                <a:close/>
                <a:moveTo>
                  <a:pt x="391752" y="2381322"/>
                </a:moveTo>
                <a:cubicBezTo>
                  <a:pt x="392137" y="2411783"/>
                  <a:pt x="395166" y="2442050"/>
                  <a:pt x="400167" y="2471885"/>
                </a:cubicBezTo>
                <a:cubicBezTo>
                  <a:pt x="397619" y="2458219"/>
                  <a:pt x="395455" y="2444456"/>
                  <a:pt x="393916" y="2430646"/>
                </a:cubicBezTo>
                <a:cubicBezTo>
                  <a:pt x="386848" y="2371073"/>
                  <a:pt x="389733" y="2310538"/>
                  <a:pt x="405216" y="2252649"/>
                </a:cubicBezTo>
                <a:cubicBezTo>
                  <a:pt x="395070" y="2294803"/>
                  <a:pt x="390598" y="2338255"/>
                  <a:pt x="391752" y="2381322"/>
                </a:cubicBezTo>
                <a:close/>
                <a:moveTo>
                  <a:pt x="2131064" y="4446255"/>
                </a:moveTo>
                <a:cubicBezTo>
                  <a:pt x="2149000" y="4444523"/>
                  <a:pt x="2167081" y="4442020"/>
                  <a:pt x="2185161" y="4438267"/>
                </a:cubicBezTo>
                <a:cubicBezTo>
                  <a:pt x="2194201" y="4436294"/>
                  <a:pt x="2203241" y="4434081"/>
                  <a:pt x="2212185" y="4431145"/>
                </a:cubicBezTo>
                <a:cubicBezTo>
                  <a:pt x="2221129" y="4428210"/>
                  <a:pt x="2229833" y="4424601"/>
                  <a:pt x="2238440" y="4420655"/>
                </a:cubicBezTo>
                <a:cubicBezTo>
                  <a:pt x="2255607" y="4412715"/>
                  <a:pt x="2272196" y="4403187"/>
                  <a:pt x="2288305" y="4392601"/>
                </a:cubicBezTo>
                <a:cubicBezTo>
                  <a:pt x="2304414" y="4382015"/>
                  <a:pt x="2319994" y="4370225"/>
                  <a:pt x="2334708" y="4357184"/>
                </a:cubicBezTo>
                <a:cubicBezTo>
                  <a:pt x="2349374" y="4344096"/>
                  <a:pt x="2363559" y="4329900"/>
                  <a:pt x="2375677" y="4313732"/>
                </a:cubicBezTo>
                <a:cubicBezTo>
                  <a:pt x="2381832" y="4305696"/>
                  <a:pt x="2387266" y="4297082"/>
                  <a:pt x="2392122" y="4288036"/>
                </a:cubicBezTo>
                <a:cubicBezTo>
                  <a:pt x="2396739" y="4278845"/>
                  <a:pt x="2400585" y="4269173"/>
                  <a:pt x="2402845" y="4258875"/>
                </a:cubicBezTo>
                <a:cubicBezTo>
                  <a:pt x="2404961" y="4248577"/>
                  <a:pt x="2405154" y="4237702"/>
                  <a:pt x="2402653" y="4227260"/>
                </a:cubicBezTo>
                <a:cubicBezTo>
                  <a:pt x="2400153" y="4216866"/>
                  <a:pt x="2395200" y="4206857"/>
                  <a:pt x="2388083" y="4198821"/>
                </a:cubicBezTo>
                <a:cubicBezTo>
                  <a:pt x="2380918" y="4190785"/>
                  <a:pt x="2373225" y="4183519"/>
                  <a:pt x="2363271" y="4178274"/>
                </a:cubicBezTo>
                <a:cubicBezTo>
                  <a:pt x="2353365" y="4173654"/>
                  <a:pt x="2343171" y="4170719"/>
                  <a:pt x="2332881" y="4167976"/>
                </a:cubicBezTo>
                <a:cubicBezTo>
                  <a:pt x="2291767" y="4157341"/>
                  <a:pt x="2249259" y="4150412"/>
                  <a:pt x="2206751" y="4140355"/>
                </a:cubicBezTo>
                <a:cubicBezTo>
                  <a:pt x="2196173" y="4137708"/>
                  <a:pt x="2185546" y="4135158"/>
                  <a:pt x="2175255" y="4131645"/>
                </a:cubicBezTo>
                <a:cubicBezTo>
                  <a:pt x="2170014" y="4130009"/>
                  <a:pt x="2165109" y="4127988"/>
                  <a:pt x="2160204" y="4125678"/>
                </a:cubicBezTo>
                <a:cubicBezTo>
                  <a:pt x="2155396" y="4123080"/>
                  <a:pt x="2150587" y="4120529"/>
                  <a:pt x="2145779" y="4117931"/>
                </a:cubicBezTo>
                <a:cubicBezTo>
                  <a:pt x="2126977" y="4106575"/>
                  <a:pt x="2110291" y="4091657"/>
                  <a:pt x="2094615" y="4075537"/>
                </a:cubicBezTo>
                <a:cubicBezTo>
                  <a:pt x="2078891" y="4059417"/>
                  <a:pt x="2063985" y="4042045"/>
                  <a:pt x="2047587" y="4025685"/>
                </a:cubicBezTo>
                <a:cubicBezTo>
                  <a:pt x="2031286" y="4009276"/>
                  <a:pt x="2013302" y="3993877"/>
                  <a:pt x="1992962" y="3981607"/>
                </a:cubicBezTo>
                <a:cubicBezTo>
                  <a:pt x="1972718" y="3969384"/>
                  <a:pt x="1950358" y="3959952"/>
                  <a:pt x="1926844" y="3954755"/>
                </a:cubicBezTo>
                <a:cubicBezTo>
                  <a:pt x="1903522" y="3949222"/>
                  <a:pt x="1879768" y="3945516"/>
                  <a:pt x="1855581" y="3943303"/>
                </a:cubicBezTo>
                <a:cubicBezTo>
                  <a:pt x="1831394" y="3941186"/>
                  <a:pt x="1806774" y="3941138"/>
                  <a:pt x="1782202" y="3943832"/>
                </a:cubicBezTo>
                <a:cubicBezTo>
                  <a:pt x="1757630" y="3946383"/>
                  <a:pt x="1733202" y="3951820"/>
                  <a:pt x="1709400" y="3959423"/>
                </a:cubicBezTo>
                <a:cubicBezTo>
                  <a:pt x="1685549" y="3966882"/>
                  <a:pt x="1662276" y="3976217"/>
                  <a:pt x="1638521" y="3983964"/>
                </a:cubicBezTo>
                <a:cubicBezTo>
                  <a:pt x="1614767" y="3991616"/>
                  <a:pt x="1590195" y="3997246"/>
                  <a:pt x="1564998" y="3997871"/>
                </a:cubicBezTo>
                <a:cubicBezTo>
                  <a:pt x="1539849" y="3998785"/>
                  <a:pt x="1514508" y="3995128"/>
                  <a:pt x="1489744" y="3988728"/>
                </a:cubicBezTo>
                <a:cubicBezTo>
                  <a:pt x="1464932" y="3982232"/>
                  <a:pt x="1440360" y="3974003"/>
                  <a:pt x="1418913" y="3959616"/>
                </a:cubicBezTo>
                <a:cubicBezTo>
                  <a:pt x="1413384" y="3956295"/>
                  <a:pt x="1408431" y="3952157"/>
                  <a:pt x="1403286" y="3948356"/>
                </a:cubicBezTo>
                <a:cubicBezTo>
                  <a:pt x="1398477" y="3944073"/>
                  <a:pt x="1393476" y="3939935"/>
                  <a:pt x="1389100" y="3935219"/>
                </a:cubicBezTo>
                <a:cubicBezTo>
                  <a:pt x="1380060" y="3925980"/>
                  <a:pt x="1371886" y="3915778"/>
                  <a:pt x="1364865" y="3904759"/>
                </a:cubicBezTo>
                <a:cubicBezTo>
                  <a:pt x="1357748" y="3893787"/>
                  <a:pt x="1351497" y="3882190"/>
                  <a:pt x="1345919" y="3870209"/>
                </a:cubicBezTo>
                <a:cubicBezTo>
                  <a:pt x="1340389" y="3858178"/>
                  <a:pt x="1335485" y="3845812"/>
                  <a:pt x="1330820" y="3833252"/>
                </a:cubicBezTo>
                <a:cubicBezTo>
                  <a:pt x="1321492" y="3808133"/>
                  <a:pt x="1313461" y="3782245"/>
                  <a:pt x="1303075" y="3756789"/>
                </a:cubicBezTo>
                <a:cubicBezTo>
                  <a:pt x="1292688" y="3731526"/>
                  <a:pt x="1279417" y="3706022"/>
                  <a:pt x="1258307" y="3686726"/>
                </a:cubicBezTo>
                <a:cubicBezTo>
                  <a:pt x="1247824" y="3677054"/>
                  <a:pt x="1235370" y="3669788"/>
                  <a:pt x="1222627" y="3663773"/>
                </a:cubicBezTo>
                <a:cubicBezTo>
                  <a:pt x="1209740" y="3657854"/>
                  <a:pt x="1196324" y="3653620"/>
                  <a:pt x="1182812" y="3649626"/>
                </a:cubicBezTo>
                <a:cubicBezTo>
                  <a:pt x="1155740" y="3642071"/>
                  <a:pt x="1128235" y="3636633"/>
                  <a:pt x="1101210" y="3629126"/>
                </a:cubicBezTo>
                <a:cubicBezTo>
                  <a:pt x="1074186" y="3621860"/>
                  <a:pt x="1047643" y="3612092"/>
                  <a:pt x="1023504" y="3597848"/>
                </a:cubicBezTo>
                <a:cubicBezTo>
                  <a:pt x="999269" y="3583316"/>
                  <a:pt x="975995" y="3566666"/>
                  <a:pt x="954885" y="3547467"/>
                </a:cubicBezTo>
                <a:lnTo>
                  <a:pt x="946999" y="3540200"/>
                </a:lnTo>
                <a:lnTo>
                  <a:pt x="939450" y="3532597"/>
                </a:lnTo>
                <a:cubicBezTo>
                  <a:pt x="934305" y="3527641"/>
                  <a:pt x="929784" y="3522107"/>
                  <a:pt x="924976" y="3516814"/>
                </a:cubicBezTo>
                <a:cubicBezTo>
                  <a:pt x="915888" y="3505794"/>
                  <a:pt x="907232" y="3494294"/>
                  <a:pt x="899875" y="3481975"/>
                </a:cubicBezTo>
                <a:cubicBezTo>
                  <a:pt x="892518" y="3469656"/>
                  <a:pt x="886171" y="3456712"/>
                  <a:pt x="881074" y="3443238"/>
                </a:cubicBezTo>
                <a:cubicBezTo>
                  <a:pt x="876025" y="3429765"/>
                  <a:pt x="872418" y="3415714"/>
                  <a:pt x="870110" y="3401422"/>
                </a:cubicBezTo>
                <a:cubicBezTo>
                  <a:pt x="865494" y="3372838"/>
                  <a:pt x="866696" y="3343245"/>
                  <a:pt x="872707" y="3314517"/>
                </a:cubicBezTo>
                <a:cubicBezTo>
                  <a:pt x="878717" y="3285741"/>
                  <a:pt x="889296" y="3257831"/>
                  <a:pt x="902953" y="3231413"/>
                </a:cubicBezTo>
                <a:cubicBezTo>
                  <a:pt x="930746" y="3177519"/>
                  <a:pt x="951615" y="3120063"/>
                  <a:pt x="971283" y="3061838"/>
                </a:cubicBezTo>
                <a:cubicBezTo>
                  <a:pt x="976380" y="3047306"/>
                  <a:pt x="980515" y="3032196"/>
                  <a:pt x="984362" y="3017279"/>
                </a:cubicBezTo>
                <a:cubicBezTo>
                  <a:pt x="988161" y="3002313"/>
                  <a:pt x="991959" y="2987300"/>
                  <a:pt x="995758" y="2972286"/>
                </a:cubicBezTo>
                <a:cubicBezTo>
                  <a:pt x="1003308" y="2942259"/>
                  <a:pt x="1011001" y="2912088"/>
                  <a:pt x="1019417" y="2882061"/>
                </a:cubicBezTo>
                <a:cubicBezTo>
                  <a:pt x="1027832" y="2851986"/>
                  <a:pt x="1036920" y="2822007"/>
                  <a:pt x="1047354" y="2792317"/>
                </a:cubicBezTo>
                <a:cubicBezTo>
                  <a:pt x="1057789" y="2762675"/>
                  <a:pt x="1069570" y="2733322"/>
                  <a:pt x="1084236" y="2705412"/>
                </a:cubicBezTo>
                <a:cubicBezTo>
                  <a:pt x="1091641" y="2691505"/>
                  <a:pt x="1099768" y="2677935"/>
                  <a:pt x="1109289" y="2665520"/>
                </a:cubicBezTo>
                <a:cubicBezTo>
                  <a:pt x="1118762" y="2653105"/>
                  <a:pt x="1129773" y="2641701"/>
                  <a:pt x="1142901" y="2633953"/>
                </a:cubicBezTo>
                <a:cubicBezTo>
                  <a:pt x="1149441" y="2630104"/>
                  <a:pt x="1156509" y="2627313"/>
                  <a:pt x="1163866" y="2626158"/>
                </a:cubicBezTo>
                <a:cubicBezTo>
                  <a:pt x="1171127" y="2624810"/>
                  <a:pt x="1178869" y="2625821"/>
                  <a:pt x="1186467" y="2626687"/>
                </a:cubicBezTo>
                <a:cubicBezTo>
                  <a:pt x="1201806" y="2628997"/>
                  <a:pt x="1216424" y="2635445"/>
                  <a:pt x="1230465" y="2642759"/>
                </a:cubicBezTo>
                <a:cubicBezTo>
                  <a:pt x="1258547" y="2657773"/>
                  <a:pt x="1283889" y="2678224"/>
                  <a:pt x="1308653" y="2699252"/>
                </a:cubicBezTo>
                <a:cubicBezTo>
                  <a:pt x="1333369" y="2720425"/>
                  <a:pt x="1357364" y="2742753"/>
                  <a:pt x="1381695" y="2765033"/>
                </a:cubicBezTo>
                <a:cubicBezTo>
                  <a:pt x="1430358" y="2809400"/>
                  <a:pt x="1480175" y="2854344"/>
                  <a:pt x="1537782" y="2889953"/>
                </a:cubicBezTo>
                <a:cubicBezTo>
                  <a:pt x="1566489" y="2907709"/>
                  <a:pt x="1597504" y="2922578"/>
                  <a:pt x="1630635" y="2931673"/>
                </a:cubicBezTo>
                <a:cubicBezTo>
                  <a:pt x="1663670" y="2940816"/>
                  <a:pt x="1698869" y="2943847"/>
                  <a:pt x="1733347" y="2937399"/>
                </a:cubicBezTo>
                <a:cubicBezTo>
                  <a:pt x="1750706" y="2933935"/>
                  <a:pt x="1767151" y="2926572"/>
                  <a:pt x="1781721" y="2916756"/>
                </a:cubicBezTo>
                <a:cubicBezTo>
                  <a:pt x="1796291" y="2906891"/>
                  <a:pt x="1809130" y="2894813"/>
                  <a:pt x="1820622" y="2881724"/>
                </a:cubicBezTo>
                <a:cubicBezTo>
                  <a:pt x="1843655" y="2855451"/>
                  <a:pt x="1861351" y="2825183"/>
                  <a:pt x="1877027" y="2794193"/>
                </a:cubicBezTo>
                <a:cubicBezTo>
                  <a:pt x="1907802" y="2731734"/>
                  <a:pt x="1929729" y="2665135"/>
                  <a:pt x="1949012" y="2597671"/>
                </a:cubicBezTo>
                <a:cubicBezTo>
                  <a:pt x="1968101" y="2530158"/>
                  <a:pt x="1984499" y="2461202"/>
                  <a:pt x="1996953" y="2391139"/>
                </a:cubicBezTo>
                <a:cubicBezTo>
                  <a:pt x="2009792" y="2321124"/>
                  <a:pt x="2019986" y="2250291"/>
                  <a:pt x="2030854" y="2179170"/>
                </a:cubicBezTo>
                <a:cubicBezTo>
                  <a:pt x="2036335" y="2143609"/>
                  <a:pt x="2042106" y="2108000"/>
                  <a:pt x="2048597" y="2072439"/>
                </a:cubicBezTo>
                <a:cubicBezTo>
                  <a:pt x="2055233" y="2036926"/>
                  <a:pt x="2062734" y="2001462"/>
                  <a:pt x="2072015" y="1966382"/>
                </a:cubicBezTo>
                <a:cubicBezTo>
                  <a:pt x="2081199" y="1931303"/>
                  <a:pt x="2092596" y="1896656"/>
                  <a:pt x="2107214" y="1863405"/>
                </a:cubicBezTo>
                <a:cubicBezTo>
                  <a:pt x="2121880" y="1830202"/>
                  <a:pt x="2140056" y="1798347"/>
                  <a:pt x="2163138" y="1770293"/>
                </a:cubicBezTo>
                <a:cubicBezTo>
                  <a:pt x="2186123" y="1742190"/>
                  <a:pt x="2214253" y="1718227"/>
                  <a:pt x="2246038" y="1700326"/>
                </a:cubicBezTo>
                <a:cubicBezTo>
                  <a:pt x="2277774" y="1682329"/>
                  <a:pt x="2312877" y="1670347"/>
                  <a:pt x="2348941" y="1662792"/>
                </a:cubicBezTo>
                <a:lnTo>
                  <a:pt x="2376206" y="1657980"/>
                </a:lnTo>
                <a:cubicBezTo>
                  <a:pt x="2385390" y="1656825"/>
                  <a:pt x="2394623" y="1656055"/>
                  <a:pt x="2403807" y="1655045"/>
                </a:cubicBezTo>
                <a:cubicBezTo>
                  <a:pt x="2422224" y="1652928"/>
                  <a:pt x="2440689" y="1652831"/>
                  <a:pt x="2459250" y="1653698"/>
                </a:cubicBezTo>
                <a:cubicBezTo>
                  <a:pt x="2496324" y="1655382"/>
                  <a:pt x="2533302" y="1661685"/>
                  <a:pt x="2569896" y="1669962"/>
                </a:cubicBezTo>
                <a:cubicBezTo>
                  <a:pt x="2643226" y="1686467"/>
                  <a:pt x="2714874" y="1711634"/>
                  <a:pt x="2789311" y="1730112"/>
                </a:cubicBezTo>
                <a:cubicBezTo>
                  <a:pt x="2826481" y="1739159"/>
                  <a:pt x="2864662" y="1746618"/>
                  <a:pt x="2903803" y="1746473"/>
                </a:cubicBezTo>
                <a:cubicBezTo>
                  <a:pt x="2923374" y="1746281"/>
                  <a:pt x="2942993" y="1744067"/>
                  <a:pt x="2962180" y="1737908"/>
                </a:cubicBezTo>
                <a:cubicBezTo>
                  <a:pt x="2981173" y="1731315"/>
                  <a:pt x="2998340" y="1719863"/>
                  <a:pt x="3012189" y="1705571"/>
                </a:cubicBezTo>
                <a:cubicBezTo>
                  <a:pt x="3026182" y="1691376"/>
                  <a:pt x="3037290" y="1674726"/>
                  <a:pt x="3046426" y="1657258"/>
                </a:cubicBezTo>
                <a:cubicBezTo>
                  <a:pt x="3055466" y="1639743"/>
                  <a:pt x="3062631" y="1621361"/>
                  <a:pt x="3068401" y="1602594"/>
                </a:cubicBezTo>
                <a:cubicBezTo>
                  <a:pt x="3079894" y="1565060"/>
                  <a:pt x="3086241" y="1526179"/>
                  <a:pt x="3089655" y="1487106"/>
                </a:cubicBezTo>
                <a:cubicBezTo>
                  <a:pt x="3093069" y="1448032"/>
                  <a:pt x="3093310" y="1408670"/>
                  <a:pt x="3091146" y="1369355"/>
                </a:cubicBezTo>
                <a:cubicBezTo>
                  <a:pt x="3088934" y="1330089"/>
                  <a:pt x="3084318" y="1290823"/>
                  <a:pt x="3077008" y="1251942"/>
                </a:cubicBezTo>
                <a:cubicBezTo>
                  <a:pt x="3069603" y="1213109"/>
                  <a:pt x="3059746" y="1174517"/>
                  <a:pt x="3045753" y="1137176"/>
                </a:cubicBezTo>
                <a:cubicBezTo>
                  <a:pt x="3038829" y="1118505"/>
                  <a:pt x="3030702" y="1100171"/>
                  <a:pt x="3021229" y="1082463"/>
                </a:cubicBezTo>
                <a:cubicBezTo>
                  <a:pt x="3016372" y="1073657"/>
                  <a:pt x="3011323" y="1064947"/>
                  <a:pt x="3005649" y="1056574"/>
                </a:cubicBezTo>
                <a:cubicBezTo>
                  <a:pt x="2999494" y="1048009"/>
                  <a:pt x="2992185" y="1040454"/>
                  <a:pt x="2984491" y="1033958"/>
                </a:cubicBezTo>
                <a:cubicBezTo>
                  <a:pt x="2969104" y="1020773"/>
                  <a:pt x="2952610" y="1009272"/>
                  <a:pt x="2935636" y="998638"/>
                </a:cubicBezTo>
                <a:cubicBezTo>
                  <a:pt x="2918710" y="987955"/>
                  <a:pt x="2901447" y="977850"/>
                  <a:pt x="2883896" y="968274"/>
                </a:cubicBezTo>
                <a:cubicBezTo>
                  <a:pt x="2848841" y="949026"/>
                  <a:pt x="2812969" y="931269"/>
                  <a:pt x="2776616" y="914379"/>
                </a:cubicBezTo>
                <a:cubicBezTo>
                  <a:pt x="2703814" y="880840"/>
                  <a:pt x="2629089" y="850668"/>
                  <a:pt x="2552440" y="824876"/>
                </a:cubicBezTo>
                <a:cubicBezTo>
                  <a:pt x="2514116" y="812028"/>
                  <a:pt x="2475263" y="800335"/>
                  <a:pt x="2435640" y="790903"/>
                </a:cubicBezTo>
                <a:cubicBezTo>
                  <a:pt x="2415780" y="786428"/>
                  <a:pt x="2395825" y="782049"/>
                  <a:pt x="2375437" y="779450"/>
                </a:cubicBezTo>
                <a:cubicBezTo>
                  <a:pt x="2355144" y="776852"/>
                  <a:pt x="2334275" y="775023"/>
                  <a:pt x="2313406" y="777718"/>
                </a:cubicBezTo>
                <a:cubicBezTo>
                  <a:pt x="2292681" y="780365"/>
                  <a:pt x="2272629" y="785850"/>
                  <a:pt x="2253250" y="792683"/>
                </a:cubicBezTo>
                <a:lnTo>
                  <a:pt x="2245941" y="795186"/>
                </a:lnTo>
                <a:lnTo>
                  <a:pt x="2238729" y="797977"/>
                </a:lnTo>
                <a:lnTo>
                  <a:pt x="2224351" y="803559"/>
                </a:lnTo>
                <a:cubicBezTo>
                  <a:pt x="2214974" y="807745"/>
                  <a:pt x="2205357" y="811498"/>
                  <a:pt x="2196173" y="815974"/>
                </a:cubicBezTo>
                <a:cubicBezTo>
                  <a:pt x="2158954" y="833297"/>
                  <a:pt x="2122938" y="853219"/>
                  <a:pt x="2087835" y="874536"/>
                </a:cubicBezTo>
                <a:cubicBezTo>
                  <a:pt x="2017630" y="917363"/>
                  <a:pt x="1950646" y="965627"/>
                  <a:pt x="1886692" y="1018174"/>
                </a:cubicBezTo>
                <a:cubicBezTo>
                  <a:pt x="1854763" y="1044496"/>
                  <a:pt x="1823652" y="1071925"/>
                  <a:pt x="1793839" y="1100893"/>
                </a:cubicBezTo>
                <a:cubicBezTo>
                  <a:pt x="1764073" y="1129861"/>
                  <a:pt x="1735318" y="1160225"/>
                  <a:pt x="1709833" y="1193572"/>
                </a:cubicBezTo>
                <a:cubicBezTo>
                  <a:pt x="1697186" y="1210270"/>
                  <a:pt x="1685020" y="1227545"/>
                  <a:pt x="1675307" y="1246553"/>
                </a:cubicBezTo>
                <a:cubicBezTo>
                  <a:pt x="1670547" y="1255984"/>
                  <a:pt x="1666603" y="1265801"/>
                  <a:pt x="1662228" y="1275425"/>
                </a:cubicBezTo>
                <a:cubicBezTo>
                  <a:pt x="1658381" y="1285241"/>
                  <a:pt x="1655207" y="1295347"/>
                  <a:pt x="1651697" y="1305308"/>
                </a:cubicBezTo>
                <a:cubicBezTo>
                  <a:pt x="1639339" y="1345825"/>
                  <a:pt x="1634386" y="1388074"/>
                  <a:pt x="1632270" y="1430035"/>
                </a:cubicBezTo>
                <a:cubicBezTo>
                  <a:pt x="1630202" y="1472044"/>
                  <a:pt x="1630876" y="1514005"/>
                  <a:pt x="1630539" y="1555869"/>
                </a:cubicBezTo>
                <a:cubicBezTo>
                  <a:pt x="1630251" y="1597734"/>
                  <a:pt x="1629048" y="1639598"/>
                  <a:pt x="1624528" y="1681174"/>
                </a:cubicBezTo>
                <a:cubicBezTo>
                  <a:pt x="1622797" y="1694840"/>
                  <a:pt x="1621162" y="1708554"/>
                  <a:pt x="1618999" y="1722124"/>
                </a:cubicBezTo>
                <a:lnTo>
                  <a:pt x="1615344" y="1742431"/>
                </a:lnTo>
                <a:cubicBezTo>
                  <a:pt x="1614094" y="1749216"/>
                  <a:pt x="1613132" y="1756049"/>
                  <a:pt x="1611161" y="1762160"/>
                </a:cubicBezTo>
                <a:cubicBezTo>
                  <a:pt x="1607314" y="1774768"/>
                  <a:pt x="1601255" y="1787038"/>
                  <a:pt x="1594715" y="1798972"/>
                </a:cubicBezTo>
                <a:cubicBezTo>
                  <a:pt x="1588079" y="1810858"/>
                  <a:pt x="1580770" y="1822455"/>
                  <a:pt x="1573077" y="1833763"/>
                </a:cubicBezTo>
                <a:cubicBezTo>
                  <a:pt x="1542109" y="1879044"/>
                  <a:pt x="1506285" y="1920957"/>
                  <a:pt x="1468971" y="1961089"/>
                </a:cubicBezTo>
                <a:cubicBezTo>
                  <a:pt x="1431464" y="2001125"/>
                  <a:pt x="1392033" y="2039188"/>
                  <a:pt x="1350535" y="2074605"/>
                </a:cubicBezTo>
                <a:cubicBezTo>
                  <a:pt x="1329762" y="2092265"/>
                  <a:pt x="1308460" y="2109299"/>
                  <a:pt x="1286389" y="2125083"/>
                </a:cubicBezTo>
                <a:cubicBezTo>
                  <a:pt x="1264269" y="2140770"/>
                  <a:pt x="1241477" y="2155591"/>
                  <a:pt x="1217242" y="2166899"/>
                </a:cubicBezTo>
                <a:cubicBezTo>
                  <a:pt x="1205172" y="2172529"/>
                  <a:pt x="1192622" y="2177245"/>
                  <a:pt x="1179975" y="2179410"/>
                </a:cubicBezTo>
                <a:cubicBezTo>
                  <a:pt x="1173676" y="2180469"/>
                  <a:pt x="1167328" y="2180710"/>
                  <a:pt x="1161510" y="2179603"/>
                </a:cubicBezTo>
                <a:cubicBezTo>
                  <a:pt x="1158529" y="2178785"/>
                  <a:pt x="1155451" y="2178015"/>
                  <a:pt x="1152470" y="2177052"/>
                </a:cubicBezTo>
                <a:cubicBezTo>
                  <a:pt x="1149633" y="2175705"/>
                  <a:pt x="1146604" y="2174791"/>
                  <a:pt x="1143863" y="2173203"/>
                </a:cubicBezTo>
                <a:cubicBezTo>
                  <a:pt x="1132755" y="2167236"/>
                  <a:pt x="1123378" y="2158093"/>
                  <a:pt x="1115732" y="2147603"/>
                </a:cubicBezTo>
                <a:cubicBezTo>
                  <a:pt x="1108087" y="2137064"/>
                  <a:pt x="1101980" y="2125275"/>
                  <a:pt x="1096883" y="2113004"/>
                </a:cubicBezTo>
                <a:cubicBezTo>
                  <a:pt x="1086737" y="2088415"/>
                  <a:pt x="1080341" y="2062189"/>
                  <a:pt x="1075292" y="2035820"/>
                </a:cubicBezTo>
                <a:cubicBezTo>
                  <a:pt x="1070291" y="2009402"/>
                  <a:pt x="1066877" y="1982647"/>
                  <a:pt x="1063944" y="1955892"/>
                </a:cubicBezTo>
                <a:cubicBezTo>
                  <a:pt x="1061011" y="1929089"/>
                  <a:pt x="1058847" y="1902238"/>
                  <a:pt x="1055769" y="1875243"/>
                </a:cubicBezTo>
                <a:cubicBezTo>
                  <a:pt x="1054279" y="1861673"/>
                  <a:pt x="1051923" y="1848295"/>
                  <a:pt x="1049855" y="1835062"/>
                </a:cubicBezTo>
                <a:cubicBezTo>
                  <a:pt x="1047691" y="1821733"/>
                  <a:pt x="1045527" y="1808452"/>
                  <a:pt x="1043411" y="1795171"/>
                </a:cubicBezTo>
                <a:cubicBezTo>
                  <a:pt x="1038939" y="1768608"/>
                  <a:pt x="1033987" y="1742046"/>
                  <a:pt x="1027880" y="1715772"/>
                </a:cubicBezTo>
                <a:cubicBezTo>
                  <a:pt x="1021725" y="1689499"/>
                  <a:pt x="1014464" y="1663370"/>
                  <a:pt x="1004462" y="1638107"/>
                </a:cubicBezTo>
                <a:cubicBezTo>
                  <a:pt x="999413" y="1625499"/>
                  <a:pt x="993739" y="1613084"/>
                  <a:pt x="986670" y="1601295"/>
                </a:cubicBezTo>
                <a:cubicBezTo>
                  <a:pt x="979553" y="1589601"/>
                  <a:pt x="971379" y="1578149"/>
                  <a:pt x="960608" y="1568910"/>
                </a:cubicBezTo>
                <a:cubicBezTo>
                  <a:pt x="955510" y="1564146"/>
                  <a:pt x="949019" y="1560056"/>
                  <a:pt x="942575" y="1557265"/>
                </a:cubicBezTo>
                <a:cubicBezTo>
                  <a:pt x="936084" y="1554377"/>
                  <a:pt x="929400" y="1552308"/>
                  <a:pt x="922668" y="1550720"/>
                </a:cubicBezTo>
                <a:cubicBezTo>
                  <a:pt x="909204" y="1547544"/>
                  <a:pt x="895644" y="1546245"/>
                  <a:pt x="882180" y="1545475"/>
                </a:cubicBezTo>
                <a:cubicBezTo>
                  <a:pt x="855251" y="1544080"/>
                  <a:pt x="828564" y="1545042"/>
                  <a:pt x="802117" y="1545427"/>
                </a:cubicBezTo>
                <a:cubicBezTo>
                  <a:pt x="788893" y="1545620"/>
                  <a:pt x="775670" y="1545716"/>
                  <a:pt x="762590" y="1545283"/>
                </a:cubicBezTo>
                <a:cubicBezTo>
                  <a:pt x="749559" y="1544802"/>
                  <a:pt x="736383" y="1544032"/>
                  <a:pt x="723929" y="1541577"/>
                </a:cubicBezTo>
                <a:cubicBezTo>
                  <a:pt x="698780" y="1536621"/>
                  <a:pt x="675411" y="1524591"/>
                  <a:pt x="651127" y="1513716"/>
                </a:cubicBezTo>
                <a:cubicBezTo>
                  <a:pt x="644972" y="1511069"/>
                  <a:pt x="638817" y="1508375"/>
                  <a:pt x="632133" y="1506354"/>
                </a:cubicBezTo>
                <a:cubicBezTo>
                  <a:pt x="625546" y="1504332"/>
                  <a:pt x="618573" y="1502504"/>
                  <a:pt x="610879" y="1502985"/>
                </a:cubicBezTo>
                <a:cubicBezTo>
                  <a:pt x="609004" y="1502889"/>
                  <a:pt x="607081" y="1503370"/>
                  <a:pt x="605157" y="1503755"/>
                </a:cubicBezTo>
                <a:lnTo>
                  <a:pt x="602272" y="1504381"/>
                </a:lnTo>
                <a:cubicBezTo>
                  <a:pt x="601262" y="1504766"/>
                  <a:pt x="600204" y="1505199"/>
                  <a:pt x="599243" y="1505680"/>
                </a:cubicBezTo>
                <a:cubicBezTo>
                  <a:pt x="595877" y="1507460"/>
                  <a:pt x="593040" y="1509385"/>
                  <a:pt x="590251" y="1511406"/>
                </a:cubicBezTo>
                <a:cubicBezTo>
                  <a:pt x="584721" y="1515400"/>
                  <a:pt x="579527" y="1519587"/>
                  <a:pt x="574382" y="1523869"/>
                </a:cubicBezTo>
                <a:cubicBezTo>
                  <a:pt x="554090" y="1541144"/>
                  <a:pt x="535289" y="1559863"/>
                  <a:pt x="517689" y="1579689"/>
                </a:cubicBezTo>
                <a:cubicBezTo>
                  <a:pt x="500186" y="1599562"/>
                  <a:pt x="483837" y="1620543"/>
                  <a:pt x="470132" y="1643400"/>
                </a:cubicBezTo>
                <a:cubicBezTo>
                  <a:pt x="463304" y="1654852"/>
                  <a:pt x="457197" y="1666738"/>
                  <a:pt x="452340" y="1679345"/>
                </a:cubicBezTo>
                <a:cubicBezTo>
                  <a:pt x="447580" y="1691953"/>
                  <a:pt x="443974" y="1705138"/>
                  <a:pt x="443925" y="1719333"/>
                </a:cubicBezTo>
                <a:cubicBezTo>
                  <a:pt x="443829" y="1733769"/>
                  <a:pt x="449696" y="1747339"/>
                  <a:pt x="456668" y="1758696"/>
                </a:cubicBezTo>
                <a:cubicBezTo>
                  <a:pt x="463689" y="1770196"/>
                  <a:pt x="471623" y="1780494"/>
                  <a:pt x="478595" y="1791225"/>
                </a:cubicBezTo>
                <a:cubicBezTo>
                  <a:pt x="492877" y="1812398"/>
                  <a:pt x="503215" y="1835784"/>
                  <a:pt x="506197" y="1860855"/>
                </a:cubicBezTo>
                <a:lnTo>
                  <a:pt x="507351" y="1870190"/>
                </a:lnTo>
                <a:lnTo>
                  <a:pt x="507639" y="1879622"/>
                </a:lnTo>
                <a:cubicBezTo>
                  <a:pt x="507639" y="1882798"/>
                  <a:pt x="507976" y="1885877"/>
                  <a:pt x="507783" y="1889101"/>
                </a:cubicBezTo>
                <a:lnTo>
                  <a:pt x="507303" y="1898725"/>
                </a:lnTo>
                <a:lnTo>
                  <a:pt x="506341" y="1917925"/>
                </a:lnTo>
                <a:cubicBezTo>
                  <a:pt x="506148" y="1921101"/>
                  <a:pt x="506100" y="1924325"/>
                  <a:pt x="505764" y="1927501"/>
                </a:cubicBezTo>
                <a:lnTo>
                  <a:pt x="504610" y="1937029"/>
                </a:lnTo>
                <a:cubicBezTo>
                  <a:pt x="499368" y="1988036"/>
                  <a:pt x="485520" y="2037600"/>
                  <a:pt x="466718" y="2085095"/>
                </a:cubicBezTo>
                <a:cubicBezTo>
                  <a:pt x="453639" y="2118442"/>
                  <a:pt x="438732" y="2151260"/>
                  <a:pt x="426086" y="2185040"/>
                </a:cubicBezTo>
                <a:cubicBezTo>
                  <a:pt x="428201" y="2178929"/>
                  <a:pt x="430365" y="2172818"/>
                  <a:pt x="432577" y="2166755"/>
                </a:cubicBezTo>
                <a:cubicBezTo>
                  <a:pt x="442916" y="2138460"/>
                  <a:pt x="453687" y="2110117"/>
                  <a:pt x="462967" y="2081245"/>
                </a:cubicBezTo>
                <a:cubicBezTo>
                  <a:pt x="472248" y="2052373"/>
                  <a:pt x="480374" y="2022875"/>
                  <a:pt x="484798" y="1992656"/>
                </a:cubicBezTo>
                <a:cubicBezTo>
                  <a:pt x="486241" y="1985149"/>
                  <a:pt x="486914" y="1977546"/>
                  <a:pt x="487684" y="1969943"/>
                </a:cubicBezTo>
                <a:cubicBezTo>
                  <a:pt x="488357" y="1962340"/>
                  <a:pt x="489511" y="1954785"/>
                  <a:pt x="489463" y="1947134"/>
                </a:cubicBezTo>
                <a:lnTo>
                  <a:pt x="490088" y="1924229"/>
                </a:lnTo>
                <a:cubicBezTo>
                  <a:pt x="490040" y="1920379"/>
                  <a:pt x="489799" y="1916482"/>
                  <a:pt x="489703" y="1912632"/>
                </a:cubicBezTo>
                <a:cubicBezTo>
                  <a:pt x="489367" y="1908783"/>
                  <a:pt x="489030" y="1904885"/>
                  <a:pt x="488549" y="1901035"/>
                </a:cubicBezTo>
                <a:cubicBezTo>
                  <a:pt x="486385" y="1885685"/>
                  <a:pt x="482202" y="1869998"/>
                  <a:pt x="473354" y="1856380"/>
                </a:cubicBezTo>
                <a:cubicBezTo>
                  <a:pt x="464699" y="1842665"/>
                  <a:pt x="451475" y="1832416"/>
                  <a:pt x="437963" y="1825101"/>
                </a:cubicBezTo>
                <a:cubicBezTo>
                  <a:pt x="424595" y="1817547"/>
                  <a:pt x="410313" y="1812061"/>
                  <a:pt x="400504" y="1802726"/>
                </a:cubicBezTo>
                <a:cubicBezTo>
                  <a:pt x="390454" y="1793679"/>
                  <a:pt x="387040" y="1779820"/>
                  <a:pt x="388386" y="1765577"/>
                </a:cubicBezTo>
                <a:cubicBezTo>
                  <a:pt x="388771" y="1762016"/>
                  <a:pt x="388627" y="1758455"/>
                  <a:pt x="389396" y="1754942"/>
                </a:cubicBezTo>
                <a:lnTo>
                  <a:pt x="391512" y="1744308"/>
                </a:lnTo>
                <a:cubicBezTo>
                  <a:pt x="392377" y="1740795"/>
                  <a:pt x="393580" y="1737330"/>
                  <a:pt x="394589" y="1733866"/>
                </a:cubicBezTo>
                <a:cubicBezTo>
                  <a:pt x="395551" y="1730353"/>
                  <a:pt x="396898" y="1726936"/>
                  <a:pt x="398244" y="1723568"/>
                </a:cubicBezTo>
                <a:cubicBezTo>
                  <a:pt x="403389" y="1709854"/>
                  <a:pt x="410410" y="1696765"/>
                  <a:pt x="417719" y="1683917"/>
                </a:cubicBezTo>
                <a:cubicBezTo>
                  <a:pt x="425172" y="1671117"/>
                  <a:pt x="433539" y="1658750"/>
                  <a:pt x="442098" y="1646624"/>
                </a:cubicBezTo>
                <a:cubicBezTo>
                  <a:pt x="450850" y="1634546"/>
                  <a:pt x="459938" y="1622708"/>
                  <a:pt x="469315" y="1611063"/>
                </a:cubicBezTo>
                <a:cubicBezTo>
                  <a:pt x="509322" y="1565541"/>
                  <a:pt x="536827" y="1510540"/>
                  <a:pt x="577989" y="1468387"/>
                </a:cubicBezTo>
                <a:cubicBezTo>
                  <a:pt x="588279" y="1457945"/>
                  <a:pt x="599483" y="1448465"/>
                  <a:pt x="611937" y="1441247"/>
                </a:cubicBezTo>
                <a:cubicBezTo>
                  <a:pt x="618188" y="1437686"/>
                  <a:pt x="624584" y="1434462"/>
                  <a:pt x="631364" y="1432056"/>
                </a:cubicBezTo>
                <a:cubicBezTo>
                  <a:pt x="638000" y="1429361"/>
                  <a:pt x="644684" y="1427966"/>
                  <a:pt x="651512" y="1427773"/>
                </a:cubicBezTo>
                <a:cubicBezTo>
                  <a:pt x="665216" y="1427244"/>
                  <a:pt x="678488" y="1432826"/>
                  <a:pt x="690461" y="1440718"/>
                </a:cubicBezTo>
                <a:cubicBezTo>
                  <a:pt x="702531" y="1448609"/>
                  <a:pt x="713639" y="1458570"/>
                  <a:pt x="725468" y="1468002"/>
                </a:cubicBezTo>
                <a:cubicBezTo>
                  <a:pt x="737249" y="1477385"/>
                  <a:pt x="750088" y="1486865"/>
                  <a:pt x="765860" y="1491436"/>
                </a:cubicBezTo>
                <a:cubicBezTo>
                  <a:pt x="769899" y="1492543"/>
                  <a:pt x="773602" y="1493121"/>
                  <a:pt x="777352" y="1493746"/>
                </a:cubicBezTo>
                <a:cubicBezTo>
                  <a:pt x="781103" y="1494372"/>
                  <a:pt x="784854" y="1495094"/>
                  <a:pt x="788605" y="1495623"/>
                </a:cubicBezTo>
                <a:cubicBezTo>
                  <a:pt x="796154" y="1496441"/>
                  <a:pt x="803704" y="1497548"/>
                  <a:pt x="811253" y="1497933"/>
                </a:cubicBezTo>
                <a:cubicBezTo>
                  <a:pt x="841499" y="1500290"/>
                  <a:pt x="871601" y="1498751"/>
                  <a:pt x="901270" y="1498895"/>
                </a:cubicBezTo>
                <a:cubicBezTo>
                  <a:pt x="916080" y="1498895"/>
                  <a:pt x="930794" y="1499569"/>
                  <a:pt x="945124" y="1501926"/>
                </a:cubicBezTo>
                <a:cubicBezTo>
                  <a:pt x="959405" y="1504236"/>
                  <a:pt x="973254" y="1508375"/>
                  <a:pt x="985612" y="1515304"/>
                </a:cubicBezTo>
                <a:cubicBezTo>
                  <a:pt x="998114" y="1522137"/>
                  <a:pt x="1008116" y="1532242"/>
                  <a:pt x="1016387" y="1544032"/>
                </a:cubicBezTo>
                <a:cubicBezTo>
                  <a:pt x="1024562" y="1555821"/>
                  <a:pt x="1031438" y="1568717"/>
                  <a:pt x="1036824" y="1582383"/>
                </a:cubicBezTo>
                <a:cubicBezTo>
                  <a:pt x="1047979" y="1609523"/>
                  <a:pt x="1055289" y="1638395"/>
                  <a:pt x="1061876" y="1667267"/>
                </a:cubicBezTo>
                <a:cubicBezTo>
                  <a:pt x="1068368" y="1696236"/>
                  <a:pt x="1073705" y="1725541"/>
                  <a:pt x="1079139" y="1754798"/>
                </a:cubicBezTo>
                <a:cubicBezTo>
                  <a:pt x="1089766" y="1813216"/>
                  <a:pt x="1098325" y="1872692"/>
                  <a:pt x="1116790" y="1930003"/>
                </a:cubicBezTo>
                <a:cubicBezTo>
                  <a:pt x="1121407" y="1944295"/>
                  <a:pt x="1126648" y="1958491"/>
                  <a:pt x="1133139" y="1972205"/>
                </a:cubicBezTo>
                <a:cubicBezTo>
                  <a:pt x="1139631" y="1985919"/>
                  <a:pt x="1147181" y="1999297"/>
                  <a:pt x="1157134" y="2011278"/>
                </a:cubicBezTo>
                <a:cubicBezTo>
                  <a:pt x="1162231" y="2017149"/>
                  <a:pt x="1167809" y="2022731"/>
                  <a:pt x="1174301" y="2027399"/>
                </a:cubicBezTo>
                <a:cubicBezTo>
                  <a:pt x="1180889" y="2031922"/>
                  <a:pt x="1188198" y="2035579"/>
                  <a:pt x="1196132" y="2037696"/>
                </a:cubicBezTo>
                <a:cubicBezTo>
                  <a:pt x="1211279" y="2041305"/>
                  <a:pt x="1226907" y="2041931"/>
                  <a:pt x="1242150" y="2040391"/>
                </a:cubicBezTo>
                <a:cubicBezTo>
                  <a:pt x="1272781" y="2037408"/>
                  <a:pt x="1301536" y="2026148"/>
                  <a:pt x="1328176" y="2012289"/>
                </a:cubicBezTo>
                <a:cubicBezTo>
                  <a:pt x="1354767" y="1998094"/>
                  <a:pt x="1379531" y="1980963"/>
                  <a:pt x="1402564" y="1961859"/>
                </a:cubicBezTo>
                <a:cubicBezTo>
                  <a:pt x="1425694" y="1942852"/>
                  <a:pt x="1447188" y="1922016"/>
                  <a:pt x="1467240" y="1899880"/>
                </a:cubicBezTo>
                <a:cubicBezTo>
                  <a:pt x="1477193" y="1888765"/>
                  <a:pt x="1486907" y="1877408"/>
                  <a:pt x="1496043" y="1865571"/>
                </a:cubicBezTo>
                <a:cubicBezTo>
                  <a:pt x="1505276" y="1853829"/>
                  <a:pt x="1513979" y="1841655"/>
                  <a:pt x="1522154" y="1829144"/>
                </a:cubicBezTo>
                <a:cubicBezTo>
                  <a:pt x="1538551" y="1804314"/>
                  <a:pt x="1552736" y="1777126"/>
                  <a:pt x="1561969" y="1748687"/>
                </a:cubicBezTo>
                <a:cubicBezTo>
                  <a:pt x="1571778" y="1720536"/>
                  <a:pt x="1579809" y="1691857"/>
                  <a:pt x="1586204" y="1662792"/>
                </a:cubicBezTo>
                <a:cubicBezTo>
                  <a:pt x="1598995" y="1604663"/>
                  <a:pt x="1604909" y="1545427"/>
                  <a:pt x="1608949" y="1486528"/>
                </a:cubicBezTo>
                <a:cubicBezTo>
                  <a:pt x="1613276" y="1427725"/>
                  <a:pt x="1615729" y="1368682"/>
                  <a:pt x="1628712" y="1311852"/>
                </a:cubicBezTo>
                <a:cubicBezTo>
                  <a:pt x="1631982" y="1297656"/>
                  <a:pt x="1635829" y="1283654"/>
                  <a:pt x="1640733" y="1270035"/>
                </a:cubicBezTo>
                <a:cubicBezTo>
                  <a:pt x="1642993" y="1263154"/>
                  <a:pt x="1645879" y="1256514"/>
                  <a:pt x="1648571" y="1249777"/>
                </a:cubicBezTo>
                <a:cubicBezTo>
                  <a:pt x="1651601" y="1243232"/>
                  <a:pt x="1654438" y="1236544"/>
                  <a:pt x="1657900" y="1230192"/>
                </a:cubicBezTo>
                <a:cubicBezTo>
                  <a:pt x="1671460" y="1204640"/>
                  <a:pt x="1687954" y="1180484"/>
                  <a:pt x="1706130" y="1157819"/>
                </a:cubicBezTo>
                <a:cubicBezTo>
                  <a:pt x="1724258" y="1135058"/>
                  <a:pt x="1744358" y="1113837"/>
                  <a:pt x="1765420" y="1093627"/>
                </a:cubicBezTo>
                <a:cubicBezTo>
                  <a:pt x="1786481" y="1073465"/>
                  <a:pt x="1808409" y="1054120"/>
                  <a:pt x="1831105" y="1035786"/>
                </a:cubicBezTo>
                <a:cubicBezTo>
                  <a:pt x="1853802" y="1017405"/>
                  <a:pt x="1877075" y="999744"/>
                  <a:pt x="1900685" y="982566"/>
                </a:cubicBezTo>
                <a:cubicBezTo>
                  <a:pt x="1924343" y="965339"/>
                  <a:pt x="1948434" y="948978"/>
                  <a:pt x="1972525" y="932184"/>
                </a:cubicBezTo>
                <a:cubicBezTo>
                  <a:pt x="1996761" y="915197"/>
                  <a:pt x="2019409" y="896430"/>
                  <a:pt x="2041865" y="877664"/>
                </a:cubicBezTo>
                <a:cubicBezTo>
                  <a:pt x="2064273" y="858849"/>
                  <a:pt x="2086537" y="840034"/>
                  <a:pt x="2109522" y="822181"/>
                </a:cubicBezTo>
                <a:cubicBezTo>
                  <a:pt x="2155107" y="786380"/>
                  <a:pt x="2204732" y="754813"/>
                  <a:pt x="2259934" y="738789"/>
                </a:cubicBezTo>
                <a:lnTo>
                  <a:pt x="2280756" y="733592"/>
                </a:lnTo>
                <a:lnTo>
                  <a:pt x="2301913" y="730368"/>
                </a:lnTo>
                <a:cubicBezTo>
                  <a:pt x="2316051" y="728635"/>
                  <a:pt x="2330332" y="728251"/>
                  <a:pt x="2344614" y="729020"/>
                </a:cubicBezTo>
                <a:cubicBezTo>
                  <a:pt x="2373128" y="730608"/>
                  <a:pt x="2401259" y="737153"/>
                  <a:pt x="2428619" y="746055"/>
                </a:cubicBezTo>
                <a:cubicBezTo>
                  <a:pt x="2483389" y="764148"/>
                  <a:pt x="2535610" y="789989"/>
                  <a:pt x="2588697" y="813616"/>
                </a:cubicBezTo>
                <a:cubicBezTo>
                  <a:pt x="2615144" y="825646"/>
                  <a:pt x="2641928" y="837098"/>
                  <a:pt x="2668808" y="848214"/>
                </a:cubicBezTo>
                <a:cubicBezTo>
                  <a:pt x="2695832" y="859041"/>
                  <a:pt x="2723001" y="869339"/>
                  <a:pt x="2750121" y="879540"/>
                </a:cubicBezTo>
                <a:cubicBezTo>
                  <a:pt x="2804266" y="900088"/>
                  <a:pt x="2858507" y="920346"/>
                  <a:pt x="2909814" y="946331"/>
                </a:cubicBezTo>
                <a:cubicBezTo>
                  <a:pt x="2935396" y="959324"/>
                  <a:pt x="2960208" y="973856"/>
                  <a:pt x="2982808" y="991179"/>
                </a:cubicBezTo>
                <a:cubicBezTo>
                  <a:pt x="3005409" y="1008454"/>
                  <a:pt x="3025461" y="1029002"/>
                  <a:pt x="3040511" y="1052725"/>
                </a:cubicBezTo>
                <a:cubicBezTo>
                  <a:pt x="3055178" y="1076737"/>
                  <a:pt x="3065228" y="1103828"/>
                  <a:pt x="3073835" y="1131016"/>
                </a:cubicBezTo>
                <a:cubicBezTo>
                  <a:pt x="3082298" y="1158349"/>
                  <a:pt x="3089078" y="1186258"/>
                  <a:pt x="3094608" y="1214409"/>
                </a:cubicBezTo>
                <a:cubicBezTo>
                  <a:pt x="3105668" y="1270709"/>
                  <a:pt x="3112352" y="1327876"/>
                  <a:pt x="3115381" y="1385091"/>
                </a:cubicBezTo>
                <a:cubicBezTo>
                  <a:pt x="3118218" y="1442306"/>
                  <a:pt x="3117497" y="1499761"/>
                  <a:pt x="3110813" y="1556399"/>
                </a:cubicBezTo>
                <a:cubicBezTo>
                  <a:pt x="3107399" y="1584693"/>
                  <a:pt x="3102494" y="1612844"/>
                  <a:pt x="3095089" y="1640176"/>
                </a:cubicBezTo>
                <a:cubicBezTo>
                  <a:pt x="3087587" y="1667460"/>
                  <a:pt x="3077634" y="1694215"/>
                  <a:pt x="3062823" y="1717890"/>
                </a:cubicBezTo>
                <a:cubicBezTo>
                  <a:pt x="3055370" y="1729679"/>
                  <a:pt x="3046570" y="1740458"/>
                  <a:pt x="3036232" y="1749457"/>
                </a:cubicBezTo>
                <a:cubicBezTo>
                  <a:pt x="3033731" y="1751814"/>
                  <a:pt x="3030894" y="1753691"/>
                  <a:pt x="3028201" y="1755808"/>
                </a:cubicBezTo>
                <a:cubicBezTo>
                  <a:pt x="3025316" y="1757589"/>
                  <a:pt x="3022623" y="1759706"/>
                  <a:pt x="3019546" y="1761198"/>
                </a:cubicBezTo>
                <a:lnTo>
                  <a:pt x="3015074" y="1763604"/>
                </a:lnTo>
                <a:lnTo>
                  <a:pt x="3010313" y="1765577"/>
                </a:lnTo>
                <a:cubicBezTo>
                  <a:pt x="3007092" y="1766780"/>
                  <a:pt x="3004062" y="1768368"/>
                  <a:pt x="3000744" y="1769330"/>
                </a:cubicBezTo>
                <a:lnTo>
                  <a:pt x="2990791" y="1772266"/>
                </a:lnTo>
                <a:cubicBezTo>
                  <a:pt x="2987473" y="1773276"/>
                  <a:pt x="2984011" y="1773709"/>
                  <a:pt x="2980596" y="1774479"/>
                </a:cubicBezTo>
                <a:cubicBezTo>
                  <a:pt x="2973816" y="1776067"/>
                  <a:pt x="2966796" y="1776596"/>
                  <a:pt x="2959920" y="1777511"/>
                </a:cubicBezTo>
                <a:cubicBezTo>
                  <a:pt x="2945975" y="1778666"/>
                  <a:pt x="2931885" y="1779099"/>
                  <a:pt x="2917748" y="1778521"/>
                </a:cubicBezTo>
                <a:cubicBezTo>
                  <a:pt x="2889522" y="1777559"/>
                  <a:pt x="2861296" y="1774142"/>
                  <a:pt x="2833214" y="1769715"/>
                </a:cubicBezTo>
                <a:cubicBezTo>
                  <a:pt x="2805131" y="1765288"/>
                  <a:pt x="2777193" y="1759851"/>
                  <a:pt x="2749304" y="1754172"/>
                </a:cubicBezTo>
                <a:cubicBezTo>
                  <a:pt x="2693524" y="1742768"/>
                  <a:pt x="2637889" y="1730064"/>
                  <a:pt x="2581677" y="1720103"/>
                </a:cubicBezTo>
                <a:cubicBezTo>
                  <a:pt x="2553546" y="1715195"/>
                  <a:pt x="2525272" y="1710960"/>
                  <a:pt x="2496757" y="1708410"/>
                </a:cubicBezTo>
                <a:cubicBezTo>
                  <a:pt x="2468242" y="1705860"/>
                  <a:pt x="2439391" y="1705042"/>
                  <a:pt x="2410635" y="1708218"/>
                </a:cubicBezTo>
                <a:cubicBezTo>
                  <a:pt x="2396210" y="1709517"/>
                  <a:pt x="2381928" y="1712837"/>
                  <a:pt x="2368176" y="1716735"/>
                </a:cubicBezTo>
                <a:cubicBezTo>
                  <a:pt x="2361203" y="1718564"/>
                  <a:pt x="2354231" y="1720296"/>
                  <a:pt x="2347499" y="1722991"/>
                </a:cubicBezTo>
                <a:cubicBezTo>
                  <a:pt x="2340719" y="1725493"/>
                  <a:pt x="2333890" y="1727754"/>
                  <a:pt x="2327206" y="1730401"/>
                </a:cubicBezTo>
                <a:cubicBezTo>
                  <a:pt x="2300615" y="1741565"/>
                  <a:pt x="2275610" y="1756530"/>
                  <a:pt x="2253202" y="1774672"/>
                </a:cubicBezTo>
                <a:cubicBezTo>
                  <a:pt x="2247769" y="1779436"/>
                  <a:pt x="2241998" y="1783814"/>
                  <a:pt x="2236901" y="1788915"/>
                </a:cubicBezTo>
                <a:lnTo>
                  <a:pt x="2221706" y="1804314"/>
                </a:lnTo>
                <a:cubicBezTo>
                  <a:pt x="2216994" y="1809751"/>
                  <a:pt x="2212426" y="1815333"/>
                  <a:pt x="2207809" y="1820819"/>
                </a:cubicBezTo>
                <a:lnTo>
                  <a:pt x="2204347" y="1824957"/>
                </a:lnTo>
                <a:lnTo>
                  <a:pt x="2201222" y="1829336"/>
                </a:lnTo>
                <a:lnTo>
                  <a:pt x="2194971" y="1838094"/>
                </a:lnTo>
                <a:cubicBezTo>
                  <a:pt x="2178621" y="1861673"/>
                  <a:pt x="2164628" y="1886840"/>
                  <a:pt x="2153328" y="1913065"/>
                </a:cubicBezTo>
                <a:cubicBezTo>
                  <a:pt x="2130536" y="1965468"/>
                  <a:pt x="2115388" y="2020518"/>
                  <a:pt x="2103175" y="2075808"/>
                </a:cubicBezTo>
                <a:cubicBezTo>
                  <a:pt x="2090865" y="2131098"/>
                  <a:pt x="2081536" y="2186821"/>
                  <a:pt x="2072207" y="2242400"/>
                </a:cubicBezTo>
                <a:cubicBezTo>
                  <a:pt x="2053790" y="2353509"/>
                  <a:pt x="2035662" y="2464474"/>
                  <a:pt x="2005272" y="2572167"/>
                </a:cubicBezTo>
                <a:cubicBezTo>
                  <a:pt x="1990173" y="2626254"/>
                  <a:pt x="1976180" y="2680485"/>
                  <a:pt x="1960841" y="2734188"/>
                </a:cubicBezTo>
                <a:cubicBezTo>
                  <a:pt x="1945405" y="2787841"/>
                  <a:pt x="1929008" y="2841207"/>
                  <a:pt x="1907369" y="2892262"/>
                </a:cubicBezTo>
                <a:cubicBezTo>
                  <a:pt x="1896358" y="2917622"/>
                  <a:pt x="1884144" y="2942548"/>
                  <a:pt x="1868901" y="2965357"/>
                </a:cubicBezTo>
                <a:cubicBezTo>
                  <a:pt x="1853657" y="2987973"/>
                  <a:pt x="1835385" y="3009146"/>
                  <a:pt x="1812063" y="3022235"/>
                </a:cubicBezTo>
                <a:cubicBezTo>
                  <a:pt x="1800523" y="3028827"/>
                  <a:pt x="1787828" y="3033206"/>
                  <a:pt x="1774700" y="3034939"/>
                </a:cubicBezTo>
                <a:cubicBezTo>
                  <a:pt x="1767968" y="3035276"/>
                  <a:pt x="1761236" y="3036142"/>
                  <a:pt x="1754456" y="3036142"/>
                </a:cubicBezTo>
                <a:lnTo>
                  <a:pt x="1744310" y="3035853"/>
                </a:lnTo>
                <a:lnTo>
                  <a:pt x="1739261" y="3035708"/>
                </a:lnTo>
                <a:lnTo>
                  <a:pt x="1734212" y="3035083"/>
                </a:lnTo>
                <a:cubicBezTo>
                  <a:pt x="1707284" y="3032244"/>
                  <a:pt x="1681077" y="3023678"/>
                  <a:pt x="1656409" y="3011985"/>
                </a:cubicBezTo>
                <a:cubicBezTo>
                  <a:pt x="1631693" y="3000292"/>
                  <a:pt x="1608324" y="2985567"/>
                  <a:pt x="1585819" y="2969736"/>
                </a:cubicBezTo>
                <a:cubicBezTo>
                  <a:pt x="1563315" y="2953856"/>
                  <a:pt x="1541629" y="2936725"/>
                  <a:pt x="1520086" y="2919354"/>
                </a:cubicBezTo>
                <a:cubicBezTo>
                  <a:pt x="1477049" y="2884611"/>
                  <a:pt x="1434830" y="2848521"/>
                  <a:pt x="1388764" y="2817243"/>
                </a:cubicBezTo>
                <a:cubicBezTo>
                  <a:pt x="1365731" y="2801652"/>
                  <a:pt x="1341688" y="2787312"/>
                  <a:pt x="1316202" y="2775764"/>
                </a:cubicBezTo>
                <a:cubicBezTo>
                  <a:pt x="1290765" y="2764215"/>
                  <a:pt x="1263692" y="2755601"/>
                  <a:pt x="1235755" y="2751944"/>
                </a:cubicBezTo>
                <a:lnTo>
                  <a:pt x="1225272" y="2750597"/>
                </a:lnTo>
                <a:lnTo>
                  <a:pt x="1214693" y="2750115"/>
                </a:lnTo>
                <a:lnTo>
                  <a:pt x="1204114" y="2749730"/>
                </a:lnTo>
                <a:cubicBezTo>
                  <a:pt x="1200508" y="2749923"/>
                  <a:pt x="1196901" y="2749923"/>
                  <a:pt x="1193295" y="2750452"/>
                </a:cubicBezTo>
                <a:cubicBezTo>
                  <a:pt x="1178917" y="2751992"/>
                  <a:pt x="1164876" y="2756804"/>
                  <a:pt x="1152422" y="2763926"/>
                </a:cubicBezTo>
                <a:cubicBezTo>
                  <a:pt x="1127273" y="2778314"/>
                  <a:pt x="1108712" y="2800882"/>
                  <a:pt x="1093853" y="2824365"/>
                </a:cubicBezTo>
                <a:cubicBezTo>
                  <a:pt x="1079043" y="2848136"/>
                  <a:pt x="1067550" y="2873592"/>
                  <a:pt x="1057789" y="2899480"/>
                </a:cubicBezTo>
                <a:cubicBezTo>
                  <a:pt x="1048028" y="2925417"/>
                  <a:pt x="1039901" y="2951835"/>
                  <a:pt x="1032688" y="2978398"/>
                </a:cubicBezTo>
                <a:cubicBezTo>
                  <a:pt x="1018262" y="3031618"/>
                  <a:pt x="1007539" y="3085513"/>
                  <a:pt x="996431" y="3139071"/>
                </a:cubicBezTo>
                <a:cubicBezTo>
                  <a:pt x="990757" y="3165777"/>
                  <a:pt x="985372" y="3192676"/>
                  <a:pt x="977438" y="3218325"/>
                </a:cubicBezTo>
                <a:cubicBezTo>
                  <a:pt x="973302" y="3230643"/>
                  <a:pt x="966714" y="3242433"/>
                  <a:pt x="959982" y="3254174"/>
                </a:cubicBezTo>
                <a:cubicBezTo>
                  <a:pt x="953202" y="3265915"/>
                  <a:pt x="945989" y="3277657"/>
                  <a:pt x="939594" y="3289927"/>
                </a:cubicBezTo>
                <a:cubicBezTo>
                  <a:pt x="926370" y="3314132"/>
                  <a:pt x="916898" y="3341416"/>
                  <a:pt x="915311" y="3369663"/>
                </a:cubicBezTo>
                <a:cubicBezTo>
                  <a:pt x="914060" y="3397957"/>
                  <a:pt x="921321" y="3425867"/>
                  <a:pt x="932573" y="3451178"/>
                </a:cubicBezTo>
                <a:lnTo>
                  <a:pt x="936901" y="3460609"/>
                </a:lnTo>
                <a:cubicBezTo>
                  <a:pt x="938344" y="3463786"/>
                  <a:pt x="940171" y="3466721"/>
                  <a:pt x="941758" y="3469801"/>
                </a:cubicBezTo>
                <a:cubicBezTo>
                  <a:pt x="943441" y="3472832"/>
                  <a:pt x="945028" y="3475960"/>
                  <a:pt x="946855" y="3478895"/>
                </a:cubicBezTo>
                <a:lnTo>
                  <a:pt x="952577" y="3487653"/>
                </a:lnTo>
                <a:cubicBezTo>
                  <a:pt x="953539" y="3489097"/>
                  <a:pt x="954453" y="3490589"/>
                  <a:pt x="955462" y="3492032"/>
                </a:cubicBezTo>
                <a:lnTo>
                  <a:pt x="958684" y="3496170"/>
                </a:lnTo>
                <a:cubicBezTo>
                  <a:pt x="960848" y="3498913"/>
                  <a:pt x="962916" y="3501752"/>
                  <a:pt x="965176" y="3504399"/>
                </a:cubicBezTo>
                <a:cubicBezTo>
                  <a:pt x="969984" y="3509500"/>
                  <a:pt x="974552" y="3514889"/>
                  <a:pt x="979986" y="3519364"/>
                </a:cubicBezTo>
                <a:cubicBezTo>
                  <a:pt x="990469" y="3528700"/>
                  <a:pt x="1002394" y="3536687"/>
                  <a:pt x="1015377" y="3542221"/>
                </a:cubicBezTo>
                <a:cubicBezTo>
                  <a:pt x="1028312" y="3547851"/>
                  <a:pt x="1042017" y="3551508"/>
                  <a:pt x="1055817" y="3553433"/>
                </a:cubicBezTo>
                <a:cubicBezTo>
                  <a:pt x="1083563" y="3557235"/>
                  <a:pt x="1111260" y="3554829"/>
                  <a:pt x="1138237" y="3551460"/>
                </a:cubicBezTo>
                <a:cubicBezTo>
                  <a:pt x="1165261" y="3548044"/>
                  <a:pt x="1191948" y="3543232"/>
                  <a:pt x="1218540" y="3541596"/>
                </a:cubicBezTo>
                <a:cubicBezTo>
                  <a:pt x="1245083" y="3539960"/>
                  <a:pt x="1271819" y="3541740"/>
                  <a:pt x="1294948" y="3554492"/>
                </a:cubicBezTo>
                <a:cubicBezTo>
                  <a:pt x="1301055" y="3557042"/>
                  <a:pt x="1306441" y="3560844"/>
                  <a:pt x="1312115" y="3564116"/>
                </a:cubicBezTo>
                <a:cubicBezTo>
                  <a:pt x="1315048" y="3565656"/>
                  <a:pt x="1317404" y="3567918"/>
                  <a:pt x="1320097" y="3569794"/>
                </a:cubicBezTo>
                <a:cubicBezTo>
                  <a:pt x="1322646" y="3571815"/>
                  <a:pt x="1325483" y="3573548"/>
                  <a:pt x="1327791" y="3575809"/>
                </a:cubicBezTo>
                <a:cubicBezTo>
                  <a:pt x="1332551" y="3580285"/>
                  <a:pt x="1337504" y="3584519"/>
                  <a:pt x="1341543" y="3589668"/>
                </a:cubicBezTo>
                <a:cubicBezTo>
                  <a:pt x="1346015" y="3594384"/>
                  <a:pt x="1349526" y="3599917"/>
                  <a:pt x="1353324" y="3605259"/>
                </a:cubicBezTo>
                <a:cubicBezTo>
                  <a:pt x="1367269" y="3627394"/>
                  <a:pt x="1374915" y="3653138"/>
                  <a:pt x="1379243" y="3679316"/>
                </a:cubicBezTo>
                <a:cubicBezTo>
                  <a:pt x="1383763" y="3705541"/>
                  <a:pt x="1385253" y="3732440"/>
                  <a:pt x="1387610" y="3759339"/>
                </a:cubicBezTo>
                <a:cubicBezTo>
                  <a:pt x="1389966" y="3786239"/>
                  <a:pt x="1392755" y="3813475"/>
                  <a:pt x="1400593" y="3839989"/>
                </a:cubicBezTo>
                <a:cubicBezTo>
                  <a:pt x="1401410" y="3843309"/>
                  <a:pt x="1402757" y="3846533"/>
                  <a:pt x="1403863" y="3849805"/>
                </a:cubicBezTo>
                <a:cubicBezTo>
                  <a:pt x="1405017" y="3853077"/>
                  <a:pt x="1406075" y="3856350"/>
                  <a:pt x="1407613" y="3859478"/>
                </a:cubicBezTo>
                <a:lnTo>
                  <a:pt x="1411941" y="3868957"/>
                </a:lnTo>
                <a:lnTo>
                  <a:pt x="1417086" y="3878052"/>
                </a:lnTo>
                <a:cubicBezTo>
                  <a:pt x="1418673" y="3881180"/>
                  <a:pt x="1420933" y="3883874"/>
                  <a:pt x="1422905" y="3886762"/>
                </a:cubicBezTo>
                <a:cubicBezTo>
                  <a:pt x="1424924" y="3889601"/>
                  <a:pt x="1426848" y="3892536"/>
                  <a:pt x="1429300" y="3895038"/>
                </a:cubicBezTo>
                <a:lnTo>
                  <a:pt x="1436272" y="3902882"/>
                </a:lnTo>
                <a:lnTo>
                  <a:pt x="1444062" y="3909859"/>
                </a:lnTo>
                <a:cubicBezTo>
                  <a:pt x="1446563" y="3912314"/>
                  <a:pt x="1449448" y="3914286"/>
                  <a:pt x="1452285" y="3916259"/>
                </a:cubicBezTo>
                <a:cubicBezTo>
                  <a:pt x="1455170" y="3918232"/>
                  <a:pt x="1457911" y="3920398"/>
                  <a:pt x="1460892" y="3922178"/>
                </a:cubicBezTo>
                <a:lnTo>
                  <a:pt x="1469981" y="3927231"/>
                </a:lnTo>
                <a:lnTo>
                  <a:pt x="1474549" y="3929733"/>
                </a:lnTo>
                <a:lnTo>
                  <a:pt x="1479309" y="3931754"/>
                </a:lnTo>
                <a:cubicBezTo>
                  <a:pt x="1491860" y="3937625"/>
                  <a:pt x="1504987" y="3941619"/>
                  <a:pt x="1518307" y="3944891"/>
                </a:cubicBezTo>
                <a:cubicBezTo>
                  <a:pt x="1545043" y="3951339"/>
                  <a:pt x="1572836" y="3952061"/>
                  <a:pt x="1599812" y="3949462"/>
                </a:cubicBezTo>
                <a:cubicBezTo>
                  <a:pt x="1626885" y="3946768"/>
                  <a:pt x="1653284" y="3941234"/>
                  <a:pt x="1679442" y="3935892"/>
                </a:cubicBezTo>
                <a:cubicBezTo>
                  <a:pt x="1705649" y="3930551"/>
                  <a:pt x="1731760" y="3925450"/>
                  <a:pt x="1758063" y="3922178"/>
                </a:cubicBezTo>
                <a:cubicBezTo>
                  <a:pt x="1810620" y="3915393"/>
                  <a:pt x="1863996" y="3916452"/>
                  <a:pt x="1916121" y="3925113"/>
                </a:cubicBezTo>
                <a:cubicBezTo>
                  <a:pt x="1942376" y="3929156"/>
                  <a:pt x="1967621" y="3935652"/>
                  <a:pt x="1991712" y="3946094"/>
                </a:cubicBezTo>
                <a:cubicBezTo>
                  <a:pt x="2015803" y="3956392"/>
                  <a:pt x="2038451" y="3969913"/>
                  <a:pt x="2059897" y="3985167"/>
                </a:cubicBezTo>
                <a:cubicBezTo>
                  <a:pt x="2070669" y="3992770"/>
                  <a:pt x="2081151" y="4000758"/>
                  <a:pt x="2091634" y="4008891"/>
                </a:cubicBezTo>
                <a:lnTo>
                  <a:pt x="2107310" y="4021161"/>
                </a:lnTo>
                <a:cubicBezTo>
                  <a:pt x="2112359" y="4025155"/>
                  <a:pt x="2117168" y="4029438"/>
                  <a:pt x="2122169" y="4033913"/>
                </a:cubicBezTo>
                <a:cubicBezTo>
                  <a:pt x="2141980" y="4051621"/>
                  <a:pt x="2162897" y="4068993"/>
                  <a:pt x="2186700" y="4081985"/>
                </a:cubicBezTo>
                <a:cubicBezTo>
                  <a:pt x="2198481" y="4088674"/>
                  <a:pt x="2211127" y="4094015"/>
                  <a:pt x="2224255" y="4097769"/>
                </a:cubicBezTo>
                <a:cubicBezTo>
                  <a:pt x="2237334" y="4101907"/>
                  <a:pt x="2251183" y="4103254"/>
                  <a:pt x="2264935" y="4103110"/>
                </a:cubicBezTo>
                <a:lnTo>
                  <a:pt x="2275274" y="4102340"/>
                </a:lnTo>
                <a:cubicBezTo>
                  <a:pt x="2276957" y="4102340"/>
                  <a:pt x="2278736" y="4101907"/>
                  <a:pt x="2280515" y="4101474"/>
                </a:cubicBezTo>
                <a:lnTo>
                  <a:pt x="2285805" y="4100271"/>
                </a:lnTo>
                <a:cubicBezTo>
                  <a:pt x="2289219" y="4099068"/>
                  <a:pt x="2292585" y="4097672"/>
                  <a:pt x="2295806" y="4096084"/>
                </a:cubicBezTo>
                <a:lnTo>
                  <a:pt x="2300375" y="4093197"/>
                </a:lnTo>
                <a:cubicBezTo>
                  <a:pt x="2301913" y="4092283"/>
                  <a:pt x="2303404" y="4091272"/>
                  <a:pt x="2304702" y="4090021"/>
                </a:cubicBezTo>
                <a:cubicBezTo>
                  <a:pt x="2315858" y="4080927"/>
                  <a:pt x="2323504" y="4068897"/>
                  <a:pt x="2329226" y="4056530"/>
                </a:cubicBezTo>
                <a:cubicBezTo>
                  <a:pt x="2340670" y="4031555"/>
                  <a:pt x="2345383" y="4004800"/>
                  <a:pt x="2348364" y="3978334"/>
                </a:cubicBezTo>
                <a:cubicBezTo>
                  <a:pt x="2351057" y="3951772"/>
                  <a:pt x="2351442" y="3925065"/>
                  <a:pt x="2350095" y="3898503"/>
                </a:cubicBezTo>
                <a:cubicBezTo>
                  <a:pt x="2348701" y="3871941"/>
                  <a:pt x="2345671" y="3845523"/>
                  <a:pt x="2340430" y="3819393"/>
                </a:cubicBezTo>
                <a:cubicBezTo>
                  <a:pt x="2337689" y="3806353"/>
                  <a:pt x="2334419" y="3793360"/>
                  <a:pt x="2329755" y="3780657"/>
                </a:cubicBezTo>
                <a:cubicBezTo>
                  <a:pt x="2327303" y="3774401"/>
                  <a:pt x="2324610" y="3767809"/>
                  <a:pt x="2320907" y="3762131"/>
                </a:cubicBezTo>
                <a:lnTo>
                  <a:pt x="2315570" y="3753517"/>
                </a:lnTo>
                <a:cubicBezTo>
                  <a:pt x="2313791" y="3750630"/>
                  <a:pt x="2311579" y="3748080"/>
                  <a:pt x="2309559" y="3745337"/>
                </a:cubicBezTo>
                <a:cubicBezTo>
                  <a:pt x="2293354" y="3723490"/>
                  <a:pt x="2271283" y="3706985"/>
                  <a:pt x="2248153" y="3693800"/>
                </a:cubicBezTo>
                <a:cubicBezTo>
                  <a:pt x="2224736" y="3680952"/>
                  <a:pt x="2200019" y="3671183"/>
                  <a:pt x="2175351" y="3662233"/>
                </a:cubicBezTo>
                <a:lnTo>
                  <a:pt x="2138373" y="3648952"/>
                </a:lnTo>
                <a:lnTo>
                  <a:pt x="2120053" y="3642119"/>
                </a:lnTo>
                <a:cubicBezTo>
                  <a:pt x="2113802" y="3639761"/>
                  <a:pt x="2107599" y="3637644"/>
                  <a:pt x="2101347" y="3635575"/>
                </a:cubicBezTo>
                <a:cubicBezTo>
                  <a:pt x="2076391" y="3627394"/>
                  <a:pt x="2051482" y="3619791"/>
                  <a:pt x="2026910" y="3611178"/>
                </a:cubicBezTo>
                <a:cubicBezTo>
                  <a:pt x="2002387" y="3602612"/>
                  <a:pt x="1978103" y="3593277"/>
                  <a:pt x="1955022" y="3581872"/>
                </a:cubicBezTo>
                <a:cubicBezTo>
                  <a:pt x="1943482" y="3576146"/>
                  <a:pt x="1932278" y="3569842"/>
                  <a:pt x="1921747" y="3562672"/>
                </a:cubicBezTo>
                <a:cubicBezTo>
                  <a:pt x="1911264" y="3555503"/>
                  <a:pt x="1901406" y="3547418"/>
                  <a:pt x="1893617" y="3537794"/>
                </a:cubicBezTo>
                <a:cubicBezTo>
                  <a:pt x="1885731" y="3528411"/>
                  <a:pt x="1880633" y="3516766"/>
                  <a:pt x="1876931" y="3504880"/>
                </a:cubicBezTo>
                <a:cubicBezTo>
                  <a:pt x="1873421" y="3492850"/>
                  <a:pt x="1871641" y="3480243"/>
                  <a:pt x="1871016" y="3467587"/>
                </a:cubicBezTo>
                <a:cubicBezTo>
                  <a:pt x="1869862" y="3442180"/>
                  <a:pt x="1873324" y="3416532"/>
                  <a:pt x="1879095" y="3391605"/>
                </a:cubicBezTo>
                <a:cubicBezTo>
                  <a:pt x="1884961" y="3366631"/>
                  <a:pt x="1893328" y="3342234"/>
                  <a:pt x="1903811" y="3318848"/>
                </a:cubicBezTo>
                <a:cubicBezTo>
                  <a:pt x="1909052" y="3307154"/>
                  <a:pt x="1914871" y="3295750"/>
                  <a:pt x="1921266" y="3284682"/>
                </a:cubicBezTo>
                <a:cubicBezTo>
                  <a:pt x="1924440" y="3279149"/>
                  <a:pt x="1927854" y="3273759"/>
                  <a:pt x="1931364" y="3268418"/>
                </a:cubicBezTo>
                <a:cubicBezTo>
                  <a:pt x="1933095" y="3265723"/>
                  <a:pt x="1935115" y="3263413"/>
                  <a:pt x="1936990" y="3260863"/>
                </a:cubicBezTo>
                <a:cubicBezTo>
                  <a:pt x="1938913" y="3258409"/>
                  <a:pt x="1940693" y="3255858"/>
                  <a:pt x="1942905" y="3253549"/>
                </a:cubicBezTo>
                <a:cubicBezTo>
                  <a:pt x="1959686" y="3234541"/>
                  <a:pt x="1979161" y="3217507"/>
                  <a:pt x="1998636" y="3200713"/>
                </a:cubicBezTo>
                <a:cubicBezTo>
                  <a:pt x="2018303" y="3184015"/>
                  <a:pt x="2038307" y="3167702"/>
                  <a:pt x="2058310" y="3151437"/>
                </a:cubicBezTo>
                <a:cubicBezTo>
                  <a:pt x="2098366" y="3118908"/>
                  <a:pt x="2138422" y="3086283"/>
                  <a:pt x="2177227" y="3052358"/>
                </a:cubicBezTo>
                <a:cubicBezTo>
                  <a:pt x="2196557" y="3035276"/>
                  <a:pt x="2215695" y="3018000"/>
                  <a:pt x="2234257" y="3000100"/>
                </a:cubicBezTo>
                <a:cubicBezTo>
                  <a:pt x="2252914" y="2982199"/>
                  <a:pt x="2270850" y="2963961"/>
                  <a:pt x="2289122" y="2945965"/>
                </a:cubicBezTo>
                <a:cubicBezTo>
                  <a:pt x="2325572" y="2909874"/>
                  <a:pt x="2362309" y="2874265"/>
                  <a:pt x="2400008" y="2839812"/>
                </a:cubicBezTo>
                <a:cubicBezTo>
                  <a:pt x="2437708" y="2805454"/>
                  <a:pt x="2476225" y="2772010"/>
                  <a:pt x="2516905" y="2741598"/>
                </a:cubicBezTo>
                <a:cubicBezTo>
                  <a:pt x="2527099" y="2734043"/>
                  <a:pt x="2537245" y="2726440"/>
                  <a:pt x="2547776" y="2719415"/>
                </a:cubicBezTo>
                <a:cubicBezTo>
                  <a:pt x="2558115" y="2712052"/>
                  <a:pt x="2568838" y="2705364"/>
                  <a:pt x="2579513" y="2698627"/>
                </a:cubicBezTo>
                <a:cubicBezTo>
                  <a:pt x="2584802" y="2695114"/>
                  <a:pt x="2590380" y="2692227"/>
                  <a:pt x="2595814" y="2689051"/>
                </a:cubicBezTo>
                <a:cubicBezTo>
                  <a:pt x="2601344" y="2686068"/>
                  <a:pt x="2606681" y="2682603"/>
                  <a:pt x="2612355" y="2679956"/>
                </a:cubicBezTo>
                <a:lnTo>
                  <a:pt x="2629233" y="2671583"/>
                </a:lnTo>
                <a:cubicBezTo>
                  <a:pt x="2634908" y="2668937"/>
                  <a:pt x="2640822" y="2666916"/>
                  <a:pt x="2646640" y="2664509"/>
                </a:cubicBezTo>
                <a:cubicBezTo>
                  <a:pt x="2669818" y="2655030"/>
                  <a:pt x="2694438" y="2649352"/>
                  <a:pt x="2718962" y="2643962"/>
                </a:cubicBezTo>
                <a:cubicBezTo>
                  <a:pt x="2731416" y="2641941"/>
                  <a:pt x="2743774" y="2639535"/>
                  <a:pt x="2756228" y="2637803"/>
                </a:cubicBezTo>
                <a:cubicBezTo>
                  <a:pt x="2768778" y="2636311"/>
                  <a:pt x="2781185" y="2634290"/>
                  <a:pt x="2793783" y="2633231"/>
                </a:cubicBezTo>
                <a:cubicBezTo>
                  <a:pt x="2843985" y="2627986"/>
                  <a:pt x="2894475" y="2625532"/>
                  <a:pt x="2944917" y="2621635"/>
                </a:cubicBezTo>
                <a:cubicBezTo>
                  <a:pt x="2995263" y="2617544"/>
                  <a:pt x="3045993" y="2612973"/>
                  <a:pt x="3095089" y="2599066"/>
                </a:cubicBezTo>
                <a:lnTo>
                  <a:pt x="3113409" y="2593677"/>
                </a:lnTo>
                <a:lnTo>
                  <a:pt x="3131249" y="2586651"/>
                </a:lnTo>
                <a:cubicBezTo>
                  <a:pt x="3143271" y="2582513"/>
                  <a:pt x="3154812" y="2575728"/>
                  <a:pt x="3165246" y="2568317"/>
                </a:cubicBezTo>
                <a:cubicBezTo>
                  <a:pt x="3186211" y="2553208"/>
                  <a:pt x="3203859" y="2534489"/>
                  <a:pt x="3219679" y="2514760"/>
                </a:cubicBezTo>
                <a:cubicBezTo>
                  <a:pt x="3251368" y="2475157"/>
                  <a:pt x="3276901" y="2431752"/>
                  <a:pt x="3305128" y="2390754"/>
                </a:cubicBezTo>
                <a:cubicBezTo>
                  <a:pt x="3319313" y="2370351"/>
                  <a:pt x="3333979" y="2350237"/>
                  <a:pt x="3351098" y="2332721"/>
                </a:cubicBezTo>
                <a:cubicBezTo>
                  <a:pt x="3359705" y="2323963"/>
                  <a:pt x="3368745" y="2315975"/>
                  <a:pt x="3378988" y="2309287"/>
                </a:cubicBezTo>
                <a:lnTo>
                  <a:pt x="3394471" y="2299278"/>
                </a:lnTo>
                <a:cubicBezTo>
                  <a:pt x="3399761" y="2296102"/>
                  <a:pt x="3405194" y="2293263"/>
                  <a:pt x="3410580" y="2290231"/>
                </a:cubicBezTo>
                <a:cubicBezTo>
                  <a:pt x="3432266" y="2278634"/>
                  <a:pt x="3454963" y="2268769"/>
                  <a:pt x="3478381" y="2261215"/>
                </a:cubicBezTo>
                <a:cubicBezTo>
                  <a:pt x="3489969" y="2256980"/>
                  <a:pt x="3501943" y="2254045"/>
                  <a:pt x="3513772" y="2250676"/>
                </a:cubicBezTo>
                <a:cubicBezTo>
                  <a:pt x="3519735" y="2249088"/>
                  <a:pt x="3525793" y="2247885"/>
                  <a:pt x="3531756" y="2246490"/>
                </a:cubicBezTo>
                <a:cubicBezTo>
                  <a:pt x="3537767" y="2245142"/>
                  <a:pt x="3543777" y="2243699"/>
                  <a:pt x="3549836" y="2242784"/>
                </a:cubicBezTo>
                <a:lnTo>
                  <a:pt x="3568013" y="2239609"/>
                </a:lnTo>
                <a:cubicBezTo>
                  <a:pt x="3574072" y="2238646"/>
                  <a:pt x="3580227" y="2238021"/>
                  <a:pt x="3586334" y="2237203"/>
                </a:cubicBezTo>
                <a:cubicBezTo>
                  <a:pt x="3598499" y="2235374"/>
                  <a:pt x="3610809" y="2234749"/>
                  <a:pt x="3623071" y="2233690"/>
                </a:cubicBezTo>
                <a:cubicBezTo>
                  <a:pt x="3647643" y="2232391"/>
                  <a:pt x="3672263" y="2231861"/>
                  <a:pt x="3696787" y="2233401"/>
                </a:cubicBezTo>
                <a:cubicBezTo>
                  <a:pt x="3721358" y="2234412"/>
                  <a:pt x="3745738" y="2237588"/>
                  <a:pt x="3769925" y="2241485"/>
                </a:cubicBezTo>
                <a:cubicBezTo>
                  <a:pt x="3781947" y="2243891"/>
                  <a:pt x="3793920" y="2246009"/>
                  <a:pt x="3806086" y="2248751"/>
                </a:cubicBezTo>
                <a:cubicBezTo>
                  <a:pt x="3818155" y="2251302"/>
                  <a:pt x="3830177" y="2253852"/>
                  <a:pt x="3841958" y="2256932"/>
                </a:cubicBezTo>
                <a:cubicBezTo>
                  <a:pt x="3865424" y="2262995"/>
                  <a:pt x="3888938" y="2270983"/>
                  <a:pt x="3907114" y="2285852"/>
                </a:cubicBezTo>
                <a:cubicBezTo>
                  <a:pt x="3916058" y="2293263"/>
                  <a:pt x="3923223" y="2302646"/>
                  <a:pt x="3927021" y="2313473"/>
                </a:cubicBezTo>
                <a:cubicBezTo>
                  <a:pt x="3930628" y="2324252"/>
                  <a:pt x="3931397" y="2336330"/>
                  <a:pt x="3930820" y="2348120"/>
                </a:cubicBezTo>
                <a:cubicBezTo>
                  <a:pt x="3930628" y="2354038"/>
                  <a:pt x="3929666" y="2359957"/>
                  <a:pt x="3928849" y="2365924"/>
                </a:cubicBezTo>
                <a:cubicBezTo>
                  <a:pt x="3927598" y="2371795"/>
                  <a:pt x="3926637" y="2377713"/>
                  <a:pt x="3924906" y="2383536"/>
                </a:cubicBezTo>
                <a:cubicBezTo>
                  <a:pt x="3921972" y="2395229"/>
                  <a:pt x="3917837" y="2406634"/>
                  <a:pt x="3913413" y="2417894"/>
                </a:cubicBezTo>
                <a:cubicBezTo>
                  <a:pt x="3904277" y="2440366"/>
                  <a:pt x="3893217" y="2462068"/>
                  <a:pt x="3880859" y="2483049"/>
                </a:cubicBezTo>
                <a:cubicBezTo>
                  <a:pt x="3856143" y="2524961"/>
                  <a:pt x="3827291" y="2564468"/>
                  <a:pt x="3795651" y="2601183"/>
                </a:cubicBezTo>
                <a:cubicBezTo>
                  <a:pt x="3779686" y="2619373"/>
                  <a:pt x="3763193" y="2637370"/>
                  <a:pt x="3744776" y="2652528"/>
                </a:cubicBezTo>
                <a:cubicBezTo>
                  <a:pt x="3740112" y="2656281"/>
                  <a:pt x="3735592" y="2659505"/>
                  <a:pt x="3730206" y="2662440"/>
                </a:cubicBezTo>
                <a:cubicBezTo>
                  <a:pt x="3725013" y="2665376"/>
                  <a:pt x="3719964" y="2668600"/>
                  <a:pt x="3714482" y="2671054"/>
                </a:cubicBezTo>
                <a:cubicBezTo>
                  <a:pt x="3709096" y="2673701"/>
                  <a:pt x="3703807" y="2676395"/>
                  <a:pt x="3698181" y="2678464"/>
                </a:cubicBezTo>
                <a:lnTo>
                  <a:pt x="3689910" y="2681833"/>
                </a:lnTo>
                <a:cubicBezTo>
                  <a:pt x="3687121" y="2682844"/>
                  <a:pt x="3684236" y="2683710"/>
                  <a:pt x="3681399" y="2684672"/>
                </a:cubicBezTo>
                <a:cubicBezTo>
                  <a:pt x="3658703" y="2692034"/>
                  <a:pt x="3634948" y="2695980"/>
                  <a:pt x="3611050" y="2696798"/>
                </a:cubicBezTo>
                <a:cubicBezTo>
                  <a:pt x="3587103" y="2697664"/>
                  <a:pt x="3563108" y="2695884"/>
                  <a:pt x="3539210" y="2693045"/>
                </a:cubicBezTo>
                <a:cubicBezTo>
                  <a:pt x="3491412" y="2687319"/>
                  <a:pt x="3443759" y="2677069"/>
                  <a:pt x="3394904" y="2675337"/>
                </a:cubicBezTo>
                <a:cubicBezTo>
                  <a:pt x="3370524" y="2674567"/>
                  <a:pt x="3345904" y="2676010"/>
                  <a:pt x="3321862" y="2681159"/>
                </a:cubicBezTo>
                <a:cubicBezTo>
                  <a:pt x="3297819" y="2686164"/>
                  <a:pt x="3274689" y="2695307"/>
                  <a:pt x="3253483" y="2707529"/>
                </a:cubicBezTo>
                <a:lnTo>
                  <a:pt x="3245598" y="2712245"/>
                </a:lnTo>
                <a:lnTo>
                  <a:pt x="3241654" y="2714603"/>
                </a:lnTo>
                <a:cubicBezTo>
                  <a:pt x="3240356" y="2715469"/>
                  <a:pt x="3239106" y="2716431"/>
                  <a:pt x="3237807" y="2717346"/>
                </a:cubicBezTo>
                <a:lnTo>
                  <a:pt x="3233961" y="2720185"/>
                </a:lnTo>
                <a:lnTo>
                  <a:pt x="3230450" y="2723312"/>
                </a:lnTo>
                <a:lnTo>
                  <a:pt x="3226940" y="2726440"/>
                </a:lnTo>
                <a:lnTo>
                  <a:pt x="3223718" y="2729809"/>
                </a:lnTo>
                <a:cubicBezTo>
                  <a:pt x="3215159" y="2738855"/>
                  <a:pt x="3207802" y="2748816"/>
                  <a:pt x="3201407" y="2759162"/>
                </a:cubicBezTo>
                <a:cubicBezTo>
                  <a:pt x="3188568" y="2779950"/>
                  <a:pt x="3178325" y="2802037"/>
                  <a:pt x="3169381" y="2824413"/>
                </a:cubicBezTo>
                <a:cubicBezTo>
                  <a:pt x="3151541" y="2869309"/>
                  <a:pt x="3138077" y="2915456"/>
                  <a:pt x="3125912" y="2961748"/>
                </a:cubicBezTo>
                <a:cubicBezTo>
                  <a:pt x="3101869" y="3054475"/>
                  <a:pt x="3083500" y="3147973"/>
                  <a:pt x="3065612" y="3241133"/>
                </a:cubicBezTo>
                <a:cubicBezTo>
                  <a:pt x="3047917" y="3334342"/>
                  <a:pt x="3031808" y="3427503"/>
                  <a:pt x="3017046" y="3520471"/>
                </a:cubicBezTo>
                <a:cubicBezTo>
                  <a:pt x="3009640" y="3566955"/>
                  <a:pt x="3002668" y="3613439"/>
                  <a:pt x="2996080" y="3659875"/>
                </a:cubicBezTo>
                <a:lnTo>
                  <a:pt x="2991272" y="3694714"/>
                </a:lnTo>
                <a:cubicBezTo>
                  <a:pt x="2989781" y="3706407"/>
                  <a:pt x="2988531" y="3718197"/>
                  <a:pt x="2987954" y="3729986"/>
                </a:cubicBezTo>
                <a:cubicBezTo>
                  <a:pt x="2986607" y="3753565"/>
                  <a:pt x="2987425" y="3777240"/>
                  <a:pt x="2989877" y="3800675"/>
                </a:cubicBezTo>
                <a:cubicBezTo>
                  <a:pt x="2992329" y="3824109"/>
                  <a:pt x="2996513" y="3847303"/>
                  <a:pt x="3001706" y="3870112"/>
                </a:cubicBezTo>
                <a:cubicBezTo>
                  <a:pt x="3006707" y="3893017"/>
                  <a:pt x="3013535" y="3915393"/>
                  <a:pt x="3017719" y="3937865"/>
                </a:cubicBezTo>
                <a:cubicBezTo>
                  <a:pt x="3021806" y="3960193"/>
                  <a:pt x="3022864" y="3983531"/>
                  <a:pt x="3014497" y="4004079"/>
                </a:cubicBezTo>
                <a:cubicBezTo>
                  <a:pt x="3006226" y="4024626"/>
                  <a:pt x="2989396" y="4040794"/>
                  <a:pt x="2970258" y="4052632"/>
                </a:cubicBezTo>
                <a:cubicBezTo>
                  <a:pt x="2951072" y="4064662"/>
                  <a:pt x="2929722" y="4073227"/>
                  <a:pt x="2908035" y="4080397"/>
                </a:cubicBezTo>
                <a:cubicBezTo>
                  <a:pt x="2886300" y="4087423"/>
                  <a:pt x="2863940" y="4093101"/>
                  <a:pt x="2841580" y="4097384"/>
                </a:cubicBezTo>
                <a:cubicBezTo>
                  <a:pt x="2796620" y="4105324"/>
                  <a:pt x="2750554" y="4108259"/>
                  <a:pt x="2704873" y="4112542"/>
                </a:cubicBezTo>
                <a:cubicBezTo>
                  <a:pt x="2681984" y="4114611"/>
                  <a:pt x="2659143" y="4116680"/>
                  <a:pt x="2636302" y="4119326"/>
                </a:cubicBezTo>
                <a:cubicBezTo>
                  <a:pt x="2613509" y="4121925"/>
                  <a:pt x="2590717" y="4124956"/>
                  <a:pt x="2568068" y="4129287"/>
                </a:cubicBezTo>
                <a:cubicBezTo>
                  <a:pt x="2545516" y="4133666"/>
                  <a:pt x="2522868" y="4138623"/>
                  <a:pt x="2501277" y="4147573"/>
                </a:cubicBezTo>
                <a:cubicBezTo>
                  <a:pt x="2490169" y="4151952"/>
                  <a:pt x="2480119" y="4158929"/>
                  <a:pt x="2471512" y="4167062"/>
                </a:cubicBezTo>
                <a:cubicBezTo>
                  <a:pt x="2463001" y="4175338"/>
                  <a:pt x="2455788" y="4184722"/>
                  <a:pt x="2449681" y="4194635"/>
                </a:cubicBezTo>
                <a:cubicBezTo>
                  <a:pt x="2437419" y="4214508"/>
                  <a:pt x="2428812" y="4235922"/>
                  <a:pt x="2420349" y="4256998"/>
                </a:cubicBezTo>
                <a:cubicBezTo>
                  <a:pt x="2411789" y="4277979"/>
                  <a:pt x="2404048" y="4299537"/>
                  <a:pt x="2391497" y="4317341"/>
                </a:cubicBezTo>
                <a:cubicBezTo>
                  <a:pt x="2363607" y="4351891"/>
                  <a:pt x="2329707" y="4382688"/>
                  <a:pt x="2290757" y="4404342"/>
                </a:cubicBezTo>
                <a:cubicBezTo>
                  <a:pt x="2286045" y="4407326"/>
                  <a:pt x="2280900" y="4409491"/>
                  <a:pt x="2275947" y="4412090"/>
                </a:cubicBezTo>
                <a:cubicBezTo>
                  <a:pt x="2270994" y="4414592"/>
                  <a:pt x="2266041" y="4417142"/>
                  <a:pt x="2260800" y="4419163"/>
                </a:cubicBezTo>
                <a:lnTo>
                  <a:pt x="2245364" y="4425563"/>
                </a:lnTo>
                <a:lnTo>
                  <a:pt x="2229544" y="4430905"/>
                </a:lnTo>
                <a:lnTo>
                  <a:pt x="2221610" y="4433551"/>
                </a:lnTo>
                <a:lnTo>
                  <a:pt x="2213532" y="4435668"/>
                </a:lnTo>
                <a:lnTo>
                  <a:pt x="2197375" y="4439903"/>
                </a:lnTo>
                <a:lnTo>
                  <a:pt x="2180978" y="4443079"/>
                </a:lnTo>
                <a:cubicBezTo>
                  <a:pt x="2175496" y="4444042"/>
                  <a:pt x="2170062" y="4445341"/>
                  <a:pt x="2164532" y="4445870"/>
                </a:cubicBezTo>
                <a:cubicBezTo>
                  <a:pt x="2120437" y="4452174"/>
                  <a:pt x="2075573" y="4452126"/>
                  <a:pt x="2031286" y="4448420"/>
                </a:cubicBezTo>
                <a:cubicBezTo>
                  <a:pt x="2018351" y="4447266"/>
                  <a:pt x="2005512" y="4445485"/>
                  <a:pt x="1992722" y="4443368"/>
                </a:cubicBezTo>
                <a:cubicBezTo>
                  <a:pt x="2003348" y="4444860"/>
                  <a:pt x="2014072" y="4446159"/>
                  <a:pt x="2024987" y="4447073"/>
                </a:cubicBezTo>
                <a:cubicBezTo>
                  <a:pt x="2059224" y="4449960"/>
                  <a:pt x="2094519" y="4449720"/>
                  <a:pt x="2130391" y="4446351"/>
                </a:cubicBezTo>
                <a:close/>
                <a:moveTo>
                  <a:pt x="1771767" y="4405160"/>
                </a:moveTo>
                <a:cubicBezTo>
                  <a:pt x="1763112" y="4401840"/>
                  <a:pt x="1754312" y="4398520"/>
                  <a:pt x="1745416" y="4395199"/>
                </a:cubicBezTo>
                <a:cubicBezTo>
                  <a:pt x="1724306" y="4387163"/>
                  <a:pt x="1701514" y="4378502"/>
                  <a:pt x="1677038" y="4369263"/>
                </a:cubicBezTo>
                <a:cubicBezTo>
                  <a:pt x="1671701" y="4367242"/>
                  <a:pt x="1666267" y="4365221"/>
                  <a:pt x="1660785" y="4363151"/>
                </a:cubicBezTo>
                <a:cubicBezTo>
                  <a:pt x="1661074" y="4363248"/>
                  <a:pt x="1661410" y="4363392"/>
                  <a:pt x="1661699" y="4363488"/>
                </a:cubicBezTo>
                <a:cubicBezTo>
                  <a:pt x="1697427" y="4376577"/>
                  <a:pt x="1732625" y="4389425"/>
                  <a:pt x="1767391" y="4402177"/>
                </a:cubicBezTo>
                <a:cubicBezTo>
                  <a:pt x="1798310" y="4413774"/>
                  <a:pt x="1828556" y="4426044"/>
                  <a:pt x="1858802" y="4437497"/>
                </a:cubicBezTo>
                <a:cubicBezTo>
                  <a:pt x="1855725" y="4436390"/>
                  <a:pt x="1852551" y="4435235"/>
                  <a:pt x="1849233" y="4434032"/>
                </a:cubicBezTo>
                <a:cubicBezTo>
                  <a:pt x="1828508" y="4426622"/>
                  <a:pt x="1803119" y="4417094"/>
                  <a:pt x="1773691" y="4405930"/>
                </a:cubicBezTo>
                <a:cubicBezTo>
                  <a:pt x="1773065" y="4405690"/>
                  <a:pt x="1772440" y="4405449"/>
                  <a:pt x="1771815" y="4405209"/>
                </a:cubicBezTo>
                <a:close/>
                <a:moveTo>
                  <a:pt x="1420789" y="4313299"/>
                </a:moveTo>
                <a:cubicBezTo>
                  <a:pt x="1421606" y="4314839"/>
                  <a:pt x="1422520" y="4316571"/>
                  <a:pt x="1423530" y="4317774"/>
                </a:cubicBezTo>
                <a:cubicBezTo>
                  <a:pt x="1424203" y="4318688"/>
                  <a:pt x="1424876" y="4319554"/>
                  <a:pt x="1425597" y="4320276"/>
                </a:cubicBezTo>
                <a:cubicBezTo>
                  <a:pt x="1426992" y="4321913"/>
                  <a:pt x="1428483" y="4323212"/>
                  <a:pt x="1429973" y="4324607"/>
                </a:cubicBezTo>
                <a:cubicBezTo>
                  <a:pt x="1430887" y="4325377"/>
                  <a:pt x="1431800" y="4326099"/>
                  <a:pt x="1432714" y="4326869"/>
                </a:cubicBezTo>
                <a:cubicBezTo>
                  <a:pt x="1421077" y="4320084"/>
                  <a:pt x="1409825" y="4313010"/>
                  <a:pt x="1399150" y="4305503"/>
                </a:cubicBezTo>
                <a:cubicBezTo>
                  <a:pt x="1393765" y="4301654"/>
                  <a:pt x="1388475" y="4297612"/>
                  <a:pt x="1383955" y="4293281"/>
                </a:cubicBezTo>
                <a:cubicBezTo>
                  <a:pt x="1382849" y="4292174"/>
                  <a:pt x="1381743" y="4291116"/>
                  <a:pt x="1380830" y="4290009"/>
                </a:cubicBezTo>
                <a:cubicBezTo>
                  <a:pt x="1379868" y="4288998"/>
                  <a:pt x="1379002" y="4287603"/>
                  <a:pt x="1378617" y="4287025"/>
                </a:cubicBezTo>
                <a:cubicBezTo>
                  <a:pt x="1378377" y="4286544"/>
                  <a:pt x="1378377" y="4286448"/>
                  <a:pt x="1378906" y="4286304"/>
                </a:cubicBezTo>
                <a:cubicBezTo>
                  <a:pt x="1379339" y="4286159"/>
                  <a:pt x="1381118" y="4285918"/>
                  <a:pt x="1382416" y="4285870"/>
                </a:cubicBezTo>
                <a:cubicBezTo>
                  <a:pt x="1383859" y="4285822"/>
                  <a:pt x="1385350" y="4285870"/>
                  <a:pt x="1386888" y="4285870"/>
                </a:cubicBezTo>
                <a:cubicBezTo>
                  <a:pt x="1389966" y="4286015"/>
                  <a:pt x="1393091" y="4286400"/>
                  <a:pt x="1396217" y="4286833"/>
                </a:cubicBezTo>
                <a:cubicBezTo>
                  <a:pt x="1402468" y="4287747"/>
                  <a:pt x="1408864" y="4288998"/>
                  <a:pt x="1414970" y="4290346"/>
                </a:cubicBezTo>
                <a:lnTo>
                  <a:pt x="1417423" y="4290875"/>
                </a:lnTo>
                <a:cubicBezTo>
                  <a:pt x="1418577" y="4291164"/>
                  <a:pt x="1420308" y="4291212"/>
                  <a:pt x="1421173" y="4291116"/>
                </a:cubicBezTo>
                <a:cubicBezTo>
                  <a:pt x="1422760" y="4290971"/>
                  <a:pt x="1423337" y="4291019"/>
                  <a:pt x="1424780" y="4291308"/>
                </a:cubicBezTo>
                <a:cubicBezTo>
                  <a:pt x="1427280" y="4291789"/>
                  <a:pt x="1430358" y="4292896"/>
                  <a:pt x="1433435" y="4293810"/>
                </a:cubicBezTo>
                <a:cubicBezTo>
                  <a:pt x="1439494" y="4295735"/>
                  <a:pt x="1445553" y="4297660"/>
                  <a:pt x="1451564" y="4299585"/>
                </a:cubicBezTo>
                <a:cubicBezTo>
                  <a:pt x="1461806" y="4302809"/>
                  <a:pt x="1471904" y="4306081"/>
                  <a:pt x="1481858" y="4309353"/>
                </a:cubicBezTo>
                <a:cubicBezTo>
                  <a:pt x="1478299" y="4308535"/>
                  <a:pt x="1474693" y="4307717"/>
                  <a:pt x="1471087" y="4306947"/>
                </a:cubicBezTo>
                <a:cubicBezTo>
                  <a:pt x="1462816" y="4305167"/>
                  <a:pt x="1454785" y="4303579"/>
                  <a:pt x="1446322" y="4302135"/>
                </a:cubicBezTo>
                <a:cubicBezTo>
                  <a:pt x="1442091" y="4301461"/>
                  <a:pt x="1437811" y="4300836"/>
                  <a:pt x="1433051" y="4300691"/>
                </a:cubicBezTo>
                <a:lnTo>
                  <a:pt x="1430887" y="4300691"/>
                </a:lnTo>
                <a:cubicBezTo>
                  <a:pt x="1429829" y="4300691"/>
                  <a:pt x="1428867" y="4300980"/>
                  <a:pt x="1427905" y="4301173"/>
                </a:cubicBezTo>
                <a:cubicBezTo>
                  <a:pt x="1425886" y="4301461"/>
                  <a:pt x="1424155" y="4302279"/>
                  <a:pt x="1422760" y="4303338"/>
                </a:cubicBezTo>
                <a:cubicBezTo>
                  <a:pt x="1421414" y="4304445"/>
                  <a:pt x="1420356" y="4306081"/>
                  <a:pt x="1420116" y="4307861"/>
                </a:cubicBezTo>
                <a:cubicBezTo>
                  <a:pt x="1419971" y="4309594"/>
                  <a:pt x="1420116" y="4311374"/>
                  <a:pt x="1420789" y="4313203"/>
                </a:cubicBezTo>
                <a:close/>
                <a:moveTo>
                  <a:pt x="1374482" y="4303097"/>
                </a:moveTo>
                <a:cubicBezTo>
                  <a:pt x="1366067" y="4297419"/>
                  <a:pt x="1357796" y="4291452"/>
                  <a:pt x="1350151" y="4285052"/>
                </a:cubicBezTo>
                <a:cubicBezTo>
                  <a:pt x="1346352" y="4281877"/>
                  <a:pt x="1342649" y="4278508"/>
                  <a:pt x="1339428" y="4275043"/>
                </a:cubicBezTo>
                <a:cubicBezTo>
                  <a:pt x="1337841" y="4273311"/>
                  <a:pt x="1336302" y="4271482"/>
                  <a:pt x="1335100" y="4269702"/>
                </a:cubicBezTo>
                <a:cubicBezTo>
                  <a:pt x="1333898" y="4267970"/>
                  <a:pt x="1333080" y="4266045"/>
                  <a:pt x="1333032" y="4265275"/>
                </a:cubicBezTo>
                <a:cubicBezTo>
                  <a:pt x="1333176" y="4265034"/>
                  <a:pt x="1332599" y="4265371"/>
                  <a:pt x="1333946" y="4264649"/>
                </a:cubicBezTo>
                <a:cubicBezTo>
                  <a:pt x="1335340" y="4264120"/>
                  <a:pt x="1337504" y="4263783"/>
                  <a:pt x="1339716" y="4263687"/>
                </a:cubicBezTo>
                <a:cubicBezTo>
                  <a:pt x="1344236" y="4263446"/>
                  <a:pt x="1349141" y="4263976"/>
                  <a:pt x="1353950" y="4264601"/>
                </a:cubicBezTo>
                <a:cubicBezTo>
                  <a:pt x="1363663" y="4265949"/>
                  <a:pt x="1373424" y="4268162"/>
                  <a:pt x="1383138" y="4270568"/>
                </a:cubicBezTo>
                <a:cubicBezTo>
                  <a:pt x="1396313" y="4273937"/>
                  <a:pt x="1409393" y="4277642"/>
                  <a:pt x="1422376" y="4281492"/>
                </a:cubicBezTo>
                <a:cubicBezTo>
                  <a:pt x="1421702" y="4281492"/>
                  <a:pt x="1421077" y="4281492"/>
                  <a:pt x="1420548" y="4281540"/>
                </a:cubicBezTo>
                <a:cubicBezTo>
                  <a:pt x="1419779" y="4281540"/>
                  <a:pt x="1419923" y="4281540"/>
                  <a:pt x="1419490" y="4281492"/>
                </a:cubicBezTo>
                <a:lnTo>
                  <a:pt x="1417230" y="4280962"/>
                </a:lnTo>
                <a:cubicBezTo>
                  <a:pt x="1410739" y="4279471"/>
                  <a:pt x="1404343" y="4278171"/>
                  <a:pt x="1397660" y="4277161"/>
                </a:cubicBezTo>
                <a:cubicBezTo>
                  <a:pt x="1394294" y="4276679"/>
                  <a:pt x="1390927" y="4276246"/>
                  <a:pt x="1387417" y="4276054"/>
                </a:cubicBezTo>
                <a:cubicBezTo>
                  <a:pt x="1385638" y="4275958"/>
                  <a:pt x="1383859" y="4275910"/>
                  <a:pt x="1381984" y="4276006"/>
                </a:cubicBezTo>
                <a:cubicBezTo>
                  <a:pt x="1379964" y="4276150"/>
                  <a:pt x="1378473" y="4276150"/>
                  <a:pt x="1375684" y="4276968"/>
                </a:cubicBezTo>
                <a:cubicBezTo>
                  <a:pt x="1375011" y="4277113"/>
                  <a:pt x="1374338" y="4277401"/>
                  <a:pt x="1373617" y="4277786"/>
                </a:cubicBezTo>
                <a:cubicBezTo>
                  <a:pt x="1372895" y="4278123"/>
                  <a:pt x="1372174" y="4278460"/>
                  <a:pt x="1371597" y="4278941"/>
                </a:cubicBezTo>
                <a:cubicBezTo>
                  <a:pt x="1370347" y="4279855"/>
                  <a:pt x="1369433" y="4281106"/>
                  <a:pt x="1368760" y="4282454"/>
                </a:cubicBezTo>
                <a:cubicBezTo>
                  <a:pt x="1368279" y="4283898"/>
                  <a:pt x="1367991" y="4285437"/>
                  <a:pt x="1368231" y="4286929"/>
                </a:cubicBezTo>
                <a:cubicBezTo>
                  <a:pt x="1368423" y="4288421"/>
                  <a:pt x="1369000" y="4290057"/>
                  <a:pt x="1369625" y="4291260"/>
                </a:cubicBezTo>
                <a:cubicBezTo>
                  <a:pt x="1370876" y="4293618"/>
                  <a:pt x="1371934" y="4294917"/>
                  <a:pt x="1373232" y="4296409"/>
                </a:cubicBezTo>
                <a:cubicBezTo>
                  <a:pt x="1374434" y="4297852"/>
                  <a:pt x="1375732" y="4299152"/>
                  <a:pt x="1377031" y="4300403"/>
                </a:cubicBezTo>
                <a:cubicBezTo>
                  <a:pt x="1382176" y="4305359"/>
                  <a:pt x="1387706" y="4309546"/>
                  <a:pt x="1393284" y="4313588"/>
                </a:cubicBezTo>
                <a:cubicBezTo>
                  <a:pt x="1398717" y="4317437"/>
                  <a:pt x="1404199" y="4321142"/>
                  <a:pt x="1409825" y="4324703"/>
                </a:cubicBezTo>
                <a:cubicBezTo>
                  <a:pt x="1397708" y="4317870"/>
                  <a:pt x="1385878" y="4310652"/>
                  <a:pt x="1374434" y="4303001"/>
                </a:cubicBezTo>
                <a:close/>
                <a:moveTo>
                  <a:pt x="1700167" y="4355741"/>
                </a:moveTo>
                <a:cubicBezTo>
                  <a:pt x="1684155" y="4349774"/>
                  <a:pt x="1668142" y="4343663"/>
                  <a:pt x="1652178" y="4337503"/>
                </a:cubicBezTo>
                <a:cubicBezTo>
                  <a:pt x="1676990" y="4346839"/>
                  <a:pt x="1701802" y="4356270"/>
                  <a:pt x="1726567" y="4365942"/>
                </a:cubicBezTo>
                <a:cubicBezTo>
                  <a:pt x="1717767" y="4362574"/>
                  <a:pt x="1708967" y="4359158"/>
                  <a:pt x="1700167" y="4355741"/>
                </a:cubicBezTo>
                <a:close/>
                <a:moveTo>
                  <a:pt x="1274993" y="4202671"/>
                </a:moveTo>
                <a:cubicBezTo>
                  <a:pt x="1268693" y="4201419"/>
                  <a:pt x="1262346" y="4200409"/>
                  <a:pt x="1255854" y="4199784"/>
                </a:cubicBezTo>
                <a:cubicBezTo>
                  <a:pt x="1249315" y="4199254"/>
                  <a:pt x="1242727" y="4198773"/>
                  <a:pt x="1235658" y="4200409"/>
                </a:cubicBezTo>
                <a:cubicBezTo>
                  <a:pt x="1232196" y="4201227"/>
                  <a:pt x="1228157" y="4202622"/>
                  <a:pt x="1225224" y="4206424"/>
                </a:cubicBezTo>
                <a:cubicBezTo>
                  <a:pt x="1222242" y="4210274"/>
                  <a:pt x="1222291" y="4215230"/>
                  <a:pt x="1223156" y="4218791"/>
                </a:cubicBezTo>
                <a:cubicBezTo>
                  <a:pt x="1223974" y="4222544"/>
                  <a:pt x="1225560" y="4225624"/>
                  <a:pt x="1227147" y="4228704"/>
                </a:cubicBezTo>
                <a:cubicBezTo>
                  <a:pt x="1228974" y="4231880"/>
                  <a:pt x="1231090" y="4234430"/>
                  <a:pt x="1233254" y="4237029"/>
                </a:cubicBezTo>
                <a:cubicBezTo>
                  <a:pt x="1240611" y="4245353"/>
                  <a:pt x="1248738" y="4252571"/>
                  <a:pt x="1257057" y="4259452"/>
                </a:cubicBezTo>
                <a:cubicBezTo>
                  <a:pt x="1250998" y="4256469"/>
                  <a:pt x="1244939" y="4253534"/>
                  <a:pt x="1238880" y="4250550"/>
                </a:cubicBezTo>
                <a:lnTo>
                  <a:pt x="1226089" y="4241215"/>
                </a:lnTo>
                <a:lnTo>
                  <a:pt x="1213106" y="4231543"/>
                </a:lnTo>
                <a:cubicBezTo>
                  <a:pt x="1204595" y="4224998"/>
                  <a:pt x="1195843" y="4218406"/>
                  <a:pt x="1188727" y="4211092"/>
                </a:cubicBezTo>
                <a:cubicBezTo>
                  <a:pt x="1185264" y="4207483"/>
                  <a:pt x="1182283" y="4203248"/>
                  <a:pt x="1181802" y="4199591"/>
                </a:cubicBezTo>
                <a:cubicBezTo>
                  <a:pt x="1181658" y="4197810"/>
                  <a:pt x="1182043" y="4196367"/>
                  <a:pt x="1183197" y="4194923"/>
                </a:cubicBezTo>
                <a:cubicBezTo>
                  <a:pt x="1184351" y="4193528"/>
                  <a:pt x="1186082" y="4192180"/>
                  <a:pt x="1188198" y="4191170"/>
                </a:cubicBezTo>
                <a:cubicBezTo>
                  <a:pt x="1192381" y="4189101"/>
                  <a:pt x="1197478" y="4187994"/>
                  <a:pt x="1202575" y="4187272"/>
                </a:cubicBezTo>
                <a:cubicBezTo>
                  <a:pt x="1207721" y="4186550"/>
                  <a:pt x="1212962" y="4186310"/>
                  <a:pt x="1218299" y="4186310"/>
                </a:cubicBezTo>
                <a:cubicBezTo>
                  <a:pt x="1239553" y="4186406"/>
                  <a:pt x="1260951" y="4190015"/>
                  <a:pt x="1281869" y="4194972"/>
                </a:cubicBezTo>
                <a:cubicBezTo>
                  <a:pt x="1302834" y="4199976"/>
                  <a:pt x="1323463" y="4206953"/>
                  <a:pt x="1343996" y="4214075"/>
                </a:cubicBezTo>
                <a:cubicBezTo>
                  <a:pt x="1364528" y="4221341"/>
                  <a:pt x="1384772" y="4229329"/>
                  <a:pt x="1404969" y="4237654"/>
                </a:cubicBezTo>
                <a:cubicBezTo>
                  <a:pt x="1434782" y="4249925"/>
                  <a:pt x="1464355" y="4263206"/>
                  <a:pt x="1494312" y="4275862"/>
                </a:cubicBezTo>
                <a:cubicBezTo>
                  <a:pt x="1469644" y="4266334"/>
                  <a:pt x="1444928" y="4256950"/>
                  <a:pt x="1420019" y="4247807"/>
                </a:cubicBezTo>
                <a:cubicBezTo>
                  <a:pt x="1396361" y="4239146"/>
                  <a:pt x="1372559" y="4230725"/>
                  <a:pt x="1348516" y="4222881"/>
                </a:cubicBezTo>
                <a:cubicBezTo>
                  <a:pt x="1324425" y="4215134"/>
                  <a:pt x="1300142" y="4207675"/>
                  <a:pt x="1275041" y="4202622"/>
                </a:cubicBezTo>
                <a:close/>
                <a:moveTo>
                  <a:pt x="1351978" y="4302761"/>
                </a:moveTo>
                <a:lnTo>
                  <a:pt x="1350247" y="4302039"/>
                </a:lnTo>
                <a:lnTo>
                  <a:pt x="1350055" y="4301943"/>
                </a:lnTo>
                <a:lnTo>
                  <a:pt x="1349285" y="4301461"/>
                </a:lnTo>
                <a:lnTo>
                  <a:pt x="1346160" y="4299488"/>
                </a:lnTo>
                <a:cubicBezTo>
                  <a:pt x="1337841" y="4294243"/>
                  <a:pt x="1329618" y="4288758"/>
                  <a:pt x="1321636" y="4283031"/>
                </a:cubicBezTo>
                <a:cubicBezTo>
                  <a:pt x="1313654" y="4277257"/>
                  <a:pt x="1305864" y="4271242"/>
                  <a:pt x="1298459" y="4264794"/>
                </a:cubicBezTo>
                <a:cubicBezTo>
                  <a:pt x="1291149" y="4258346"/>
                  <a:pt x="1283985" y="4251416"/>
                  <a:pt x="1279032" y="4243910"/>
                </a:cubicBezTo>
                <a:cubicBezTo>
                  <a:pt x="1278359" y="4242995"/>
                  <a:pt x="1277830" y="4242033"/>
                  <a:pt x="1277397" y="4241119"/>
                </a:cubicBezTo>
                <a:cubicBezTo>
                  <a:pt x="1276820" y="4240156"/>
                  <a:pt x="1276531" y="4239290"/>
                  <a:pt x="1276243" y="4238424"/>
                </a:cubicBezTo>
                <a:cubicBezTo>
                  <a:pt x="1275714" y="4236740"/>
                  <a:pt x="1275666" y="4235392"/>
                  <a:pt x="1276002" y="4235055"/>
                </a:cubicBezTo>
                <a:cubicBezTo>
                  <a:pt x="1276339" y="4234623"/>
                  <a:pt x="1277012" y="4233756"/>
                  <a:pt x="1278888" y="4233227"/>
                </a:cubicBezTo>
                <a:cubicBezTo>
                  <a:pt x="1280571" y="4232649"/>
                  <a:pt x="1282734" y="4232313"/>
                  <a:pt x="1284946" y="4232168"/>
                </a:cubicBezTo>
                <a:cubicBezTo>
                  <a:pt x="1293987" y="4231591"/>
                  <a:pt x="1303988" y="4233227"/>
                  <a:pt x="1313654" y="4235055"/>
                </a:cubicBezTo>
                <a:cubicBezTo>
                  <a:pt x="1323415" y="4236932"/>
                  <a:pt x="1333128" y="4239435"/>
                  <a:pt x="1342842" y="4242177"/>
                </a:cubicBezTo>
                <a:cubicBezTo>
                  <a:pt x="1352603" y="4244872"/>
                  <a:pt x="1362316" y="4247711"/>
                  <a:pt x="1372030" y="4250743"/>
                </a:cubicBezTo>
                <a:cubicBezTo>
                  <a:pt x="1391456" y="4256710"/>
                  <a:pt x="1410835" y="4263158"/>
                  <a:pt x="1430214" y="4269895"/>
                </a:cubicBezTo>
                <a:cubicBezTo>
                  <a:pt x="1459690" y="4280144"/>
                  <a:pt x="1489215" y="4291019"/>
                  <a:pt x="1518740" y="4302183"/>
                </a:cubicBezTo>
                <a:cubicBezTo>
                  <a:pt x="1494023" y="4293714"/>
                  <a:pt x="1469163" y="4285389"/>
                  <a:pt x="1443870" y="4277353"/>
                </a:cubicBezTo>
                <a:cubicBezTo>
                  <a:pt x="1424732" y="4271434"/>
                  <a:pt x="1405449" y="4265660"/>
                  <a:pt x="1385734" y="4260607"/>
                </a:cubicBezTo>
                <a:cubicBezTo>
                  <a:pt x="1375829" y="4258153"/>
                  <a:pt x="1365827" y="4255843"/>
                  <a:pt x="1355488" y="4254400"/>
                </a:cubicBezTo>
                <a:cubicBezTo>
                  <a:pt x="1350295" y="4253726"/>
                  <a:pt x="1345006" y="4253149"/>
                  <a:pt x="1339331" y="4253389"/>
                </a:cubicBezTo>
                <a:cubicBezTo>
                  <a:pt x="1336494" y="4253534"/>
                  <a:pt x="1333561" y="4253822"/>
                  <a:pt x="1330147" y="4255122"/>
                </a:cubicBezTo>
                <a:cubicBezTo>
                  <a:pt x="1328512" y="4255843"/>
                  <a:pt x="1326492" y="4256902"/>
                  <a:pt x="1324858" y="4258971"/>
                </a:cubicBezTo>
                <a:cubicBezTo>
                  <a:pt x="1323319" y="4260944"/>
                  <a:pt x="1322598" y="4263543"/>
                  <a:pt x="1322790" y="4265997"/>
                </a:cubicBezTo>
                <a:cubicBezTo>
                  <a:pt x="1323223" y="4270376"/>
                  <a:pt x="1325002" y="4273022"/>
                  <a:pt x="1326589" y="4275525"/>
                </a:cubicBezTo>
                <a:cubicBezTo>
                  <a:pt x="1328224" y="4277979"/>
                  <a:pt x="1330051" y="4280096"/>
                  <a:pt x="1331878" y="4282117"/>
                </a:cubicBezTo>
                <a:cubicBezTo>
                  <a:pt x="1335581" y="4286111"/>
                  <a:pt x="1339524" y="4289672"/>
                  <a:pt x="1343563" y="4293040"/>
                </a:cubicBezTo>
                <a:cubicBezTo>
                  <a:pt x="1349477" y="4297997"/>
                  <a:pt x="1355584" y="4302472"/>
                  <a:pt x="1361836" y="4306899"/>
                </a:cubicBezTo>
                <a:lnTo>
                  <a:pt x="1358854" y="4305648"/>
                </a:lnTo>
                <a:lnTo>
                  <a:pt x="1352026" y="4302761"/>
                </a:lnTo>
                <a:close/>
                <a:moveTo>
                  <a:pt x="1816535" y="4444571"/>
                </a:moveTo>
                <a:cubicBezTo>
                  <a:pt x="1817112" y="4444956"/>
                  <a:pt x="1816824" y="4444763"/>
                  <a:pt x="1816920" y="4444811"/>
                </a:cubicBezTo>
                <a:lnTo>
                  <a:pt x="1816920" y="4444811"/>
                </a:lnTo>
                <a:cubicBezTo>
                  <a:pt x="1816920" y="4444811"/>
                  <a:pt x="1816920" y="4444811"/>
                  <a:pt x="1816920" y="4444811"/>
                </a:cubicBezTo>
                <a:lnTo>
                  <a:pt x="1816920" y="4444811"/>
                </a:lnTo>
                <a:cubicBezTo>
                  <a:pt x="1817833" y="4444811"/>
                  <a:pt x="1813746" y="4444715"/>
                  <a:pt x="1811101" y="4444474"/>
                </a:cubicBezTo>
                <a:cubicBezTo>
                  <a:pt x="1808216" y="4444186"/>
                  <a:pt x="1805331" y="4443849"/>
                  <a:pt x="1802398" y="4443416"/>
                </a:cubicBezTo>
                <a:cubicBezTo>
                  <a:pt x="1778884" y="4439855"/>
                  <a:pt x="1755851" y="4434273"/>
                  <a:pt x="1733828" y="4428691"/>
                </a:cubicBezTo>
                <a:cubicBezTo>
                  <a:pt x="1711804" y="4423061"/>
                  <a:pt x="1690646" y="4417046"/>
                  <a:pt x="1670643" y="4410935"/>
                </a:cubicBezTo>
                <a:cubicBezTo>
                  <a:pt x="1630635" y="4398857"/>
                  <a:pt x="1595436" y="4385287"/>
                  <a:pt x="1566104" y="4373305"/>
                </a:cubicBezTo>
                <a:cubicBezTo>
                  <a:pt x="1551486" y="4367290"/>
                  <a:pt x="1538359" y="4361515"/>
                  <a:pt x="1527107" y="4356078"/>
                </a:cubicBezTo>
                <a:cubicBezTo>
                  <a:pt x="1521481" y="4353335"/>
                  <a:pt x="1516287" y="4350688"/>
                  <a:pt x="1511671" y="4348090"/>
                </a:cubicBezTo>
                <a:cubicBezTo>
                  <a:pt x="1509459" y="4346839"/>
                  <a:pt x="1507055" y="4345347"/>
                  <a:pt x="1505420" y="4344240"/>
                </a:cubicBezTo>
                <a:cubicBezTo>
                  <a:pt x="1504218" y="4343470"/>
                  <a:pt x="1503064" y="4342604"/>
                  <a:pt x="1502150" y="4341449"/>
                </a:cubicBezTo>
                <a:cubicBezTo>
                  <a:pt x="1501717" y="4340920"/>
                  <a:pt x="1501429" y="4340054"/>
                  <a:pt x="1501958" y="4339573"/>
                </a:cubicBezTo>
                <a:cubicBezTo>
                  <a:pt x="1502390" y="4339091"/>
                  <a:pt x="1502967" y="4338851"/>
                  <a:pt x="1503593" y="4338706"/>
                </a:cubicBezTo>
                <a:cubicBezTo>
                  <a:pt x="1504795" y="4338418"/>
                  <a:pt x="1505949" y="4338273"/>
                  <a:pt x="1507199" y="4338225"/>
                </a:cubicBezTo>
                <a:cubicBezTo>
                  <a:pt x="1510180" y="4338129"/>
                  <a:pt x="1513306" y="4338225"/>
                  <a:pt x="1515566" y="4338273"/>
                </a:cubicBezTo>
                <a:cubicBezTo>
                  <a:pt x="1520230" y="4338466"/>
                  <a:pt x="1522683" y="4338514"/>
                  <a:pt x="1522779" y="4338129"/>
                </a:cubicBezTo>
                <a:cubicBezTo>
                  <a:pt x="1522827" y="4337792"/>
                  <a:pt x="1520471" y="4337022"/>
                  <a:pt x="1515806" y="4336156"/>
                </a:cubicBezTo>
                <a:cubicBezTo>
                  <a:pt x="1513402" y="4335771"/>
                  <a:pt x="1510757" y="4335242"/>
                  <a:pt x="1506911" y="4335049"/>
                </a:cubicBezTo>
                <a:cubicBezTo>
                  <a:pt x="1504747" y="4334905"/>
                  <a:pt x="1502198" y="4335049"/>
                  <a:pt x="1499986" y="4335627"/>
                </a:cubicBezTo>
                <a:cubicBezTo>
                  <a:pt x="1498832" y="4335964"/>
                  <a:pt x="1497822" y="4336445"/>
                  <a:pt x="1497005" y="4337359"/>
                </a:cubicBezTo>
                <a:cubicBezTo>
                  <a:pt x="1496091" y="4338321"/>
                  <a:pt x="1496187" y="4339813"/>
                  <a:pt x="1496572" y="4340920"/>
                </a:cubicBezTo>
                <a:cubicBezTo>
                  <a:pt x="1497390" y="4343182"/>
                  <a:pt x="1499553" y="4345539"/>
                  <a:pt x="1502342" y="4347705"/>
                </a:cubicBezTo>
                <a:cubicBezTo>
                  <a:pt x="1504698" y="4349533"/>
                  <a:pt x="1506622" y="4350881"/>
                  <a:pt x="1509026" y="4352421"/>
                </a:cubicBezTo>
                <a:cubicBezTo>
                  <a:pt x="1513643" y="4355404"/>
                  <a:pt x="1518788" y="4358387"/>
                  <a:pt x="1524366" y="4361419"/>
                </a:cubicBezTo>
                <a:cubicBezTo>
                  <a:pt x="1531434" y="4365221"/>
                  <a:pt x="1539320" y="4369166"/>
                  <a:pt x="1547783" y="4373160"/>
                </a:cubicBezTo>
                <a:cubicBezTo>
                  <a:pt x="1532973" y="4367194"/>
                  <a:pt x="1518355" y="4361034"/>
                  <a:pt x="1504025" y="4354538"/>
                </a:cubicBezTo>
                <a:cubicBezTo>
                  <a:pt x="1490273" y="4348282"/>
                  <a:pt x="1476809" y="4341738"/>
                  <a:pt x="1463922" y="4334568"/>
                </a:cubicBezTo>
                <a:cubicBezTo>
                  <a:pt x="1457478" y="4330959"/>
                  <a:pt x="1451227" y="4327206"/>
                  <a:pt x="1445361" y="4323163"/>
                </a:cubicBezTo>
                <a:cubicBezTo>
                  <a:pt x="1442379" y="4321142"/>
                  <a:pt x="1439638" y="4318977"/>
                  <a:pt x="1437042" y="4316764"/>
                </a:cubicBezTo>
                <a:cubicBezTo>
                  <a:pt x="1435840" y="4315609"/>
                  <a:pt x="1434541" y="4314502"/>
                  <a:pt x="1433532" y="4313299"/>
                </a:cubicBezTo>
                <a:cubicBezTo>
                  <a:pt x="1432955" y="4312721"/>
                  <a:pt x="1432474" y="4312144"/>
                  <a:pt x="1432089" y="4311567"/>
                </a:cubicBezTo>
                <a:lnTo>
                  <a:pt x="1431945" y="4311422"/>
                </a:lnTo>
                <a:lnTo>
                  <a:pt x="1431945" y="4311326"/>
                </a:lnTo>
                <a:cubicBezTo>
                  <a:pt x="1431945" y="4311326"/>
                  <a:pt x="1431993" y="4311326"/>
                  <a:pt x="1431993" y="4311326"/>
                </a:cubicBezTo>
                <a:lnTo>
                  <a:pt x="1433051" y="4311326"/>
                </a:lnTo>
                <a:cubicBezTo>
                  <a:pt x="1436705" y="4311374"/>
                  <a:pt x="1440793" y="4311903"/>
                  <a:pt x="1444784" y="4312577"/>
                </a:cubicBezTo>
                <a:cubicBezTo>
                  <a:pt x="1452862" y="4313876"/>
                  <a:pt x="1461133" y="4315512"/>
                  <a:pt x="1469067" y="4317197"/>
                </a:cubicBezTo>
                <a:cubicBezTo>
                  <a:pt x="1485080" y="4320517"/>
                  <a:pt x="1500900" y="4324655"/>
                  <a:pt x="1516431" y="4328890"/>
                </a:cubicBezTo>
                <a:cubicBezTo>
                  <a:pt x="1541148" y="4335723"/>
                  <a:pt x="1565191" y="4343085"/>
                  <a:pt x="1588704" y="4350592"/>
                </a:cubicBezTo>
                <a:cubicBezTo>
                  <a:pt x="1573606" y="4346646"/>
                  <a:pt x="1560622" y="4343615"/>
                  <a:pt x="1550332" y="4341594"/>
                </a:cubicBezTo>
                <a:cubicBezTo>
                  <a:pt x="1541580" y="4339909"/>
                  <a:pt x="1534752" y="4338802"/>
                  <a:pt x="1530040" y="4338370"/>
                </a:cubicBezTo>
                <a:cubicBezTo>
                  <a:pt x="1525375" y="4337888"/>
                  <a:pt x="1522875" y="4337792"/>
                  <a:pt x="1522827" y="4338177"/>
                </a:cubicBezTo>
                <a:cubicBezTo>
                  <a:pt x="1522779" y="4338562"/>
                  <a:pt x="1525135" y="4339332"/>
                  <a:pt x="1529655" y="4340487"/>
                </a:cubicBezTo>
                <a:cubicBezTo>
                  <a:pt x="1534175" y="4341545"/>
                  <a:pt x="1540859" y="4343326"/>
                  <a:pt x="1549370" y="4345636"/>
                </a:cubicBezTo>
                <a:cubicBezTo>
                  <a:pt x="1566441" y="4350303"/>
                  <a:pt x="1591061" y="4357569"/>
                  <a:pt x="1621162" y="4367530"/>
                </a:cubicBezTo>
                <a:cubicBezTo>
                  <a:pt x="1651264" y="4377491"/>
                  <a:pt x="1686944" y="4389858"/>
                  <a:pt x="1726134" y="4404727"/>
                </a:cubicBezTo>
                <a:cubicBezTo>
                  <a:pt x="1745705" y="4412138"/>
                  <a:pt x="1766237" y="4420126"/>
                  <a:pt x="1787010" y="4429220"/>
                </a:cubicBezTo>
                <a:cubicBezTo>
                  <a:pt x="1792107" y="4431578"/>
                  <a:pt x="1797445" y="4433792"/>
                  <a:pt x="1802398" y="4436438"/>
                </a:cubicBezTo>
                <a:cubicBezTo>
                  <a:pt x="1804898" y="4437690"/>
                  <a:pt x="1807447" y="4438941"/>
                  <a:pt x="1809899" y="4440384"/>
                </a:cubicBezTo>
                <a:lnTo>
                  <a:pt x="1813554" y="4442550"/>
                </a:lnTo>
                <a:cubicBezTo>
                  <a:pt x="1814708" y="4443271"/>
                  <a:pt x="1816054" y="4444138"/>
                  <a:pt x="1816727" y="4444571"/>
                </a:cubicBezTo>
                <a:close/>
                <a:moveTo>
                  <a:pt x="1949300" y="4473347"/>
                </a:moveTo>
                <a:cubicBezTo>
                  <a:pt x="1946896" y="4473010"/>
                  <a:pt x="1944443" y="4472721"/>
                  <a:pt x="1941991" y="4472384"/>
                </a:cubicBezTo>
                <a:lnTo>
                  <a:pt x="1938288" y="4471903"/>
                </a:lnTo>
                <a:cubicBezTo>
                  <a:pt x="1937519" y="4471807"/>
                  <a:pt x="1937663" y="4471855"/>
                  <a:pt x="1937182" y="4471662"/>
                </a:cubicBezTo>
                <a:lnTo>
                  <a:pt x="1935451" y="4470941"/>
                </a:lnTo>
                <a:cubicBezTo>
                  <a:pt x="1926075" y="4467139"/>
                  <a:pt x="1916409" y="4463241"/>
                  <a:pt x="1906359" y="4459199"/>
                </a:cubicBezTo>
                <a:cubicBezTo>
                  <a:pt x="1896309" y="4455157"/>
                  <a:pt x="1885971" y="4450971"/>
                  <a:pt x="1875296" y="4446688"/>
                </a:cubicBezTo>
                <a:cubicBezTo>
                  <a:pt x="1883278" y="4449190"/>
                  <a:pt x="1890058" y="4451211"/>
                  <a:pt x="1895540" y="4452751"/>
                </a:cubicBezTo>
                <a:cubicBezTo>
                  <a:pt x="1906504" y="4455879"/>
                  <a:pt x="1912274" y="4457371"/>
                  <a:pt x="1912418" y="4457034"/>
                </a:cubicBezTo>
                <a:cubicBezTo>
                  <a:pt x="1912514" y="4456745"/>
                  <a:pt x="1908571" y="4455205"/>
                  <a:pt x="1901022" y="4452510"/>
                </a:cubicBezTo>
                <a:cubicBezTo>
                  <a:pt x="1909052" y="4455109"/>
                  <a:pt x="1917082" y="4457515"/>
                  <a:pt x="1925113" y="4459825"/>
                </a:cubicBezTo>
                <a:cubicBezTo>
                  <a:pt x="1922901" y="4459296"/>
                  <a:pt x="1920833" y="4458814"/>
                  <a:pt x="1919198" y="4458429"/>
                </a:cubicBezTo>
                <a:cubicBezTo>
                  <a:pt x="1914774" y="4457322"/>
                  <a:pt x="1912466" y="4456890"/>
                  <a:pt x="1912418" y="4457082"/>
                </a:cubicBezTo>
                <a:cubicBezTo>
                  <a:pt x="1912370" y="4457275"/>
                  <a:pt x="1914534" y="4458189"/>
                  <a:pt x="1918814" y="4459681"/>
                </a:cubicBezTo>
                <a:cubicBezTo>
                  <a:pt x="1923141" y="4461172"/>
                  <a:pt x="1929585" y="4463193"/>
                  <a:pt x="1938096" y="4465599"/>
                </a:cubicBezTo>
                <a:cubicBezTo>
                  <a:pt x="1946607" y="4468005"/>
                  <a:pt x="1957138" y="4470796"/>
                  <a:pt x="1969592" y="4473972"/>
                </a:cubicBezTo>
                <a:cubicBezTo>
                  <a:pt x="1974930" y="4475368"/>
                  <a:pt x="1980700" y="4476811"/>
                  <a:pt x="1986711" y="4478351"/>
                </a:cubicBezTo>
                <a:cubicBezTo>
                  <a:pt x="1979209" y="4477341"/>
                  <a:pt x="1971516" y="4476330"/>
                  <a:pt x="1963437" y="4475223"/>
                </a:cubicBezTo>
                <a:cubicBezTo>
                  <a:pt x="1958773" y="4474598"/>
                  <a:pt x="1954060" y="4473972"/>
                  <a:pt x="1949252" y="4473347"/>
                </a:cubicBezTo>
                <a:close/>
                <a:moveTo>
                  <a:pt x="2070140" y="4488119"/>
                </a:moveTo>
                <a:lnTo>
                  <a:pt x="2070140" y="4488119"/>
                </a:lnTo>
                <a:cubicBezTo>
                  <a:pt x="2071053" y="4487590"/>
                  <a:pt x="2070717" y="4487783"/>
                  <a:pt x="2070140" y="4488119"/>
                </a:cubicBezTo>
                <a:close/>
                <a:moveTo>
                  <a:pt x="2665538" y="4454772"/>
                </a:moveTo>
                <a:cubicBezTo>
                  <a:pt x="2662028" y="4455398"/>
                  <a:pt x="2658470" y="4456072"/>
                  <a:pt x="2654815" y="4456697"/>
                </a:cubicBezTo>
                <a:cubicBezTo>
                  <a:pt x="2652988" y="4457034"/>
                  <a:pt x="2651160" y="4457371"/>
                  <a:pt x="2649285" y="4457708"/>
                </a:cubicBezTo>
                <a:lnTo>
                  <a:pt x="2646496" y="4458237"/>
                </a:lnTo>
                <a:lnTo>
                  <a:pt x="2645102" y="4458478"/>
                </a:lnTo>
                <a:cubicBezTo>
                  <a:pt x="2644621" y="4458574"/>
                  <a:pt x="2644813" y="4458478"/>
                  <a:pt x="2644140" y="4458574"/>
                </a:cubicBezTo>
                <a:cubicBezTo>
                  <a:pt x="2636398" y="4458814"/>
                  <a:pt x="2628464" y="4459199"/>
                  <a:pt x="2620241" y="4459632"/>
                </a:cubicBezTo>
                <a:cubicBezTo>
                  <a:pt x="2591294" y="4461317"/>
                  <a:pt x="2559269" y="4463771"/>
                  <a:pt x="2524791" y="4466562"/>
                </a:cubicBezTo>
                <a:cubicBezTo>
                  <a:pt x="2551335" y="4463771"/>
                  <a:pt x="2573310" y="4461365"/>
                  <a:pt x="2589851" y="4459440"/>
                </a:cubicBezTo>
                <a:cubicBezTo>
                  <a:pt x="2601344" y="4458093"/>
                  <a:pt x="2610192" y="4456986"/>
                  <a:pt x="2616202" y="4456119"/>
                </a:cubicBezTo>
                <a:cubicBezTo>
                  <a:pt x="2622213" y="4455253"/>
                  <a:pt x="2625338" y="4454628"/>
                  <a:pt x="2625291" y="4454291"/>
                </a:cubicBezTo>
                <a:cubicBezTo>
                  <a:pt x="2625291" y="4453954"/>
                  <a:pt x="2622069" y="4453906"/>
                  <a:pt x="2616010" y="4454147"/>
                </a:cubicBezTo>
                <a:cubicBezTo>
                  <a:pt x="2609951" y="4454387"/>
                  <a:pt x="2601055" y="4454869"/>
                  <a:pt x="2589515" y="4455638"/>
                </a:cubicBezTo>
                <a:cubicBezTo>
                  <a:pt x="2570232" y="4456890"/>
                  <a:pt x="2543593" y="4458862"/>
                  <a:pt x="2511087" y="4461413"/>
                </a:cubicBezTo>
                <a:cubicBezTo>
                  <a:pt x="2537870" y="4458911"/>
                  <a:pt x="2563885" y="4456505"/>
                  <a:pt x="2589082" y="4454147"/>
                </a:cubicBezTo>
                <a:cubicBezTo>
                  <a:pt x="2603748" y="4452799"/>
                  <a:pt x="2618174" y="4451452"/>
                  <a:pt x="2632311" y="4450104"/>
                </a:cubicBezTo>
                <a:cubicBezTo>
                  <a:pt x="2646448" y="4448757"/>
                  <a:pt x="2660153" y="4447506"/>
                  <a:pt x="2673665" y="4447554"/>
                </a:cubicBezTo>
                <a:cubicBezTo>
                  <a:pt x="2679916" y="4447506"/>
                  <a:pt x="2686071" y="4447747"/>
                  <a:pt x="2692178" y="4448083"/>
                </a:cubicBezTo>
                <a:cubicBezTo>
                  <a:pt x="2672751" y="4448709"/>
                  <a:pt x="2657171" y="4450104"/>
                  <a:pt x="2645967" y="4451163"/>
                </a:cubicBezTo>
                <a:cubicBezTo>
                  <a:pt x="2632407" y="4452559"/>
                  <a:pt x="2625194" y="4453762"/>
                  <a:pt x="2625242" y="4454243"/>
                </a:cubicBezTo>
                <a:cubicBezTo>
                  <a:pt x="2625291" y="4454772"/>
                  <a:pt x="2632599" y="4454532"/>
                  <a:pt x="2646160" y="4454050"/>
                </a:cubicBezTo>
                <a:cubicBezTo>
                  <a:pt x="2653469" y="4453858"/>
                  <a:pt x="2662653" y="4453521"/>
                  <a:pt x="2673424" y="4453329"/>
                </a:cubicBezTo>
                <a:cubicBezTo>
                  <a:pt x="2670828" y="4453810"/>
                  <a:pt x="2668183" y="4454243"/>
                  <a:pt x="2665490" y="4454724"/>
                </a:cubicBezTo>
                <a:close/>
                <a:moveTo>
                  <a:pt x="2750794" y="4437738"/>
                </a:moveTo>
                <a:cubicBezTo>
                  <a:pt x="2744687" y="4439085"/>
                  <a:pt x="2738533" y="4440433"/>
                  <a:pt x="2732329" y="4441828"/>
                </a:cubicBezTo>
                <a:lnTo>
                  <a:pt x="2727617" y="4442839"/>
                </a:lnTo>
                <a:cubicBezTo>
                  <a:pt x="2727136" y="4442935"/>
                  <a:pt x="2727232" y="4442935"/>
                  <a:pt x="2726848" y="4442935"/>
                </a:cubicBezTo>
                <a:lnTo>
                  <a:pt x="2725646" y="4442935"/>
                </a:lnTo>
                <a:cubicBezTo>
                  <a:pt x="2725646" y="4442935"/>
                  <a:pt x="2723289" y="4443127"/>
                  <a:pt x="2723289" y="4443127"/>
                </a:cubicBezTo>
                <a:cubicBezTo>
                  <a:pt x="2720116" y="4443271"/>
                  <a:pt x="2716942" y="4443271"/>
                  <a:pt x="2713720" y="4443223"/>
                </a:cubicBezTo>
                <a:cubicBezTo>
                  <a:pt x="2700881" y="4442935"/>
                  <a:pt x="2687465" y="4441443"/>
                  <a:pt x="2673665" y="4441491"/>
                </a:cubicBezTo>
                <a:cubicBezTo>
                  <a:pt x="2659912" y="4441347"/>
                  <a:pt x="2645823" y="4442550"/>
                  <a:pt x="2631686" y="4443801"/>
                </a:cubicBezTo>
                <a:cubicBezTo>
                  <a:pt x="2617549" y="4445052"/>
                  <a:pt x="2603123" y="4446303"/>
                  <a:pt x="2588457" y="4447602"/>
                </a:cubicBezTo>
                <a:cubicBezTo>
                  <a:pt x="2559076" y="4450201"/>
                  <a:pt x="2528638" y="4452847"/>
                  <a:pt x="2497142" y="4455590"/>
                </a:cubicBezTo>
                <a:cubicBezTo>
                  <a:pt x="2434197" y="4461124"/>
                  <a:pt x="2367118" y="4467043"/>
                  <a:pt x="2296287" y="4473298"/>
                </a:cubicBezTo>
                <a:cubicBezTo>
                  <a:pt x="2260944" y="4476715"/>
                  <a:pt x="2224351" y="4478832"/>
                  <a:pt x="2187132" y="4482586"/>
                </a:cubicBezTo>
                <a:cubicBezTo>
                  <a:pt x="2168523" y="4484414"/>
                  <a:pt x="2149722" y="4486243"/>
                  <a:pt x="2130680" y="4488119"/>
                </a:cubicBezTo>
                <a:lnTo>
                  <a:pt x="2123563" y="4488745"/>
                </a:lnTo>
                <a:lnTo>
                  <a:pt x="2121784" y="4488889"/>
                </a:lnTo>
                <a:lnTo>
                  <a:pt x="2120870" y="4488986"/>
                </a:lnTo>
                <a:lnTo>
                  <a:pt x="2120582" y="4488986"/>
                </a:lnTo>
                <a:cubicBezTo>
                  <a:pt x="2120582" y="4488986"/>
                  <a:pt x="2116975" y="4488745"/>
                  <a:pt x="2116975" y="4488745"/>
                </a:cubicBezTo>
                <a:cubicBezTo>
                  <a:pt x="2112167" y="4488408"/>
                  <a:pt x="2107358" y="4488071"/>
                  <a:pt x="2102550" y="4487734"/>
                </a:cubicBezTo>
                <a:cubicBezTo>
                  <a:pt x="2093798" y="4487109"/>
                  <a:pt x="2085046" y="4486483"/>
                  <a:pt x="2076198" y="4485858"/>
                </a:cubicBezTo>
                <a:lnTo>
                  <a:pt x="2075621" y="4485858"/>
                </a:lnTo>
                <a:cubicBezTo>
                  <a:pt x="2075621" y="4485858"/>
                  <a:pt x="2076054" y="4485425"/>
                  <a:pt x="2076054" y="4485425"/>
                </a:cubicBezTo>
                <a:cubicBezTo>
                  <a:pt x="2076054" y="4485425"/>
                  <a:pt x="2076054" y="4485377"/>
                  <a:pt x="2075766" y="4484799"/>
                </a:cubicBezTo>
                <a:cubicBezTo>
                  <a:pt x="2075333" y="4484077"/>
                  <a:pt x="2074948" y="4483644"/>
                  <a:pt x="2074564" y="4483259"/>
                </a:cubicBezTo>
                <a:cubicBezTo>
                  <a:pt x="2073842" y="4482586"/>
                  <a:pt x="2073169" y="4482104"/>
                  <a:pt x="2072592" y="4481719"/>
                </a:cubicBezTo>
                <a:cubicBezTo>
                  <a:pt x="2071342" y="4480998"/>
                  <a:pt x="2070332" y="4480420"/>
                  <a:pt x="2069178" y="4480035"/>
                </a:cubicBezTo>
                <a:cubicBezTo>
                  <a:pt x="2066822" y="4479073"/>
                  <a:pt x="2064706" y="4478495"/>
                  <a:pt x="2062542" y="4477918"/>
                </a:cubicBezTo>
                <a:cubicBezTo>
                  <a:pt x="2058262" y="4476859"/>
                  <a:pt x="2054079" y="4476041"/>
                  <a:pt x="2049847" y="4475271"/>
                </a:cubicBezTo>
                <a:cubicBezTo>
                  <a:pt x="2046866" y="4474742"/>
                  <a:pt x="2043933" y="4474213"/>
                  <a:pt x="2040952" y="4473732"/>
                </a:cubicBezTo>
                <a:cubicBezTo>
                  <a:pt x="2110436" y="4480950"/>
                  <a:pt x="2179631" y="4478544"/>
                  <a:pt x="2246278" y="4468438"/>
                </a:cubicBezTo>
                <a:cubicBezTo>
                  <a:pt x="2265272" y="4465599"/>
                  <a:pt x="2284025" y="4461798"/>
                  <a:pt x="2302538" y="4457275"/>
                </a:cubicBezTo>
                <a:cubicBezTo>
                  <a:pt x="2321052" y="4452607"/>
                  <a:pt x="2339276" y="4447266"/>
                  <a:pt x="2356827" y="4439037"/>
                </a:cubicBezTo>
                <a:cubicBezTo>
                  <a:pt x="2359039" y="4438027"/>
                  <a:pt x="2361203" y="4437016"/>
                  <a:pt x="2363367" y="4435621"/>
                </a:cubicBezTo>
                <a:cubicBezTo>
                  <a:pt x="2365579" y="4434369"/>
                  <a:pt x="2367647" y="4433022"/>
                  <a:pt x="2369618" y="4431530"/>
                </a:cubicBezTo>
                <a:cubicBezTo>
                  <a:pt x="2371638" y="4430135"/>
                  <a:pt x="2373561" y="4428595"/>
                  <a:pt x="2375388" y="4427007"/>
                </a:cubicBezTo>
                <a:cubicBezTo>
                  <a:pt x="2377264" y="4425467"/>
                  <a:pt x="2379091" y="4423831"/>
                  <a:pt x="2380774" y="4422147"/>
                </a:cubicBezTo>
                <a:cubicBezTo>
                  <a:pt x="2387698" y="4415506"/>
                  <a:pt x="2393950" y="4408384"/>
                  <a:pt x="2399768" y="4401022"/>
                </a:cubicBezTo>
                <a:cubicBezTo>
                  <a:pt x="2411453" y="4386393"/>
                  <a:pt x="2421935" y="4371236"/>
                  <a:pt x="2432370" y="4356270"/>
                </a:cubicBezTo>
                <a:cubicBezTo>
                  <a:pt x="2453143" y="4326340"/>
                  <a:pt x="2473772" y="4296986"/>
                  <a:pt x="2497238" y="4270761"/>
                </a:cubicBezTo>
                <a:cubicBezTo>
                  <a:pt x="2520560" y="4244535"/>
                  <a:pt x="2546862" y="4221438"/>
                  <a:pt x="2576724" y="4205365"/>
                </a:cubicBezTo>
                <a:cubicBezTo>
                  <a:pt x="2584177" y="4201371"/>
                  <a:pt x="2591775" y="4197666"/>
                  <a:pt x="2599613" y="4194731"/>
                </a:cubicBezTo>
                <a:lnTo>
                  <a:pt x="2611394" y="4190352"/>
                </a:lnTo>
                <a:lnTo>
                  <a:pt x="2623463" y="4186743"/>
                </a:lnTo>
                <a:cubicBezTo>
                  <a:pt x="2631445" y="4184240"/>
                  <a:pt x="2639716" y="4182556"/>
                  <a:pt x="2647795" y="4180439"/>
                </a:cubicBezTo>
                <a:cubicBezTo>
                  <a:pt x="2656017" y="4178755"/>
                  <a:pt x="2664144" y="4176926"/>
                  <a:pt x="2672366" y="4175386"/>
                </a:cubicBezTo>
                <a:cubicBezTo>
                  <a:pt x="2705113" y="4169179"/>
                  <a:pt x="2737763" y="4164559"/>
                  <a:pt x="2769788" y="4159940"/>
                </a:cubicBezTo>
                <a:cubicBezTo>
                  <a:pt x="2833935" y="4150845"/>
                  <a:pt x="2896158" y="4141895"/>
                  <a:pt x="2954967" y="4127892"/>
                </a:cubicBezTo>
                <a:cubicBezTo>
                  <a:pt x="2984395" y="4121011"/>
                  <a:pt x="3012766" y="4112157"/>
                  <a:pt x="3040031" y="4102292"/>
                </a:cubicBezTo>
                <a:cubicBezTo>
                  <a:pt x="3067247" y="4092283"/>
                  <a:pt x="3093214" y="4080830"/>
                  <a:pt x="3118459" y="4069859"/>
                </a:cubicBezTo>
                <a:cubicBezTo>
                  <a:pt x="3168756" y="4047772"/>
                  <a:pt x="3218333" y="4030015"/>
                  <a:pt x="3267092" y="4022894"/>
                </a:cubicBezTo>
                <a:cubicBezTo>
                  <a:pt x="3279258" y="4021209"/>
                  <a:pt x="3291327" y="4020151"/>
                  <a:pt x="3303060" y="4020632"/>
                </a:cubicBezTo>
                <a:cubicBezTo>
                  <a:pt x="3308926" y="4020921"/>
                  <a:pt x="3314697" y="4021594"/>
                  <a:pt x="3320082" y="4023038"/>
                </a:cubicBezTo>
                <a:cubicBezTo>
                  <a:pt x="3325372" y="4024530"/>
                  <a:pt x="3330613" y="4026695"/>
                  <a:pt x="3333690" y="4030497"/>
                </a:cubicBezTo>
                <a:cubicBezTo>
                  <a:pt x="3336961" y="4034106"/>
                  <a:pt x="3337730" y="4039158"/>
                  <a:pt x="3336768" y="4044211"/>
                </a:cubicBezTo>
                <a:cubicBezTo>
                  <a:pt x="3335854" y="4049312"/>
                  <a:pt x="3333546" y="4054316"/>
                  <a:pt x="3330805" y="4059080"/>
                </a:cubicBezTo>
                <a:cubicBezTo>
                  <a:pt x="3325372" y="4068560"/>
                  <a:pt x="3318592" y="4077221"/>
                  <a:pt x="3310898" y="4084776"/>
                </a:cubicBezTo>
                <a:cubicBezTo>
                  <a:pt x="3295847" y="4100271"/>
                  <a:pt x="3278728" y="4112686"/>
                  <a:pt x="3262043" y="4124090"/>
                </a:cubicBezTo>
                <a:cubicBezTo>
                  <a:pt x="3245261" y="4135447"/>
                  <a:pt x="3228479" y="4145456"/>
                  <a:pt x="3212274" y="4154791"/>
                </a:cubicBezTo>
                <a:cubicBezTo>
                  <a:pt x="3179720" y="4173317"/>
                  <a:pt x="3149233" y="4188956"/>
                  <a:pt x="3121873" y="4203152"/>
                </a:cubicBezTo>
                <a:cubicBezTo>
                  <a:pt x="3067007" y="4231302"/>
                  <a:pt x="3024643" y="4253871"/>
                  <a:pt x="2997571" y="4272060"/>
                </a:cubicBezTo>
                <a:cubicBezTo>
                  <a:pt x="2984059" y="4281106"/>
                  <a:pt x="2974153" y="4288710"/>
                  <a:pt x="2968094" y="4294484"/>
                </a:cubicBezTo>
                <a:cubicBezTo>
                  <a:pt x="2964920" y="4297179"/>
                  <a:pt x="2962901" y="4299633"/>
                  <a:pt x="2961410" y="4301173"/>
                </a:cubicBezTo>
                <a:cubicBezTo>
                  <a:pt x="2959968" y="4302712"/>
                  <a:pt x="2959294" y="4303531"/>
                  <a:pt x="2959343" y="4303579"/>
                </a:cubicBezTo>
                <a:cubicBezTo>
                  <a:pt x="2959535" y="4303771"/>
                  <a:pt x="2962468" y="4300643"/>
                  <a:pt x="2968815" y="4295302"/>
                </a:cubicBezTo>
                <a:cubicBezTo>
                  <a:pt x="2975067" y="4289816"/>
                  <a:pt x="2985068" y="4282598"/>
                  <a:pt x="2998725" y="4273888"/>
                </a:cubicBezTo>
                <a:cubicBezTo>
                  <a:pt x="3026038" y="4256373"/>
                  <a:pt x="3068593" y="4234478"/>
                  <a:pt x="3123748" y="4206905"/>
                </a:cubicBezTo>
                <a:cubicBezTo>
                  <a:pt x="3151253" y="4192998"/>
                  <a:pt x="3181932" y="4177600"/>
                  <a:pt x="3214774" y="4159266"/>
                </a:cubicBezTo>
                <a:cubicBezTo>
                  <a:pt x="3231172" y="4150027"/>
                  <a:pt x="3248098" y="4140066"/>
                  <a:pt x="3265120" y="4128758"/>
                </a:cubicBezTo>
                <a:cubicBezTo>
                  <a:pt x="3282046" y="4117305"/>
                  <a:pt x="3299502" y="4104890"/>
                  <a:pt x="3315129" y="4089011"/>
                </a:cubicBezTo>
                <a:cubicBezTo>
                  <a:pt x="3323064" y="4081263"/>
                  <a:pt x="3330277" y="4072265"/>
                  <a:pt x="3336143" y="4062111"/>
                </a:cubicBezTo>
                <a:cubicBezTo>
                  <a:pt x="3339076" y="4057059"/>
                  <a:pt x="3341721" y="4051573"/>
                  <a:pt x="3342875" y="4045318"/>
                </a:cubicBezTo>
                <a:lnTo>
                  <a:pt x="3343260" y="4042960"/>
                </a:lnTo>
                <a:lnTo>
                  <a:pt x="3343356" y="4040506"/>
                </a:lnTo>
                <a:cubicBezTo>
                  <a:pt x="3343500" y="4038870"/>
                  <a:pt x="3343164" y="4037185"/>
                  <a:pt x="3342971" y="4035501"/>
                </a:cubicBezTo>
                <a:cubicBezTo>
                  <a:pt x="3342202" y="4032229"/>
                  <a:pt x="3340807" y="4028861"/>
                  <a:pt x="3338451" y="4026310"/>
                </a:cubicBezTo>
                <a:cubicBezTo>
                  <a:pt x="3333979" y="4020969"/>
                  <a:pt x="3327632" y="4018515"/>
                  <a:pt x="3321669" y="4016782"/>
                </a:cubicBezTo>
                <a:cubicBezTo>
                  <a:pt x="3315610" y="4015098"/>
                  <a:pt x="3309407" y="4014424"/>
                  <a:pt x="3303252" y="4014039"/>
                </a:cubicBezTo>
                <a:cubicBezTo>
                  <a:pt x="3290894" y="4013462"/>
                  <a:pt x="3278488" y="4014473"/>
                  <a:pt x="3266034" y="4016157"/>
                </a:cubicBezTo>
                <a:cubicBezTo>
                  <a:pt x="3216265" y="4023134"/>
                  <a:pt x="3165967" y="4040939"/>
                  <a:pt x="3115333" y="4062882"/>
                </a:cubicBezTo>
                <a:cubicBezTo>
                  <a:pt x="3089992" y="4073805"/>
                  <a:pt x="3064170" y="4085065"/>
                  <a:pt x="3037194" y="4094833"/>
                </a:cubicBezTo>
                <a:cubicBezTo>
                  <a:pt x="3010169" y="4104505"/>
                  <a:pt x="2982087" y="4113119"/>
                  <a:pt x="2952899" y="4119856"/>
                </a:cubicBezTo>
                <a:cubicBezTo>
                  <a:pt x="2894523" y="4133522"/>
                  <a:pt x="2832588" y="4142280"/>
                  <a:pt x="2768394" y="4151134"/>
                </a:cubicBezTo>
                <a:cubicBezTo>
                  <a:pt x="2736272" y="4155657"/>
                  <a:pt x="2703574" y="4160229"/>
                  <a:pt x="2670491" y="4166388"/>
                </a:cubicBezTo>
                <a:cubicBezTo>
                  <a:pt x="2662220" y="4167928"/>
                  <a:pt x="2653950" y="4169757"/>
                  <a:pt x="2645631" y="4171441"/>
                </a:cubicBezTo>
                <a:cubicBezTo>
                  <a:pt x="2637360" y="4173558"/>
                  <a:pt x="2628993" y="4175242"/>
                  <a:pt x="2620770" y="4177792"/>
                </a:cubicBezTo>
                <a:lnTo>
                  <a:pt x="2608364" y="4181498"/>
                </a:lnTo>
                <a:lnTo>
                  <a:pt x="2596054" y="4186021"/>
                </a:lnTo>
                <a:cubicBezTo>
                  <a:pt x="2587880" y="4189101"/>
                  <a:pt x="2579898" y="4192950"/>
                  <a:pt x="2572155" y="4197089"/>
                </a:cubicBezTo>
                <a:cubicBezTo>
                  <a:pt x="2540996" y="4213738"/>
                  <a:pt x="2513827" y="4237606"/>
                  <a:pt x="2489929" y="4264313"/>
                </a:cubicBezTo>
                <a:cubicBezTo>
                  <a:pt x="2465934" y="4291019"/>
                  <a:pt x="2444969" y="4320757"/>
                  <a:pt x="2424148" y="4350640"/>
                </a:cubicBezTo>
                <a:cubicBezTo>
                  <a:pt x="2413713" y="4365557"/>
                  <a:pt x="2403230" y="4380571"/>
                  <a:pt x="2391882" y="4394766"/>
                </a:cubicBezTo>
                <a:cubicBezTo>
                  <a:pt x="2386208" y="4401888"/>
                  <a:pt x="2380197" y="4408673"/>
                  <a:pt x="2373754" y="4414880"/>
                </a:cubicBezTo>
                <a:cubicBezTo>
                  <a:pt x="2367214" y="4421088"/>
                  <a:pt x="2360434" y="4426381"/>
                  <a:pt x="2352307" y="4429990"/>
                </a:cubicBezTo>
                <a:cubicBezTo>
                  <a:pt x="2336006" y="4437641"/>
                  <a:pt x="2318070" y="4442935"/>
                  <a:pt x="2299990" y="4447458"/>
                </a:cubicBezTo>
                <a:cubicBezTo>
                  <a:pt x="2281861" y="4451885"/>
                  <a:pt x="2263349" y="4455590"/>
                  <a:pt x="2244595" y="4458333"/>
                </a:cubicBezTo>
                <a:cubicBezTo>
                  <a:pt x="2212233" y="4463193"/>
                  <a:pt x="2179246" y="4466177"/>
                  <a:pt x="2145923" y="4467187"/>
                </a:cubicBezTo>
                <a:cubicBezTo>
                  <a:pt x="2188479" y="4464926"/>
                  <a:pt x="2230794" y="4459392"/>
                  <a:pt x="2272004" y="4448661"/>
                </a:cubicBezTo>
                <a:cubicBezTo>
                  <a:pt x="2283833" y="4445437"/>
                  <a:pt x="2295662" y="4441876"/>
                  <a:pt x="2307010" y="4436824"/>
                </a:cubicBezTo>
                <a:cubicBezTo>
                  <a:pt x="2318359" y="4431819"/>
                  <a:pt x="2329130" y="4425804"/>
                  <a:pt x="2339468" y="4419115"/>
                </a:cubicBezTo>
                <a:cubicBezTo>
                  <a:pt x="2360001" y="4405593"/>
                  <a:pt x="2378754" y="4389810"/>
                  <a:pt x="2396210" y="4372872"/>
                </a:cubicBezTo>
                <a:cubicBezTo>
                  <a:pt x="2404961" y="4364402"/>
                  <a:pt x="2413424" y="4355693"/>
                  <a:pt x="2421647" y="4346791"/>
                </a:cubicBezTo>
                <a:cubicBezTo>
                  <a:pt x="2429870" y="4338033"/>
                  <a:pt x="2437900" y="4328409"/>
                  <a:pt x="2444872" y="4318448"/>
                </a:cubicBezTo>
                <a:cubicBezTo>
                  <a:pt x="2458721" y="4298382"/>
                  <a:pt x="2470214" y="4277161"/>
                  <a:pt x="2483293" y="4257239"/>
                </a:cubicBezTo>
                <a:cubicBezTo>
                  <a:pt x="2496372" y="4237414"/>
                  <a:pt x="2510654" y="4218262"/>
                  <a:pt x="2528782" y="4203296"/>
                </a:cubicBezTo>
                <a:cubicBezTo>
                  <a:pt x="2533398" y="4199687"/>
                  <a:pt x="2537774" y="4195741"/>
                  <a:pt x="2542775" y="4192710"/>
                </a:cubicBezTo>
                <a:lnTo>
                  <a:pt x="2550084" y="4187849"/>
                </a:lnTo>
                <a:cubicBezTo>
                  <a:pt x="2552585" y="4186358"/>
                  <a:pt x="2555229" y="4185059"/>
                  <a:pt x="2557778" y="4183663"/>
                </a:cubicBezTo>
                <a:cubicBezTo>
                  <a:pt x="2560375" y="4182316"/>
                  <a:pt x="2562875" y="4180824"/>
                  <a:pt x="2565520" y="4179621"/>
                </a:cubicBezTo>
                <a:lnTo>
                  <a:pt x="2573598" y="4176301"/>
                </a:lnTo>
                <a:cubicBezTo>
                  <a:pt x="2576339" y="4175242"/>
                  <a:pt x="2578936" y="4173943"/>
                  <a:pt x="2581725" y="4173077"/>
                </a:cubicBezTo>
                <a:lnTo>
                  <a:pt x="2590140" y="4170334"/>
                </a:lnTo>
                <a:cubicBezTo>
                  <a:pt x="2612644" y="4163308"/>
                  <a:pt x="2635965" y="4158448"/>
                  <a:pt x="2659191" y="4153828"/>
                </a:cubicBezTo>
                <a:cubicBezTo>
                  <a:pt x="2682464" y="4149305"/>
                  <a:pt x="2705834" y="4145360"/>
                  <a:pt x="2729252" y="4141510"/>
                </a:cubicBezTo>
                <a:cubicBezTo>
                  <a:pt x="2775991" y="4133859"/>
                  <a:pt x="2822779" y="4126641"/>
                  <a:pt x="2869182" y="4118075"/>
                </a:cubicBezTo>
                <a:cubicBezTo>
                  <a:pt x="2915585" y="4109510"/>
                  <a:pt x="2961699" y="4099693"/>
                  <a:pt x="3006707" y="4085739"/>
                </a:cubicBezTo>
                <a:cubicBezTo>
                  <a:pt x="3029163" y="4078713"/>
                  <a:pt x="3051331" y="4070581"/>
                  <a:pt x="3072489" y="4060042"/>
                </a:cubicBezTo>
                <a:cubicBezTo>
                  <a:pt x="3093502" y="4049456"/>
                  <a:pt x="3113890" y="4036367"/>
                  <a:pt x="3129662" y="4018034"/>
                </a:cubicBezTo>
                <a:cubicBezTo>
                  <a:pt x="3131538" y="4015676"/>
                  <a:pt x="3133221" y="4013125"/>
                  <a:pt x="3135000" y="4010719"/>
                </a:cubicBezTo>
                <a:lnTo>
                  <a:pt x="3137645" y="4007014"/>
                </a:lnTo>
                <a:lnTo>
                  <a:pt x="3139905" y="4002972"/>
                </a:lnTo>
                <a:cubicBezTo>
                  <a:pt x="3142694" y="3997438"/>
                  <a:pt x="3144713" y="3991423"/>
                  <a:pt x="3145435" y="3985167"/>
                </a:cubicBezTo>
                <a:cubicBezTo>
                  <a:pt x="3146973" y="3972512"/>
                  <a:pt x="3142838" y="3960049"/>
                  <a:pt x="3136923" y="3949655"/>
                </a:cubicBezTo>
                <a:cubicBezTo>
                  <a:pt x="3124854" y="3928723"/>
                  <a:pt x="3107351" y="3912795"/>
                  <a:pt x="3093165" y="3895087"/>
                </a:cubicBezTo>
                <a:cubicBezTo>
                  <a:pt x="3089655" y="3890660"/>
                  <a:pt x="3086337" y="3886088"/>
                  <a:pt x="3083692" y="3881324"/>
                </a:cubicBezTo>
                <a:cubicBezTo>
                  <a:pt x="3082346" y="3878918"/>
                  <a:pt x="3081240" y="3876512"/>
                  <a:pt x="3080326" y="3874010"/>
                </a:cubicBezTo>
                <a:lnTo>
                  <a:pt x="3078115" y="3865974"/>
                </a:lnTo>
                <a:cubicBezTo>
                  <a:pt x="3077778" y="3864626"/>
                  <a:pt x="3077345" y="3863327"/>
                  <a:pt x="3077008" y="3861932"/>
                </a:cubicBezTo>
                <a:lnTo>
                  <a:pt x="3076335" y="3857745"/>
                </a:lnTo>
                <a:lnTo>
                  <a:pt x="3074989" y="3849372"/>
                </a:lnTo>
                <a:cubicBezTo>
                  <a:pt x="3074123" y="3843790"/>
                  <a:pt x="3073883" y="3838064"/>
                  <a:pt x="3073306" y="3832386"/>
                </a:cubicBezTo>
                <a:cubicBezTo>
                  <a:pt x="3071815" y="3809625"/>
                  <a:pt x="3071959" y="3786672"/>
                  <a:pt x="3072873" y="3763815"/>
                </a:cubicBezTo>
                <a:cubicBezTo>
                  <a:pt x="3074652" y="3718052"/>
                  <a:pt x="3079220" y="3672531"/>
                  <a:pt x="3084510" y="3627298"/>
                </a:cubicBezTo>
                <a:cubicBezTo>
                  <a:pt x="3095233" y="3536784"/>
                  <a:pt x="3110140" y="3447376"/>
                  <a:pt x="3126441" y="3358932"/>
                </a:cubicBezTo>
                <a:cubicBezTo>
                  <a:pt x="3142934" y="3270535"/>
                  <a:pt x="3161207" y="3183004"/>
                  <a:pt x="3184529" y="3097495"/>
                </a:cubicBezTo>
                <a:cubicBezTo>
                  <a:pt x="3196310" y="3054812"/>
                  <a:pt x="3209293" y="3012563"/>
                  <a:pt x="3224969" y="2971565"/>
                </a:cubicBezTo>
                <a:cubicBezTo>
                  <a:pt x="3232807" y="2951065"/>
                  <a:pt x="3241318" y="2930855"/>
                  <a:pt x="3250983" y="2911318"/>
                </a:cubicBezTo>
                <a:cubicBezTo>
                  <a:pt x="3260648" y="2891781"/>
                  <a:pt x="3271420" y="2872774"/>
                  <a:pt x="3284258" y="2855402"/>
                </a:cubicBezTo>
                <a:cubicBezTo>
                  <a:pt x="3297145" y="2838175"/>
                  <a:pt x="3311860" y="2822103"/>
                  <a:pt x="3330517" y="2811806"/>
                </a:cubicBezTo>
                <a:cubicBezTo>
                  <a:pt x="3349030" y="2800930"/>
                  <a:pt x="3369082" y="2792846"/>
                  <a:pt x="3389614" y="2786638"/>
                </a:cubicBezTo>
                <a:cubicBezTo>
                  <a:pt x="3430920" y="2774416"/>
                  <a:pt x="3473909" y="2769171"/>
                  <a:pt x="3516705" y="2765418"/>
                </a:cubicBezTo>
                <a:cubicBezTo>
                  <a:pt x="3559550" y="2761664"/>
                  <a:pt x="3602490" y="2759739"/>
                  <a:pt x="3645142" y="2755072"/>
                </a:cubicBezTo>
                <a:cubicBezTo>
                  <a:pt x="3666493" y="2752714"/>
                  <a:pt x="3687795" y="2749730"/>
                  <a:pt x="3708712" y="2744726"/>
                </a:cubicBezTo>
                <a:cubicBezTo>
                  <a:pt x="3729581" y="2739625"/>
                  <a:pt x="3750402" y="2733033"/>
                  <a:pt x="3769060" y="2721773"/>
                </a:cubicBezTo>
                <a:cubicBezTo>
                  <a:pt x="3805557" y="2698819"/>
                  <a:pt x="3836861" y="2669466"/>
                  <a:pt x="3865327" y="2638188"/>
                </a:cubicBezTo>
                <a:cubicBezTo>
                  <a:pt x="3893842" y="2606862"/>
                  <a:pt x="3919472" y="2573370"/>
                  <a:pt x="3943948" y="2539397"/>
                </a:cubicBezTo>
                <a:cubicBezTo>
                  <a:pt x="3992899" y="2471404"/>
                  <a:pt x="4036176" y="2400378"/>
                  <a:pt x="4085128" y="2334405"/>
                </a:cubicBezTo>
                <a:cubicBezTo>
                  <a:pt x="4097438" y="2317996"/>
                  <a:pt x="4110229" y="2302021"/>
                  <a:pt x="4123933" y="2287007"/>
                </a:cubicBezTo>
                <a:lnTo>
                  <a:pt x="4134416" y="2275988"/>
                </a:lnTo>
                <a:cubicBezTo>
                  <a:pt x="4138070" y="2272523"/>
                  <a:pt x="4141677" y="2268866"/>
                  <a:pt x="4145379" y="2265594"/>
                </a:cubicBezTo>
                <a:cubicBezTo>
                  <a:pt x="4152736" y="2259193"/>
                  <a:pt x="4161632" y="2254381"/>
                  <a:pt x="4170576" y="2249762"/>
                </a:cubicBezTo>
                <a:cubicBezTo>
                  <a:pt x="4188704" y="2240764"/>
                  <a:pt x="4207650" y="2232102"/>
                  <a:pt x="4224192" y="2219446"/>
                </a:cubicBezTo>
                <a:cubicBezTo>
                  <a:pt x="4240637" y="2206887"/>
                  <a:pt x="4255015" y="2192114"/>
                  <a:pt x="4268383" y="2176764"/>
                </a:cubicBezTo>
                <a:cubicBezTo>
                  <a:pt x="4281799" y="2161461"/>
                  <a:pt x="4294109" y="2145341"/>
                  <a:pt x="4307621" y="2130665"/>
                </a:cubicBezTo>
                <a:cubicBezTo>
                  <a:pt x="4314449" y="2123495"/>
                  <a:pt x="4321662" y="2116613"/>
                  <a:pt x="4329837" y="2111753"/>
                </a:cubicBezTo>
                <a:lnTo>
                  <a:pt x="4332914" y="2109925"/>
                </a:lnTo>
                <a:cubicBezTo>
                  <a:pt x="4333924" y="2109347"/>
                  <a:pt x="4335078" y="2109011"/>
                  <a:pt x="4336136" y="2108529"/>
                </a:cubicBezTo>
                <a:lnTo>
                  <a:pt x="4339406" y="2107230"/>
                </a:lnTo>
                <a:cubicBezTo>
                  <a:pt x="4340511" y="2106845"/>
                  <a:pt x="4341665" y="2106749"/>
                  <a:pt x="4342772" y="2106460"/>
                </a:cubicBezTo>
                <a:cubicBezTo>
                  <a:pt x="4347292" y="2105113"/>
                  <a:pt x="4351764" y="2105450"/>
                  <a:pt x="4356187" y="2106556"/>
                </a:cubicBezTo>
                <a:cubicBezTo>
                  <a:pt x="4365035" y="2108866"/>
                  <a:pt x="4372633" y="2115218"/>
                  <a:pt x="4378884" y="2122484"/>
                </a:cubicBezTo>
                <a:cubicBezTo>
                  <a:pt x="4385231" y="2129798"/>
                  <a:pt x="4390329" y="2138219"/>
                  <a:pt x="4394752" y="2146977"/>
                </a:cubicBezTo>
                <a:cubicBezTo>
                  <a:pt x="4403600" y="2164541"/>
                  <a:pt x="4409755" y="2183501"/>
                  <a:pt x="4414467" y="2202652"/>
                </a:cubicBezTo>
                <a:cubicBezTo>
                  <a:pt x="4423748" y="2241100"/>
                  <a:pt x="4427354" y="2280703"/>
                  <a:pt x="4426874" y="2319969"/>
                </a:cubicBezTo>
                <a:cubicBezTo>
                  <a:pt x="4426056" y="2355289"/>
                  <a:pt x="4422834" y="2390610"/>
                  <a:pt x="4413746" y="2424342"/>
                </a:cubicBezTo>
                <a:cubicBezTo>
                  <a:pt x="4415621" y="2415632"/>
                  <a:pt x="4417930" y="2406971"/>
                  <a:pt x="4419420" y="2398165"/>
                </a:cubicBezTo>
                <a:cubicBezTo>
                  <a:pt x="4420671" y="2389118"/>
                  <a:pt x="4421969" y="2380071"/>
                  <a:pt x="4423219" y="2371025"/>
                </a:cubicBezTo>
                <a:cubicBezTo>
                  <a:pt x="4424421" y="2352787"/>
                  <a:pt x="4426297" y="2334453"/>
                  <a:pt x="4426200" y="2315879"/>
                </a:cubicBezTo>
                <a:cubicBezTo>
                  <a:pt x="4426345" y="2297353"/>
                  <a:pt x="4425527" y="2278682"/>
                  <a:pt x="4423556" y="2259963"/>
                </a:cubicBezTo>
                <a:cubicBezTo>
                  <a:pt x="4421584" y="2241245"/>
                  <a:pt x="4418410" y="2222478"/>
                  <a:pt x="4413362" y="2204000"/>
                </a:cubicBezTo>
                <a:cubicBezTo>
                  <a:pt x="4408216" y="2185570"/>
                  <a:pt x="4401532" y="2167140"/>
                  <a:pt x="4390521" y="2150490"/>
                </a:cubicBezTo>
                <a:cubicBezTo>
                  <a:pt x="4387684" y="2146352"/>
                  <a:pt x="4384654" y="2142310"/>
                  <a:pt x="4381048" y="2138653"/>
                </a:cubicBezTo>
                <a:cubicBezTo>
                  <a:pt x="4377489" y="2134947"/>
                  <a:pt x="4373499" y="2131483"/>
                  <a:pt x="4368786" y="2128836"/>
                </a:cubicBezTo>
                <a:cubicBezTo>
                  <a:pt x="4364122" y="2126141"/>
                  <a:pt x="4358688" y="2124265"/>
                  <a:pt x="4352918" y="2123976"/>
                </a:cubicBezTo>
                <a:cubicBezTo>
                  <a:pt x="4347195" y="2123639"/>
                  <a:pt x="4341377" y="2125227"/>
                  <a:pt x="4336616" y="2127489"/>
                </a:cubicBezTo>
                <a:cubicBezTo>
                  <a:pt x="4327047" y="2132156"/>
                  <a:pt x="4319354" y="2138653"/>
                  <a:pt x="4311997" y="2145341"/>
                </a:cubicBezTo>
                <a:cubicBezTo>
                  <a:pt x="4304688" y="2152078"/>
                  <a:pt x="4297907" y="2159296"/>
                  <a:pt x="4291464" y="2166755"/>
                </a:cubicBezTo>
                <a:cubicBezTo>
                  <a:pt x="4265690" y="2196637"/>
                  <a:pt x="4243571" y="2229600"/>
                  <a:pt x="4223086" y="2263909"/>
                </a:cubicBezTo>
                <a:cubicBezTo>
                  <a:pt x="4212892" y="2281136"/>
                  <a:pt x="4203275" y="2298748"/>
                  <a:pt x="4194523" y="2317034"/>
                </a:cubicBezTo>
                <a:cubicBezTo>
                  <a:pt x="4190147" y="2326177"/>
                  <a:pt x="4186012" y="2335464"/>
                  <a:pt x="4182357" y="2345088"/>
                </a:cubicBezTo>
                <a:cubicBezTo>
                  <a:pt x="4178606" y="2354712"/>
                  <a:pt x="4175866" y="2364721"/>
                  <a:pt x="4173317" y="2374634"/>
                </a:cubicBezTo>
                <a:cubicBezTo>
                  <a:pt x="4163700" y="2414429"/>
                  <a:pt x="4158218" y="2454898"/>
                  <a:pt x="4148697" y="2494694"/>
                </a:cubicBezTo>
                <a:cubicBezTo>
                  <a:pt x="4139609" y="2534441"/>
                  <a:pt x="4124654" y="2573033"/>
                  <a:pt x="4105660" y="2609749"/>
                </a:cubicBezTo>
                <a:cubicBezTo>
                  <a:pt x="4095995" y="2627890"/>
                  <a:pt x="4085320" y="2646032"/>
                  <a:pt x="4071567" y="2660564"/>
                </a:cubicBezTo>
                <a:cubicBezTo>
                  <a:pt x="4064739" y="2667589"/>
                  <a:pt x="4056421" y="2673797"/>
                  <a:pt x="4048871" y="2672449"/>
                </a:cubicBezTo>
                <a:cubicBezTo>
                  <a:pt x="4041610" y="2671535"/>
                  <a:pt x="4035696" y="2662537"/>
                  <a:pt x="4030743" y="2653682"/>
                </a:cubicBezTo>
                <a:cubicBezTo>
                  <a:pt x="4025597" y="2644684"/>
                  <a:pt x="4020885" y="2634723"/>
                  <a:pt x="4013095" y="2625869"/>
                </a:cubicBezTo>
                <a:cubicBezTo>
                  <a:pt x="4009200" y="2621538"/>
                  <a:pt x="4004295" y="2617496"/>
                  <a:pt x="3998477" y="2615042"/>
                </a:cubicBezTo>
                <a:cubicBezTo>
                  <a:pt x="3992611" y="2612588"/>
                  <a:pt x="3986119" y="2612011"/>
                  <a:pt x="3980156" y="2612732"/>
                </a:cubicBezTo>
                <a:cubicBezTo>
                  <a:pt x="3968279" y="2614128"/>
                  <a:pt x="3957748" y="2619180"/>
                  <a:pt x="3948275" y="2625244"/>
                </a:cubicBezTo>
                <a:cubicBezTo>
                  <a:pt x="3938851" y="2631403"/>
                  <a:pt x="3930580" y="2638813"/>
                  <a:pt x="3922790" y="2646513"/>
                </a:cubicBezTo>
                <a:cubicBezTo>
                  <a:pt x="3907306" y="2661959"/>
                  <a:pt x="3893698" y="2678657"/>
                  <a:pt x="3879753" y="2694681"/>
                </a:cubicBezTo>
                <a:cubicBezTo>
                  <a:pt x="3865856" y="2710753"/>
                  <a:pt x="3851719" y="2726392"/>
                  <a:pt x="3836284" y="2740443"/>
                </a:cubicBezTo>
                <a:cubicBezTo>
                  <a:pt x="3820848" y="2754398"/>
                  <a:pt x="3804018" y="2766621"/>
                  <a:pt x="3785649" y="2775619"/>
                </a:cubicBezTo>
                <a:cubicBezTo>
                  <a:pt x="3767040" y="2784618"/>
                  <a:pt x="3747517" y="2791547"/>
                  <a:pt x="3727610" y="2797081"/>
                </a:cubicBezTo>
                <a:cubicBezTo>
                  <a:pt x="3687795" y="2808197"/>
                  <a:pt x="3646777" y="2813971"/>
                  <a:pt x="3606049" y="2818735"/>
                </a:cubicBezTo>
                <a:cubicBezTo>
                  <a:pt x="3565272" y="2823451"/>
                  <a:pt x="3524543" y="2826867"/>
                  <a:pt x="3484247" y="2832834"/>
                </a:cubicBezTo>
                <a:cubicBezTo>
                  <a:pt x="3464099" y="2835817"/>
                  <a:pt x="3444096" y="2839619"/>
                  <a:pt x="3424477" y="2845008"/>
                </a:cubicBezTo>
                <a:cubicBezTo>
                  <a:pt x="3404906" y="2850446"/>
                  <a:pt x="3385527" y="2857472"/>
                  <a:pt x="3367976" y="2868202"/>
                </a:cubicBezTo>
                <a:cubicBezTo>
                  <a:pt x="3363504" y="2870705"/>
                  <a:pt x="3359368" y="2873832"/>
                  <a:pt x="3355185" y="2876816"/>
                </a:cubicBezTo>
                <a:cubicBezTo>
                  <a:pt x="3351194" y="2880040"/>
                  <a:pt x="3347443" y="2883504"/>
                  <a:pt x="3343596" y="2886825"/>
                </a:cubicBezTo>
                <a:lnTo>
                  <a:pt x="3340711" y="2889375"/>
                </a:lnTo>
                <a:lnTo>
                  <a:pt x="3338115" y="2892166"/>
                </a:lnTo>
                <a:lnTo>
                  <a:pt x="3332921" y="2897700"/>
                </a:lnTo>
                <a:lnTo>
                  <a:pt x="3327776" y="2903282"/>
                </a:lnTo>
                <a:lnTo>
                  <a:pt x="3323112" y="2909201"/>
                </a:lnTo>
                <a:cubicBezTo>
                  <a:pt x="3310369" y="2924792"/>
                  <a:pt x="3300175" y="2941922"/>
                  <a:pt x="3290654" y="2959101"/>
                </a:cubicBezTo>
                <a:cubicBezTo>
                  <a:pt x="3272093" y="2993844"/>
                  <a:pt x="3257667" y="3029982"/>
                  <a:pt x="3245261" y="3066169"/>
                </a:cubicBezTo>
                <a:cubicBezTo>
                  <a:pt x="3232903" y="3102403"/>
                  <a:pt x="3222612" y="3138782"/>
                  <a:pt x="3213428" y="3174968"/>
                </a:cubicBezTo>
                <a:cubicBezTo>
                  <a:pt x="3177027" y="3319762"/>
                  <a:pt x="3157793" y="3460369"/>
                  <a:pt x="3136346" y="3590727"/>
                </a:cubicBezTo>
                <a:cubicBezTo>
                  <a:pt x="3124181" y="3655592"/>
                  <a:pt x="3113602" y="3719448"/>
                  <a:pt x="3114708" y="3781523"/>
                </a:cubicBezTo>
                <a:cubicBezTo>
                  <a:pt x="3115381" y="3812416"/>
                  <a:pt x="3118795" y="3843261"/>
                  <a:pt x="3129759" y="3871508"/>
                </a:cubicBezTo>
                <a:cubicBezTo>
                  <a:pt x="3135289" y="3885559"/>
                  <a:pt x="3143079" y="3898840"/>
                  <a:pt x="3153657" y="3909571"/>
                </a:cubicBezTo>
                <a:cubicBezTo>
                  <a:pt x="3164140" y="3920350"/>
                  <a:pt x="3177460" y="3928145"/>
                  <a:pt x="3191501" y="3932283"/>
                </a:cubicBezTo>
                <a:cubicBezTo>
                  <a:pt x="3205590" y="3936470"/>
                  <a:pt x="3220112" y="3937240"/>
                  <a:pt x="3234057" y="3936326"/>
                </a:cubicBezTo>
                <a:cubicBezTo>
                  <a:pt x="3248050" y="3935363"/>
                  <a:pt x="3261706" y="3933101"/>
                  <a:pt x="3274785" y="3929444"/>
                </a:cubicBezTo>
                <a:cubicBezTo>
                  <a:pt x="3301040" y="3922322"/>
                  <a:pt x="3325180" y="3911736"/>
                  <a:pt x="3347972" y="3900428"/>
                </a:cubicBezTo>
                <a:cubicBezTo>
                  <a:pt x="3393509" y="3877523"/>
                  <a:pt x="3433901" y="3851490"/>
                  <a:pt x="3470495" y="3825697"/>
                </a:cubicBezTo>
                <a:cubicBezTo>
                  <a:pt x="3488767" y="3812705"/>
                  <a:pt x="3506078" y="3799712"/>
                  <a:pt x="3522235" y="3786576"/>
                </a:cubicBezTo>
                <a:cubicBezTo>
                  <a:pt x="3538248" y="3773198"/>
                  <a:pt x="3553250" y="3759821"/>
                  <a:pt x="3566763" y="3746155"/>
                </a:cubicBezTo>
                <a:cubicBezTo>
                  <a:pt x="3593979" y="3719063"/>
                  <a:pt x="3616916" y="3692549"/>
                  <a:pt x="3637545" y="3668777"/>
                </a:cubicBezTo>
                <a:cubicBezTo>
                  <a:pt x="3678514" y="3621042"/>
                  <a:pt x="3711260" y="3584712"/>
                  <a:pt x="3736986" y="3563875"/>
                </a:cubicBezTo>
                <a:cubicBezTo>
                  <a:pt x="3740160" y="3561229"/>
                  <a:pt x="3743141" y="3558727"/>
                  <a:pt x="3745930" y="3556417"/>
                </a:cubicBezTo>
                <a:cubicBezTo>
                  <a:pt x="3748864" y="3554251"/>
                  <a:pt x="3751604" y="3552279"/>
                  <a:pt x="3754105" y="3550402"/>
                </a:cubicBezTo>
                <a:cubicBezTo>
                  <a:pt x="3756653" y="3548525"/>
                  <a:pt x="3758961" y="3546841"/>
                  <a:pt x="3761077" y="3545301"/>
                </a:cubicBezTo>
                <a:cubicBezTo>
                  <a:pt x="3763193" y="3543761"/>
                  <a:pt x="3765309" y="3542606"/>
                  <a:pt x="3767088" y="3541452"/>
                </a:cubicBezTo>
                <a:cubicBezTo>
                  <a:pt x="3770646" y="3539190"/>
                  <a:pt x="3773387" y="3537457"/>
                  <a:pt x="3775214" y="3536303"/>
                </a:cubicBezTo>
                <a:cubicBezTo>
                  <a:pt x="3776994" y="3535148"/>
                  <a:pt x="3777907" y="3534474"/>
                  <a:pt x="3777859" y="3534426"/>
                </a:cubicBezTo>
                <a:cubicBezTo>
                  <a:pt x="3777859" y="3534330"/>
                  <a:pt x="3776850" y="3534811"/>
                  <a:pt x="3774926" y="3535821"/>
                </a:cubicBezTo>
                <a:cubicBezTo>
                  <a:pt x="3773051" y="3536880"/>
                  <a:pt x="3770214" y="3538420"/>
                  <a:pt x="3766511" y="3540489"/>
                </a:cubicBezTo>
                <a:cubicBezTo>
                  <a:pt x="3764684" y="3541596"/>
                  <a:pt x="3762520" y="3542655"/>
                  <a:pt x="3760356" y="3544098"/>
                </a:cubicBezTo>
                <a:cubicBezTo>
                  <a:pt x="3758192" y="3545590"/>
                  <a:pt x="3755788" y="3547226"/>
                  <a:pt x="3753191" y="3549006"/>
                </a:cubicBezTo>
                <a:cubicBezTo>
                  <a:pt x="3750595" y="3550787"/>
                  <a:pt x="3747758" y="3552711"/>
                  <a:pt x="3744824" y="3554829"/>
                </a:cubicBezTo>
                <a:cubicBezTo>
                  <a:pt x="3741939" y="3557091"/>
                  <a:pt x="3738910" y="3559544"/>
                  <a:pt x="3735640" y="3562143"/>
                </a:cubicBezTo>
                <a:cubicBezTo>
                  <a:pt x="3709337" y="3582594"/>
                  <a:pt x="3675869" y="3618636"/>
                  <a:pt x="3634467" y="3665987"/>
                </a:cubicBezTo>
                <a:cubicBezTo>
                  <a:pt x="3613598" y="3689517"/>
                  <a:pt x="3590517" y="3715791"/>
                  <a:pt x="3563252" y="3742497"/>
                </a:cubicBezTo>
                <a:cubicBezTo>
                  <a:pt x="3549740" y="3755971"/>
                  <a:pt x="3534785" y="3769108"/>
                  <a:pt x="3518821" y="3782245"/>
                </a:cubicBezTo>
                <a:cubicBezTo>
                  <a:pt x="3502664" y="3795189"/>
                  <a:pt x="3485401" y="3808037"/>
                  <a:pt x="3467129" y="3820789"/>
                </a:cubicBezTo>
                <a:cubicBezTo>
                  <a:pt x="3430535" y="3846196"/>
                  <a:pt x="3390191" y="3871893"/>
                  <a:pt x="3345039" y="3894316"/>
                </a:cubicBezTo>
                <a:cubicBezTo>
                  <a:pt x="3322439" y="3905384"/>
                  <a:pt x="3298492" y="3915682"/>
                  <a:pt x="3273054" y="3922467"/>
                </a:cubicBezTo>
                <a:cubicBezTo>
                  <a:pt x="3260360" y="3925980"/>
                  <a:pt x="3247088" y="3928097"/>
                  <a:pt x="3233768" y="3928963"/>
                </a:cubicBezTo>
                <a:cubicBezTo>
                  <a:pt x="3220400" y="3929781"/>
                  <a:pt x="3206744" y="3928963"/>
                  <a:pt x="3193809" y="3925017"/>
                </a:cubicBezTo>
                <a:cubicBezTo>
                  <a:pt x="3180874" y="3921168"/>
                  <a:pt x="3168901" y="3914046"/>
                  <a:pt x="3159332" y="3904133"/>
                </a:cubicBezTo>
                <a:cubicBezTo>
                  <a:pt x="3149714" y="3894269"/>
                  <a:pt x="3142502" y="3881902"/>
                  <a:pt x="3137308" y="3868620"/>
                </a:cubicBezTo>
                <a:cubicBezTo>
                  <a:pt x="3126970" y="3841769"/>
                  <a:pt x="3123700" y="3811742"/>
                  <a:pt x="3123171" y="3781379"/>
                </a:cubicBezTo>
                <a:cubicBezTo>
                  <a:pt x="3122738" y="3750918"/>
                  <a:pt x="3125239" y="3719785"/>
                  <a:pt x="3129278" y="3688266"/>
                </a:cubicBezTo>
                <a:cubicBezTo>
                  <a:pt x="3131346" y="3672531"/>
                  <a:pt x="3133702" y="3656603"/>
                  <a:pt x="3136539" y="3640675"/>
                </a:cubicBezTo>
                <a:cubicBezTo>
                  <a:pt x="3139424" y="3624699"/>
                  <a:pt x="3142357" y="3608531"/>
                  <a:pt x="3145338" y="3592266"/>
                </a:cubicBezTo>
                <a:cubicBezTo>
                  <a:pt x="3167266" y="3461620"/>
                  <a:pt x="3186740" y="3321446"/>
                  <a:pt x="3223238" y="3177422"/>
                </a:cubicBezTo>
                <a:cubicBezTo>
                  <a:pt x="3232422" y="3141477"/>
                  <a:pt x="3242712" y="3105339"/>
                  <a:pt x="3255022" y="3069441"/>
                </a:cubicBezTo>
                <a:cubicBezTo>
                  <a:pt x="3267380" y="3033591"/>
                  <a:pt x="3281662" y="2997934"/>
                  <a:pt x="3299886" y="2963961"/>
                </a:cubicBezTo>
                <a:cubicBezTo>
                  <a:pt x="3309215" y="2947168"/>
                  <a:pt x="3319169" y="2930518"/>
                  <a:pt x="3331382" y="2915601"/>
                </a:cubicBezTo>
                <a:lnTo>
                  <a:pt x="3335854" y="2909922"/>
                </a:lnTo>
                <a:lnTo>
                  <a:pt x="3340759" y="2904629"/>
                </a:lnTo>
                <a:lnTo>
                  <a:pt x="3345664" y="2899336"/>
                </a:lnTo>
                <a:lnTo>
                  <a:pt x="3348116" y="2896689"/>
                </a:lnTo>
                <a:lnTo>
                  <a:pt x="3350809" y="2894331"/>
                </a:lnTo>
                <a:cubicBezTo>
                  <a:pt x="3354415" y="2891252"/>
                  <a:pt x="3357926" y="2887932"/>
                  <a:pt x="3361676" y="2884948"/>
                </a:cubicBezTo>
                <a:cubicBezTo>
                  <a:pt x="3365571" y="2882205"/>
                  <a:pt x="3369370" y="2879318"/>
                  <a:pt x="3373554" y="2877008"/>
                </a:cubicBezTo>
                <a:cubicBezTo>
                  <a:pt x="3389951" y="2866999"/>
                  <a:pt x="3408512" y="2860263"/>
                  <a:pt x="3427506" y="2855017"/>
                </a:cubicBezTo>
                <a:cubicBezTo>
                  <a:pt x="3446548" y="2849772"/>
                  <a:pt x="3466167" y="2846067"/>
                  <a:pt x="3486074" y="2843132"/>
                </a:cubicBezTo>
                <a:cubicBezTo>
                  <a:pt x="3525890" y="2837261"/>
                  <a:pt x="3566570" y="2833893"/>
                  <a:pt x="3607539" y="2829177"/>
                </a:cubicBezTo>
                <a:cubicBezTo>
                  <a:pt x="3648508" y="2824413"/>
                  <a:pt x="3689958" y="2818590"/>
                  <a:pt x="3730735" y="2807282"/>
                </a:cubicBezTo>
                <a:cubicBezTo>
                  <a:pt x="3751076" y="2801604"/>
                  <a:pt x="3771224" y="2794482"/>
                  <a:pt x="3790554" y="2785147"/>
                </a:cubicBezTo>
                <a:cubicBezTo>
                  <a:pt x="3810029" y="2775619"/>
                  <a:pt x="3827676" y="2762723"/>
                  <a:pt x="3843689" y="2748287"/>
                </a:cubicBezTo>
                <a:cubicBezTo>
                  <a:pt x="3859653" y="2733803"/>
                  <a:pt x="3874079" y="2717827"/>
                  <a:pt x="3888072" y="2701610"/>
                </a:cubicBezTo>
                <a:cubicBezTo>
                  <a:pt x="3902113" y="2685442"/>
                  <a:pt x="3915625" y="2668889"/>
                  <a:pt x="3930532" y="2654019"/>
                </a:cubicBezTo>
                <a:cubicBezTo>
                  <a:pt x="3937985" y="2646657"/>
                  <a:pt x="3945823" y="2639680"/>
                  <a:pt x="3954334" y="2634146"/>
                </a:cubicBezTo>
                <a:cubicBezTo>
                  <a:pt x="3962797" y="2628708"/>
                  <a:pt x="3972126" y="2624426"/>
                  <a:pt x="3981551" y="2623319"/>
                </a:cubicBezTo>
                <a:cubicBezTo>
                  <a:pt x="3986167" y="2622789"/>
                  <a:pt x="3990591" y="2623223"/>
                  <a:pt x="3994630" y="2624907"/>
                </a:cubicBezTo>
                <a:cubicBezTo>
                  <a:pt x="3998621" y="2626591"/>
                  <a:pt x="4002228" y="2629430"/>
                  <a:pt x="4005401" y="2632991"/>
                </a:cubicBezTo>
                <a:cubicBezTo>
                  <a:pt x="4011797" y="2640161"/>
                  <a:pt x="4016413" y="2649592"/>
                  <a:pt x="4021702" y="2658928"/>
                </a:cubicBezTo>
                <a:cubicBezTo>
                  <a:pt x="4024395" y="2663643"/>
                  <a:pt x="4027232" y="2668455"/>
                  <a:pt x="4031079" y="2672979"/>
                </a:cubicBezTo>
                <a:cubicBezTo>
                  <a:pt x="4034878" y="2677406"/>
                  <a:pt x="4040408" y="2681929"/>
                  <a:pt x="4047428" y="2682988"/>
                </a:cubicBezTo>
                <a:cubicBezTo>
                  <a:pt x="4054257" y="2684143"/>
                  <a:pt x="4060941" y="2681881"/>
                  <a:pt x="4066086" y="2678898"/>
                </a:cubicBezTo>
                <a:cubicBezTo>
                  <a:pt x="4071231" y="2675818"/>
                  <a:pt x="4075510" y="2672017"/>
                  <a:pt x="4079405" y="2668071"/>
                </a:cubicBezTo>
                <a:cubicBezTo>
                  <a:pt x="4094649" y="2651950"/>
                  <a:pt x="4105324" y="2633376"/>
                  <a:pt x="4115326" y="2614753"/>
                </a:cubicBezTo>
                <a:cubicBezTo>
                  <a:pt x="4134752" y="2577268"/>
                  <a:pt x="4149947" y="2537761"/>
                  <a:pt x="4159228" y="2497196"/>
                </a:cubicBezTo>
                <a:cubicBezTo>
                  <a:pt x="4168845" y="2456823"/>
                  <a:pt x="4174375" y="2416161"/>
                  <a:pt x="4183752" y="2377232"/>
                </a:cubicBezTo>
                <a:cubicBezTo>
                  <a:pt x="4186204" y="2367512"/>
                  <a:pt x="4188801" y="2358032"/>
                  <a:pt x="4192359" y="2348890"/>
                </a:cubicBezTo>
                <a:cubicBezTo>
                  <a:pt x="4195869" y="2339650"/>
                  <a:pt x="4199909" y="2330556"/>
                  <a:pt x="4204188" y="2321605"/>
                </a:cubicBezTo>
                <a:cubicBezTo>
                  <a:pt x="4212747" y="2303705"/>
                  <a:pt x="4222269" y="2286237"/>
                  <a:pt x="4232270" y="2269251"/>
                </a:cubicBezTo>
                <a:cubicBezTo>
                  <a:pt x="4252466" y="2235374"/>
                  <a:pt x="4274393" y="2202700"/>
                  <a:pt x="4299446" y="2173540"/>
                </a:cubicBezTo>
                <a:cubicBezTo>
                  <a:pt x="4305745" y="2166273"/>
                  <a:pt x="4312285" y="2159344"/>
                  <a:pt x="4319209" y="2152896"/>
                </a:cubicBezTo>
                <a:cubicBezTo>
                  <a:pt x="4326086" y="2146544"/>
                  <a:pt x="4333443" y="2140529"/>
                  <a:pt x="4341233" y="2136776"/>
                </a:cubicBezTo>
                <a:cubicBezTo>
                  <a:pt x="4345176" y="2134947"/>
                  <a:pt x="4348830" y="2133985"/>
                  <a:pt x="4352774" y="2134177"/>
                </a:cubicBezTo>
                <a:cubicBezTo>
                  <a:pt x="4356668" y="2134370"/>
                  <a:pt x="4360515" y="2135669"/>
                  <a:pt x="4364122" y="2137690"/>
                </a:cubicBezTo>
                <a:cubicBezTo>
                  <a:pt x="4367776" y="2139711"/>
                  <a:pt x="4371094" y="2142550"/>
                  <a:pt x="4374171" y="2145726"/>
                </a:cubicBezTo>
                <a:cubicBezTo>
                  <a:pt x="4377249" y="2148854"/>
                  <a:pt x="4379990" y="2152463"/>
                  <a:pt x="4382538" y="2156216"/>
                </a:cubicBezTo>
                <a:cubicBezTo>
                  <a:pt x="4392588" y="2171374"/>
                  <a:pt x="4399176" y="2189034"/>
                  <a:pt x="4404129" y="2206743"/>
                </a:cubicBezTo>
                <a:cubicBezTo>
                  <a:pt x="4406004" y="2213624"/>
                  <a:pt x="4407591" y="2220601"/>
                  <a:pt x="4408986" y="2227627"/>
                </a:cubicBezTo>
                <a:cubicBezTo>
                  <a:pt x="4408361" y="2224932"/>
                  <a:pt x="4407783" y="2222189"/>
                  <a:pt x="4407014" y="2219494"/>
                </a:cubicBezTo>
                <a:cubicBezTo>
                  <a:pt x="4404273" y="2209678"/>
                  <a:pt x="4400859" y="2199958"/>
                  <a:pt x="4396339" y="2190574"/>
                </a:cubicBezTo>
                <a:cubicBezTo>
                  <a:pt x="4391627" y="2181287"/>
                  <a:pt x="4385904" y="2172048"/>
                  <a:pt x="4376961" y="2164974"/>
                </a:cubicBezTo>
                <a:cubicBezTo>
                  <a:pt x="4372537" y="2161510"/>
                  <a:pt x="4367103" y="2158671"/>
                  <a:pt x="4361044" y="2157708"/>
                </a:cubicBezTo>
                <a:cubicBezTo>
                  <a:pt x="4355033" y="2156649"/>
                  <a:pt x="4348734" y="2157708"/>
                  <a:pt x="4343445" y="2159970"/>
                </a:cubicBezTo>
                <a:cubicBezTo>
                  <a:pt x="4333106" y="2164445"/>
                  <a:pt x="4324835" y="2171471"/>
                  <a:pt x="4317575" y="2179073"/>
                </a:cubicBezTo>
                <a:cubicBezTo>
                  <a:pt x="4303293" y="2194520"/>
                  <a:pt x="4292666" y="2212421"/>
                  <a:pt x="4283385" y="2230754"/>
                </a:cubicBezTo>
                <a:cubicBezTo>
                  <a:pt x="4274201" y="2249185"/>
                  <a:pt x="4266652" y="2268192"/>
                  <a:pt x="4260208" y="2287488"/>
                </a:cubicBezTo>
                <a:cubicBezTo>
                  <a:pt x="4253813" y="2306833"/>
                  <a:pt x="4248523" y="2326466"/>
                  <a:pt x="4244821" y="2346435"/>
                </a:cubicBezTo>
                <a:cubicBezTo>
                  <a:pt x="4237512" y="2386471"/>
                  <a:pt x="4236887" y="2426604"/>
                  <a:pt x="4234482" y="2465773"/>
                </a:cubicBezTo>
                <a:cubicBezTo>
                  <a:pt x="4233184" y="2485310"/>
                  <a:pt x="4231501" y="2504799"/>
                  <a:pt x="4227125" y="2523325"/>
                </a:cubicBezTo>
                <a:cubicBezTo>
                  <a:pt x="4222701" y="2541851"/>
                  <a:pt x="4215248" y="2559559"/>
                  <a:pt x="4206304" y="2576450"/>
                </a:cubicBezTo>
                <a:cubicBezTo>
                  <a:pt x="4188368" y="2610230"/>
                  <a:pt x="4164373" y="2640402"/>
                  <a:pt x="4141292" y="2670861"/>
                </a:cubicBezTo>
                <a:cubicBezTo>
                  <a:pt x="4129655" y="2686068"/>
                  <a:pt x="4118499" y="2701707"/>
                  <a:pt x="4107680" y="2717153"/>
                </a:cubicBezTo>
                <a:cubicBezTo>
                  <a:pt x="4096764" y="2732600"/>
                  <a:pt x="4085897" y="2747950"/>
                  <a:pt x="4074741" y="2762963"/>
                </a:cubicBezTo>
                <a:cubicBezTo>
                  <a:pt x="4063585" y="2777929"/>
                  <a:pt x="4052237" y="2792606"/>
                  <a:pt x="4040167" y="2806464"/>
                </a:cubicBezTo>
                <a:cubicBezTo>
                  <a:pt x="4028098" y="2820275"/>
                  <a:pt x="4015451" y="2833508"/>
                  <a:pt x="4001314" y="2844383"/>
                </a:cubicBezTo>
                <a:cubicBezTo>
                  <a:pt x="3973617" y="2867384"/>
                  <a:pt x="3936687" y="2871956"/>
                  <a:pt x="3901488" y="2873399"/>
                </a:cubicBezTo>
                <a:cubicBezTo>
                  <a:pt x="3883744" y="2874073"/>
                  <a:pt x="3865952" y="2873736"/>
                  <a:pt x="3848305" y="2873014"/>
                </a:cubicBezTo>
                <a:cubicBezTo>
                  <a:pt x="3830609" y="2872340"/>
                  <a:pt x="3813010" y="2871282"/>
                  <a:pt x="3795507" y="2870223"/>
                </a:cubicBezTo>
                <a:cubicBezTo>
                  <a:pt x="3725590" y="2865941"/>
                  <a:pt x="3656491" y="2862043"/>
                  <a:pt x="3589844" y="2870849"/>
                </a:cubicBezTo>
                <a:cubicBezTo>
                  <a:pt x="3556617" y="2875276"/>
                  <a:pt x="3524110" y="2882831"/>
                  <a:pt x="3493624" y="2894716"/>
                </a:cubicBezTo>
                <a:cubicBezTo>
                  <a:pt x="3463138" y="2906602"/>
                  <a:pt x="3435055" y="2923300"/>
                  <a:pt x="3410772" y="2943655"/>
                </a:cubicBezTo>
                <a:lnTo>
                  <a:pt x="3401732" y="2951354"/>
                </a:lnTo>
                <a:cubicBezTo>
                  <a:pt x="3398703" y="2953904"/>
                  <a:pt x="3396106" y="2956839"/>
                  <a:pt x="3393269" y="2959582"/>
                </a:cubicBezTo>
                <a:lnTo>
                  <a:pt x="3384950" y="2967859"/>
                </a:lnTo>
                <a:cubicBezTo>
                  <a:pt x="3382209" y="2970650"/>
                  <a:pt x="3379853" y="2973826"/>
                  <a:pt x="3377304" y="2976809"/>
                </a:cubicBezTo>
                <a:cubicBezTo>
                  <a:pt x="3374852" y="2979889"/>
                  <a:pt x="3372111" y="2982728"/>
                  <a:pt x="3369947" y="2985952"/>
                </a:cubicBezTo>
                <a:lnTo>
                  <a:pt x="3363360" y="2995528"/>
                </a:lnTo>
                <a:cubicBezTo>
                  <a:pt x="3358743" y="3001784"/>
                  <a:pt x="3355329" y="3008665"/>
                  <a:pt x="3351386" y="3015209"/>
                </a:cubicBezTo>
                <a:cubicBezTo>
                  <a:pt x="3336672" y="3042012"/>
                  <a:pt x="3326045" y="3070018"/>
                  <a:pt x="3317101" y="3097735"/>
                </a:cubicBezTo>
                <a:cubicBezTo>
                  <a:pt x="3299357" y="3153314"/>
                  <a:pt x="3288105" y="3208027"/>
                  <a:pt x="3277574" y="3260093"/>
                </a:cubicBezTo>
                <a:cubicBezTo>
                  <a:pt x="3267140" y="3312207"/>
                  <a:pt x="3258196" y="3361963"/>
                  <a:pt x="3248002" y="3408688"/>
                </a:cubicBezTo>
                <a:cubicBezTo>
                  <a:pt x="3237904" y="3455413"/>
                  <a:pt x="3227469" y="3499298"/>
                  <a:pt x="3217996" y="3540441"/>
                </a:cubicBezTo>
                <a:cubicBezTo>
                  <a:pt x="3208475" y="3581584"/>
                  <a:pt x="3199916" y="3619936"/>
                  <a:pt x="3193376" y="3655544"/>
                </a:cubicBezTo>
                <a:cubicBezTo>
                  <a:pt x="3186933" y="3691153"/>
                  <a:pt x="3182413" y="3724115"/>
                  <a:pt x="3181884" y="3753998"/>
                </a:cubicBezTo>
                <a:cubicBezTo>
                  <a:pt x="3181403" y="3783736"/>
                  <a:pt x="3185009" y="3811165"/>
                  <a:pt x="3196838" y="3831520"/>
                </a:cubicBezTo>
                <a:cubicBezTo>
                  <a:pt x="3202609" y="3841673"/>
                  <a:pt x="3210543" y="3849517"/>
                  <a:pt x="3218814" y="3854762"/>
                </a:cubicBezTo>
                <a:cubicBezTo>
                  <a:pt x="3227181" y="3860007"/>
                  <a:pt x="3235692" y="3862942"/>
                  <a:pt x="3243385" y="3864675"/>
                </a:cubicBezTo>
                <a:cubicBezTo>
                  <a:pt x="3258869" y="3867995"/>
                  <a:pt x="3271035" y="3867369"/>
                  <a:pt x="3278969" y="3866888"/>
                </a:cubicBezTo>
                <a:cubicBezTo>
                  <a:pt x="3282960" y="3866696"/>
                  <a:pt x="3285989" y="3866214"/>
                  <a:pt x="3288009" y="3865974"/>
                </a:cubicBezTo>
                <a:cubicBezTo>
                  <a:pt x="3290029" y="3865685"/>
                  <a:pt x="3291038" y="3865541"/>
                  <a:pt x="3291038" y="3865444"/>
                </a:cubicBezTo>
                <a:cubicBezTo>
                  <a:pt x="3291038" y="3865204"/>
                  <a:pt x="3286903" y="3865589"/>
                  <a:pt x="3278921" y="3865781"/>
                </a:cubicBezTo>
                <a:cubicBezTo>
                  <a:pt x="3270987" y="3865878"/>
                  <a:pt x="3258917" y="3866118"/>
                  <a:pt x="3243866" y="3862557"/>
                </a:cubicBezTo>
                <a:cubicBezTo>
                  <a:pt x="3236365" y="3860729"/>
                  <a:pt x="3228190" y="3857697"/>
                  <a:pt x="3220256" y="3852500"/>
                </a:cubicBezTo>
                <a:cubicBezTo>
                  <a:pt x="3212370" y="3847303"/>
                  <a:pt x="3204965" y="3839748"/>
                  <a:pt x="3199579" y="3829884"/>
                </a:cubicBezTo>
                <a:cubicBezTo>
                  <a:pt x="3188472" y="3810203"/>
                  <a:pt x="3185201" y="3783351"/>
                  <a:pt x="3186019" y="3753998"/>
                </a:cubicBezTo>
                <a:cubicBezTo>
                  <a:pt x="3186837" y="3724452"/>
                  <a:pt x="3191645" y="3691779"/>
                  <a:pt x="3198329" y="3656363"/>
                </a:cubicBezTo>
                <a:cubicBezTo>
                  <a:pt x="3205109" y="3620946"/>
                  <a:pt x="3213957" y="3582691"/>
                  <a:pt x="3223718" y="3541644"/>
                </a:cubicBezTo>
                <a:cubicBezTo>
                  <a:pt x="3233480" y="3500597"/>
                  <a:pt x="3244203" y="3456760"/>
                  <a:pt x="3254590" y="3409987"/>
                </a:cubicBezTo>
                <a:cubicBezTo>
                  <a:pt x="3265072" y="3363214"/>
                  <a:pt x="3274257" y="3313458"/>
                  <a:pt x="3284932" y="3261440"/>
                </a:cubicBezTo>
                <a:cubicBezTo>
                  <a:pt x="3295655" y="3209518"/>
                  <a:pt x="3307099" y="3154999"/>
                  <a:pt x="3324891" y="3100141"/>
                </a:cubicBezTo>
                <a:cubicBezTo>
                  <a:pt x="3333835" y="3072761"/>
                  <a:pt x="3344414" y="3045236"/>
                  <a:pt x="3358840" y="3019251"/>
                </a:cubicBezTo>
                <a:cubicBezTo>
                  <a:pt x="3362686" y="3012900"/>
                  <a:pt x="3366004" y="3006163"/>
                  <a:pt x="3370476" y="3000196"/>
                </a:cubicBezTo>
                <a:lnTo>
                  <a:pt x="3376872" y="2990957"/>
                </a:lnTo>
                <a:cubicBezTo>
                  <a:pt x="3378988" y="2987829"/>
                  <a:pt x="3381584" y="2985182"/>
                  <a:pt x="3383940" y="2982247"/>
                </a:cubicBezTo>
                <a:cubicBezTo>
                  <a:pt x="3386393" y="2979408"/>
                  <a:pt x="3388653" y="2976424"/>
                  <a:pt x="3391298" y="2973682"/>
                </a:cubicBezTo>
                <a:lnTo>
                  <a:pt x="3399424" y="2965646"/>
                </a:lnTo>
                <a:cubicBezTo>
                  <a:pt x="3402165" y="2962999"/>
                  <a:pt x="3404713" y="2960160"/>
                  <a:pt x="3407647" y="2957706"/>
                </a:cubicBezTo>
                <a:lnTo>
                  <a:pt x="3416446" y="2950295"/>
                </a:lnTo>
                <a:cubicBezTo>
                  <a:pt x="3440056" y="2930662"/>
                  <a:pt x="3467273" y="2914542"/>
                  <a:pt x="3496990" y="2903089"/>
                </a:cubicBezTo>
                <a:cubicBezTo>
                  <a:pt x="3526659" y="2891589"/>
                  <a:pt x="3558444" y="2884274"/>
                  <a:pt x="3591094" y="2879992"/>
                </a:cubicBezTo>
                <a:cubicBezTo>
                  <a:pt x="3656587" y="2871523"/>
                  <a:pt x="3725013" y="2875420"/>
                  <a:pt x="3794978" y="2879895"/>
                </a:cubicBezTo>
                <a:cubicBezTo>
                  <a:pt x="3812481" y="2880954"/>
                  <a:pt x="3830129" y="2882061"/>
                  <a:pt x="3847968" y="2882783"/>
                </a:cubicBezTo>
                <a:cubicBezTo>
                  <a:pt x="3865760" y="2883553"/>
                  <a:pt x="3883744" y="2883938"/>
                  <a:pt x="3901921" y="2883264"/>
                </a:cubicBezTo>
                <a:cubicBezTo>
                  <a:pt x="3920049" y="2882590"/>
                  <a:pt x="3938466" y="2881050"/>
                  <a:pt x="3956642" y="2876671"/>
                </a:cubicBezTo>
                <a:cubicBezTo>
                  <a:pt x="3961163" y="2875372"/>
                  <a:pt x="3965730" y="2874410"/>
                  <a:pt x="3970202" y="2872774"/>
                </a:cubicBezTo>
                <a:lnTo>
                  <a:pt x="3976886" y="2870271"/>
                </a:lnTo>
                <a:cubicBezTo>
                  <a:pt x="3979147" y="2869453"/>
                  <a:pt x="3981310" y="2868587"/>
                  <a:pt x="3983426" y="2867432"/>
                </a:cubicBezTo>
                <a:lnTo>
                  <a:pt x="3989870" y="2864208"/>
                </a:lnTo>
                <a:lnTo>
                  <a:pt x="3995928" y="2860455"/>
                </a:lnTo>
                <a:cubicBezTo>
                  <a:pt x="4000064" y="2858049"/>
                  <a:pt x="4003718" y="2855066"/>
                  <a:pt x="4007565" y="2852323"/>
                </a:cubicBezTo>
                <a:cubicBezTo>
                  <a:pt x="4022616" y="2840822"/>
                  <a:pt x="4035599" y="2827156"/>
                  <a:pt x="4047957" y="2813057"/>
                </a:cubicBezTo>
                <a:cubicBezTo>
                  <a:pt x="4060267" y="2798909"/>
                  <a:pt x="4071808" y="2784088"/>
                  <a:pt x="4083060" y="2768978"/>
                </a:cubicBezTo>
                <a:cubicBezTo>
                  <a:pt x="4094312" y="2753869"/>
                  <a:pt x="4105227" y="2738470"/>
                  <a:pt x="4116191" y="2723024"/>
                </a:cubicBezTo>
                <a:cubicBezTo>
                  <a:pt x="4127106" y="2707481"/>
                  <a:pt x="4138070" y="2692179"/>
                  <a:pt x="4149659" y="2677021"/>
                </a:cubicBezTo>
                <a:cubicBezTo>
                  <a:pt x="4172644" y="2646657"/>
                  <a:pt x="4197024" y="2616197"/>
                  <a:pt x="4215633" y="2581214"/>
                </a:cubicBezTo>
                <a:cubicBezTo>
                  <a:pt x="4224865" y="2563746"/>
                  <a:pt x="4232703" y="2545268"/>
                  <a:pt x="4237415" y="2525635"/>
                </a:cubicBezTo>
                <a:cubicBezTo>
                  <a:pt x="4242032" y="2505954"/>
                  <a:pt x="4243715" y="2486080"/>
                  <a:pt x="4245061" y="2466303"/>
                </a:cubicBezTo>
                <a:cubicBezTo>
                  <a:pt x="4247514" y="2426748"/>
                  <a:pt x="4248187" y="2387049"/>
                  <a:pt x="4255303" y="2348216"/>
                </a:cubicBezTo>
                <a:cubicBezTo>
                  <a:pt x="4258910" y="2328872"/>
                  <a:pt x="4264103" y="2309623"/>
                  <a:pt x="4270354" y="2290712"/>
                </a:cubicBezTo>
                <a:cubicBezTo>
                  <a:pt x="4276654" y="2271801"/>
                  <a:pt x="4284059" y="2253227"/>
                  <a:pt x="4292955" y="2235374"/>
                </a:cubicBezTo>
                <a:cubicBezTo>
                  <a:pt x="4301899" y="2217618"/>
                  <a:pt x="4312237" y="2200391"/>
                  <a:pt x="4325316" y="2186243"/>
                </a:cubicBezTo>
                <a:cubicBezTo>
                  <a:pt x="4331904" y="2179314"/>
                  <a:pt x="4339357" y="2173155"/>
                  <a:pt x="4347532" y="2169642"/>
                </a:cubicBezTo>
                <a:cubicBezTo>
                  <a:pt x="4355322" y="2166177"/>
                  <a:pt x="4363593" y="2167765"/>
                  <a:pt x="4370373" y="2173251"/>
                </a:cubicBezTo>
                <a:cubicBezTo>
                  <a:pt x="4377249" y="2178640"/>
                  <a:pt x="4382491" y="2186725"/>
                  <a:pt x="4386722" y="2195146"/>
                </a:cubicBezTo>
                <a:cubicBezTo>
                  <a:pt x="4390906" y="2203711"/>
                  <a:pt x="4394127" y="2212854"/>
                  <a:pt x="4396724" y="2222189"/>
                </a:cubicBezTo>
                <a:cubicBezTo>
                  <a:pt x="4401821" y="2240908"/>
                  <a:pt x="4404562" y="2260300"/>
                  <a:pt x="4405908" y="2279741"/>
                </a:cubicBezTo>
                <a:cubicBezTo>
                  <a:pt x="4407303" y="2299181"/>
                  <a:pt x="4407159" y="2318670"/>
                  <a:pt x="4406052" y="2338014"/>
                </a:cubicBezTo>
                <a:cubicBezTo>
                  <a:pt x="4404898" y="2357311"/>
                  <a:pt x="4402494" y="2376462"/>
                  <a:pt x="4398214" y="2395085"/>
                </a:cubicBezTo>
                <a:cubicBezTo>
                  <a:pt x="4393983" y="2413659"/>
                  <a:pt x="4387876" y="2431704"/>
                  <a:pt x="4379124" y="2448258"/>
                </a:cubicBezTo>
                <a:cubicBezTo>
                  <a:pt x="4374701" y="2456486"/>
                  <a:pt x="4369651" y="2464282"/>
                  <a:pt x="4363881" y="2471500"/>
                </a:cubicBezTo>
                <a:cubicBezTo>
                  <a:pt x="4362439" y="2473280"/>
                  <a:pt x="4360900" y="2475013"/>
                  <a:pt x="4359457" y="2476745"/>
                </a:cubicBezTo>
                <a:lnTo>
                  <a:pt x="4354745" y="2481412"/>
                </a:lnTo>
                <a:lnTo>
                  <a:pt x="4349552" y="2485743"/>
                </a:lnTo>
                <a:lnTo>
                  <a:pt x="4343974" y="2489737"/>
                </a:lnTo>
                <a:cubicBezTo>
                  <a:pt x="4328731" y="2499987"/>
                  <a:pt x="4310746" y="2508649"/>
                  <a:pt x="4296561" y="2522844"/>
                </a:cubicBezTo>
                <a:cubicBezTo>
                  <a:pt x="4282183" y="2536702"/>
                  <a:pt x="4272662" y="2555132"/>
                  <a:pt x="4267758" y="2573755"/>
                </a:cubicBezTo>
                <a:cubicBezTo>
                  <a:pt x="4262660" y="2592281"/>
                  <a:pt x="4259535" y="2610808"/>
                  <a:pt x="4256698" y="2629286"/>
                </a:cubicBezTo>
                <a:cubicBezTo>
                  <a:pt x="4253861" y="2647716"/>
                  <a:pt x="4251601" y="2666146"/>
                  <a:pt x="4249389" y="2684383"/>
                </a:cubicBezTo>
                <a:cubicBezTo>
                  <a:pt x="4246937" y="2705893"/>
                  <a:pt x="4244484" y="2727258"/>
                  <a:pt x="4242032" y="2748479"/>
                </a:cubicBezTo>
                <a:cubicBezTo>
                  <a:pt x="4243042" y="2736931"/>
                  <a:pt x="4243763" y="2725237"/>
                  <a:pt x="4243907" y="2713352"/>
                </a:cubicBezTo>
                <a:cubicBezTo>
                  <a:pt x="4244003" y="2701466"/>
                  <a:pt x="4243667" y="2689388"/>
                  <a:pt x="4241503" y="2677117"/>
                </a:cubicBezTo>
                <a:cubicBezTo>
                  <a:pt x="4240349" y="2671006"/>
                  <a:pt x="4238858" y="2664799"/>
                  <a:pt x="4235684" y="2658687"/>
                </a:cubicBezTo>
                <a:cubicBezTo>
                  <a:pt x="4234097" y="2655656"/>
                  <a:pt x="4231982" y="2652672"/>
                  <a:pt x="4229049" y="2650170"/>
                </a:cubicBezTo>
                <a:cubicBezTo>
                  <a:pt x="4226164" y="2647620"/>
                  <a:pt x="4222028" y="2646032"/>
                  <a:pt x="4218133" y="2645839"/>
                </a:cubicBezTo>
                <a:cubicBezTo>
                  <a:pt x="4214238" y="2645598"/>
                  <a:pt x="4210487" y="2646417"/>
                  <a:pt x="4207314" y="2647716"/>
                </a:cubicBezTo>
                <a:cubicBezTo>
                  <a:pt x="4203996" y="2648967"/>
                  <a:pt x="4201447" y="2650603"/>
                  <a:pt x="4198514" y="2651998"/>
                </a:cubicBezTo>
                <a:cubicBezTo>
                  <a:pt x="4195677" y="2653538"/>
                  <a:pt x="4193080" y="2655415"/>
                  <a:pt x="4190388" y="2657099"/>
                </a:cubicBezTo>
                <a:cubicBezTo>
                  <a:pt x="4187743" y="2658880"/>
                  <a:pt x="4185290" y="2660949"/>
                  <a:pt x="4182742" y="2662874"/>
                </a:cubicBezTo>
                <a:cubicBezTo>
                  <a:pt x="4163075" y="2679138"/>
                  <a:pt x="4147687" y="2699541"/>
                  <a:pt x="4133117" y="2720377"/>
                </a:cubicBezTo>
                <a:cubicBezTo>
                  <a:pt x="4118595" y="2741309"/>
                  <a:pt x="4104987" y="2763108"/>
                  <a:pt x="4090898" y="2784858"/>
                </a:cubicBezTo>
                <a:cubicBezTo>
                  <a:pt x="4076809" y="2806608"/>
                  <a:pt x="4062239" y="2828359"/>
                  <a:pt x="4046034" y="2849147"/>
                </a:cubicBezTo>
                <a:cubicBezTo>
                  <a:pt x="4029829" y="2869887"/>
                  <a:pt x="4011941" y="2889760"/>
                  <a:pt x="3991168" y="2906410"/>
                </a:cubicBezTo>
                <a:cubicBezTo>
                  <a:pt x="3980878" y="2914831"/>
                  <a:pt x="3969674" y="2922193"/>
                  <a:pt x="3957845" y="2928449"/>
                </a:cubicBezTo>
                <a:cubicBezTo>
                  <a:pt x="3952026" y="2931721"/>
                  <a:pt x="3945823" y="2934223"/>
                  <a:pt x="3939668" y="2936870"/>
                </a:cubicBezTo>
                <a:cubicBezTo>
                  <a:pt x="3933321" y="2938794"/>
                  <a:pt x="3927166" y="2941297"/>
                  <a:pt x="3920578" y="2942259"/>
                </a:cubicBezTo>
                <a:cubicBezTo>
                  <a:pt x="3914134" y="2943895"/>
                  <a:pt x="3907402" y="2944232"/>
                  <a:pt x="3900719" y="2944906"/>
                </a:cubicBezTo>
                <a:cubicBezTo>
                  <a:pt x="3893986" y="2944906"/>
                  <a:pt x="3887207" y="2945291"/>
                  <a:pt x="3880378" y="2944617"/>
                </a:cubicBezTo>
                <a:cubicBezTo>
                  <a:pt x="3866722" y="2943895"/>
                  <a:pt x="3853017" y="2941585"/>
                  <a:pt x="3839265" y="2939035"/>
                </a:cubicBezTo>
                <a:cubicBezTo>
                  <a:pt x="3811760" y="2933790"/>
                  <a:pt x="3783774" y="2927053"/>
                  <a:pt x="3754826" y="2923733"/>
                </a:cubicBezTo>
                <a:cubicBezTo>
                  <a:pt x="3747613" y="2922819"/>
                  <a:pt x="3740256" y="2922434"/>
                  <a:pt x="3732995" y="2921904"/>
                </a:cubicBezTo>
                <a:lnTo>
                  <a:pt x="3721983" y="2921664"/>
                </a:lnTo>
                <a:lnTo>
                  <a:pt x="3716454" y="2921568"/>
                </a:lnTo>
                <a:lnTo>
                  <a:pt x="3710924" y="2921808"/>
                </a:lnTo>
                <a:lnTo>
                  <a:pt x="3699816" y="2922289"/>
                </a:lnTo>
                <a:cubicBezTo>
                  <a:pt x="3696161" y="2922530"/>
                  <a:pt x="3692555" y="2922915"/>
                  <a:pt x="3688900" y="2923204"/>
                </a:cubicBezTo>
                <a:cubicBezTo>
                  <a:pt x="3681640" y="2923877"/>
                  <a:pt x="3674331" y="2924407"/>
                  <a:pt x="3667070" y="2925321"/>
                </a:cubicBezTo>
                <a:cubicBezTo>
                  <a:pt x="3637930" y="2928449"/>
                  <a:pt x="3608597" y="2932779"/>
                  <a:pt x="3579505" y="2939757"/>
                </a:cubicBezTo>
                <a:cubicBezTo>
                  <a:pt x="3572244" y="2941537"/>
                  <a:pt x="3564935" y="2943270"/>
                  <a:pt x="3557771" y="2945483"/>
                </a:cubicBezTo>
                <a:cubicBezTo>
                  <a:pt x="3554164" y="2946542"/>
                  <a:pt x="3550510" y="2947504"/>
                  <a:pt x="3546951" y="2948707"/>
                </a:cubicBezTo>
                <a:lnTo>
                  <a:pt x="3536228" y="2952412"/>
                </a:lnTo>
                <a:cubicBezTo>
                  <a:pt x="3529015" y="2954722"/>
                  <a:pt x="3522139" y="2957946"/>
                  <a:pt x="3515070" y="2960641"/>
                </a:cubicBezTo>
                <a:lnTo>
                  <a:pt x="3504732" y="2965501"/>
                </a:lnTo>
                <a:lnTo>
                  <a:pt x="3499587" y="2967956"/>
                </a:lnTo>
                <a:lnTo>
                  <a:pt x="3494538" y="2970698"/>
                </a:lnTo>
                <a:cubicBezTo>
                  <a:pt x="3480929" y="2977724"/>
                  <a:pt x="3468331" y="2986482"/>
                  <a:pt x="3456357" y="2995913"/>
                </a:cubicBezTo>
                <a:cubicBezTo>
                  <a:pt x="3444384" y="3005393"/>
                  <a:pt x="3433805" y="3016364"/>
                  <a:pt x="3423900" y="3027769"/>
                </a:cubicBezTo>
                <a:cubicBezTo>
                  <a:pt x="3404617" y="3051059"/>
                  <a:pt x="3389470" y="3077188"/>
                  <a:pt x="3377545" y="3104184"/>
                </a:cubicBezTo>
                <a:cubicBezTo>
                  <a:pt x="3365475" y="3131131"/>
                  <a:pt x="3356002" y="3158800"/>
                  <a:pt x="3347684" y="3186469"/>
                </a:cubicBezTo>
                <a:cubicBezTo>
                  <a:pt x="3339413" y="3214138"/>
                  <a:pt x="3332344" y="3241904"/>
                  <a:pt x="3325757" y="3269428"/>
                </a:cubicBezTo>
                <a:cubicBezTo>
                  <a:pt x="3319121" y="3296953"/>
                  <a:pt x="3313254" y="3324429"/>
                  <a:pt x="3307388" y="3351521"/>
                </a:cubicBezTo>
                <a:cubicBezTo>
                  <a:pt x="3301521" y="3378565"/>
                  <a:pt x="3295222" y="3405271"/>
                  <a:pt x="3288730" y="3431641"/>
                </a:cubicBezTo>
                <a:cubicBezTo>
                  <a:pt x="3275843" y="3484429"/>
                  <a:pt x="3262283" y="3535918"/>
                  <a:pt x="3250646" y="3586684"/>
                </a:cubicBezTo>
                <a:cubicBezTo>
                  <a:pt x="3244876" y="3612044"/>
                  <a:pt x="3239539" y="3637259"/>
                  <a:pt x="3235451" y="3662425"/>
                </a:cubicBezTo>
                <a:cubicBezTo>
                  <a:pt x="3231412" y="3687544"/>
                  <a:pt x="3228431" y="3712663"/>
                  <a:pt x="3228671" y="3737734"/>
                </a:cubicBezTo>
                <a:cubicBezTo>
                  <a:pt x="3228960" y="3750245"/>
                  <a:pt x="3229922" y="3762804"/>
                  <a:pt x="3232951" y="3775075"/>
                </a:cubicBezTo>
                <a:cubicBezTo>
                  <a:pt x="3235836" y="3787297"/>
                  <a:pt x="3240933" y="3799424"/>
                  <a:pt x="3249396" y="3809192"/>
                </a:cubicBezTo>
                <a:cubicBezTo>
                  <a:pt x="3257763" y="3819153"/>
                  <a:pt x="3269688" y="3825505"/>
                  <a:pt x="3281710" y="3828488"/>
                </a:cubicBezTo>
                <a:cubicBezTo>
                  <a:pt x="3293827" y="3831472"/>
                  <a:pt x="3306089" y="3831664"/>
                  <a:pt x="3317870" y="3830557"/>
                </a:cubicBezTo>
                <a:cubicBezTo>
                  <a:pt x="3341433" y="3827959"/>
                  <a:pt x="3363744" y="3822281"/>
                  <a:pt x="3384998" y="3814485"/>
                </a:cubicBezTo>
                <a:cubicBezTo>
                  <a:pt x="3406156" y="3806594"/>
                  <a:pt x="3425967" y="3796440"/>
                  <a:pt x="3444432" y="3785132"/>
                </a:cubicBezTo>
                <a:cubicBezTo>
                  <a:pt x="3462897" y="3773824"/>
                  <a:pt x="3480016" y="3761264"/>
                  <a:pt x="3496076" y="3748224"/>
                </a:cubicBezTo>
                <a:cubicBezTo>
                  <a:pt x="3512089" y="3735087"/>
                  <a:pt x="3526996" y="3721421"/>
                  <a:pt x="3541181" y="3707707"/>
                </a:cubicBezTo>
                <a:cubicBezTo>
                  <a:pt x="3597585" y="3652513"/>
                  <a:pt x="3642257" y="3597030"/>
                  <a:pt x="3686112" y="3552904"/>
                </a:cubicBezTo>
                <a:cubicBezTo>
                  <a:pt x="3707846" y="3530672"/>
                  <a:pt x="3729437" y="3511328"/>
                  <a:pt x="3750835" y="3495641"/>
                </a:cubicBezTo>
                <a:cubicBezTo>
                  <a:pt x="3761654" y="3487990"/>
                  <a:pt x="3772233" y="3480964"/>
                  <a:pt x="3783004" y="3475431"/>
                </a:cubicBezTo>
                <a:cubicBezTo>
                  <a:pt x="3788390" y="3472736"/>
                  <a:pt x="3793487" y="3469704"/>
                  <a:pt x="3798873" y="3467683"/>
                </a:cubicBezTo>
                <a:cubicBezTo>
                  <a:pt x="3804162" y="3465470"/>
                  <a:pt x="3809259" y="3463160"/>
                  <a:pt x="3814453" y="3461668"/>
                </a:cubicBezTo>
                <a:cubicBezTo>
                  <a:pt x="3817049" y="3460850"/>
                  <a:pt x="3819550" y="3460032"/>
                  <a:pt x="3822098" y="3459214"/>
                </a:cubicBezTo>
                <a:cubicBezTo>
                  <a:pt x="3824647" y="3458637"/>
                  <a:pt x="3827195" y="3458059"/>
                  <a:pt x="3829696" y="3457530"/>
                </a:cubicBezTo>
                <a:cubicBezTo>
                  <a:pt x="3834649" y="3456182"/>
                  <a:pt x="3839601" y="3455942"/>
                  <a:pt x="3844362" y="3455220"/>
                </a:cubicBezTo>
                <a:cubicBezTo>
                  <a:pt x="3853931" y="3454547"/>
                  <a:pt x="3862923" y="3454643"/>
                  <a:pt x="3871290" y="3455557"/>
                </a:cubicBezTo>
                <a:cubicBezTo>
                  <a:pt x="3879657" y="3456279"/>
                  <a:pt x="3887447" y="3457337"/>
                  <a:pt x="3894660" y="3457530"/>
                </a:cubicBezTo>
                <a:cubicBezTo>
                  <a:pt x="3896439" y="3457578"/>
                  <a:pt x="3898218" y="3457626"/>
                  <a:pt x="3899949" y="3457674"/>
                </a:cubicBezTo>
                <a:cubicBezTo>
                  <a:pt x="3901680" y="3457578"/>
                  <a:pt x="3903363" y="3457482"/>
                  <a:pt x="3904998" y="3457385"/>
                </a:cubicBezTo>
                <a:cubicBezTo>
                  <a:pt x="3908268" y="3457385"/>
                  <a:pt x="3911345" y="3456664"/>
                  <a:pt x="3914231" y="3456182"/>
                </a:cubicBezTo>
                <a:cubicBezTo>
                  <a:pt x="3925723" y="3453776"/>
                  <a:pt x="3933802" y="3449590"/>
                  <a:pt x="3938803" y="3446462"/>
                </a:cubicBezTo>
                <a:cubicBezTo>
                  <a:pt x="3943803" y="3443238"/>
                  <a:pt x="3946304" y="3441506"/>
                  <a:pt x="3946208" y="3441361"/>
                </a:cubicBezTo>
                <a:cubicBezTo>
                  <a:pt x="3946112" y="3441217"/>
                  <a:pt x="3943419" y="3442613"/>
                  <a:pt x="3938274" y="3445500"/>
                </a:cubicBezTo>
                <a:cubicBezTo>
                  <a:pt x="3933128" y="3448291"/>
                  <a:pt x="3925050" y="3452044"/>
                  <a:pt x="3913846" y="3454065"/>
                </a:cubicBezTo>
                <a:cubicBezTo>
                  <a:pt x="3911009" y="3454450"/>
                  <a:pt x="3908076" y="3455028"/>
                  <a:pt x="3904854" y="3454979"/>
                </a:cubicBezTo>
                <a:cubicBezTo>
                  <a:pt x="3903267" y="3454979"/>
                  <a:pt x="3901632" y="3455076"/>
                  <a:pt x="3899949" y="3455124"/>
                </a:cubicBezTo>
                <a:cubicBezTo>
                  <a:pt x="3898266" y="3455028"/>
                  <a:pt x="3896535" y="3454931"/>
                  <a:pt x="3894804" y="3454835"/>
                </a:cubicBezTo>
                <a:cubicBezTo>
                  <a:pt x="3887784" y="3454450"/>
                  <a:pt x="3880041" y="3453247"/>
                  <a:pt x="3871626" y="3452333"/>
                </a:cubicBezTo>
                <a:cubicBezTo>
                  <a:pt x="3863211" y="3451274"/>
                  <a:pt x="3853931" y="3450985"/>
                  <a:pt x="3844073" y="3451515"/>
                </a:cubicBezTo>
                <a:cubicBezTo>
                  <a:pt x="3839169" y="3452141"/>
                  <a:pt x="3834024" y="3452333"/>
                  <a:pt x="3828927" y="3453632"/>
                </a:cubicBezTo>
                <a:cubicBezTo>
                  <a:pt x="3826330" y="3454162"/>
                  <a:pt x="3823733" y="3454691"/>
                  <a:pt x="3821089" y="3455268"/>
                </a:cubicBezTo>
                <a:cubicBezTo>
                  <a:pt x="3818492" y="3456038"/>
                  <a:pt x="3815895" y="3456856"/>
                  <a:pt x="3813202" y="3457674"/>
                </a:cubicBezTo>
                <a:cubicBezTo>
                  <a:pt x="3807817" y="3459118"/>
                  <a:pt x="3802575" y="3461380"/>
                  <a:pt x="3797142" y="3463593"/>
                </a:cubicBezTo>
                <a:cubicBezTo>
                  <a:pt x="3791612" y="3465614"/>
                  <a:pt x="3786419" y="3468598"/>
                  <a:pt x="3780841" y="3471292"/>
                </a:cubicBezTo>
                <a:cubicBezTo>
                  <a:pt x="3769829" y="3476778"/>
                  <a:pt x="3758914" y="3483755"/>
                  <a:pt x="3747854" y="3491455"/>
                </a:cubicBezTo>
                <a:cubicBezTo>
                  <a:pt x="3725975" y="3507142"/>
                  <a:pt x="3703951" y="3526486"/>
                  <a:pt x="3681880" y="3548621"/>
                </a:cubicBezTo>
                <a:cubicBezTo>
                  <a:pt x="3637353" y="3592651"/>
                  <a:pt x="3592200" y="3647797"/>
                  <a:pt x="3535939" y="3702221"/>
                </a:cubicBezTo>
                <a:cubicBezTo>
                  <a:pt x="3521802" y="3715743"/>
                  <a:pt x="3506944" y="3729168"/>
                  <a:pt x="3491124" y="3742016"/>
                </a:cubicBezTo>
                <a:cubicBezTo>
                  <a:pt x="3475207" y="3754768"/>
                  <a:pt x="3458281" y="3766991"/>
                  <a:pt x="3440153" y="3778010"/>
                </a:cubicBezTo>
                <a:cubicBezTo>
                  <a:pt x="3422024" y="3788982"/>
                  <a:pt x="3402646" y="3798798"/>
                  <a:pt x="3382017" y="3806353"/>
                </a:cubicBezTo>
                <a:cubicBezTo>
                  <a:pt x="3361436" y="3813860"/>
                  <a:pt x="3339413" y="3819249"/>
                  <a:pt x="3317101" y="3821655"/>
                </a:cubicBezTo>
                <a:cubicBezTo>
                  <a:pt x="3305945" y="3822666"/>
                  <a:pt x="3294597" y="3822377"/>
                  <a:pt x="3283874" y="3819682"/>
                </a:cubicBezTo>
                <a:cubicBezTo>
                  <a:pt x="3273247" y="3816939"/>
                  <a:pt x="3263293" y="3811598"/>
                  <a:pt x="3256224" y="3803129"/>
                </a:cubicBezTo>
                <a:cubicBezTo>
                  <a:pt x="3249060" y="3794804"/>
                  <a:pt x="3244491" y="3784121"/>
                  <a:pt x="3241847" y="3772813"/>
                </a:cubicBezTo>
                <a:cubicBezTo>
                  <a:pt x="3239106" y="3761505"/>
                  <a:pt x="3238192" y="3749523"/>
                  <a:pt x="3237952" y="3737493"/>
                </a:cubicBezTo>
                <a:cubicBezTo>
                  <a:pt x="3237807" y="3713337"/>
                  <a:pt x="3240741" y="3688651"/>
                  <a:pt x="3244828" y="3663869"/>
                </a:cubicBezTo>
                <a:cubicBezTo>
                  <a:pt x="3248963" y="3639039"/>
                  <a:pt x="3254301" y="3614017"/>
                  <a:pt x="3260119" y="3588802"/>
                </a:cubicBezTo>
                <a:cubicBezTo>
                  <a:pt x="3271804" y="3538324"/>
                  <a:pt x="3285509" y="3486835"/>
                  <a:pt x="3298492" y="3433999"/>
                </a:cubicBezTo>
                <a:cubicBezTo>
                  <a:pt x="3305032" y="3407581"/>
                  <a:pt x="3311427" y="3380778"/>
                  <a:pt x="3317341" y="3353638"/>
                </a:cubicBezTo>
                <a:cubicBezTo>
                  <a:pt x="3323256" y="3326499"/>
                  <a:pt x="3329170" y="3299166"/>
                  <a:pt x="3335758" y="3271786"/>
                </a:cubicBezTo>
                <a:cubicBezTo>
                  <a:pt x="3342346" y="3244357"/>
                  <a:pt x="3349415" y="3216833"/>
                  <a:pt x="3357637" y="3189452"/>
                </a:cubicBezTo>
                <a:cubicBezTo>
                  <a:pt x="3365860" y="3162072"/>
                  <a:pt x="3375285" y="3134836"/>
                  <a:pt x="3387066" y="3108466"/>
                </a:cubicBezTo>
                <a:cubicBezTo>
                  <a:pt x="3398751" y="3082096"/>
                  <a:pt x="3413417" y="3056881"/>
                  <a:pt x="3431930" y="3034554"/>
                </a:cubicBezTo>
                <a:cubicBezTo>
                  <a:pt x="3441403" y="3023630"/>
                  <a:pt x="3451501" y="3013140"/>
                  <a:pt x="3462945" y="3004142"/>
                </a:cubicBezTo>
                <a:cubicBezTo>
                  <a:pt x="3474342" y="2995143"/>
                  <a:pt x="3486363" y="2986770"/>
                  <a:pt x="3499442" y="2980033"/>
                </a:cubicBezTo>
                <a:lnTo>
                  <a:pt x="3504251" y="2977387"/>
                </a:lnTo>
                <a:lnTo>
                  <a:pt x="3509204" y="2975029"/>
                </a:lnTo>
                <a:lnTo>
                  <a:pt x="3519158" y="2970362"/>
                </a:lnTo>
                <a:cubicBezTo>
                  <a:pt x="3526034" y="2967715"/>
                  <a:pt x="3532670" y="2964635"/>
                  <a:pt x="3539642" y="2962373"/>
                </a:cubicBezTo>
                <a:lnTo>
                  <a:pt x="3550029" y="2958813"/>
                </a:lnTo>
                <a:cubicBezTo>
                  <a:pt x="3553491" y="2957658"/>
                  <a:pt x="3557049" y="2956743"/>
                  <a:pt x="3560560" y="2955685"/>
                </a:cubicBezTo>
                <a:cubicBezTo>
                  <a:pt x="3567532" y="2953519"/>
                  <a:pt x="3574697" y="2951787"/>
                  <a:pt x="3581765" y="2950055"/>
                </a:cubicBezTo>
                <a:cubicBezTo>
                  <a:pt x="3610232" y="2943270"/>
                  <a:pt x="3639180" y="2938939"/>
                  <a:pt x="3668031" y="2935811"/>
                </a:cubicBezTo>
                <a:cubicBezTo>
                  <a:pt x="3675244" y="2934897"/>
                  <a:pt x="3682457" y="2934367"/>
                  <a:pt x="3689670" y="2933694"/>
                </a:cubicBezTo>
                <a:cubicBezTo>
                  <a:pt x="3693276" y="2933405"/>
                  <a:pt x="3696883" y="2932972"/>
                  <a:pt x="3700441" y="2932779"/>
                </a:cubicBezTo>
                <a:lnTo>
                  <a:pt x="3711068" y="2932298"/>
                </a:lnTo>
                <a:lnTo>
                  <a:pt x="3716357" y="2932058"/>
                </a:lnTo>
                <a:lnTo>
                  <a:pt x="3721695" y="2932154"/>
                </a:lnTo>
                <a:lnTo>
                  <a:pt x="3732322" y="2932395"/>
                </a:lnTo>
                <a:cubicBezTo>
                  <a:pt x="3739390" y="2932924"/>
                  <a:pt x="3746459" y="2933309"/>
                  <a:pt x="3753480" y="2934175"/>
                </a:cubicBezTo>
                <a:cubicBezTo>
                  <a:pt x="3781658" y="2937351"/>
                  <a:pt x="3809259" y="2943943"/>
                  <a:pt x="3837197" y="2949285"/>
                </a:cubicBezTo>
                <a:cubicBezTo>
                  <a:pt x="3851190" y="2951883"/>
                  <a:pt x="3865279" y="2954241"/>
                  <a:pt x="3879609" y="2955011"/>
                </a:cubicBezTo>
                <a:cubicBezTo>
                  <a:pt x="3886725" y="2955685"/>
                  <a:pt x="3893986" y="2955348"/>
                  <a:pt x="3901151" y="2955252"/>
                </a:cubicBezTo>
                <a:cubicBezTo>
                  <a:pt x="3908316" y="2954530"/>
                  <a:pt x="3915529" y="2954097"/>
                  <a:pt x="3922549" y="2952364"/>
                </a:cubicBezTo>
                <a:cubicBezTo>
                  <a:pt x="3929714" y="2951258"/>
                  <a:pt x="3936446" y="2948563"/>
                  <a:pt x="3943323" y="2946446"/>
                </a:cubicBezTo>
                <a:cubicBezTo>
                  <a:pt x="3949862" y="2943655"/>
                  <a:pt x="3956402" y="2940960"/>
                  <a:pt x="3962557" y="2937495"/>
                </a:cubicBezTo>
                <a:cubicBezTo>
                  <a:pt x="3975011" y="2930903"/>
                  <a:pt x="3986744" y="2923155"/>
                  <a:pt x="3997467" y="2914350"/>
                </a:cubicBezTo>
                <a:cubicBezTo>
                  <a:pt x="4019106" y="2896930"/>
                  <a:pt x="4037427" y="2876479"/>
                  <a:pt x="4053872" y="2855306"/>
                </a:cubicBezTo>
                <a:cubicBezTo>
                  <a:pt x="4070365" y="2834085"/>
                  <a:pt x="4084983" y="2812046"/>
                  <a:pt x="4099073" y="2790200"/>
                </a:cubicBezTo>
                <a:cubicBezTo>
                  <a:pt x="4113162" y="2768353"/>
                  <a:pt x="4126674" y="2746555"/>
                  <a:pt x="4140955" y="2725863"/>
                </a:cubicBezTo>
                <a:cubicBezTo>
                  <a:pt x="4155237" y="2705267"/>
                  <a:pt x="4170288" y="2685394"/>
                  <a:pt x="4188608" y="2670140"/>
                </a:cubicBezTo>
                <a:cubicBezTo>
                  <a:pt x="4190965" y="2668359"/>
                  <a:pt x="4193224" y="2666434"/>
                  <a:pt x="4195677" y="2664799"/>
                </a:cubicBezTo>
                <a:cubicBezTo>
                  <a:pt x="4198129" y="2663259"/>
                  <a:pt x="4200534" y="2661526"/>
                  <a:pt x="4203082" y="2660131"/>
                </a:cubicBezTo>
                <a:cubicBezTo>
                  <a:pt x="4208227" y="2657388"/>
                  <a:pt x="4213277" y="2654597"/>
                  <a:pt x="4217556" y="2655078"/>
                </a:cubicBezTo>
                <a:cubicBezTo>
                  <a:pt x="4221788" y="2655078"/>
                  <a:pt x="4225105" y="2658350"/>
                  <a:pt x="4227606" y="2662970"/>
                </a:cubicBezTo>
                <a:cubicBezTo>
                  <a:pt x="4230058" y="2667589"/>
                  <a:pt x="4231501" y="2673171"/>
                  <a:pt x="4232559" y="2678705"/>
                </a:cubicBezTo>
                <a:cubicBezTo>
                  <a:pt x="4234627" y="2689965"/>
                  <a:pt x="4235011" y="2701658"/>
                  <a:pt x="4234963" y="2713255"/>
                </a:cubicBezTo>
                <a:cubicBezTo>
                  <a:pt x="4234915" y="2724852"/>
                  <a:pt x="4234194" y="2736401"/>
                  <a:pt x="4233280" y="2747806"/>
                </a:cubicBezTo>
                <a:cubicBezTo>
                  <a:pt x="4232848" y="2752618"/>
                  <a:pt x="4232366" y="2757430"/>
                  <a:pt x="4231886" y="2762194"/>
                </a:cubicBezTo>
                <a:cubicBezTo>
                  <a:pt x="4231405" y="2755794"/>
                  <a:pt x="4230587" y="2749345"/>
                  <a:pt x="4229097" y="2742897"/>
                </a:cubicBezTo>
                <a:cubicBezTo>
                  <a:pt x="4227366" y="2736016"/>
                  <a:pt x="4225250" y="2728894"/>
                  <a:pt x="4220297" y="2722398"/>
                </a:cubicBezTo>
                <a:cubicBezTo>
                  <a:pt x="4217844" y="2719222"/>
                  <a:pt x="4214623" y="2716239"/>
                  <a:pt x="4210632" y="2714362"/>
                </a:cubicBezTo>
                <a:cubicBezTo>
                  <a:pt x="4206593" y="2712485"/>
                  <a:pt x="4202121" y="2712004"/>
                  <a:pt x="4198033" y="2712437"/>
                </a:cubicBezTo>
                <a:cubicBezTo>
                  <a:pt x="4189762" y="2713255"/>
                  <a:pt x="4183030" y="2716864"/>
                  <a:pt x="4176971" y="2720618"/>
                </a:cubicBezTo>
                <a:cubicBezTo>
                  <a:pt x="4164902" y="2728221"/>
                  <a:pt x="4154467" y="2737749"/>
                  <a:pt x="4144946" y="2747902"/>
                </a:cubicBezTo>
                <a:cubicBezTo>
                  <a:pt x="4125952" y="2768353"/>
                  <a:pt x="4110276" y="2790825"/>
                  <a:pt x="4095081" y="2813153"/>
                </a:cubicBezTo>
                <a:cubicBezTo>
                  <a:pt x="4079934" y="2835529"/>
                  <a:pt x="4065316" y="2857953"/>
                  <a:pt x="4050121" y="2879607"/>
                </a:cubicBezTo>
                <a:cubicBezTo>
                  <a:pt x="4034878" y="2901213"/>
                  <a:pt x="4019010" y="2922097"/>
                  <a:pt x="4001458" y="2941056"/>
                </a:cubicBezTo>
                <a:cubicBezTo>
                  <a:pt x="3992755" y="2950584"/>
                  <a:pt x="3983426" y="2959390"/>
                  <a:pt x="3973665" y="2967570"/>
                </a:cubicBezTo>
                <a:cubicBezTo>
                  <a:pt x="3963951" y="2975751"/>
                  <a:pt x="3953613" y="2983113"/>
                  <a:pt x="3942697" y="2989225"/>
                </a:cubicBezTo>
                <a:cubicBezTo>
                  <a:pt x="3921059" y="3001784"/>
                  <a:pt x="3896776" y="3008473"/>
                  <a:pt x="3872252" y="3009387"/>
                </a:cubicBezTo>
                <a:cubicBezTo>
                  <a:pt x="3859990" y="3009820"/>
                  <a:pt x="3847680" y="3009098"/>
                  <a:pt x="3835514" y="3007558"/>
                </a:cubicBezTo>
                <a:cubicBezTo>
                  <a:pt x="3823348" y="3005922"/>
                  <a:pt x="3811231" y="3003661"/>
                  <a:pt x="3799209" y="3001110"/>
                </a:cubicBezTo>
                <a:cubicBezTo>
                  <a:pt x="3775166" y="2995865"/>
                  <a:pt x="3751412" y="2989657"/>
                  <a:pt x="3727417" y="2985086"/>
                </a:cubicBezTo>
                <a:cubicBezTo>
                  <a:pt x="3703471" y="2980322"/>
                  <a:pt x="3679139" y="2977676"/>
                  <a:pt x="3655048" y="2978109"/>
                </a:cubicBezTo>
                <a:cubicBezTo>
                  <a:pt x="3630957" y="2978686"/>
                  <a:pt x="3607203" y="2982969"/>
                  <a:pt x="3584939" y="2990476"/>
                </a:cubicBezTo>
                <a:cubicBezTo>
                  <a:pt x="3562627" y="2997934"/>
                  <a:pt x="3541902" y="3008617"/>
                  <a:pt x="3522908" y="3021032"/>
                </a:cubicBezTo>
                <a:lnTo>
                  <a:pt x="3515744" y="3025652"/>
                </a:lnTo>
                <a:lnTo>
                  <a:pt x="3508915" y="3030656"/>
                </a:lnTo>
                <a:cubicBezTo>
                  <a:pt x="3504443" y="3034073"/>
                  <a:pt x="3499731" y="3037056"/>
                  <a:pt x="3495451" y="3040857"/>
                </a:cubicBezTo>
                <a:cubicBezTo>
                  <a:pt x="3486555" y="3047931"/>
                  <a:pt x="3478766" y="3055967"/>
                  <a:pt x="3471264" y="3064099"/>
                </a:cubicBezTo>
                <a:cubicBezTo>
                  <a:pt x="3456550" y="3080653"/>
                  <a:pt x="3444096" y="3098505"/>
                  <a:pt x="3433132" y="3116695"/>
                </a:cubicBezTo>
                <a:cubicBezTo>
                  <a:pt x="3411349" y="3153218"/>
                  <a:pt x="3395096" y="3190896"/>
                  <a:pt x="3381488" y="3227660"/>
                </a:cubicBezTo>
                <a:cubicBezTo>
                  <a:pt x="3367976" y="3264472"/>
                  <a:pt x="3357060" y="3300562"/>
                  <a:pt x="3347972" y="3335256"/>
                </a:cubicBezTo>
                <a:cubicBezTo>
                  <a:pt x="3329844" y="3404694"/>
                  <a:pt x="3318255" y="3468646"/>
                  <a:pt x="3310225" y="3524994"/>
                </a:cubicBezTo>
                <a:cubicBezTo>
                  <a:pt x="3302387" y="3581439"/>
                  <a:pt x="3299117" y="3630618"/>
                  <a:pt x="3300463" y="3670799"/>
                </a:cubicBezTo>
                <a:cubicBezTo>
                  <a:pt x="3301810" y="3710834"/>
                  <a:pt x="3307917" y="3742594"/>
                  <a:pt x="3320034" y="3760639"/>
                </a:cubicBezTo>
                <a:cubicBezTo>
                  <a:pt x="3322967" y="3765162"/>
                  <a:pt x="3326430" y="3768482"/>
                  <a:pt x="3329603" y="3771081"/>
                </a:cubicBezTo>
                <a:cubicBezTo>
                  <a:pt x="3332969" y="3773439"/>
                  <a:pt x="3336143" y="3774882"/>
                  <a:pt x="3338788" y="3775604"/>
                </a:cubicBezTo>
                <a:cubicBezTo>
                  <a:pt x="3340134" y="3775893"/>
                  <a:pt x="3341288" y="3776182"/>
                  <a:pt x="3342298" y="3776422"/>
                </a:cubicBezTo>
                <a:cubicBezTo>
                  <a:pt x="3343308" y="3776470"/>
                  <a:pt x="3344173" y="3776518"/>
                  <a:pt x="3344895" y="3776567"/>
                </a:cubicBezTo>
                <a:cubicBezTo>
                  <a:pt x="3346289" y="3776567"/>
                  <a:pt x="3346962" y="3776567"/>
                  <a:pt x="3346962" y="3776518"/>
                </a:cubicBezTo>
                <a:cubicBezTo>
                  <a:pt x="3346962" y="3776422"/>
                  <a:pt x="3346289" y="3776278"/>
                  <a:pt x="3344943" y="3776037"/>
                </a:cubicBezTo>
                <a:cubicBezTo>
                  <a:pt x="3344269" y="3775941"/>
                  <a:pt x="3343452" y="3775796"/>
                  <a:pt x="3342442" y="3775652"/>
                </a:cubicBezTo>
                <a:cubicBezTo>
                  <a:pt x="3341480" y="3775364"/>
                  <a:pt x="3340374" y="3775027"/>
                  <a:pt x="3339124" y="3774642"/>
                </a:cubicBezTo>
                <a:cubicBezTo>
                  <a:pt x="3336624" y="3773776"/>
                  <a:pt x="3333690" y="3772236"/>
                  <a:pt x="3330613" y="3769878"/>
                </a:cubicBezTo>
                <a:cubicBezTo>
                  <a:pt x="3327728" y="3767279"/>
                  <a:pt x="3324506" y="3764007"/>
                  <a:pt x="3321862" y="3759580"/>
                </a:cubicBezTo>
                <a:cubicBezTo>
                  <a:pt x="3310802" y="3741872"/>
                  <a:pt x="3305368" y="3710498"/>
                  <a:pt x="3304647" y="3670799"/>
                </a:cubicBezTo>
                <a:cubicBezTo>
                  <a:pt x="3303925" y="3630955"/>
                  <a:pt x="3307820" y="3582065"/>
                  <a:pt x="3316139" y="3525957"/>
                </a:cubicBezTo>
                <a:cubicBezTo>
                  <a:pt x="3324650" y="3469849"/>
                  <a:pt x="3336720" y="3406234"/>
                  <a:pt x="3355281" y="3337278"/>
                </a:cubicBezTo>
                <a:cubicBezTo>
                  <a:pt x="3364562" y="3302824"/>
                  <a:pt x="3375573" y="3267070"/>
                  <a:pt x="3389182" y="3230643"/>
                </a:cubicBezTo>
                <a:cubicBezTo>
                  <a:pt x="3402838" y="3194264"/>
                  <a:pt x="3419187" y="3157068"/>
                  <a:pt x="3440681" y="3121362"/>
                </a:cubicBezTo>
                <a:cubicBezTo>
                  <a:pt x="3451501" y="3103558"/>
                  <a:pt x="3463763" y="3086235"/>
                  <a:pt x="3477996" y="3070355"/>
                </a:cubicBezTo>
                <a:cubicBezTo>
                  <a:pt x="3485257" y="3062560"/>
                  <a:pt x="3492807" y="3054861"/>
                  <a:pt x="3501270" y="3048220"/>
                </a:cubicBezTo>
                <a:cubicBezTo>
                  <a:pt x="3505309" y="3044707"/>
                  <a:pt x="3509973" y="3041724"/>
                  <a:pt x="3514349" y="3038403"/>
                </a:cubicBezTo>
                <a:lnTo>
                  <a:pt x="3521033" y="3033591"/>
                </a:lnTo>
                <a:lnTo>
                  <a:pt x="3528005" y="3029116"/>
                </a:lnTo>
                <a:cubicBezTo>
                  <a:pt x="3546518" y="3017134"/>
                  <a:pt x="3566570" y="3006933"/>
                  <a:pt x="3588016" y="2999811"/>
                </a:cubicBezTo>
                <a:cubicBezTo>
                  <a:pt x="3609415" y="2992689"/>
                  <a:pt x="3632159" y="2988647"/>
                  <a:pt x="3655337" y="2988166"/>
                </a:cubicBezTo>
                <a:cubicBezTo>
                  <a:pt x="3678514" y="2987781"/>
                  <a:pt x="3702076" y="2990428"/>
                  <a:pt x="3725590" y="2995143"/>
                </a:cubicBezTo>
                <a:cubicBezTo>
                  <a:pt x="3749152" y="2999667"/>
                  <a:pt x="3772810" y="3005922"/>
                  <a:pt x="3797142" y="3011312"/>
                </a:cubicBezTo>
                <a:cubicBezTo>
                  <a:pt x="3809307" y="3013958"/>
                  <a:pt x="3821714" y="3016268"/>
                  <a:pt x="3834312" y="3018000"/>
                </a:cubicBezTo>
                <a:cubicBezTo>
                  <a:pt x="3846911" y="3019588"/>
                  <a:pt x="3859798" y="3020358"/>
                  <a:pt x="3872781" y="3019973"/>
                </a:cubicBezTo>
                <a:cubicBezTo>
                  <a:pt x="3898699" y="3019107"/>
                  <a:pt x="3925050" y="3011841"/>
                  <a:pt x="3947939" y="2998560"/>
                </a:cubicBezTo>
                <a:cubicBezTo>
                  <a:pt x="3959479" y="2992112"/>
                  <a:pt x="3970347" y="2984413"/>
                  <a:pt x="3980445" y="2975895"/>
                </a:cubicBezTo>
                <a:cubicBezTo>
                  <a:pt x="3990591" y="2967378"/>
                  <a:pt x="4000256" y="2958283"/>
                  <a:pt x="4009248" y="2948467"/>
                </a:cubicBezTo>
                <a:cubicBezTo>
                  <a:pt x="4027328" y="2929026"/>
                  <a:pt x="4043485" y="2907757"/>
                  <a:pt x="4058873" y="2885959"/>
                </a:cubicBezTo>
                <a:cubicBezTo>
                  <a:pt x="4074260" y="2864112"/>
                  <a:pt x="4088878" y="2841640"/>
                  <a:pt x="4103977" y="2819408"/>
                </a:cubicBezTo>
                <a:cubicBezTo>
                  <a:pt x="4119076" y="2797225"/>
                  <a:pt x="4134608" y="2775042"/>
                  <a:pt x="4152833" y="2755457"/>
                </a:cubicBezTo>
                <a:cubicBezTo>
                  <a:pt x="4161969" y="2745736"/>
                  <a:pt x="4171826" y="2736786"/>
                  <a:pt x="4182694" y="2729905"/>
                </a:cubicBezTo>
                <a:cubicBezTo>
                  <a:pt x="4188031" y="2726488"/>
                  <a:pt x="4193754" y="2723746"/>
                  <a:pt x="4199043" y="2723312"/>
                </a:cubicBezTo>
                <a:cubicBezTo>
                  <a:pt x="4204380" y="2722735"/>
                  <a:pt x="4208612" y="2724756"/>
                  <a:pt x="4211930" y="2729135"/>
                </a:cubicBezTo>
                <a:cubicBezTo>
                  <a:pt x="4215296" y="2733418"/>
                  <a:pt x="4217316" y="2739481"/>
                  <a:pt x="4218806" y="2745544"/>
                </a:cubicBezTo>
                <a:cubicBezTo>
                  <a:pt x="4220249" y="2751703"/>
                  <a:pt x="4221018" y="2758103"/>
                  <a:pt x="4221499" y="2764600"/>
                </a:cubicBezTo>
                <a:cubicBezTo>
                  <a:pt x="4222365" y="2777592"/>
                  <a:pt x="4221980" y="2790729"/>
                  <a:pt x="4221018" y="2803817"/>
                </a:cubicBezTo>
                <a:cubicBezTo>
                  <a:pt x="4216787" y="2856269"/>
                  <a:pt x="4204862" y="2907372"/>
                  <a:pt x="4190820" y="2956599"/>
                </a:cubicBezTo>
                <a:cubicBezTo>
                  <a:pt x="4188079" y="2966223"/>
                  <a:pt x="4185146" y="2975703"/>
                  <a:pt x="4182213" y="2985182"/>
                </a:cubicBezTo>
                <a:cubicBezTo>
                  <a:pt x="4185964" y="2971661"/>
                  <a:pt x="4189618" y="2957995"/>
                  <a:pt x="4193080" y="2944040"/>
                </a:cubicBezTo>
                <a:cubicBezTo>
                  <a:pt x="4197552" y="2925417"/>
                  <a:pt x="4201688" y="2906410"/>
                  <a:pt x="4205150" y="2886873"/>
                </a:cubicBezTo>
                <a:cubicBezTo>
                  <a:pt x="4208564" y="2867336"/>
                  <a:pt x="4211401" y="2847366"/>
                  <a:pt x="4212411" y="2826723"/>
                </a:cubicBezTo>
                <a:cubicBezTo>
                  <a:pt x="4212844" y="2816425"/>
                  <a:pt x="4212844" y="2805935"/>
                  <a:pt x="4211353" y="2795252"/>
                </a:cubicBezTo>
                <a:cubicBezTo>
                  <a:pt x="4210584" y="2789911"/>
                  <a:pt x="4209478" y="2784473"/>
                  <a:pt x="4207218" y="2779084"/>
                </a:cubicBezTo>
                <a:cubicBezTo>
                  <a:pt x="4206160" y="2776389"/>
                  <a:pt x="4204621" y="2773742"/>
                  <a:pt x="4202746" y="2771192"/>
                </a:cubicBezTo>
                <a:cubicBezTo>
                  <a:pt x="4200774" y="2768690"/>
                  <a:pt x="4198178" y="2766428"/>
                  <a:pt x="4195052" y="2764888"/>
                </a:cubicBezTo>
                <a:cubicBezTo>
                  <a:pt x="4188560" y="2761809"/>
                  <a:pt x="4181588" y="2762915"/>
                  <a:pt x="4176106" y="2764840"/>
                </a:cubicBezTo>
                <a:cubicBezTo>
                  <a:pt x="4173317" y="2765851"/>
                  <a:pt x="4170720" y="2767102"/>
                  <a:pt x="4168172" y="2768449"/>
                </a:cubicBezTo>
                <a:cubicBezTo>
                  <a:pt x="4165816" y="2769941"/>
                  <a:pt x="4163411" y="2771384"/>
                  <a:pt x="4161055" y="2772924"/>
                </a:cubicBezTo>
                <a:cubicBezTo>
                  <a:pt x="4151919" y="2779276"/>
                  <a:pt x="4143936" y="2786927"/>
                  <a:pt x="4136628" y="2795108"/>
                </a:cubicBezTo>
                <a:cubicBezTo>
                  <a:pt x="4122057" y="2811469"/>
                  <a:pt x="4109651" y="2829610"/>
                  <a:pt x="4097534" y="2847944"/>
                </a:cubicBezTo>
                <a:cubicBezTo>
                  <a:pt x="4085608" y="2866374"/>
                  <a:pt x="4073539" y="2884996"/>
                  <a:pt x="4061325" y="2903811"/>
                </a:cubicBezTo>
                <a:cubicBezTo>
                  <a:pt x="4036657" y="2940960"/>
                  <a:pt x="4009921" y="2978205"/>
                  <a:pt x="3975684" y="3008954"/>
                </a:cubicBezTo>
                <a:cubicBezTo>
                  <a:pt x="3971501" y="3012900"/>
                  <a:pt x="3966981" y="3016412"/>
                  <a:pt x="3962605" y="3020118"/>
                </a:cubicBezTo>
                <a:cubicBezTo>
                  <a:pt x="3957989" y="3023534"/>
                  <a:pt x="3953565" y="3027239"/>
                  <a:pt x="3948756" y="3030415"/>
                </a:cubicBezTo>
                <a:cubicBezTo>
                  <a:pt x="3939428" y="3037200"/>
                  <a:pt x="3929329" y="3042878"/>
                  <a:pt x="3919087" y="3048075"/>
                </a:cubicBezTo>
                <a:cubicBezTo>
                  <a:pt x="3908701" y="3052984"/>
                  <a:pt x="3897833" y="3056881"/>
                  <a:pt x="3886630" y="3059528"/>
                </a:cubicBezTo>
                <a:cubicBezTo>
                  <a:pt x="3875377" y="3061982"/>
                  <a:pt x="3863837" y="3062993"/>
                  <a:pt x="3852200" y="3062752"/>
                </a:cubicBezTo>
                <a:cubicBezTo>
                  <a:pt x="3828830" y="3062319"/>
                  <a:pt x="3805508" y="3056400"/>
                  <a:pt x="3781850" y="3050530"/>
                </a:cubicBezTo>
                <a:cubicBezTo>
                  <a:pt x="3758240" y="3044515"/>
                  <a:pt x="3733861" y="3038740"/>
                  <a:pt x="3708664" y="3036767"/>
                </a:cubicBezTo>
                <a:cubicBezTo>
                  <a:pt x="3696065" y="3035901"/>
                  <a:pt x="3683419" y="3035805"/>
                  <a:pt x="3670868" y="3036863"/>
                </a:cubicBezTo>
                <a:cubicBezTo>
                  <a:pt x="3658366" y="3038066"/>
                  <a:pt x="3645912" y="3039943"/>
                  <a:pt x="3633842" y="3043167"/>
                </a:cubicBezTo>
                <a:cubicBezTo>
                  <a:pt x="3609655" y="3049230"/>
                  <a:pt x="3586670" y="3058806"/>
                  <a:pt x="3565176" y="3070355"/>
                </a:cubicBezTo>
                <a:cubicBezTo>
                  <a:pt x="3559742" y="3073146"/>
                  <a:pt x="3554597" y="3076370"/>
                  <a:pt x="3549307" y="3079354"/>
                </a:cubicBezTo>
                <a:cubicBezTo>
                  <a:pt x="3546663" y="3080797"/>
                  <a:pt x="3544066" y="3082433"/>
                  <a:pt x="3541421" y="3084214"/>
                </a:cubicBezTo>
                <a:cubicBezTo>
                  <a:pt x="3538777" y="3085898"/>
                  <a:pt x="3536276" y="3087726"/>
                  <a:pt x="3533824" y="3089651"/>
                </a:cubicBezTo>
                <a:cubicBezTo>
                  <a:pt x="3524014" y="3097206"/>
                  <a:pt x="3515311" y="3105868"/>
                  <a:pt x="3507232" y="3114866"/>
                </a:cubicBezTo>
                <a:cubicBezTo>
                  <a:pt x="3499154" y="3123913"/>
                  <a:pt x="3491845" y="3133441"/>
                  <a:pt x="3485017" y="3143209"/>
                </a:cubicBezTo>
                <a:cubicBezTo>
                  <a:pt x="3478140" y="3152929"/>
                  <a:pt x="3471745" y="3162938"/>
                  <a:pt x="3465782" y="3173044"/>
                </a:cubicBezTo>
                <a:cubicBezTo>
                  <a:pt x="3441788" y="3213561"/>
                  <a:pt x="3423034" y="3255858"/>
                  <a:pt x="3407118" y="3298012"/>
                </a:cubicBezTo>
                <a:cubicBezTo>
                  <a:pt x="3391201" y="3340213"/>
                  <a:pt x="3378266" y="3382462"/>
                  <a:pt x="3368024" y="3424279"/>
                </a:cubicBezTo>
                <a:cubicBezTo>
                  <a:pt x="3357830" y="3466095"/>
                  <a:pt x="3350088" y="3507479"/>
                  <a:pt x="3346145" y="3548188"/>
                </a:cubicBezTo>
                <a:cubicBezTo>
                  <a:pt x="3344221" y="3568543"/>
                  <a:pt x="3343067" y="3588706"/>
                  <a:pt x="3343596" y="3608675"/>
                </a:cubicBezTo>
                <a:cubicBezTo>
                  <a:pt x="3344077" y="3628597"/>
                  <a:pt x="3345953" y="3648326"/>
                  <a:pt x="3351146" y="3667286"/>
                </a:cubicBezTo>
                <a:cubicBezTo>
                  <a:pt x="3353742" y="3676717"/>
                  <a:pt x="3357205" y="3686004"/>
                  <a:pt x="3362350" y="3694522"/>
                </a:cubicBezTo>
                <a:cubicBezTo>
                  <a:pt x="3367447" y="3702991"/>
                  <a:pt x="3374516" y="3710690"/>
                  <a:pt x="3383411" y="3715502"/>
                </a:cubicBezTo>
                <a:cubicBezTo>
                  <a:pt x="3392307" y="3720410"/>
                  <a:pt x="3402598" y="3721998"/>
                  <a:pt x="3412118" y="3721228"/>
                </a:cubicBezTo>
                <a:cubicBezTo>
                  <a:pt x="3421832" y="3720506"/>
                  <a:pt x="3430535" y="3717668"/>
                  <a:pt x="3439191" y="3715165"/>
                </a:cubicBezTo>
                <a:cubicBezTo>
                  <a:pt x="3456454" y="3709679"/>
                  <a:pt x="3472274" y="3701547"/>
                  <a:pt x="3486892" y="3692597"/>
                </a:cubicBezTo>
                <a:cubicBezTo>
                  <a:pt x="3501510" y="3683550"/>
                  <a:pt x="3515118" y="3673637"/>
                  <a:pt x="3527524" y="3663051"/>
                </a:cubicBezTo>
                <a:cubicBezTo>
                  <a:pt x="3552577" y="3642071"/>
                  <a:pt x="3574216" y="3619743"/>
                  <a:pt x="3594172" y="3598377"/>
                </a:cubicBezTo>
                <a:cubicBezTo>
                  <a:pt x="3614079" y="3576964"/>
                  <a:pt x="3632352" y="3556321"/>
                  <a:pt x="3649662" y="3537313"/>
                </a:cubicBezTo>
                <a:cubicBezTo>
                  <a:pt x="3684140" y="3499154"/>
                  <a:pt x="3715396" y="3467731"/>
                  <a:pt x="3743430" y="3445019"/>
                </a:cubicBezTo>
                <a:cubicBezTo>
                  <a:pt x="3757327" y="3433470"/>
                  <a:pt x="3770598" y="3424423"/>
                  <a:pt x="3782187" y="3416868"/>
                </a:cubicBezTo>
                <a:cubicBezTo>
                  <a:pt x="3793968" y="3409554"/>
                  <a:pt x="3804306" y="3403924"/>
                  <a:pt x="3812914" y="3399834"/>
                </a:cubicBezTo>
                <a:cubicBezTo>
                  <a:pt x="3817241" y="3397813"/>
                  <a:pt x="3821040" y="3396080"/>
                  <a:pt x="3824310" y="3394541"/>
                </a:cubicBezTo>
                <a:cubicBezTo>
                  <a:pt x="3827676" y="3393193"/>
                  <a:pt x="3830465" y="3392086"/>
                  <a:pt x="3832773" y="3391172"/>
                </a:cubicBezTo>
                <a:cubicBezTo>
                  <a:pt x="3837293" y="3389343"/>
                  <a:pt x="3839601" y="3388333"/>
                  <a:pt x="3839553" y="3388140"/>
                </a:cubicBezTo>
                <a:cubicBezTo>
                  <a:pt x="3839505" y="3387948"/>
                  <a:pt x="3837101" y="3388622"/>
                  <a:pt x="3832437" y="3390162"/>
                </a:cubicBezTo>
                <a:cubicBezTo>
                  <a:pt x="3830129" y="3390932"/>
                  <a:pt x="3827195" y="3391894"/>
                  <a:pt x="3823733" y="3393049"/>
                </a:cubicBezTo>
                <a:cubicBezTo>
                  <a:pt x="3820367" y="3394444"/>
                  <a:pt x="3816472" y="3396032"/>
                  <a:pt x="3812048" y="3397909"/>
                </a:cubicBezTo>
                <a:cubicBezTo>
                  <a:pt x="3803249" y="3401710"/>
                  <a:pt x="3792670" y="3407100"/>
                  <a:pt x="3780600" y="3414174"/>
                </a:cubicBezTo>
                <a:cubicBezTo>
                  <a:pt x="3768675" y="3421536"/>
                  <a:pt x="3755115" y="3430390"/>
                  <a:pt x="3740881" y="3441795"/>
                </a:cubicBezTo>
                <a:cubicBezTo>
                  <a:pt x="3712174" y="3464218"/>
                  <a:pt x="3680293" y="3495449"/>
                  <a:pt x="3645335" y="3533319"/>
                </a:cubicBezTo>
                <a:cubicBezTo>
                  <a:pt x="3627783" y="3552182"/>
                  <a:pt x="3609318" y="3572633"/>
                  <a:pt x="3589315" y="3593758"/>
                </a:cubicBezTo>
                <a:cubicBezTo>
                  <a:pt x="3569263" y="3614835"/>
                  <a:pt x="3547625" y="3636778"/>
                  <a:pt x="3522812" y="3657277"/>
                </a:cubicBezTo>
                <a:cubicBezTo>
                  <a:pt x="3510502" y="3667622"/>
                  <a:pt x="3497134" y="3677198"/>
                  <a:pt x="3482853" y="3685908"/>
                </a:cubicBezTo>
                <a:cubicBezTo>
                  <a:pt x="3468571" y="3694522"/>
                  <a:pt x="3453232" y="3702269"/>
                  <a:pt x="3436691" y="3707370"/>
                </a:cubicBezTo>
                <a:cubicBezTo>
                  <a:pt x="3428420" y="3709728"/>
                  <a:pt x="3419909" y="3712374"/>
                  <a:pt x="3411590" y="3712904"/>
                </a:cubicBezTo>
                <a:cubicBezTo>
                  <a:pt x="3403223" y="3713481"/>
                  <a:pt x="3394808" y="3712085"/>
                  <a:pt x="3387547" y="3708044"/>
                </a:cubicBezTo>
                <a:cubicBezTo>
                  <a:pt x="3380286" y="3704049"/>
                  <a:pt x="3374323" y="3697649"/>
                  <a:pt x="3369803" y="3690094"/>
                </a:cubicBezTo>
                <a:cubicBezTo>
                  <a:pt x="3365283" y="3682540"/>
                  <a:pt x="3362109" y="3673926"/>
                  <a:pt x="3359705" y="3665024"/>
                </a:cubicBezTo>
                <a:cubicBezTo>
                  <a:pt x="3354897" y="3647123"/>
                  <a:pt x="3353165" y="3627971"/>
                  <a:pt x="3352781" y="3608579"/>
                </a:cubicBezTo>
                <a:cubicBezTo>
                  <a:pt x="3352348" y="3589138"/>
                  <a:pt x="3353550" y="3569265"/>
                  <a:pt x="3355522" y="3549247"/>
                </a:cubicBezTo>
                <a:cubicBezTo>
                  <a:pt x="3359561" y="3509115"/>
                  <a:pt x="3367399" y="3468164"/>
                  <a:pt x="3377641" y="3426733"/>
                </a:cubicBezTo>
                <a:cubicBezTo>
                  <a:pt x="3387931" y="3385350"/>
                  <a:pt x="3400867" y="3343485"/>
                  <a:pt x="3416735" y="3301717"/>
                </a:cubicBezTo>
                <a:cubicBezTo>
                  <a:pt x="3432603" y="3260045"/>
                  <a:pt x="3451260" y="3218228"/>
                  <a:pt x="3474871" y="3178481"/>
                </a:cubicBezTo>
                <a:cubicBezTo>
                  <a:pt x="3480737" y="3168568"/>
                  <a:pt x="3487036" y="3158800"/>
                  <a:pt x="3493720" y="3149320"/>
                </a:cubicBezTo>
                <a:cubicBezTo>
                  <a:pt x="3500356" y="3139841"/>
                  <a:pt x="3507473" y="3130602"/>
                  <a:pt x="3515214" y="3121940"/>
                </a:cubicBezTo>
                <a:cubicBezTo>
                  <a:pt x="3522956" y="3113278"/>
                  <a:pt x="3531227" y="3105098"/>
                  <a:pt x="3540364" y="3098072"/>
                </a:cubicBezTo>
                <a:cubicBezTo>
                  <a:pt x="3549307" y="3091095"/>
                  <a:pt x="3559886" y="3085561"/>
                  <a:pt x="3570273" y="3079739"/>
                </a:cubicBezTo>
                <a:cubicBezTo>
                  <a:pt x="3591190" y="3068526"/>
                  <a:pt x="3613358" y="3059336"/>
                  <a:pt x="3636535" y="3053513"/>
                </a:cubicBezTo>
                <a:cubicBezTo>
                  <a:pt x="3659664" y="3047546"/>
                  <a:pt x="3683803" y="3045573"/>
                  <a:pt x="3707942" y="3047402"/>
                </a:cubicBezTo>
                <a:cubicBezTo>
                  <a:pt x="3732082" y="3049278"/>
                  <a:pt x="3755740" y="3054861"/>
                  <a:pt x="3779398" y="3060876"/>
                </a:cubicBezTo>
                <a:cubicBezTo>
                  <a:pt x="3803008" y="3066746"/>
                  <a:pt x="3827147" y="3072906"/>
                  <a:pt x="3852056" y="3073387"/>
                </a:cubicBezTo>
                <a:cubicBezTo>
                  <a:pt x="3864462" y="3073675"/>
                  <a:pt x="3876916" y="3072521"/>
                  <a:pt x="3889034" y="3069874"/>
                </a:cubicBezTo>
                <a:cubicBezTo>
                  <a:pt x="3901103" y="3067035"/>
                  <a:pt x="3912740" y="3062800"/>
                  <a:pt x="3923752" y="3057603"/>
                </a:cubicBezTo>
                <a:cubicBezTo>
                  <a:pt x="3934619" y="3052069"/>
                  <a:pt x="3945150" y="3046054"/>
                  <a:pt x="3954863" y="3039029"/>
                </a:cubicBezTo>
                <a:cubicBezTo>
                  <a:pt x="3959864" y="3035708"/>
                  <a:pt x="3964480" y="3031859"/>
                  <a:pt x="3969241" y="3028298"/>
                </a:cubicBezTo>
                <a:cubicBezTo>
                  <a:pt x="3973761" y="3024449"/>
                  <a:pt x="3978473" y="3020791"/>
                  <a:pt x="3982753" y="3016701"/>
                </a:cubicBezTo>
                <a:cubicBezTo>
                  <a:pt x="4018048" y="2984894"/>
                  <a:pt x="4045168" y="2946879"/>
                  <a:pt x="4069933" y="2909393"/>
                </a:cubicBezTo>
                <a:cubicBezTo>
                  <a:pt x="4082098" y="2890530"/>
                  <a:pt x="4094120" y="2871859"/>
                  <a:pt x="4105997" y="2853429"/>
                </a:cubicBezTo>
                <a:cubicBezTo>
                  <a:pt x="4117970" y="2835192"/>
                  <a:pt x="4130136" y="2817339"/>
                  <a:pt x="4144033" y="2801652"/>
                </a:cubicBezTo>
                <a:cubicBezTo>
                  <a:pt x="4150957" y="2793809"/>
                  <a:pt x="4158458" y="2786638"/>
                  <a:pt x="4166681" y="2780912"/>
                </a:cubicBezTo>
                <a:lnTo>
                  <a:pt x="4172980" y="2776918"/>
                </a:lnTo>
                <a:cubicBezTo>
                  <a:pt x="4175096" y="2775764"/>
                  <a:pt x="4177260" y="2774753"/>
                  <a:pt x="4179376" y="2773983"/>
                </a:cubicBezTo>
                <a:cubicBezTo>
                  <a:pt x="4183655" y="2772491"/>
                  <a:pt x="4187887" y="2772058"/>
                  <a:pt x="4191013" y="2773646"/>
                </a:cubicBezTo>
                <a:cubicBezTo>
                  <a:pt x="4194186" y="2775090"/>
                  <a:pt x="4196735" y="2778554"/>
                  <a:pt x="4198466" y="2782789"/>
                </a:cubicBezTo>
                <a:cubicBezTo>
                  <a:pt x="4200245" y="2786975"/>
                  <a:pt x="4201303" y="2791739"/>
                  <a:pt x="4201976" y="2796599"/>
                </a:cubicBezTo>
                <a:cubicBezTo>
                  <a:pt x="4203371" y="2806320"/>
                  <a:pt x="4203419" y="2816377"/>
                  <a:pt x="4203034" y="2826338"/>
                </a:cubicBezTo>
                <a:cubicBezTo>
                  <a:pt x="4202169" y="2846308"/>
                  <a:pt x="4199476" y="2866037"/>
                  <a:pt x="4196158" y="2885285"/>
                </a:cubicBezTo>
                <a:cubicBezTo>
                  <a:pt x="4192840" y="2904581"/>
                  <a:pt x="4188849" y="2923444"/>
                  <a:pt x="4184473" y="2941922"/>
                </a:cubicBezTo>
                <a:cubicBezTo>
                  <a:pt x="4182165" y="2951498"/>
                  <a:pt x="4179760" y="2960978"/>
                  <a:pt x="4177308" y="2970313"/>
                </a:cubicBezTo>
                <a:cubicBezTo>
                  <a:pt x="4182021" y="2951306"/>
                  <a:pt x="4186300" y="2932058"/>
                  <a:pt x="4189570" y="2912328"/>
                </a:cubicBezTo>
                <a:cubicBezTo>
                  <a:pt x="4191205" y="2901983"/>
                  <a:pt x="4192599" y="2891541"/>
                  <a:pt x="4193224" y="2880906"/>
                </a:cubicBezTo>
                <a:cubicBezTo>
                  <a:pt x="4193754" y="2870271"/>
                  <a:pt x="4193994" y="2859348"/>
                  <a:pt x="4190916" y="2847992"/>
                </a:cubicBezTo>
                <a:cubicBezTo>
                  <a:pt x="4190147" y="2845153"/>
                  <a:pt x="4188945" y="2842265"/>
                  <a:pt x="4187310" y="2839475"/>
                </a:cubicBezTo>
                <a:cubicBezTo>
                  <a:pt x="4185531" y="2836732"/>
                  <a:pt x="4183271" y="2833941"/>
                  <a:pt x="4180001" y="2832112"/>
                </a:cubicBezTo>
                <a:cubicBezTo>
                  <a:pt x="4176827" y="2830284"/>
                  <a:pt x="4173125" y="2829466"/>
                  <a:pt x="4169759" y="2829466"/>
                </a:cubicBezTo>
                <a:cubicBezTo>
                  <a:pt x="4166441" y="2829562"/>
                  <a:pt x="4163267" y="2830091"/>
                  <a:pt x="4160430" y="2831054"/>
                </a:cubicBezTo>
                <a:cubicBezTo>
                  <a:pt x="4154708" y="2832882"/>
                  <a:pt x="4149611" y="2835529"/>
                  <a:pt x="4145043" y="2838608"/>
                </a:cubicBezTo>
                <a:cubicBezTo>
                  <a:pt x="4140282" y="2841447"/>
                  <a:pt x="4135954" y="2844864"/>
                  <a:pt x="4131531" y="2848184"/>
                </a:cubicBezTo>
                <a:cubicBezTo>
                  <a:pt x="4114556" y="2862235"/>
                  <a:pt x="4100948" y="2879174"/>
                  <a:pt x="4088782" y="2896545"/>
                </a:cubicBezTo>
                <a:cubicBezTo>
                  <a:pt x="4076713" y="2914013"/>
                  <a:pt x="4065990" y="2932010"/>
                  <a:pt x="4055555" y="2949862"/>
                </a:cubicBezTo>
                <a:cubicBezTo>
                  <a:pt x="4034782" y="2985616"/>
                  <a:pt x="4015163" y="3021224"/>
                  <a:pt x="3991553" y="3053032"/>
                </a:cubicBezTo>
                <a:cubicBezTo>
                  <a:pt x="3968279" y="3084791"/>
                  <a:pt x="3940197" y="3112653"/>
                  <a:pt x="3906489" y="3129158"/>
                </a:cubicBezTo>
                <a:cubicBezTo>
                  <a:pt x="3889707" y="3137050"/>
                  <a:pt x="3871723" y="3141958"/>
                  <a:pt x="3853546" y="3142247"/>
                </a:cubicBezTo>
                <a:cubicBezTo>
                  <a:pt x="3835418" y="3142824"/>
                  <a:pt x="3817434" y="3139311"/>
                  <a:pt x="3799931" y="3134692"/>
                </a:cubicBezTo>
                <a:cubicBezTo>
                  <a:pt x="3782427" y="3129976"/>
                  <a:pt x="3765213" y="3124105"/>
                  <a:pt x="3747710" y="3119390"/>
                </a:cubicBezTo>
                <a:cubicBezTo>
                  <a:pt x="3730254" y="3114577"/>
                  <a:pt x="3712366" y="3111257"/>
                  <a:pt x="3694430" y="3110824"/>
                </a:cubicBezTo>
                <a:cubicBezTo>
                  <a:pt x="3676494" y="3110391"/>
                  <a:pt x="3658751" y="3113326"/>
                  <a:pt x="3642306" y="3118908"/>
                </a:cubicBezTo>
                <a:cubicBezTo>
                  <a:pt x="3625812" y="3124442"/>
                  <a:pt x="3610713" y="3132526"/>
                  <a:pt x="3596816" y="3141621"/>
                </a:cubicBezTo>
                <a:cubicBezTo>
                  <a:pt x="3593402" y="3143979"/>
                  <a:pt x="3589940" y="3146241"/>
                  <a:pt x="3586574" y="3148647"/>
                </a:cubicBezTo>
                <a:cubicBezTo>
                  <a:pt x="3583304" y="3151149"/>
                  <a:pt x="3580082" y="3153651"/>
                  <a:pt x="3576860" y="3156153"/>
                </a:cubicBezTo>
                <a:cubicBezTo>
                  <a:pt x="3570417" y="3161206"/>
                  <a:pt x="3564310" y="3166788"/>
                  <a:pt x="3558828" y="3172610"/>
                </a:cubicBezTo>
                <a:cubicBezTo>
                  <a:pt x="3547721" y="3184304"/>
                  <a:pt x="3538151" y="3196815"/>
                  <a:pt x="3529640" y="3209567"/>
                </a:cubicBezTo>
                <a:cubicBezTo>
                  <a:pt x="3512570" y="3235118"/>
                  <a:pt x="3499346" y="3261440"/>
                  <a:pt x="3488094" y="3286992"/>
                </a:cubicBezTo>
                <a:cubicBezTo>
                  <a:pt x="3465831" y="3338336"/>
                  <a:pt x="3451645" y="3387082"/>
                  <a:pt x="3442461" y="3430438"/>
                </a:cubicBezTo>
                <a:cubicBezTo>
                  <a:pt x="3433421" y="3473842"/>
                  <a:pt x="3429478" y="3512194"/>
                  <a:pt x="3430968" y="3543521"/>
                </a:cubicBezTo>
                <a:cubicBezTo>
                  <a:pt x="3431738" y="3559160"/>
                  <a:pt x="3433757" y="3573114"/>
                  <a:pt x="3437604" y="3584663"/>
                </a:cubicBezTo>
                <a:cubicBezTo>
                  <a:pt x="3441258" y="3596260"/>
                  <a:pt x="3447173" y="3605355"/>
                  <a:pt x="3453857" y="3610600"/>
                </a:cubicBezTo>
                <a:cubicBezTo>
                  <a:pt x="3460685" y="3615749"/>
                  <a:pt x="3467417" y="3616808"/>
                  <a:pt x="3471601" y="3616808"/>
                </a:cubicBezTo>
                <a:cubicBezTo>
                  <a:pt x="3473716" y="3616952"/>
                  <a:pt x="3475303" y="3616615"/>
                  <a:pt x="3476409" y="3616519"/>
                </a:cubicBezTo>
                <a:cubicBezTo>
                  <a:pt x="3477467" y="3616375"/>
                  <a:pt x="3477996" y="3616278"/>
                  <a:pt x="3477996" y="3616182"/>
                </a:cubicBezTo>
                <a:cubicBezTo>
                  <a:pt x="3477996" y="3615893"/>
                  <a:pt x="3475784" y="3616134"/>
                  <a:pt x="3471697" y="3615749"/>
                </a:cubicBezTo>
                <a:cubicBezTo>
                  <a:pt x="3467658" y="3615364"/>
                  <a:pt x="3461406" y="3613969"/>
                  <a:pt x="3455203" y="3608964"/>
                </a:cubicBezTo>
                <a:cubicBezTo>
                  <a:pt x="3449145" y="3603815"/>
                  <a:pt x="3443855" y="3595105"/>
                  <a:pt x="3440634" y="3583749"/>
                </a:cubicBezTo>
                <a:cubicBezTo>
                  <a:pt x="3437219" y="3572489"/>
                  <a:pt x="3435537" y="3558775"/>
                  <a:pt x="3435104" y="3543376"/>
                </a:cubicBezTo>
                <a:cubicBezTo>
                  <a:pt x="3434286" y="3512531"/>
                  <a:pt x="3438806" y="3474613"/>
                  <a:pt x="3448279" y="3431689"/>
                </a:cubicBezTo>
                <a:cubicBezTo>
                  <a:pt x="3457944" y="3388814"/>
                  <a:pt x="3472514" y="3340598"/>
                  <a:pt x="3494971" y="3290024"/>
                </a:cubicBezTo>
                <a:cubicBezTo>
                  <a:pt x="3506319" y="3264857"/>
                  <a:pt x="3519542" y="3238968"/>
                  <a:pt x="3536420" y="3214138"/>
                </a:cubicBezTo>
                <a:cubicBezTo>
                  <a:pt x="3544835" y="3201723"/>
                  <a:pt x="3554260" y="3189645"/>
                  <a:pt x="3564935" y="3178529"/>
                </a:cubicBezTo>
                <a:cubicBezTo>
                  <a:pt x="3570273" y="3172947"/>
                  <a:pt x="3575995" y="3167798"/>
                  <a:pt x="3582246" y="3162986"/>
                </a:cubicBezTo>
                <a:cubicBezTo>
                  <a:pt x="3585372" y="3160580"/>
                  <a:pt x="3588545" y="3158174"/>
                  <a:pt x="3591719" y="3155768"/>
                </a:cubicBezTo>
                <a:cubicBezTo>
                  <a:pt x="3594941" y="3153459"/>
                  <a:pt x="3598307" y="3151293"/>
                  <a:pt x="3601625" y="3149031"/>
                </a:cubicBezTo>
                <a:cubicBezTo>
                  <a:pt x="3615041" y="3140322"/>
                  <a:pt x="3629563" y="3132719"/>
                  <a:pt x="3645142" y="3127570"/>
                </a:cubicBezTo>
                <a:cubicBezTo>
                  <a:pt x="3660722" y="3122421"/>
                  <a:pt x="3677312" y="3119775"/>
                  <a:pt x="3694190" y="3120207"/>
                </a:cubicBezTo>
                <a:cubicBezTo>
                  <a:pt x="3711068" y="3120737"/>
                  <a:pt x="3728139" y="3123913"/>
                  <a:pt x="3745161" y="3128677"/>
                </a:cubicBezTo>
                <a:cubicBezTo>
                  <a:pt x="3762231" y="3133344"/>
                  <a:pt x="3779398" y="3139263"/>
                  <a:pt x="3797334" y="3144172"/>
                </a:cubicBezTo>
                <a:cubicBezTo>
                  <a:pt x="3815270" y="3148984"/>
                  <a:pt x="3834216" y="3152785"/>
                  <a:pt x="3853787" y="3152256"/>
                </a:cubicBezTo>
                <a:cubicBezTo>
                  <a:pt x="3873310" y="3152015"/>
                  <a:pt x="3892929" y="3146770"/>
                  <a:pt x="3910865" y="3138349"/>
                </a:cubicBezTo>
                <a:cubicBezTo>
                  <a:pt x="3946689" y="3120929"/>
                  <a:pt x="3976021" y="3091769"/>
                  <a:pt x="3999920" y="3059287"/>
                </a:cubicBezTo>
                <a:cubicBezTo>
                  <a:pt x="4024107" y="3026758"/>
                  <a:pt x="4043966" y="2990860"/>
                  <a:pt x="4064691" y="2955252"/>
                </a:cubicBezTo>
                <a:cubicBezTo>
                  <a:pt x="4075078" y="2937447"/>
                  <a:pt x="4085705" y="2919691"/>
                  <a:pt x="4097486" y="2902656"/>
                </a:cubicBezTo>
                <a:cubicBezTo>
                  <a:pt x="4103448" y="2894187"/>
                  <a:pt x="4109651" y="2885959"/>
                  <a:pt x="4116335" y="2878115"/>
                </a:cubicBezTo>
                <a:cubicBezTo>
                  <a:pt x="4123116" y="2870368"/>
                  <a:pt x="4130328" y="2863005"/>
                  <a:pt x="4138214" y="2856509"/>
                </a:cubicBezTo>
                <a:cubicBezTo>
                  <a:pt x="4142254" y="2853429"/>
                  <a:pt x="4146245" y="2850253"/>
                  <a:pt x="4150572" y="2847703"/>
                </a:cubicBezTo>
                <a:cubicBezTo>
                  <a:pt x="4154756" y="2844864"/>
                  <a:pt x="4159180" y="2842699"/>
                  <a:pt x="4163507" y="2841303"/>
                </a:cubicBezTo>
                <a:cubicBezTo>
                  <a:pt x="4165671" y="2840533"/>
                  <a:pt x="4167739" y="2840293"/>
                  <a:pt x="4169663" y="2840196"/>
                </a:cubicBezTo>
                <a:cubicBezTo>
                  <a:pt x="4171538" y="2840196"/>
                  <a:pt x="4173125" y="2840629"/>
                  <a:pt x="4174519" y="2841399"/>
                </a:cubicBezTo>
                <a:cubicBezTo>
                  <a:pt x="4177260" y="2842891"/>
                  <a:pt x="4179376" y="2846644"/>
                  <a:pt x="4180578" y="2851071"/>
                </a:cubicBezTo>
                <a:cubicBezTo>
                  <a:pt x="4183030" y="2859974"/>
                  <a:pt x="4183030" y="2870320"/>
                  <a:pt x="4182501" y="2880377"/>
                </a:cubicBezTo>
                <a:cubicBezTo>
                  <a:pt x="4181876" y="2890482"/>
                  <a:pt x="4180578" y="2900635"/>
                  <a:pt x="4178991" y="2910741"/>
                </a:cubicBezTo>
                <a:cubicBezTo>
                  <a:pt x="4175673" y="2930903"/>
                  <a:pt x="4171249" y="2950824"/>
                  <a:pt x="4166345" y="2970458"/>
                </a:cubicBezTo>
                <a:cubicBezTo>
                  <a:pt x="4163892" y="2980274"/>
                  <a:pt x="4161344" y="2990042"/>
                  <a:pt x="4158699" y="2999763"/>
                </a:cubicBezTo>
                <a:cubicBezTo>
                  <a:pt x="4156102" y="3009531"/>
                  <a:pt x="4153313" y="3018915"/>
                  <a:pt x="4150140" y="3028346"/>
                </a:cubicBezTo>
                <a:cubicBezTo>
                  <a:pt x="4137445" y="3065976"/>
                  <a:pt x="4122202" y="3102162"/>
                  <a:pt x="4106285" y="3137001"/>
                </a:cubicBezTo>
                <a:cubicBezTo>
                  <a:pt x="4090273" y="3171841"/>
                  <a:pt x="4073298" y="3205380"/>
                  <a:pt x="4055026" y="3237043"/>
                </a:cubicBezTo>
                <a:cubicBezTo>
                  <a:pt x="4045890" y="3252875"/>
                  <a:pt x="4036369" y="3268177"/>
                  <a:pt x="4026271" y="3282758"/>
                </a:cubicBezTo>
                <a:cubicBezTo>
                  <a:pt x="4016173" y="3297290"/>
                  <a:pt x="4005401" y="3311148"/>
                  <a:pt x="3993236" y="3322794"/>
                </a:cubicBezTo>
                <a:cubicBezTo>
                  <a:pt x="3987129" y="3328568"/>
                  <a:pt x="3980589" y="3333332"/>
                  <a:pt x="3973280" y="3337230"/>
                </a:cubicBezTo>
                <a:cubicBezTo>
                  <a:pt x="3966163" y="3341127"/>
                  <a:pt x="3958518" y="3344014"/>
                  <a:pt x="3951641" y="3343389"/>
                </a:cubicBezTo>
                <a:cubicBezTo>
                  <a:pt x="3944765" y="3342908"/>
                  <a:pt x="3938803" y="3338192"/>
                  <a:pt x="3932840" y="3332562"/>
                </a:cubicBezTo>
                <a:cubicBezTo>
                  <a:pt x="3926877" y="3326980"/>
                  <a:pt x="3920482" y="3320772"/>
                  <a:pt x="3912452" y="3316682"/>
                </a:cubicBezTo>
                <a:cubicBezTo>
                  <a:pt x="3908460" y="3314661"/>
                  <a:pt x="3904181" y="3313169"/>
                  <a:pt x="3899853" y="3312255"/>
                </a:cubicBezTo>
                <a:cubicBezTo>
                  <a:pt x="3895525" y="3311485"/>
                  <a:pt x="3891150" y="3311004"/>
                  <a:pt x="3886870" y="3311196"/>
                </a:cubicBezTo>
                <a:cubicBezTo>
                  <a:pt x="3878310" y="3311437"/>
                  <a:pt x="3870040" y="3313169"/>
                  <a:pt x="3862346" y="3315527"/>
                </a:cubicBezTo>
                <a:cubicBezTo>
                  <a:pt x="3846766" y="3319906"/>
                  <a:pt x="3832437" y="3326643"/>
                  <a:pt x="3818828" y="3333813"/>
                </a:cubicBezTo>
                <a:cubicBezTo>
                  <a:pt x="3791708" y="3348538"/>
                  <a:pt x="3768435" y="3366775"/>
                  <a:pt x="3747469" y="3385253"/>
                </a:cubicBezTo>
                <a:cubicBezTo>
                  <a:pt x="3726456" y="3403732"/>
                  <a:pt x="3707750" y="3422595"/>
                  <a:pt x="3690391" y="3440736"/>
                </a:cubicBezTo>
                <a:cubicBezTo>
                  <a:pt x="3673032" y="3458877"/>
                  <a:pt x="3657068" y="3476297"/>
                  <a:pt x="3642065" y="3492465"/>
                </a:cubicBezTo>
                <a:cubicBezTo>
                  <a:pt x="3612107" y="3524850"/>
                  <a:pt x="3585564" y="3552086"/>
                  <a:pt x="3561714" y="3571815"/>
                </a:cubicBezTo>
                <a:cubicBezTo>
                  <a:pt x="3538103" y="3591833"/>
                  <a:pt x="3516898" y="3603623"/>
                  <a:pt x="3501750" y="3609397"/>
                </a:cubicBezTo>
                <a:cubicBezTo>
                  <a:pt x="3494153" y="3612140"/>
                  <a:pt x="3488190" y="3613969"/>
                  <a:pt x="3484055" y="3614642"/>
                </a:cubicBezTo>
                <a:cubicBezTo>
                  <a:pt x="3479968" y="3615508"/>
                  <a:pt x="3477900" y="3616086"/>
                  <a:pt x="3477900" y="3616230"/>
                </a:cubicBezTo>
                <a:cubicBezTo>
                  <a:pt x="3477900" y="3616423"/>
                  <a:pt x="3480064" y="3616230"/>
                  <a:pt x="3484247" y="3615701"/>
                </a:cubicBezTo>
                <a:cubicBezTo>
                  <a:pt x="3488479" y="3615364"/>
                  <a:pt x="3494586" y="3613872"/>
                  <a:pt x="3502472" y="3611418"/>
                </a:cubicBezTo>
                <a:cubicBezTo>
                  <a:pt x="3518100" y="3606221"/>
                  <a:pt x="3540075" y="3594768"/>
                  <a:pt x="3564310" y="3575039"/>
                </a:cubicBezTo>
                <a:cubicBezTo>
                  <a:pt x="3588834" y="3555599"/>
                  <a:pt x="3615954" y="3528603"/>
                  <a:pt x="3646345" y="3496555"/>
                </a:cubicBezTo>
                <a:cubicBezTo>
                  <a:pt x="3661588" y="3480579"/>
                  <a:pt x="3677745" y="3463352"/>
                  <a:pt x="3695200" y="3445452"/>
                </a:cubicBezTo>
                <a:cubicBezTo>
                  <a:pt x="3712655" y="3427599"/>
                  <a:pt x="3731408" y="3408977"/>
                  <a:pt x="3752326" y="3390932"/>
                </a:cubicBezTo>
                <a:cubicBezTo>
                  <a:pt x="3773195" y="3372886"/>
                  <a:pt x="3796228" y="3355178"/>
                  <a:pt x="3822627" y="3341079"/>
                </a:cubicBezTo>
                <a:cubicBezTo>
                  <a:pt x="3835851" y="3334246"/>
                  <a:pt x="3849747" y="3327798"/>
                  <a:pt x="3864606" y="3323756"/>
                </a:cubicBezTo>
                <a:cubicBezTo>
                  <a:pt x="3879080" y="3319473"/>
                  <a:pt x="3895141" y="3317548"/>
                  <a:pt x="3908316" y="3324574"/>
                </a:cubicBezTo>
                <a:cubicBezTo>
                  <a:pt x="3914904" y="3327990"/>
                  <a:pt x="3920530" y="3333332"/>
                  <a:pt x="3926637" y="3339154"/>
                </a:cubicBezTo>
                <a:cubicBezTo>
                  <a:pt x="3929714" y="3342042"/>
                  <a:pt x="3932984" y="3345073"/>
                  <a:pt x="3936927" y="3347623"/>
                </a:cubicBezTo>
                <a:cubicBezTo>
                  <a:pt x="3940870" y="3350174"/>
                  <a:pt x="3945679" y="3352099"/>
                  <a:pt x="3950680" y="3352532"/>
                </a:cubicBezTo>
                <a:cubicBezTo>
                  <a:pt x="3960778" y="3353398"/>
                  <a:pt x="3969722" y="3349596"/>
                  <a:pt x="3977560" y="3345458"/>
                </a:cubicBezTo>
                <a:cubicBezTo>
                  <a:pt x="3985398" y="3341320"/>
                  <a:pt x="3992947" y="3335834"/>
                  <a:pt x="3999535" y="3329675"/>
                </a:cubicBezTo>
                <a:cubicBezTo>
                  <a:pt x="4012614" y="3317260"/>
                  <a:pt x="4023626" y="3303064"/>
                  <a:pt x="4034060" y="3288291"/>
                </a:cubicBezTo>
                <a:cubicBezTo>
                  <a:pt x="4044447" y="3273470"/>
                  <a:pt x="4054160" y="3257976"/>
                  <a:pt x="4063441" y="3242000"/>
                </a:cubicBezTo>
                <a:cubicBezTo>
                  <a:pt x="4082050" y="3210048"/>
                  <a:pt x="4099217" y="3176316"/>
                  <a:pt x="4115470" y="3141284"/>
                </a:cubicBezTo>
                <a:cubicBezTo>
                  <a:pt x="4129847" y="3110054"/>
                  <a:pt x="4143504" y="3077718"/>
                  <a:pt x="4155525" y="3044081"/>
                </a:cubicBezTo>
                <a:cubicBezTo>
                  <a:pt x="4144129" y="3078921"/>
                  <a:pt x="4131627" y="3111835"/>
                  <a:pt x="4118018" y="3142391"/>
                </a:cubicBezTo>
                <a:cubicBezTo>
                  <a:pt x="4092004" y="3201531"/>
                  <a:pt x="4064354" y="3253308"/>
                  <a:pt x="4036801" y="3296568"/>
                </a:cubicBezTo>
                <a:cubicBezTo>
                  <a:pt x="4023001" y="3318174"/>
                  <a:pt x="4009104" y="3337614"/>
                  <a:pt x="3994774" y="3354168"/>
                </a:cubicBezTo>
                <a:cubicBezTo>
                  <a:pt x="3991024" y="3358162"/>
                  <a:pt x="3987513" y="3362204"/>
                  <a:pt x="3983859" y="3365861"/>
                </a:cubicBezTo>
                <a:cubicBezTo>
                  <a:pt x="3981983" y="3367642"/>
                  <a:pt x="3980108" y="3369422"/>
                  <a:pt x="3978233" y="3371154"/>
                </a:cubicBezTo>
                <a:lnTo>
                  <a:pt x="3975492" y="3373753"/>
                </a:lnTo>
                <a:lnTo>
                  <a:pt x="3972559" y="3376014"/>
                </a:lnTo>
                <a:cubicBezTo>
                  <a:pt x="3970635" y="3377506"/>
                  <a:pt x="3968712" y="3378998"/>
                  <a:pt x="3966788" y="3380490"/>
                </a:cubicBezTo>
                <a:cubicBezTo>
                  <a:pt x="3964721" y="3381741"/>
                  <a:pt x="3962701" y="3382992"/>
                  <a:pt x="3960730" y="3384195"/>
                </a:cubicBezTo>
                <a:cubicBezTo>
                  <a:pt x="3958758" y="3385446"/>
                  <a:pt x="3956738" y="3386649"/>
                  <a:pt x="3954671" y="3387467"/>
                </a:cubicBezTo>
                <a:cubicBezTo>
                  <a:pt x="3952603" y="3388381"/>
                  <a:pt x="3950632" y="3389440"/>
                  <a:pt x="3948564" y="3390210"/>
                </a:cubicBezTo>
                <a:cubicBezTo>
                  <a:pt x="3940341" y="3393338"/>
                  <a:pt x="3932023" y="3394059"/>
                  <a:pt x="3924329" y="3392856"/>
                </a:cubicBezTo>
                <a:cubicBezTo>
                  <a:pt x="3916635" y="3391702"/>
                  <a:pt x="3909566" y="3389199"/>
                  <a:pt x="3902882" y="3387082"/>
                </a:cubicBezTo>
                <a:cubicBezTo>
                  <a:pt x="3889515" y="3382655"/>
                  <a:pt x="3877397" y="3381115"/>
                  <a:pt x="3867732" y="3381789"/>
                </a:cubicBezTo>
                <a:cubicBezTo>
                  <a:pt x="3865327" y="3381981"/>
                  <a:pt x="3863067" y="3382029"/>
                  <a:pt x="3860952" y="3382318"/>
                </a:cubicBezTo>
                <a:cubicBezTo>
                  <a:pt x="3858884" y="3382703"/>
                  <a:pt x="3856912" y="3383088"/>
                  <a:pt x="3855133" y="3383425"/>
                </a:cubicBezTo>
                <a:cubicBezTo>
                  <a:pt x="3851527" y="3383954"/>
                  <a:pt x="3848593" y="3384868"/>
                  <a:pt x="3846237" y="3385638"/>
                </a:cubicBezTo>
                <a:cubicBezTo>
                  <a:pt x="3841525" y="3387082"/>
                  <a:pt x="3839169" y="3387948"/>
                  <a:pt x="3839217" y="3388093"/>
                </a:cubicBezTo>
                <a:cubicBezTo>
                  <a:pt x="3839265" y="3388285"/>
                  <a:pt x="3841765" y="3387804"/>
                  <a:pt x="3846478" y="3386697"/>
                </a:cubicBezTo>
                <a:cubicBezTo>
                  <a:pt x="3848834" y="3386120"/>
                  <a:pt x="3851767" y="3385398"/>
                  <a:pt x="3855374" y="3385013"/>
                </a:cubicBezTo>
                <a:cubicBezTo>
                  <a:pt x="3857153" y="3384772"/>
                  <a:pt x="3859076" y="3384484"/>
                  <a:pt x="3861144" y="3384195"/>
                </a:cubicBezTo>
                <a:cubicBezTo>
                  <a:pt x="3863211" y="3384002"/>
                  <a:pt x="3865424" y="3384002"/>
                  <a:pt x="3867780" y="3383906"/>
                </a:cubicBezTo>
                <a:cubicBezTo>
                  <a:pt x="3877205" y="3383617"/>
                  <a:pt x="3888793" y="3385398"/>
                  <a:pt x="3901825" y="3390065"/>
                </a:cubicBezTo>
                <a:cubicBezTo>
                  <a:pt x="3908364" y="3392279"/>
                  <a:pt x="3915529" y="3395070"/>
                  <a:pt x="3923703" y="3396417"/>
                </a:cubicBezTo>
                <a:cubicBezTo>
                  <a:pt x="3931830" y="3397861"/>
                  <a:pt x="3941062" y="3397235"/>
                  <a:pt x="3949910" y="3394011"/>
                </a:cubicBezTo>
                <a:cubicBezTo>
                  <a:pt x="3952074" y="3393193"/>
                  <a:pt x="3954238" y="3392135"/>
                  <a:pt x="3956402" y="3391220"/>
                </a:cubicBezTo>
                <a:cubicBezTo>
                  <a:pt x="3958662" y="3390354"/>
                  <a:pt x="3960730" y="3389151"/>
                  <a:pt x="3962797" y="3387852"/>
                </a:cubicBezTo>
                <a:cubicBezTo>
                  <a:pt x="3964913" y="3386601"/>
                  <a:pt x="3967029" y="3385350"/>
                  <a:pt x="3969193" y="3384099"/>
                </a:cubicBezTo>
                <a:cubicBezTo>
                  <a:pt x="3971212" y="3382607"/>
                  <a:pt x="3973232" y="3381067"/>
                  <a:pt x="3975300" y="3379527"/>
                </a:cubicBezTo>
                <a:lnTo>
                  <a:pt x="3978425" y="3377169"/>
                </a:lnTo>
                <a:lnTo>
                  <a:pt x="3981310" y="3374523"/>
                </a:lnTo>
                <a:cubicBezTo>
                  <a:pt x="3983234" y="3372742"/>
                  <a:pt x="3985205" y="3370962"/>
                  <a:pt x="3987177" y="3369181"/>
                </a:cubicBezTo>
                <a:cubicBezTo>
                  <a:pt x="3990975" y="3365476"/>
                  <a:pt x="3994630" y="3361386"/>
                  <a:pt x="3998477" y="3357392"/>
                </a:cubicBezTo>
                <a:cubicBezTo>
                  <a:pt x="4012422" y="3341705"/>
                  <a:pt x="4025886" y="3323467"/>
                  <a:pt x="4039206" y="3303353"/>
                </a:cubicBezTo>
                <a:cubicBezTo>
                  <a:pt x="4029637" y="3318896"/>
                  <a:pt x="4019779" y="3333957"/>
                  <a:pt x="4009441" y="3348441"/>
                </a:cubicBezTo>
                <a:cubicBezTo>
                  <a:pt x="3996409" y="3366390"/>
                  <a:pt x="3982897" y="3383810"/>
                  <a:pt x="3967269" y="3398101"/>
                </a:cubicBezTo>
                <a:cubicBezTo>
                  <a:pt x="3965298" y="3399834"/>
                  <a:pt x="3963374" y="3401662"/>
                  <a:pt x="3961355" y="3403298"/>
                </a:cubicBezTo>
                <a:lnTo>
                  <a:pt x="3955152" y="3407966"/>
                </a:lnTo>
                <a:cubicBezTo>
                  <a:pt x="3953036" y="3409458"/>
                  <a:pt x="3950728" y="3410709"/>
                  <a:pt x="3948564" y="3412056"/>
                </a:cubicBezTo>
                <a:cubicBezTo>
                  <a:pt x="3946304" y="3413308"/>
                  <a:pt x="3944236" y="3414943"/>
                  <a:pt x="3941880" y="3415858"/>
                </a:cubicBezTo>
                <a:cubicBezTo>
                  <a:pt x="3932792" y="3420622"/>
                  <a:pt x="3923078" y="3423413"/>
                  <a:pt x="3913221" y="3424327"/>
                </a:cubicBezTo>
                <a:cubicBezTo>
                  <a:pt x="3893361" y="3426348"/>
                  <a:pt x="3873742" y="3418120"/>
                  <a:pt x="3852585" y="3416724"/>
                </a:cubicBezTo>
                <a:cubicBezTo>
                  <a:pt x="3842054" y="3416050"/>
                  <a:pt x="3831283" y="3416724"/>
                  <a:pt x="3821329" y="3419804"/>
                </a:cubicBezTo>
                <a:cubicBezTo>
                  <a:pt x="3818732" y="3420285"/>
                  <a:pt x="3816376" y="3421392"/>
                  <a:pt x="3813972" y="3422258"/>
                </a:cubicBezTo>
                <a:cubicBezTo>
                  <a:pt x="3811567" y="3423220"/>
                  <a:pt x="3809067" y="3423990"/>
                  <a:pt x="3806807" y="3425049"/>
                </a:cubicBezTo>
                <a:cubicBezTo>
                  <a:pt x="3802287" y="3427262"/>
                  <a:pt x="3797815" y="3429476"/>
                  <a:pt x="3793343" y="3431641"/>
                </a:cubicBezTo>
                <a:cubicBezTo>
                  <a:pt x="3758433" y="3450697"/>
                  <a:pt x="3729485" y="3475479"/>
                  <a:pt x="3703422" y="3500164"/>
                </a:cubicBezTo>
                <a:cubicBezTo>
                  <a:pt x="3677408" y="3524946"/>
                  <a:pt x="3654183" y="3550017"/>
                  <a:pt x="3632352" y="3573740"/>
                </a:cubicBezTo>
                <a:cubicBezTo>
                  <a:pt x="3610521" y="3597463"/>
                  <a:pt x="3590132" y="3619984"/>
                  <a:pt x="3570513" y="3640483"/>
                </a:cubicBezTo>
                <a:cubicBezTo>
                  <a:pt x="3531467" y="3681577"/>
                  <a:pt x="3495115" y="3714540"/>
                  <a:pt x="3461839" y="3736386"/>
                </a:cubicBezTo>
                <a:cubicBezTo>
                  <a:pt x="3428756" y="3758618"/>
                  <a:pt x="3399039" y="3768867"/>
                  <a:pt x="3378555" y="3772861"/>
                </a:cubicBezTo>
                <a:cubicBezTo>
                  <a:pt x="3373361" y="3773631"/>
                  <a:pt x="3368793" y="3774305"/>
                  <a:pt x="3364898" y="3774930"/>
                </a:cubicBezTo>
                <a:cubicBezTo>
                  <a:pt x="3360955" y="3775556"/>
                  <a:pt x="3357589" y="3775460"/>
                  <a:pt x="3354945" y="3775700"/>
                </a:cubicBezTo>
                <a:cubicBezTo>
                  <a:pt x="3349559" y="3776037"/>
                  <a:pt x="3346818" y="3776326"/>
                  <a:pt x="3346818" y="3776518"/>
                </a:cubicBezTo>
                <a:cubicBezTo>
                  <a:pt x="3346818" y="3776711"/>
                  <a:pt x="3349559" y="3776807"/>
                  <a:pt x="3354993" y="3776807"/>
                </a:cubicBezTo>
                <a:cubicBezTo>
                  <a:pt x="3357686" y="3776711"/>
                  <a:pt x="3361099" y="3776999"/>
                  <a:pt x="3365091" y="3776567"/>
                </a:cubicBezTo>
                <a:cubicBezTo>
                  <a:pt x="3369082" y="3776133"/>
                  <a:pt x="3373746" y="3775604"/>
                  <a:pt x="3378988" y="3775027"/>
                </a:cubicBezTo>
                <a:cubicBezTo>
                  <a:pt x="3399808" y="3771706"/>
                  <a:pt x="3430343" y="3761890"/>
                  <a:pt x="3464147" y="3739947"/>
                </a:cubicBezTo>
                <a:cubicBezTo>
                  <a:pt x="3498192" y="3718389"/>
                  <a:pt x="3535266" y="3685571"/>
                  <a:pt x="3574889" y="3644717"/>
                </a:cubicBezTo>
                <a:cubicBezTo>
                  <a:pt x="3594749" y="3624314"/>
                  <a:pt x="3615425" y="3601986"/>
                  <a:pt x="3637401" y="3578456"/>
                </a:cubicBezTo>
                <a:cubicBezTo>
                  <a:pt x="3659376" y="3554925"/>
                  <a:pt x="3682697" y="3530143"/>
                  <a:pt x="3708664" y="3505746"/>
                </a:cubicBezTo>
                <a:cubicBezTo>
                  <a:pt x="3734582" y="3481446"/>
                  <a:pt x="3763337" y="3457241"/>
                  <a:pt x="3797238" y="3439004"/>
                </a:cubicBezTo>
                <a:cubicBezTo>
                  <a:pt x="3801566" y="3436934"/>
                  <a:pt x="3805893" y="3434817"/>
                  <a:pt x="3810221" y="3432700"/>
                </a:cubicBezTo>
                <a:cubicBezTo>
                  <a:pt x="3812385" y="3431689"/>
                  <a:pt x="3814645" y="3431016"/>
                  <a:pt x="3816857" y="3430150"/>
                </a:cubicBezTo>
                <a:cubicBezTo>
                  <a:pt x="3819117" y="3429380"/>
                  <a:pt x="3821281" y="3428321"/>
                  <a:pt x="3823589" y="3427936"/>
                </a:cubicBezTo>
                <a:cubicBezTo>
                  <a:pt x="3832725" y="3425193"/>
                  <a:pt x="3842342" y="3424664"/>
                  <a:pt x="3852008" y="3425289"/>
                </a:cubicBezTo>
                <a:cubicBezTo>
                  <a:pt x="3861721" y="3425963"/>
                  <a:pt x="3871482" y="3428273"/>
                  <a:pt x="3881725" y="3430390"/>
                </a:cubicBezTo>
                <a:cubicBezTo>
                  <a:pt x="3891919" y="3432507"/>
                  <a:pt x="3902834" y="3434143"/>
                  <a:pt x="3913990" y="3433181"/>
                </a:cubicBezTo>
                <a:cubicBezTo>
                  <a:pt x="3925050" y="3432219"/>
                  <a:pt x="3936062" y="3429043"/>
                  <a:pt x="3945967" y="3423894"/>
                </a:cubicBezTo>
                <a:cubicBezTo>
                  <a:pt x="3948564" y="3422835"/>
                  <a:pt x="3950824" y="3421199"/>
                  <a:pt x="3953228" y="3419804"/>
                </a:cubicBezTo>
                <a:cubicBezTo>
                  <a:pt x="3955584" y="3418312"/>
                  <a:pt x="3958037" y="3417013"/>
                  <a:pt x="3960345" y="3415377"/>
                </a:cubicBezTo>
                <a:lnTo>
                  <a:pt x="3967125" y="3410324"/>
                </a:lnTo>
                <a:cubicBezTo>
                  <a:pt x="3969289" y="3408544"/>
                  <a:pt x="3971309" y="3406667"/>
                  <a:pt x="3973424" y="3404790"/>
                </a:cubicBezTo>
                <a:cubicBezTo>
                  <a:pt x="3977656" y="3401133"/>
                  <a:pt x="3981406" y="3396995"/>
                  <a:pt x="3985350" y="3393049"/>
                </a:cubicBezTo>
                <a:cubicBezTo>
                  <a:pt x="3989004" y="3388862"/>
                  <a:pt x="3992947" y="3384868"/>
                  <a:pt x="3996409" y="3380490"/>
                </a:cubicBezTo>
                <a:cubicBezTo>
                  <a:pt x="3999968" y="3376207"/>
                  <a:pt x="4003574" y="3371876"/>
                  <a:pt x="4006940" y="3367401"/>
                </a:cubicBezTo>
                <a:cubicBezTo>
                  <a:pt x="4010402" y="3362974"/>
                  <a:pt x="4013816" y="3358499"/>
                  <a:pt x="4017038" y="3353879"/>
                </a:cubicBezTo>
                <a:cubicBezTo>
                  <a:pt x="4035311" y="3328375"/>
                  <a:pt x="4052237" y="3301284"/>
                  <a:pt x="4068201" y="3272989"/>
                </a:cubicBezTo>
                <a:cubicBezTo>
                  <a:pt x="4055362" y="3296568"/>
                  <a:pt x="4043004" y="3317741"/>
                  <a:pt x="4031368" y="3336459"/>
                </a:cubicBezTo>
                <a:cubicBezTo>
                  <a:pt x="4008094" y="3373608"/>
                  <a:pt x="3987273" y="3400652"/>
                  <a:pt x="3971645" y="3417590"/>
                </a:cubicBezTo>
                <a:cubicBezTo>
                  <a:pt x="3967606" y="3421680"/>
                  <a:pt x="3964048" y="3425289"/>
                  <a:pt x="3960970" y="3428417"/>
                </a:cubicBezTo>
                <a:cubicBezTo>
                  <a:pt x="3957989" y="3431641"/>
                  <a:pt x="3954863" y="3433662"/>
                  <a:pt x="3952699" y="3435635"/>
                </a:cubicBezTo>
                <a:cubicBezTo>
                  <a:pt x="3948179" y="3439437"/>
                  <a:pt x="3945871" y="3441458"/>
                  <a:pt x="3945967" y="3441602"/>
                </a:cubicBezTo>
                <a:cubicBezTo>
                  <a:pt x="3946064" y="3441746"/>
                  <a:pt x="3948564" y="3440014"/>
                  <a:pt x="3953325" y="3436501"/>
                </a:cubicBezTo>
                <a:cubicBezTo>
                  <a:pt x="3955633" y="3434625"/>
                  <a:pt x="3958902" y="3432748"/>
                  <a:pt x="3962028" y="3429620"/>
                </a:cubicBezTo>
                <a:cubicBezTo>
                  <a:pt x="3965250" y="3426589"/>
                  <a:pt x="3968952" y="3423076"/>
                  <a:pt x="3973184" y="3419082"/>
                </a:cubicBezTo>
                <a:cubicBezTo>
                  <a:pt x="3989437" y="3402529"/>
                  <a:pt x="4010931" y="3375678"/>
                  <a:pt x="4034878" y="3338721"/>
                </a:cubicBezTo>
                <a:cubicBezTo>
                  <a:pt x="4058680" y="3301669"/>
                  <a:pt x="4085320" y="3254752"/>
                  <a:pt x="4112729" y="3198547"/>
                </a:cubicBezTo>
                <a:cubicBezTo>
                  <a:pt x="4119268" y="3185170"/>
                  <a:pt x="4125856" y="3171215"/>
                  <a:pt x="4132396" y="3156731"/>
                </a:cubicBezTo>
                <a:cubicBezTo>
                  <a:pt x="4115614" y="3195275"/>
                  <a:pt x="4097582" y="3232376"/>
                  <a:pt x="4078107" y="3267696"/>
                </a:cubicBezTo>
                <a:cubicBezTo>
                  <a:pt x="4063249" y="3295076"/>
                  <a:pt x="4047909" y="3321591"/>
                  <a:pt x="4031897" y="3346950"/>
                </a:cubicBezTo>
                <a:cubicBezTo>
                  <a:pt x="4015884" y="3372309"/>
                  <a:pt x="3999246" y="3396658"/>
                  <a:pt x="3981166" y="3419034"/>
                </a:cubicBezTo>
                <a:cubicBezTo>
                  <a:pt x="3963134" y="3441410"/>
                  <a:pt x="3943515" y="3461765"/>
                  <a:pt x="3919712" y="3474998"/>
                </a:cubicBezTo>
                <a:cubicBezTo>
                  <a:pt x="3907883" y="3481446"/>
                  <a:pt x="3895381" y="3486450"/>
                  <a:pt x="3882638" y="3486931"/>
                </a:cubicBezTo>
                <a:cubicBezTo>
                  <a:pt x="3869895" y="3487509"/>
                  <a:pt x="3857057" y="3482985"/>
                  <a:pt x="3843304" y="3481638"/>
                </a:cubicBezTo>
                <a:cubicBezTo>
                  <a:pt x="3829504" y="3480339"/>
                  <a:pt x="3815559" y="3482408"/>
                  <a:pt x="3803056" y="3486835"/>
                </a:cubicBezTo>
                <a:cubicBezTo>
                  <a:pt x="3799787" y="3487653"/>
                  <a:pt x="3796901" y="3489193"/>
                  <a:pt x="3793776" y="3490348"/>
                </a:cubicBezTo>
                <a:cubicBezTo>
                  <a:pt x="3790746" y="3491647"/>
                  <a:pt x="3787621" y="3492706"/>
                  <a:pt x="3784736" y="3494246"/>
                </a:cubicBezTo>
                <a:cubicBezTo>
                  <a:pt x="3779013" y="3497277"/>
                  <a:pt x="3773099" y="3499972"/>
                  <a:pt x="3767617" y="3503244"/>
                </a:cubicBezTo>
                <a:cubicBezTo>
                  <a:pt x="3745449" y="3516188"/>
                  <a:pt x="3726071" y="3531924"/>
                  <a:pt x="3708279" y="3548092"/>
                </a:cubicBezTo>
                <a:cubicBezTo>
                  <a:pt x="3672840" y="3580669"/>
                  <a:pt x="3642930" y="3614594"/>
                  <a:pt x="3614416" y="3645632"/>
                </a:cubicBezTo>
                <a:cubicBezTo>
                  <a:pt x="3586045" y="3676814"/>
                  <a:pt x="3559309" y="3705493"/>
                  <a:pt x="3533391" y="3730612"/>
                </a:cubicBezTo>
                <a:cubicBezTo>
                  <a:pt x="3507473" y="3755634"/>
                  <a:pt x="3482372" y="3777048"/>
                  <a:pt x="3458473" y="3794419"/>
                </a:cubicBezTo>
                <a:cubicBezTo>
                  <a:pt x="3410676" y="3829499"/>
                  <a:pt x="3367351" y="3846918"/>
                  <a:pt x="3337489" y="3855291"/>
                </a:cubicBezTo>
                <a:cubicBezTo>
                  <a:pt x="3330084" y="3857697"/>
                  <a:pt x="3323304" y="3858852"/>
                  <a:pt x="3317534" y="3860295"/>
                </a:cubicBezTo>
                <a:cubicBezTo>
                  <a:pt x="3311812" y="3861787"/>
                  <a:pt x="3306859" y="3862461"/>
                  <a:pt x="3302916" y="3863087"/>
                </a:cubicBezTo>
                <a:cubicBezTo>
                  <a:pt x="3298973" y="3863760"/>
                  <a:pt x="3295991" y="3864290"/>
                  <a:pt x="3294020" y="3864626"/>
                </a:cubicBezTo>
                <a:cubicBezTo>
                  <a:pt x="3292048" y="3865011"/>
                  <a:pt x="3291038" y="3865252"/>
                  <a:pt x="3291038" y="3865348"/>
                </a:cubicBezTo>
                <a:cubicBezTo>
                  <a:pt x="3291038" y="3865444"/>
                  <a:pt x="3292096" y="3865348"/>
                  <a:pt x="3294116" y="3865204"/>
                </a:cubicBezTo>
                <a:cubicBezTo>
                  <a:pt x="3296135" y="3864963"/>
                  <a:pt x="3299165" y="3864626"/>
                  <a:pt x="3303156" y="3864193"/>
                </a:cubicBezTo>
                <a:cubicBezTo>
                  <a:pt x="3307147" y="3863712"/>
                  <a:pt x="3312100" y="3863183"/>
                  <a:pt x="3317919" y="3861884"/>
                </a:cubicBezTo>
                <a:cubicBezTo>
                  <a:pt x="3323737" y="3860632"/>
                  <a:pt x="3330613" y="3859670"/>
                  <a:pt x="3338115" y="3857360"/>
                </a:cubicBezTo>
                <a:cubicBezTo>
                  <a:pt x="3368360" y="3849613"/>
                  <a:pt x="3412407" y="3832626"/>
                  <a:pt x="3460974" y="3797787"/>
                </a:cubicBezTo>
                <a:cubicBezTo>
                  <a:pt x="3485257" y="3780512"/>
                  <a:pt x="3510742" y="3759195"/>
                  <a:pt x="3536997" y="3734269"/>
                </a:cubicBezTo>
                <a:cubicBezTo>
                  <a:pt x="3563204" y="3709247"/>
                  <a:pt x="3590277" y="3680711"/>
                  <a:pt x="3618887" y="3649674"/>
                </a:cubicBezTo>
                <a:cubicBezTo>
                  <a:pt x="3647643" y="3618829"/>
                  <a:pt x="3677697" y="3585097"/>
                  <a:pt x="3712895" y="3553097"/>
                </a:cubicBezTo>
                <a:cubicBezTo>
                  <a:pt x="3730591" y="3537217"/>
                  <a:pt x="3749729" y="3521867"/>
                  <a:pt x="3771271" y="3509452"/>
                </a:cubicBezTo>
                <a:cubicBezTo>
                  <a:pt x="3776609" y="3506276"/>
                  <a:pt x="3782331" y="3503725"/>
                  <a:pt x="3787909" y="3500790"/>
                </a:cubicBezTo>
                <a:cubicBezTo>
                  <a:pt x="3790698" y="3499346"/>
                  <a:pt x="3793680" y="3498384"/>
                  <a:pt x="3796565" y="3497133"/>
                </a:cubicBezTo>
                <a:cubicBezTo>
                  <a:pt x="3799498" y="3496074"/>
                  <a:pt x="3802335" y="3494534"/>
                  <a:pt x="3805413" y="3493812"/>
                </a:cubicBezTo>
                <a:cubicBezTo>
                  <a:pt x="3817338" y="3489674"/>
                  <a:pt x="3829936" y="3487942"/>
                  <a:pt x="3842583" y="3489145"/>
                </a:cubicBezTo>
                <a:cubicBezTo>
                  <a:pt x="3855181" y="3490348"/>
                  <a:pt x="3868309" y="3495112"/>
                  <a:pt x="3882927" y="3494630"/>
                </a:cubicBezTo>
                <a:cubicBezTo>
                  <a:pt x="3897497" y="3494149"/>
                  <a:pt x="3911153" y="3488615"/>
                  <a:pt x="3923655" y="3481879"/>
                </a:cubicBezTo>
                <a:cubicBezTo>
                  <a:pt x="3935869" y="3474805"/>
                  <a:pt x="3947843" y="3466384"/>
                  <a:pt x="3958229" y="3456327"/>
                </a:cubicBezTo>
                <a:cubicBezTo>
                  <a:pt x="3963471" y="3451370"/>
                  <a:pt x="3968471" y="3446126"/>
                  <a:pt x="3973424" y="3440832"/>
                </a:cubicBezTo>
                <a:cubicBezTo>
                  <a:pt x="3978137" y="3435346"/>
                  <a:pt x="3983186" y="3430005"/>
                  <a:pt x="3987610" y="3424231"/>
                </a:cubicBezTo>
                <a:cubicBezTo>
                  <a:pt x="4003526" y="3404646"/>
                  <a:pt x="4018240" y="3383665"/>
                  <a:pt x="4032425" y="3361867"/>
                </a:cubicBezTo>
                <a:cubicBezTo>
                  <a:pt x="4026944" y="3370962"/>
                  <a:pt x="4021462" y="3379816"/>
                  <a:pt x="4015980" y="3388429"/>
                </a:cubicBezTo>
                <a:cubicBezTo>
                  <a:pt x="3995447" y="3420622"/>
                  <a:pt x="3975204" y="3449205"/>
                  <a:pt x="3954527" y="3472688"/>
                </a:cubicBezTo>
                <a:cubicBezTo>
                  <a:pt x="3949333" y="3478510"/>
                  <a:pt x="3943851" y="3483803"/>
                  <a:pt x="3938803" y="3489145"/>
                </a:cubicBezTo>
                <a:cubicBezTo>
                  <a:pt x="3936062" y="3491599"/>
                  <a:pt x="3933273" y="3493861"/>
                  <a:pt x="3930580" y="3496170"/>
                </a:cubicBezTo>
                <a:cubicBezTo>
                  <a:pt x="3927791" y="3498336"/>
                  <a:pt x="3925339" y="3500982"/>
                  <a:pt x="3922357" y="3502619"/>
                </a:cubicBezTo>
                <a:cubicBezTo>
                  <a:pt x="3911105" y="3510414"/>
                  <a:pt x="3898699" y="3514456"/>
                  <a:pt x="3886870" y="3515900"/>
                </a:cubicBezTo>
                <a:cubicBezTo>
                  <a:pt x="3875041" y="3517439"/>
                  <a:pt x="3863837" y="3517006"/>
                  <a:pt x="3853594" y="3517103"/>
                </a:cubicBezTo>
                <a:cubicBezTo>
                  <a:pt x="3843352" y="3517103"/>
                  <a:pt x="3834024" y="3517343"/>
                  <a:pt x="3825753" y="3518498"/>
                </a:cubicBezTo>
                <a:cubicBezTo>
                  <a:pt x="3809115" y="3520471"/>
                  <a:pt x="3797142" y="3525187"/>
                  <a:pt x="3789304" y="3528411"/>
                </a:cubicBezTo>
                <a:cubicBezTo>
                  <a:pt x="3785505" y="3530336"/>
                  <a:pt x="3782620" y="3531828"/>
                  <a:pt x="3780696" y="3532790"/>
                </a:cubicBezTo>
                <a:cubicBezTo>
                  <a:pt x="3778773" y="3533800"/>
                  <a:pt x="3777859" y="3534330"/>
                  <a:pt x="3777907" y="3534426"/>
                </a:cubicBezTo>
                <a:cubicBezTo>
                  <a:pt x="3777955" y="3534522"/>
                  <a:pt x="3778965" y="3534137"/>
                  <a:pt x="3780937" y="3533271"/>
                </a:cubicBezTo>
                <a:cubicBezTo>
                  <a:pt x="3782908" y="3532405"/>
                  <a:pt x="3785842" y="3531106"/>
                  <a:pt x="3789688" y="3529422"/>
                </a:cubicBezTo>
                <a:cubicBezTo>
                  <a:pt x="3797623" y="3526534"/>
                  <a:pt x="3809548" y="3522251"/>
                  <a:pt x="3825945" y="3520664"/>
                </a:cubicBezTo>
                <a:cubicBezTo>
                  <a:pt x="3834120" y="3519701"/>
                  <a:pt x="3843352" y="3519653"/>
                  <a:pt x="3853546" y="3519797"/>
                </a:cubicBezTo>
                <a:cubicBezTo>
                  <a:pt x="3863741" y="3519894"/>
                  <a:pt x="3874993" y="3520519"/>
                  <a:pt x="3887207" y="3519076"/>
                </a:cubicBezTo>
                <a:cubicBezTo>
                  <a:pt x="3899372" y="3517728"/>
                  <a:pt x="3912499" y="3513638"/>
                  <a:pt x="3924329" y="3505650"/>
                </a:cubicBezTo>
                <a:cubicBezTo>
                  <a:pt x="3927502" y="3503918"/>
                  <a:pt x="3929955" y="3501319"/>
                  <a:pt x="3932888" y="3499106"/>
                </a:cubicBezTo>
                <a:cubicBezTo>
                  <a:pt x="3935677" y="3496748"/>
                  <a:pt x="3938610" y="3494486"/>
                  <a:pt x="3941447" y="3491984"/>
                </a:cubicBezTo>
                <a:cubicBezTo>
                  <a:pt x="3946641" y="3486643"/>
                  <a:pt x="3952266" y="3481301"/>
                  <a:pt x="3957604" y="3475431"/>
                </a:cubicBezTo>
                <a:cubicBezTo>
                  <a:pt x="3978762" y="3451900"/>
                  <a:pt x="3999343" y="3423316"/>
                  <a:pt x="4020212" y="3391124"/>
                </a:cubicBezTo>
                <a:cubicBezTo>
                  <a:pt x="4022520" y="3387515"/>
                  <a:pt x="4024876" y="3383858"/>
                  <a:pt x="4027184" y="3380201"/>
                </a:cubicBezTo>
                <a:cubicBezTo>
                  <a:pt x="4011027" y="3407485"/>
                  <a:pt x="3994582" y="3434432"/>
                  <a:pt x="3976406" y="3459984"/>
                </a:cubicBezTo>
                <a:cubicBezTo>
                  <a:pt x="3966067" y="3474468"/>
                  <a:pt x="3955200" y="3488471"/>
                  <a:pt x="3943226" y="3501367"/>
                </a:cubicBezTo>
                <a:cubicBezTo>
                  <a:pt x="3931253" y="3514215"/>
                  <a:pt x="3918029" y="3525957"/>
                  <a:pt x="3902834" y="3534089"/>
                </a:cubicBezTo>
                <a:cubicBezTo>
                  <a:pt x="3887735" y="3542751"/>
                  <a:pt x="3870472" y="3544916"/>
                  <a:pt x="3853017" y="3545061"/>
                </a:cubicBezTo>
                <a:cubicBezTo>
                  <a:pt x="3844266" y="3545301"/>
                  <a:pt x="3835322" y="3545493"/>
                  <a:pt x="3826474" y="3546552"/>
                </a:cubicBezTo>
                <a:cubicBezTo>
                  <a:pt x="3817626" y="3547755"/>
                  <a:pt x="3808779" y="3549439"/>
                  <a:pt x="3800364" y="3552326"/>
                </a:cubicBezTo>
                <a:cubicBezTo>
                  <a:pt x="3783389" y="3557812"/>
                  <a:pt x="3767617" y="3566089"/>
                  <a:pt x="3752951" y="3575905"/>
                </a:cubicBezTo>
                <a:cubicBezTo>
                  <a:pt x="3738236" y="3585674"/>
                  <a:pt x="3725109" y="3597271"/>
                  <a:pt x="3712222" y="3608964"/>
                </a:cubicBezTo>
                <a:cubicBezTo>
                  <a:pt x="3686785" y="3632735"/>
                  <a:pt x="3663559" y="3658383"/>
                  <a:pt x="3640574" y="3683791"/>
                </a:cubicBezTo>
                <a:cubicBezTo>
                  <a:pt x="3617589" y="3709247"/>
                  <a:pt x="3594893" y="3734702"/>
                  <a:pt x="3570658" y="3758233"/>
                </a:cubicBezTo>
                <a:cubicBezTo>
                  <a:pt x="3546759" y="3782100"/>
                  <a:pt x="3519639" y="3802167"/>
                  <a:pt x="3492374" y="3821607"/>
                </a:cubicBezTo>
                <a:cubicBezTo>
                  <a:pt x="3465013" y="3841000"/>
                  <a:pt x="3437171" y="3859429"/>
                  <a:pt x="3410436" y="3879255"/>
                </a:cubicBezTo>
                <a:cubicBezTo>
                  <a:pt x="3397020" y="3889120"/>
                  <a:pt x="3383940" y="3899465"/>
                  <a:pt x="3371678" y="3910726"/>
                </a:cubicBezTo>
                <a:cubicBezTo>
                  <a:pt x="3359513" y="3922034"/>
                  <a:pt x="3347684" y="3934112"/>
                  <a:pt x="3339509" y="3949077"/>
                </a:cubicBezTo>
                <a:cubicBezTo>
                  <a:pt x="3335566" y="3956488"/>
                  <a:pt x="3332392" y="3964668"/>
                  <a:pt x="3332008" y="3973571"/>
                </a:cubicBezTo>
                <a:cubicBezTo>
                  <a:pt x="3332008" y="3977997"/>
                  <a:pt x="3332825" y="3982569"/>
                  <a:pt x="3334749" y="3986611"/>
                </a:cubicBezTo>
                <a:cubicBezTo>
                  <a:pt x="3336624" y="3990701"/>
                  <a:pt x="3339413" y="3994214"/>
                  <a:pt x="3342442" y="3997197"/>
                </a:cubicBezTo>
                <a:cubicBezTo>
                  <a:pt x="3348597" y="4003212"/>
                  <a:pt x="3355762" y="4007447"/>
                  <a:pt x="3361965" y="4012355"/>
                </a:cubicBezTo>
                <a:cubicBezTo>
                  <a:pt x="3368168" y="4017119"/>
                  <a:pt x="3373458" y="4023086"/>
                  <a:pt x="3373025" y="4030304"/>
                </a:cubicBezTo>
                <a:cubicBezTo>
                  <a:pt x="3372881" y="4033865"/>
                  <a:pt x="3371678" y="4037474"/>
                  <a:pt x="3370091" y="4040891"/>
                </a:cubicBezTo>
                <a:cubicBezTo>
                  <a:pt x="3368409" y="4044307"/>
                  <a:pt x="3366148" y="4047579"/>
                  <a:pt x="3363889" y="4050851"/>
                </a:cubicBezTo>
                <a:cubicBezTo>
                  <a:pt x="3359417" y="4057396"/>
                  <a:pt x="3354127" y="4063411"/>
                  <a:pt x="3348693" y="4069185"/>
                </a:cubicBezTo>
                <a:cubicBezTo>
                  <a:pt x="3337634" y="4080686"/>
                  <a:pt x="3325228" y="4090839"/>
                  <a:pt x="3312437" y="4100367"/>
                </a:cubicBezTo>
                <a:cubicBezTo>
                  <a:pt x="3286759" y="4119375"/>
                  <a:pt x="3259350" y="4135687"/>
                  <a:pt x="3231749" y="4151182"/>
                </a:cubicBezTo>
                <a:cubicBezTo>
                  <a:pt x="3204099" y="4166677"/>
                  <a:pt x="3176113" y="4181209"/>
                  <a:pt x="3148320" y="4195645"/>
                </a:cubicBezTo>
                <a:cubicBezTo>
                  <a:pt x="3120478" y="4210129"/>
                  <a:pt x="3092781" y="4224421"/>
                  <a:pt x="3065756" y="4239771"/>
                </a:cubicBezTo>
                <a:cubicBezTo>
                  <a:pt x="3052244" y="4247422"/>
                  <a:pt x="3038925" y="4255362"/>
                  <a:pt x="3026038" y="4263976"/>
                </a:cubicBezTo>
                <a:cubicBezTo>
                  <a:pt x="3013199" y="4272589"/>
                  <a:pt x="3000648" y="4281732"/>
                  <a:pt x="2989492" y="4292704"/>
                </a:cubicBezTo>
                <a:cubicBezTo>
                  <a:pt x="2984107" y="4298285"/>
                  <a:pt x="2978481" y="4304204"/>
                  <a:pt x="2976221" y="4312721"/>
                </a:cubicBezTo>
                <a:cubicBezTo>
                  <a:pt x="2976028" y="4313780"/>
                  <a:pt x="2975980" y="4314935"/>
                  <a:pt x="2975836" y="4316042"/>
                </a:cubicBezTo>
                <a:cubicBezTo>
                  <a:pt x="2975932" y="4317197"/>
                  <a:pt x="2976028" y="4318351"/>
                  <a:pt x="2976317" y="4319458"/>
                </a:cubicBezTo>
                <a:cubicBezTo>
                  <a:pt x="2976990" y="4321672"/>
                  <a:pt x="2978096" y="4323837"/>
                  <a:pt x="2979635" y="4325377"/>
                </a:cubicBezTo>
                <a:cubicBezTo>
                  <a:pt x="2982616" y="4328649"/>
                  <a:pt x="2986270" y="4330574"/>
                  <a:pt x="2989877" y="4332258"/>
                </a:cubicBezTo>
                <a:cubicBezTo>
                  <a:pt x="2997042" y="4335482"/>
                  <a:pt x="3004591" y="4337311"/>
                  <a:pt x="3011179" y="4340246"/>
                </a:cubicBezTo>
                <a:cubicBezTo>
                  <a:pt x="3012814" y="4340920"/>
                  <a:pt x="3014305" y="4341882"/>
                  <a:pt x="3015315" y="4342748"/>
                </a:cubicBezTo>
                <a:cubicBezTo>
                  <a:pt x="3016180" y="4343422"/>
                  <a:pt x="3016565" y="4344577"/>
                  <a:pt x="3016180" y="4345588"/>
                </a:cubicBezTo>
                <a:cubicBezTo>
                  <a:pt x="3015843" y="4346598"/>
                  <a:pt x="3014833" y="4347849"/>
                  <a:pt x="3013631" y="4349100"/>
                </a:cubicBezTo>
                <a:cubicBezTo>
                  <a:pt x="3012429" y="4350303"/>
                  <a:pt x="3010987" y="4351410"/>
                  <a:pt x="3009544" y="4352517"/>
                </a:cubicBezTo>
                <a:cubicBezTo>
                  <a:pt x="3003005" y="4357136"/>
                  <a:pt x="2995840" y="4361034"/>
                  <a:pt x="2988531" y="4364643"/>
                </a:cubicBezTo>
                <a:cubicBezTo>
                  <a:pt x="2992089" y="4362285"/>
                  <a:pt x="2995455" y="4359783"/>
                  <a:pt x="2998388" y="4356896"/>
                </a:cubicBezTo>
                <a:cubicBezTo>
                  <a:pt x="2999638" y="4355693"/>
                  <a:pt x="3000793" y="4354249"/>
                  <a:pt x="3001754" y="4352517"/>
                </a:cubicBezTo>
                <a:cubicBezTo>
                  <a:pt x="3002572" y="4350688"/>
                  <a:pt x="3002908" y="4348475"/>
                  <a:pt x="3001754" y="4346742"/>
                </a:cubicBezTo>
                <a:cubicBezTo>
                  <a:pt x="3000600" y="4345106"/>
                  <a:pt x="2998917" y="4344000"/>
                  <a:pt x="2997378" y="4343326"/>
                </a:cubicBezTo>
                <a:cubicBezTo>
                  <a:pt x="2995888" y="4342604"/>
                  <a:pt x="2994349" y="4342171"/>
                  <a:pt x="2992858" y="4341690"/>
                </a:cubicBezTo>
                <a:cubicBezTo>
                  <a:pt x="2980981" y="4338706"/>
                  <a:pt x="2970402" y="4337744"/>
                  <a:pt x="2961891" y="4334712"/>
                </a:cubicBezTo>
                <a:cubicBezTo>
                  <a:pt x="2957660" y="4333269"/>
                  <a:pt x="2953861" y="4331344"/>
                  <a:pt x="2951649" y="4328505"/>
                </a:cubicBezTo>
                <a:cubicBezTo>
                  <a:pt x="2949341" y="4325666"/>
                  <a:pt x="2949389" y="4322153"/>
                  <a:pt x="2950110" y="4319314"/>
                </a:cubicBezTo>
                <a:cubicBezTo>
                  <a:pt x="2951937" y="4313539"/>
                  <a:pt x="2955015" y="4309834"/>
                  <a:pt x="2956842" y="4307332"/>
                </a:cubicBezTo>
                <a:cubicBezTo>
                  <a:pt x="2958814" y="4304878"/>
                  <a:pt x="2959775" y="4303579"/>
                  <a:pt x="2959679" y="4303531"/>
                </a:cubicBezTo>
                <a:cubicBezTo>
                  <a:pt x="2959583" y="4303482"/>
                  <a:pt x="2958477" y="4304589"/>
                  <a:pt x="2956313" y="4306899"/>
                </a:cubicBezTo>
                <a:cubicBezTo>
                  <a:pt x="2954294" y="4309305"/>
                  <a:pt x="2950976" y="4312866"/>
                  <a:pt x="2948812" y="4318977"/>
                </a:cubicBezTo>
                <a:cubicBezTo>
                  <a:pt x="2947898" y="4322009"/>
                  <a:pt x="2947754" y="4326195"/>
                  <a:pt x="2950302" y="4329564"/>
                </a:cubicBezTo>
                <a:cubicBezTo>
                  <a:pt x="2952803" y="4332932"/>
                  <a:pt x="2956842" y="4335049"/>
                  <a:pt x="2961170" y="4336637"/>
                </a:cubicBezTo>
                <a:cubicBezTo>
                  <a:pt x="2969921" y="4339958"/>
                  <a:pt x="2980693" y="4341161"/>
                  <a:pt x="2992089" y="4344240"/>
                </a:cubicBezTo>
                <a:cubicBezTo>
                  <a:pt x="2994830" y="4345154"/>
                  <a:pt x="2997859" y="4346165"/>
                  <a:pt x="2999158" y="4347994"/>
                </a:cubicBezTo>
                <a:cubicBezTo>
                  <a:pt x="3000408" y="4350207"/>
                  <a:pt x="2998580" y="4352565"/>
                  <a:pt x="2996272" y="4354778"/>
                </a:cubicBezTo>
                <a:cubicBezTo>
                  <a:pt x="2991608" y="4359206"/>
                  <a:pt x="2985598" y="4363007"/>
                  <a:pt x="2979154" y="4366376"/>
                </a:cubicBezTo>
                <a:cubicBezTo>
                  <a:pt x="2972230" y="4369985"/>
                  <a:pt x="2964776" y="4373401"/>
                  <a:pt x="2956890" y="4376818"/>
                </a:cubicBezTo>
                <a:cubicBezTo>
                  <a:pt x="2957948" y="4376288"/>
                  <a:pt x="2959006" y="4375759"/>
                  <a:pt x="2960064" y="4375181"/>
                </a:cubicBezTo>
                <a:cubicBezTo>
                  <a:pt x="2962035" y="4374171"/>
                  <a:pt x="2964007" y="4372872"/>
                  <a:pt x="2966027" y="4371620"/>
                </a:cubicBezTo>
                <a:cubicBezTo>
                  <a:pt x="2966988" y="4370899"/>
                  <a:pt x="2967950" y="4370177"/>
                  <a:pt x="2968912" y="4369311"/>
                </a:cubicBezTo>
                <a:cubicBezTo>
                  <a:pt x="2969825" y="4368493"/>
                  <a:pt x="2970835" y="4367482"/>
                  <a:pt x="2971845" y="4365894"/>
                </a:cubicBezTo>
                <a:cubicBezTo>
                  <a:pt x="2972758" y="4364451"/>
                  <a:pt x="2973239" y="4362718"/>
                  <a:pt x="2972999" y="4361034"/>
                </a:cubicBezTo>
                <a:cubicBezTo>
                  <a:pt x="2972758" y="4359350"/>
                  <a:pt x="2971749" y="4357810"/>
                  <a:pt x="2970450" y="4356655"/>
                </a:cubicBezTo>
                <a:cubicBezTo>
                  <a:pt x="2969008" y="4355404"/>
                  <a:pt x="2967709" y="4354730"/>
                  <a:pt x="2966604" y="4354201"/>
                </a:cubicBezTo>
                <a:cubicBezTo>
                  <a:pt x="2965401" y="4353624"/>
                  <a:pt x="2964247" y="4353191"/>
                  <a:pt x="2963093" y="4352757"/>
                </a:cubicBezTo>
                <a:cubicBezTo>
                  <a:pt x="2953765" y="4349582"/>
                  <a:pt x="2944195" y="4347945"/>
                  <a:pt x="2934723" y="4345154"/>
                </a:cubicBezTo>
                <a:cubicBezTo>
                  <a:pt x="2930010" y="4343807"/>
                  <a:pt x="2925298" y="4342219"/>
                  <a:pt x="2921018" y="4340005"/>
                </a:cubicBezTo>
                <a:cubicBezTo>
                  <a:pt x="2916787" y="4337840"/>
                  <a:pt x="2912988" y="4334761"/>
                  <a:pt x="2912267" y="4331103"/>
                </a:cubicBezTo>
                <a:cubicBezTo>
                  <a:pt x="2911353" y="4327446"/>
                  <a:pt x="2913373" y="4322875"/>
                  <a:pt x="2916258" y="4318736"/>
                </a:cubicBezTo>
                <a:cubicBezTo>
                  <a:pt x="2919239" y="4314598"/>
                  <a:pt x="2922942" y="4310700"/>
                  <a:pt x="2926981" y="4306995"/>
                </a:cubicBezTo>
                <a:cubicBezTo>
                  <a:pt x="2935059" y="4299488"/>
                  <a:pt x="2944388" y="4293185"/>
                  <a:pt x="2954390" y="4287073"/>
                </a:cubicBezTo>
                <a:cubicBezTo>
                  <a:pt x="2974490" y="4274947"/>
                  <a:pt x="2996561" y="4263783"/>
                  <a:pt x="3019642" y="4252234"/>
                </a:cubicBezTo>
                <a:cubicBezTo>
                  <a:pt x="3042771" y="4240734"/>
                  <a:pt x="3066959" y="4228944"/>
                  <a:pt x="3091819" y="4216289"/>
                </a:cubicBezTo>
                <a:cubicBezTo>
                  <a:pt x="3104321" y="4209937"/>
                  <a:pt x="3116727" y="4203393"/>
                  <a:pt x="3129662" y="4197041"/>
                </a:cubicBezTo>
                <a:cubicBezTo>
                  <a:pt x="3142549" y="4190640"/>
                  <a:pt x="3155677" y="4184048"/>
                  <a:pt x="3168852" y="4177119"/>
                </a:cubicBezTo>
                <a:cubicBezTo>
                  <a:pt x="3195155" y="4163164"/>
                  <a:pt x="3222084" y="4148102"/>
                  <a:pt x="3247377" y="4128662"/>
                </a:cubicBezTo>
                <a:cubicBezTo>
                  <a:pt x="3259783" y="4118749"/>
                  <a:pt x="3272333" y="4107922"/>
                  <a:pt x="3281229" y="4093005"/>
                </a:cubicBezTo>
                <a:cubicBezTo>
                  <a:pt x="3282287" y="4091128"/>
                  <a:pt x="3283393" y="4089251"/>
                  <a:pt x="3284210" y="4087134"/>
                </a:cubicBezTo>
                <a:cubicBezTo>
                  <a:pt x="3285172" y="4085161"/>
                  <a:pt x="3285893" y="4082996"/>
                  <a:pt x="3286518" y="4080830"/>
                </a:cubicBezTo>
                <a:cubicBezTo>
                  <a:pt x="3286903" y="4079820"/>
                  <a:pt x="3287143" y="4078569"/>
                  <a:pt x="3287336" y="4077269"/>
                </a:cubicBezTo>
                <a:cubicBezTo>
                  <a:pt x="3287576" y="4076018"/>
                  <a:pt x="3287769" y="4074767"/>
                  <a:pt x="3287625" y="4073324"/>
                </a:cubicBezTo>
                <a:cubicBezTo>
                  <a:pt x="3287625" y="4071928"/>
                  <a:pt x="3287480" y="4070532"/>
                  <a:pt x="3286903" y="4068993"/>
                </a:cubicBezTo>
                <a:cubicBezTo>
                  <a:pt x="3286663" y="4068271"/>
                  <a:pt x="3286422" y="4067501"/>
                  <a:pt x="3286086" y="4066827"/>
                </a:cubicBezTo>
                <a:cubicBezTo>
                  <a:pt x="3285653" y="4066154"/>
                  <a:pt x="3285220" y="4065480"/>
                  <a:pt x="3284787" y="4064854"/>
                </a:cubicBezTo>
                <a:cubicBezTo>
                  <a:pt x="3282912" y="4062256"/>
                  <a:pt x="3280315" y="4060716"/>
                  <a:pt x="3277911" y="4059609"/>
                </a:cubicBezTo>
                <a:cubicBezTo>
                  <a:pt x="3275507" y="4058647"/>
                  <a:pt x="3273102" y="4058021"/>
                  <a:pt x="3270794" y="4057733"/>
                </a:cubicBezTo>
                <a:cubicBezTo>
                  <a:pt x="3266178" y="4057059"/>
                  <a:pt x="3261802" y="4057059"/>
                  <a:pt x="3257475" y="4057348"/>
                </a:cubicBezTo>
                <a:cubicBezTo>
                  <a:pt x="3240308" y="4058599"/>
                  <a:pt x="3224103" y="4062737"/>
                  <a:pt x="3207754" y="4067020"/>
                </a:cubicBezTo>
                <a:cubicBezTo>
                  <a:pt x="3191501" y="4071447"/>
                  <a:pt x="3175296" y="4076451"/>
                  <a:pt x="3159043" y="4081696"/>
                </a:cubicBezTo>
                <a:cubicBezTo>
                  <a:pt x="3142838" y="4086942"/>
                  <a:pt x="3126489" y="4092283"/>
                  <a:pt x="3110044" y="4097624"/>
                </a:cubicBezTo>
                <a:cubicBezTo>
                  <a:pt x="3093550" y="4102821"/>
                  <a:pt x="3076864" y="4108066"/>
                  <a:pt x="3060082" y="4113360"/>
                </a:cubicBezTo>
                <a:cubicBezTo>
                  <a:pt x="3026566" y="4123850"/>
                  <a:pt x="2992474" y="4134244"/>
                  <a:pt x="2957515" y="4142569"/>
                </a:cubicBezTo>
                <a:cubicBezTo>
                  <a:pt x="2887599" y="4159122"/>
                  <a:pt x="2817249" y="4164752"/>
                  <a:pt x="2749544" y="4174280"/>
                </a:cubicBezTo>
                <a:cubicBezTo>
                  <a:pt x="2732618" y="4176638"/>
                  <a:pt x="2715836" y="4179381"/>
                  <a:pt x="2699294" y="4182749"/>
                </a:cubicBezTo>
                <a:cubicBezTo>
                  <a:pt x="2682753" y="4186069"/>
                  <a:pt x="2666452" y="4190063"/>
                  <a:pt x="2650680" y="4195356"/>
                </a:cubicBezTo>
                <a:cubicBezTo>
                  <a:pt x="2646737" y="4196704"/>
                  <a:pt x="2642794" y="4198051"/>
                  <a:pt x="2638850" y="4199399"/>
                </a:cubicBezTo>
                <a:cubicBezTo>
                  <a:pt x="2634956" y="4200842"/>
                  <a:pt x="2631205" y="4202574"/>
                  <a:pt x="2627358" y="4204162"/>
                </a:cubicBezTo>
                <a:cubicBezTo>
                  <a:pt x="2619664" y="4207146"/>
                  <a:pt x="2612451" y="4211188"/>
                  <a:pt x="2605143" y="4214845"/>
                </a:cubicBezTo>
                <a:cubicBezTo>
                  <a:pt x="2590957" y="4222929"/>
                  <a:pt x="2577253" y="4231639"/>
                  <a:pt x="2565135" y="4242081"/>
                </a:cubicBezTo>
                <a:cubicBezTo>
                  <a:pt x="2552921" y="4252379"/>
                  <a:pt x="2541717" y="4263495"/>
                  <a:pt x="2531715" y="4275332"/>
                </a:cubicBezTo>
                <a:cubicBezTo>
                  <a:pt x="2521714" y="4287170"/>
                  <a:pt x="2512721" y="4299488"/>
                  <a:pt x="2504258" y="4311759"/>
                </a:cubicBezTo>
                <a:cubicBezTo>
                  <a:pt x="2495747" y="4323982"/>
                  <a:pt x="2487813" y="4336204"/>
                  <a:pt x="2478869" y="4346983"/>
                </a:cubicBezTo>
                <a:cubicBezTo>
                  <a:pt x="2469685" y="4357906"/>
                  <a:pt x="2460212" y="4368541"/>
                  <a:pt x="2451412" y="4379512"/>
                </a:cubicBezTo>
                <a:cubicBezTo>
                  <a:pt x="2442660" y="4390532"/>
                  <a:pt x="2434245" y="4401600"/>
                  <a:pt x="2427850" y="4414207"/>
                </a:cubicBezTo>
                <a:cubicBezTo>
                  <a:pt x="2424821" y="4420511"/>
                  <a:pt x="2421935" y="4427296"/>
                  <a:pt x="2422128" y="4435332"/>
                </a:cubicBezTo>
                <a:cubicBezTo>
                  <a:pt x="2422320" y="4439326"/>
                  <a:pt x="2423811" y="4443705"/>
                  <a:pt x="2426648" y="4446880"/>
                </a:cubicBezTo>
                <a:cubicBezTo>
                  <a:pt x="2429485" y="4450153"/>
                  <a:pt x="2433140" y="4451885"/>
                  <a:pt x="2436554" y="4453088"/>
                </a:cubicBezTo>
                <a:cubicBezTo>
                  <a:pt x="2440064" y="4454387"/>
                  <a:pt x="2443430" y="4454580"/>
                  <a:pt x="2446844" y="4455205"/>
                </a:cubicBezTo>
                <a:cubicBezTo>
                  <a:pt x="2450210" y="4455542"/>
                  <a:pt x="2453432" y="4455638"/>
                  <a:pt x="2456702" y="4455879"/>
                </a:cubicBezTo>
                <a:cubicBezTo>
                  <a:pt x="2463145" y="4455927"/>
                  <a:pt x="2469541" y="4455927"/>
                  <a:pt x="2475792" y="4455590"/>
                </a:cubicBezTo>
                <a:cubicBezTo>
                  <a:pt x="2488294" y="4455109"/>
                  <a:pt x="2500412" y="4454002"/>
                  <a:pt x="2512241" y="4452895"/>
                </a:cubicBezTo>
                <a:cubicBezTo>
                  <a:pt x="2606633" y="4443801"/>
                  <a:pt x="2682080" y="4425226"/>
                  <a:pt x="2734734" y="4434514"/>
                </a:cubicBezTo>
                <a:cubicBezTo>
                  <a:pt x="2745313" y="4435572"/>
                  <a:pt x="2755026" y="4435428"/>
                  <a:pt x="2763730" y="4434658"/>
                </a:cubicBezTo>
                <a:cubicBezTo>
                  <a:pt x="2759498" y="4435621"/>
                  <a:pt x="2755266" y="4436631"/>
                  <a:pt x="2750939" y="4437593"/>
                </a:cubicBezTo>
                <a:close/>
                <a:moveTo>
                  <a:pt x="4414371" y="2360487"/>
                </a:moveTo>
                <a:cubicBezTo>
                  <a:pt x="4414131" y="2363662"/>
                  <a:pt x="4413890" y="2366790"/>
                  <a:pt x="4413698" y="2369966"/>
                </a:cubicBezTo>
                <a:cubicBezTo>
                  <a:pt x="4412496" y="2378820"/>
                  <a:pt x="4411246" y="2387674"/>
                  <a:pt x="4410044" y="2396480"/>
                </a:cubicBezTo>
                <a:cubicBezTo>
                  <a:pt x="4408601" y="2405238"/>
                  <a:pt x="4406293" y="2413755"/>
                  <a:pt x="4404514" y="2422369"/>
                </a:cubicBezTo>
                <a:cubicBezTo>
                  <a:pt x="4403456" y="2426604"/>
                  <a:pt x="4401869" y="2430694"/>
                  <a:pt x="4400571" y="2434832"/>
                </a:cubicBezTo>
                <a:lnTo>
                  <a:pt x="4398503" y="2441040"/>
                </a:lnTo>
                <a:lnTo>
                  <a:pt x="4397493" y="2444119"/>
                </a:lnTo>
                <a:lnTo>
                  <a:pt x="4396147" y="2447055"/>
                </a:lnTo>
                <a:lnTo>
                  <a:pt x="4390761" y="2458796"/>
                </a:lnTo>
                <a:cubicBezTo>
                  <a:pt x="4388982" y="2462694"/>
                  <a:pt x="4386434" y="2466158"/>
                  <a:pt x="4384318" y="2469912"/>
                </a:cubicBezTo>
                <a:cubicBezTo>
                  <a:pt x="4375278" y="2484444"/>
                  <a:pt x="4363593" y="2497003"/>
                  <a:pt x="4351331" y="2509226"/>
                </a:cubicBezTo>
                <a:cubicBezTo>
                  <a:pt x="4339021" y="2521448"/>
                  <a:pt x="4326999" y="2534489"/>
                  <a:pt x="4317142" y="2548973"/>
                </a:cubicBezTo>
                <a:lnTo>
                  <a:pt x="4310025" y="2559993"/>
                </a:lnTo>
                <a:cubicBezTo>
                  <a:pt x="4307861" y="2563746"/>
                  <a:pt x="4305986" y="2567692"/>
                  <a:pt x="4303966" y="2571542"/>
                </a:cubicBezTo>
                <a:cubicBezTo>
                  <a:pt x="4299687" y="2579144"/>
                  <a:pt x="4296850" y="2587277"/>
                  <a:pt x="4293676" y="2595217"/>
                </a:cubicBezTo>
                <a:cubicBezTo>
                  <a:pt x="4290214" y="2603108"/>
                  <a:pt x="4288435" y="2611433"/>
                  <a:pt x="4285886" y="2619469"/>
                </a:cubicBezTo>
                <a:cubicBezTo>
                  <a:pt x="4283338" y="2627601"/>
                  <a:pt x="4281462" y="2635686"/>
                  <a:pt x="4279539" y="2643722"/>
                </a:cubicBezTo>
                <a:cubicBezTo>
                  <a:pt x="4267758" y="2693141"/>
                  <a:pt x="4257467" y="2741454"/>
                  <a:pt x="4247225" y="2788275"/>
                </a:cubicBezTo>
                <a:cubicBezTo>
                  <a:pt x="4251168" y="2754398"/>
                  <a:pt x="4255159" y="2720137"/>
                  <a:pt x="4259198" y="2685538"/>
                </a:cubicBezTo>
                <a:cubicBezTo>
                  <a:pt x="4261410" y="2667301"/>
                  <a:pt x="4263670" y="2649015"/>
                  <a:pt x="4266508" y="2630778"/>
                </a:cubicBezTo>
                <a:cubicBezTo>
                  <a:pt x="4269296" y="2612540"/>
                  <a:pt x="4272422" y="2594158"/>
                  <a:pt x="4277327" y="2576546"/>
                </a:cubicBezTo>
                <a:cubicBezTo>
                  <a:pt x="4278385" y="2572071"/>
                  <a:pt x="4280164" y="2567980"/>
                  <a:pt x="4281558" y="2563650"/>
                </a:cubicBezTo>
                <a:cubicBezTo>
                  <a:pt x="4282424" y="2561581"/>
                  <a:pt x="4283385" y="2559559"/>
                  <a:pt x="4284299" y="2557490"/>
                </a:cubicBezTo>
                <a:cubicBezTo>
                  <a:pt x="4285165" y="2555421"/>
                  <a:pt x="4286126" y="2553400"/>
                  <a:pt x="4287329" y="2551523"/>
                </a:cubicBezTo>
                <a:cubicBezTo>
                  <a:pt x="4291464" y="2543584"/>
                  <a:pt x="4297090" y="2536558"/>
                  <a:pt x="4303486" y="2530254"/>
                </a:cubicBezTo>
                <a:cubicBezTo>
                  <a:pt x="4309881" y="2523951"/>
                  <a:pt x="4317238" y="2518561"/>
                  <a:pt x="4325124" y="2513557"/>
                </a:cubicBezTo>
                <a:cubicBezTo>
                  <a:pt x="4332962" y="2508552"/>
                  <a:pt x="4341329" y="2503885"/>
                  <a:pt x="4349503" y="2498351"/>
                </a:cubicBezTo>
                <a:lnTo>
                  <a:pt x="4355562" y="2493972"/>
                </a:lnTo>
                <a:lnTo>
                  <a:pt x="4361429" y="2489160"/>
                </a:lnTo>
                <a:lnTo>
                  <a:pt x="4366910" y="2483722"/>
                </a:lnTo>
                <a:cubicBezTo>
                  <a:pt x="4368546" y="2481846"/>
                  <a:pt x="4370181" y="2479921"/>
                  <a:pt x="4371767" y="2477996"/>
                </a:cubicBezTo>
                <a:cubicBezTo>
                  <a:pt x="4377970" y="2470248"/>
                  <a:pt x="4383452" y="2461876"/>
                  <a:pt x="4388116" y="2453118"/>
                </a:cubicBezTo>
                <a:cubicBezTo>
                  <a:pt x="4397445" y="2435554"/>
                  <a:pt x="4403841" y="2416643"/>
                  <a:pt x="4408216" y="2397347"/>
                </a:cubicBezTo>
                <a:cubicBezTo>
                  <a:pt x="4411005" y="2385220"/>
                  <a:pt x="4412977" y="2372901"/>
                  <a:pt x="4414371" y="2360487"/>
                </a:cubicBezTo>
                <a:close/>
                <a:moveTo>
                  <a:pt x="4236646" y="2792654"/>
                </a:moveTo>
                <a:cubicBezTo>
                  <a:pt x="4232126" y="2828263"/>
                  <a:pt x="4227462" y="2863438"/>
                  <a:pt x="4219480" y="2897315"/>
                </a:cubicBezTo>
                <a:cubicBezTo>
                  <a:pt x="4210680" y="2934560"/>
                  <a:pt x="4200293" y="2970891"/>
                  <a:pt x="4188849" y="3006307"/>
                </a:cubicBezTo>
                <a:cubicBezTo>
                  <a:pt x="4189378" y="3004479"/>
                  <a:pt x="4189955" y="3002746"/>
                  <a:pt x="4190484" y="3000918"/>
                </a:cubicBezTo>
                <a:cubicBezTo>
                  <a:pt x="4201399" y="2963095"/>
                  <a:pt x="4211545" y="2923059"/>
                  <a:pt x="4220489" y="2881002"/>
                </a:cubicBezTo>
                <a:cubicBezTo>
                  <a:pt x="4226933" y="2850446"/>
                  <a:pt x="4232943" y="2818879"/>
                  <a:pt x="4237368" y="2786109"/>
                </a:cubicBezTo>
                <a:cubicBezTo>
                  <a:pt x="4237127" y="2788275"/>
                  <a:pt x="4236887" y="2790488"/>
                  <a:pt x="4236598" y="2792654"/>
                </a:cubicBezTo>
                <a:close/>
                <a:moveTo>
                  <a:pt x="4202169" y="3003949"/>
                </a:moveTo>
                <a:cubicBezTo>
                  <a:pt x="4217989" y="2949814"/>
                  <a:pt x="4232222" y="2892503"/>
                  <a:pt x="4245830" y="2832545"/>
                </a:cubicBezTo>
                <a:cubicBezTo>
                  <a:pt x="4259631" y="2772636"/>
                  <a:pt x="4272614" y="2710031"/>
                  <a:pt x="4288146" y="2645839"/>
                </a:cubicBezTo>
                <a:cubicBezTo>
                  <a:pt x="4290069" y="2637803"/>
                  <a:pt x="4291993" y="2629719"/>
                  <a:pt x="4294445" y="2621923"/>
                </a:cubicBezTo>
                <a:cubicBezTo>
                  <a:pt x="4296946" y="2614080"/>
                  <a:pt x="4298677" y="2605947"/>
                  <a:pt x="4302091" y="2598392"/>
                </a:cubicBezTo>
                <a:cubicBezTo>
                  <a:pt x="4305168" y="2590742"/>
                  <a:pt x="4307909" y="2582850"/>
                  <a:pt x="4312045" y="2575632"/>
                </a:cubicBezTo>
                <a:cubicBezTo>
                  <a:pt x="4313968" y="2571975"/>
                  <a:pt x="4315747" y="2568221"/>
                  <a:pt x="4317863" y="2564612"/>
                </a:cubicBezTo>
                <a:lnTo>
                  <a:pt x="4324691" y="2554170"/>
                </a:lnTo>
                <a:cubicBezTo>
                  <a:pt x="4334164" y="2540408"/>
                  <a:pt x="4345561" y="2527993"/>
                  <a:pt x="4357918" y="2515818"/>
                </a:cubicBezTo>
                <a:cubicBezTo>
                  <a:pt x="4370228" y="2503596"/>
                  <a:pt x="4382635" y="2490411"/>
                  <a:pt x="4392252" y="2474964"/>
                </a:cubicBezTo>
                <a:cubicBezTo>
                  <a:pt x="4394512" y="2471019"/>
                  <a:pt x="4397205" y="2467313"/>
                  <a:pt x="4399128" y="2463175"/>
                </a:cubicBezTo>
                <a:lnTo>
                  <a:pt x="4404850" y="2450760"/>
                </a:lnTo>
                <a:lnTo>
                  <a:pt x="4405860" y="2448595"/>
                </a:lnTo>
                <a:cubicBezTo>
                  <a:pt x="4400571" y="2462309"/>
                  <a:pt x="4394464" y="2475686"/>
                  <a:pt x="4386770" y="2488197"/>
                </a:cubicBezTo>
                <a:cubicBezTo>
                  <a:pt x="4376816" y="2504751"/>
                  <a:pt x="4365276" y="2520245"/>
                  <a:pt x="4353447" y="2535644"/>
                </a:cubicBezTo>
                <a:cubicBezTo>
                  <a:pt x="4341618" y="2550994"/>
                  <a:pt x="4329981" y="2566777"/>
                  <a:pt x="4320075" y="2583620"/>
                </a:cubicBezTo>
                <a:cubicBezTo>
                  <a:pt x="4309785" y="2600269"/>
                  <a:pt x="4302331" y="2618459"/>
                  <a:pt x="4295888" y="2636793"/>
                </a:cubicBezTo>
                <a:cubicBezTo>
                  <a:pt x="4289925" y="2655319"/>
                  <a:pt x="4285405" y="2674037"/>
                  <a:pt x="4281029" y="2692708"/>
                </a:cubicBezTo>
                <a:cubicBezTo>
                  <a:pt x="4276702" y="2711427"/>
                  <a:pt x="4272662" y="2730097"/>
                  <a:pt x="4268671" y="2748768"/>
                </a:cubicBezTo>
                <a:cubicBezTo>
                  <a:pt x="4260689" y="2786109"/>
                  <a:pt x="4252851" y="2823258"/>
                  <a:pt x="4244099" y="2859974"/>
                </a:cubicBezTo>
                <a:cubicBezTo>
                  <a:pt x="4235300" y="2896689"/>
                  <a:pt x="4225105" y="2932876"/>
                  <a:pt x="4214431" y="2968725"/>
                </a:cubicBezTo>
                <a:cubicBezTo>
                  <a:pt x="4206785" y="2994229"/>
                  <a:pt x="4198610" y="3019444"/>
                  <a:pt x="4189906" y="3044418"/>
                </a:cubicBezTo>
                <a:cubicBezTo>
                  <a:pt x="4194186" y="3031185"/>
                  <a:pt x="4198322" y="3017663"/>
                  <a:pt x="4202313" y="3003997"/>
                </a:cubicBezTo>
                <a:close/>
                <a:moveTo>
                  <a:pt x="4407351" y="2444360"/>
                </a:moveTo>
                <a:lnTo>
                  <a:pt x="4409515" y="2437864"/>
                </a:lnTo>
                <a:cubicBezTo>
                  <a:pt x="4410717" y="2434110"/>
                  <a:pt x="4412063" y="2430405"/>
                  <a:pt x="4413121" y="2426652"/>
                </a:cubicBezTo>
                <a:cubicBezTo>
                  <a:pt x="4412303" y="2429587"/>
                  <a:pt x="4411534" y="2432522"/>
                  <a:pt x="4410621" y="2435458"/>
                </a:cubicBezTo>
                <a:cubicBezTo>
                  <a:pt x="4409563" y="2438537"/>
                  <a:pt x="4408409" y="2441569"/>
                  <a:pt x="4407255" y="2444649"/>
                </a:cubicBezTo>
                <a:lnTo>
                  <a:pt x="4407351" y="2444312"/>
                </a:lnTo>
                <a:close/>
                <a:moveTo>
                  <a:pt x="3767376" y="3841529"/>
                </a:moveTo>
                <a:cubicBezTo>
                  <a:pt x="3765838" y="3836717"/>
                  <a:pt x="3762135" y="3833060"/>
                  <a:pt x="3758481" y="3830942"/>
                </a:cubicBezTo>
                <a:cubicBezTo>
                  <a:pt x="3754778" y="3828777"/>
                  <a:pt x="3750979" y="3827574"/>
                  <a:pt x="3747228" y="3826708"/>
                </a:cubicBezTo>
                <a:cubicBezTo>
                  <a:pt x="3739727" y="3825120"/>
                  <a:pt x="3732418" y="3824975"/>
                  <a:pt x="3725301" y="3825457"/>
                </a:cubicBezTo>
                <a:cubicBezTo>
                  <a:pt x="3718137" y="3825938"/>
                  <a:pt x="3711164" y="3827045"/>
                  <a:pt x="3704336" y="3828536"/>
                </a:cubicBezTo>
                <a:cubicBezTo>
                  <a:pt x="3677071" y="3834648"/>
                  <a:pt x="3651730" y="3846870"/>
                  <a:pt x="3630332" y="3862990"/>
                </a:cubicBezTo>
                <a:cubicBezTo>
                  <a:pt x="3608693" y="3878677"/>
                  <a:pt x="3589651" y="3896819"/>
                  <a:pt x="3572533" y="3915634"/>
                </a:cubicBezTo>
                <a:cubicBezTo>
                  <a:pt x="3555318" y="3934401"/>
                  <a:pt x="3539594" y="3953552"/>
                  <a:pt x="3523870" y="3971790"/>
                </a:cubicBezTo>
                <a:cubicBezTo>
                  <a:pt x="3511416" y="3986419"/>
                  <a:pt x="3498817" y="4000325"/>
                  <a:pt x="3486027" y="4013510"/>
                </a:cubicBezTo>
                <a:cubicBezTo>
                  <a:pt x="3505790" y="3991519"/>
                  <a:pt x="3523197" y="3968422"/>
                  <a:pt x="3539017" y="3945228"/>
                </a:cubicBezTo>
                <a:cubicBezTo>
                  <a:pt x="3555462" y="3921264"/>
                  <a:pt x="3570706" y="3897589"/>
                  <a:pt x="3588065" y="3876801"/>
                </a:cubicBezTo>
                <a:cubicBezTo>
                  <a:pt x="3605328" y="3855917"/>
                  <a:pt x="3624610" y="3837872"/>
                  <a:pt x="3645142" y="3822858"/>
                </a:cubicBezTo>
                <a:cubicBezTo>
                  <a:pt x="3655481" y="3815448"/>
                  <a:pt x="3665771" y="3808278"/>
                  <a:pt x="3676398" y="3802022"/>
                </a:cubicBezTo>
                <a:cubicBezTo>
                  <a:pt x="3681640" y="3798798"/>
                  <a:pt x="3686833" y="3795526"/>
                  <a:pt x="3692074" y="3792975"/>
                </a:cubicBezTo>
                <a:cubicBezTo>
                  <a:pt x="3697364" y="3790329"/>
                  <a:pt x="3702749" y="3788212"/>
                  <a:pt x="3708231" y="3786383"/>
                </a:cubicBezTo>
                <a:cubicBezTo>
                  <a:pt x="3730110" y="3779358"/>
                  <a:pt x="3753672" y="3779839"/>
                  <a:pt x="3772522" y="3788548"/>
                </a:cubicBezTo>
                <a:cubicBezTo>
                  <a:pt x="3781802" y="3792879"/>
                  <a:pt x="3790073" y="3799568"/>
                  <a:pt x="3793583" y="3807989"/>
                </a:cubicBezTo>
                <a:cubicBezTo>
                  <a:pt x="3795170" y="3812175"/>
                  <a:pt x="3795555" y="3816651"/>
                  <a:pt x="3794208" y="3820741"/>
                </a:cubicBezTo>
                <a:cubicBezTo>
                  <a:pt x="3793631" y="3822714"/>
                  <a:pt x="3792381" y="3824975"/>
                  <a:pt x="3791372" y="3827093"/>
                </a:cubicBezTo>
                <a:cubicBezTo>
                  <a:pt x="3790362" y="3829258"/>
                  <a:pt x="3789159" y="3831376"/>
                  <a:pt x="3787909" y="3833445"/>
                </a:cubicBezTo>
                <a:cubicBezTo>
                  <a:pt x="3778100" y="3850142"/>
                  <a:pt x="3766703" y="3864915"/>
                  <a:pt x="3755980" y="3878533"/>
                </a:cubicBezTo>
                <a:cubicBezTo>
                  <a:pt x="3749344" y="3886810"/>
                  <a:pt x="3742901" y="3894605"/>
                  <a:pt x="3736602" y="3901968"/>
                </a:cubicBezTo>
                <a:cubicBezTo>
                  <a:pt x="3737082" y="3901342"/>
                  <a:pt x="3737563" y="3900813"/>
                  <a:pt x="3738044" y="3900187"/>
                </a:cubicBezTo>
                <a:cubicBezTo>
                  <a:pt x="3746556" y="3889168"/>
                  <a:pt x="3754971" y="3878052"/>
                  <a:pt x="3762087" y="3865348"/>
                </a:cubicBezTo>
                <a:lnTo>
                  <a:pt x="3764684" y="3860488"/>
                </a:lnTo>
                <a:lnTo>
                  <a:pt x="3766896" y="3855051"/>
                </a:lnTo>
                <a:cubicBezTo>
                  <a:pt x="3768290" y="3851249"/>
                  <a:pt x="3769012" y="3846293"/>
                  <a:pt x="3767425" y="3841481"/>
                </a:cubicBezTo>
                <a:close/>
                <a:moveTo>
                  <a:pt x="3090232" y="4296986"/>
                </a:moveTo>
                <a:cubicBezTo>
                  <a:pt x="3093406" y="4300836"/>
                  <a:pt x="3097060" y="4302183"/>
                  <a:pt x="3100234" y="4303434"/>
                </a:cubicBezTo>
                <a:cubicBezTo>
                  <a:pt x="3103456" y="4304589"/>
                  <a:pt x="3106533" y="4305311"/>
                  <a:pt x="3109466" y="4306033"/>
                </a:cubicBezTo>
                <a:cubicBezTo>
                  <a:pt x="3110909" y="4306418"/>
                  <a:pt x="3112352" y="4306755"/>
                  <a:pt x="3113650" y="4307140"/>
                </a:cubicBezTo>
                <a:cubicBezTo>
                  <a:pt x="3114323" y="4307332"/>
                  <a:pt x="3114948" y="4307524"/>
                  <a:pt x="3115477" y="4307717"/>
                </a:cubicBezTo>
                <a:lnTo>
                  <a:pt x="3116198" y="4307958"/>
                </a:lnTo>
                <a:lnTo>
                  <a:pt x="3116198" y="4308150"/>
                </a:lnTo>
                <a:cubicBezTo>
                  <a:pt x="3115429" y="4309064"/>
                  <a:pt x="3113169" y="4311278"/>
                  <a:pt x="3110957" y="4312818"/>
                </a:cubicBezTo>
                <a:cubicBezTo>
                  <a:pt x="3106437" y="4316186"/>
                  <a:pt x="3101629" y="4319362"/>
                  <a:pt x="3096627" y="4322201"/>
                </a:cubicBezTo>
                <a:cubicBezTo>
                  <a:pt x="3096532" y="4322249"/>
                  <a:pt x="3096435" y="4322297"/>
                  <a:pt x="3096339" y="4322345"/>
                </a:cubicBezTo>
                <a:cubicBezTo>
                  <a:pt x="3096532" y="4322009"/>
                  <a:pt x="3096772" y="4321768"/>
                  <a:pt x="3096964" y="4321383"/>
                </a:cubicBezTo>
                <a:cubicBezTo>
                  <a:pt x="3097637" y="4320325"/>
                  <a:pt x="3098311" y="4318207"/>
                  <a:pt x="3098311" y="4316523"/>
                </a:cubicBezTo>
                <a:cubicBezTo>
                  <a:pt x="3098407" y="4314742"/>
                  <a:pt x="3097926" y="4312962"/>
                  <a:pt x="3097012" y="4311422"/>
                </a:cubicBezTo>
                <a:cubicBezTo>
                  <a:pt x="3096532" y="4310652"/>
                  <a:pt x="3096002" y="4309930"/>
                  <a:pt x="3095377" y="4309353"/>
                </a:cubicBezTo>
                <a:cubicBezTo>
                  <a:pt x="3094752" y="4308776"/>
                  <a:pt x="3094127" y="4308054"/>
                  <a:pt x="3093646" y="4307813"/>
                </a:cubicBezTo>
                <a:cubicBezTo>
                  <a:pt x="3092540" y="4306995"/>
                  <a:pt x="3091579" y="4306466"/>
                  <a:pt x="3090569" y="4305937"/>
                </a:cubicBezTo>
                <a:cubicBezTo>
                  <a:pt x="3086674" y="4304012"/>
                  <a:pt x="3083164" y="4302857"/>
                  <a:pt x="3079990" y="4301461"/>
                </a:cubicBezTo>
                <a:cubicBezTo>
                  <a:pt x="3076864" y="4300114"/>
                  <a:pt x="3074123" y="4298382"/>
                  <a:pt x="3073258" y="4296890"/>
                </a:cubicBezTo>
                <a:cubicBezTo>
                  <a:pt x="3072873" y="4296168"/>
                  <a:pt x="3072633" y="4295543"/>
                  <a:pt x="3072729" y="4294532"/>
                </a:cubicBezTo>
                <a:cubicBezTo>
                  <a:pt x="3072729" y="4294051"/>
                  <a:pt x="3072969" y="4293425"/>
                  <a:pt x="3073017" y="4292896"/>
                </a:cubicBezTo>
                <a:lnTo>
                  <a:pt x="3073787" y="4290971"/>
                </a:lnTo>
                <a:cubicBezTo>
                  <a:pt x="3076624" y="4285534"/>
                  <a:pt x="3081528" y="4280000"/>
                  <a:pt x="3087107" y="4275284"/>
                </a:cubicBezTo>
                <a:lnTo>
                  <a:pt x="3095185" y="4267922"/>
                </a:lnTo>
                <a:lnTo>
                  <a:pt x="3104033" y="4261185"/>
                </a:lnTo>
                <a:cubicBezTo>
                  <a:pt x="3107014" y="4258971"/>
                  <a:pt x="3109851" y="4256613"/>
                  <a:pt x="3112977" y="4254544"/>
                </a:cubicBezTo>
                <a:lnTo>
                  <a:pt x="3114708" y="4253389"/>
                </a:lnTo>
                <a:cubicBezTo>
                  <a:pt x="3114708" y="4253389"/>
                  <a:pt x="3114419" y="4253630"/>
                  <a:pt x="3114275" y="4253726"/>
                </a:cubicBezTo>
                <a:cubicBezTo>
                  <a:pt x="3109563" y="4258057"/>
                  <a:pt x="3104610" y="4261907"/>
                  <a:pt x="3100234" y="4266670"/>
                </a:cubicBezTo>
                <a:cubicBezTo>
                  <a:pt x="3095906" y="4271482"/>
                  <a:pt x="3091434" y="4276150"/>
                  <a:pt x="3088549" y="4283464"/>
                </a:cubicBezTo>
                <a:cubicBezTo>
                  <a:pt x="3088261" y="4284475"/>
                  <a:pt x="3087972" y="4285437"/>
                  <a:pt x="3087732" y="4286496"/>
                </a:cubicBezTo>
                <a:cubicBezTo>
                  <a:pt x="3087635" y="4287651"/>
                  <a:pt x="3087491" y="4288806"/>
                  <a:pt x="3087539" y="4290009"/>
                </a:cubicBezTo>
                <a:cubicBezTo>
                  <a:pt x="3087780" y="4292511"/>
                  <a:pt x="3088694" y="4295206"/>
                  <a:pt x="3090280" y="4297034"/>
                </a:cubicBezTo>
                <a:close/>
                <a:moveTo>
                  <a:pt x="2905390" y="4332740"/>
                </a:moveTo>
                <a:cubicBezTo>
                  <a:pt x="2906208" y="4336156"/>
                  <a:pt x="2908275" y="4338995"/>
                  <a:pt x="2910487" y="4341064"/>
                </a:cubicBezTo>
                <a:cubicBezTo>
                  <a:pt x="2912747" y="4343182"/>
                  <a:pt x="2915248" y="4344673"/>
                  <a:pt x="2917748" y="4345924"/>
                </a:cubicBezTo>
                <a:cubicBezTo>
                  <a:pt x="2922749" y="4348427"/>
                  <a:pt x="2927798" y="4349966"/>
                  <a:pt x="2932703" y="4351362"/>
                </a:cubicBezTo>
                <a:cubicBezTo>
                  <a:pt x="2942561" y="4354105"/>
                  <a:pt x="2952274" y="4355645"/>
                  <a:pt x="2960833" y="4358436"/>
                </a:cubicBezTo>
                <a:cubicBezTo>
                  <a:pt x="2965401" y="4360072"/>
                  <a:pt x="2967806" y="4361323"/>
                  <a:pt x="2966315" y="4363488"/>
                </a:cubicBezTo>
                <a:cubicBezTo>
                  <a:pt x="2966123" y="4363825"/>
                  <a:pt x="2965546" y="4364451"/>
                  <a:pt x="2964776" y="4365173"/>
                </a:cubicBezTo>
                <a:cubicBezTo>
                  <a:pt x="2964055" y="4365846"/>
                  <a:pt x="2963237" y="4366472"/>
                  <a:pt x="2962420" y="4367097"/>
                </a:cubicBezTo>
                <a:cubicBezTo>
                  <a:pt x="2960689" y="4368252"/>
                  <a:pt x="2959006" y="4369407"/>
                  <a:pt x="2957083" y="4370417"/>
                </a:cubicBezTo>
                <a:cubicBezTo>
                  <a:pt x="2951312" y="4373642"/>
                  <a:pt x="2945446" y="4376432"/>
                  <a:pt x="2939675" y="4379079"/>
                </a:cubicBezTo>
                <a:cubicBezTo>
                  <a:pt x="2940060" y="4378694"/>
                  <a:pt x="2940541" y="4378357"/>
                  <a:pt x="2940877" y="4377924"/>
                </a:cubicBezTo>
                <a:cubicBezTo>
                  <a:pt x="2942513" y="4376144"/>
                  <a:pt x="2943522" y="4374171"/>
                  <a:pt x="2943667" y="4372054"/>
                </a:cubicBezTo>
                <a:cubicBezTo>
                  <a:pt x="2943715" y="4367386"/>
                  <a:pt x="2939050" y="4364980"/>
                  <a:pt x="2934386" y="4364066"/>
                </a:cubicBezTo>
                <a:cubicBezTo>
                  <a:pt x="2932270" y="4363633"/>
                  <a:pt x="2931164" y="4363536"/>
                  <a:pt x="2929626" y="4363344"/>
                </a:cubicBezTo>
                <a:lnTo>
                  <a:pt x="2925298" y="4363007"/>
                </a:lnTo>
                <a:cubicBezTo>
                  <a:pt x="2922461" y="4362815"/>
                  <a:pt x="2919672" y="4362718"/>
                  <a:pt x="2916883" y="4362670"/>
                </a:cubicBezTo>
                <a:cubicBezTo>
                  <a:pt x="2911401" y="4362622"/>
                  <a:pt x="2905967" y="4362574"/>
                  <a:pt x="2900582" y="4362478"/>
                </a:cubicBezTo>
                <a:cubicBezTo>
                  <a:pt x="2890003" y="4362285"/>
                  <a:pt x="2879328" y="4362381"/>
                  <a:pt x="2870192" y="4360361"/>
                </a:cubicBezTo>
                <a:cubicBezTo>
                  <a:pt x="2868028" y="4359879"/>
                  <a:pt x="2865767" y="4358917"/>
                  <a:pt x="2865142" y="4358243"/>
                </a:cubicBezTo>
                <a:lnTo>
                  <a:pt x="2864806" y="4357666"/>
                </a:lnTo>
                <a:lnTo>
                  <a:pt x="2864325" y="4356318"/>
                </a:lnTo>
                <a:cubicBezTo>
                  <a:pt x="2863892" y="4355404"/>
                  <a:pt x="2863844" y="4354394"/>
                  <a:pt x="2863700" y="4353431"/>
                </a:cubicBezTo>
                <a:cubicBezTo>
                  <a:pt x="2863267" y="4349485"/>
                  <a:pt x="2864613" y="4345203"/>
                  <a:pt x="2866633" y="4341257"/>
                </a:cubicBezTo>
                <a:cubicBezTo>
                  <a:pt x="2870769" y="4333269"/>
                  <a:pt x="2877308" y="4326436"/>
                  <a:pt x="2883800" y="4320276"/>
                </a:cubicBezTo>
                <a:cubicBezTo>
                  <a:pt x="2897023" y="4307909"/>
                  <a:pt x="2911257" y="4297949"/>
                  <a:pt x="2924625" y="4288902"/>
                </a:cubicBezTo>
                <a:cubicBezTo>
                  <a:pt x="2951601" y="4271050"/>
                  <a:pt x="2975980" y="4257239"/>
                  <a:pt x="2995888" y="4245979"/>
                </a:cubicBezTo>
                <a:cubicBezTo>
                  <a:pt x="3015892" y="4234863"/>
                  <a:pt x="3031423" y="4226250"/>
                  <a:pt x="3041954" y="4220427"/>
                </a:cubicBezTo>
                <a:cubicBezTo>
                  <a:pt x="3052485" y="4214556"/>
                  <a:pt x="3057967" y="4211380"/>
                  <a:pt x="3057774" y="4211044"/>
                </a:cubicBezTo>
                <a:cubicBezTo>
                  <a:pt x="3057678" y="4210899"/>
                  <a:pt x="3056187" y="4211429"/>
                  <a:pt x="3053350" y="4212680"/>
                </a:cubicBezTo>
                <a:cubicBezTo>
                  <a:pt x="3050513" y="4213931"/>
                  <a:pt x="3046378" y="4215904"/>
                  <a:pt x="3040944" y="4218502"/>
                </a:cubicBezTo>
                <a:cubicBezTo>
                  <a:pt x="3030077" y="4223747"/>
                  <a:pt x="3014161" y="4231639"/>
                  <a:pt x="2993868" y="4242322"/>
                </a:cubicBezTo>
                <a:cubicBezTo>
                  <a:pt x="2973624" y="4253053"/>
                  <a:pt x="2948908" y="4266334"/>
                  <a:pt x="2921307" y="4283898"/>
                </a:cubicBezTo>
                <a:cubicBezTo>
                  <a:pt x="2907602" y="4292800"/>
                  <a:pt x="2893080" y="4302616"/>
                  <a:pt x="2879135" y="4315272"/>
                </a:cubicBezTo>
                <a:cubicBezTo>
                  <a:pt x="2872259" y="4321672"/>
                  <a:pt x="2865287" y="4328601"/>
                  <a:pt x="2860238" y="4337936"/>
                </a:cubicBezTo>
                <a:cubicBezTo>
                  <a:pt x="2857833" y="4342556"/>
                  <a:pt x="2855862" y="4348042"/>
                  <a:pt x="2856343" y="4354105"/>
                </a:cubicBezTo>
                <a:cubicBezTo>
                  <a:pt x="2856535" y="4355597"/>
                  <a:pt x="2856631" y="4357136"/>
                  <a:pt x="2857208" y="4358532"/>
                </a:cubicBezTo>
                <a:lnTo>
                  <a:pt x="2857978" y="4360745"/>
                </a:lnTo>
                <a:cubicBezTo>
                  <a:pt x="2858266" y="4361564"/>
                  <a:pt x="2858939" y="4362574"/>
                  <a:pt x="2859661" y="4363344"/>
                </a:cubicBezTo>
                <a:cubicBezTo>
                  <a:pt x="2862690" y="4366231"/>
                  <a:pt x="2865527" y="4366857"/>
                  <a:pt x="2868268" y="4367675"/>
                </a:cubicBezTo>
                <a:cubicBezTo>
                  <a:pt x="2879135" y="4370177"/>
                  <a:pt x="2889618" y="4370033"/>
                  <a:pt x="2900389" y="4370369"/>
                </a:cubicBezTo>
                <a:cubicBezTo>
                  <a:pt x="2905727" y="4370466"/>
                  <a:pt x="2911112" y="4370610"/>
                  <a:pt x="2916594" y="4370706"/>
                </a:cubicBezTo>
                <a:cubicBezTo>
                  <a:pt x="2919287" y="4370803"/>
                  <a:pt x="2921980" y="4370899"/>
                  <a:pt x="2924673" y="4371091"/>
                </a:cubicBezTo>
                <a:lnTo>
                  <a:pt x="2928616" y="4371476"/>
                </a:lnTo>
                <a:cubicBezTo>
                  <a:pt x="2929818" y="4371620"/>
                  <a:pt x="2931453" y="4371861"/>
                  <a:pt x="2932078" y="4372006"/>
                </a:cubicBezTo>
                <a:cubicBezTo>
                  <a:pt x="2932799" y="4372198"/>
                  <a:pt x="2933569" y="4372294"/>
                  <a:pt x="2933520" y="4373016"/>
                </a:cubicBezTo>
                <a:lnTo>
                  <a:pt x="2932992" y="4373738"/>
                </a:lnTo>
                <a:lnTo>
                  <a:pt x="2932655" y="4374026"/>
                </a:lnTo>
                <a:lnTo>
                  <a:pt x="2931260" y="4375037"/>
                </a:lnTo>
                <a:cubicBezTo>
                  <a:pt x="2926933" y="4377972"/>
                  <a:pt x="2921836" y="4380715"/>
                  <a:pt x="2916835" y="4382977"/>
                </a:cubicBezTo>
                <a:cubicBezTo>
                  <a:pt x="2906496" y="4387645"/>
                  <a:pt x="2895437" y="4391639"/>
                  <a:pt x="2884136" y="4395536"/>
                </a:cubicBezTo>
                <a:cubicBezTo>
                  <a:pt x="2861536" y="4403139"/>
                  <a:pt x="2837686" y="4410453"/>
                  <a:pt x="2812969" y="4414784"/>
                </a:cubicBezTo>
                <a:cubicBezTo>
                  <a:pt x="2806862" y="4415651"/>
                  <a:pt x="2800563" y="4416565"/>
                  <a:pt x="2794889" y="4416036"/>
                </a:cubicBezTo>
                <a:cubicBezTo>
                  <a:pt x="2792100" y="4415651"/>
                  <a:pt x="2789552" y="4415217"/>
                  <a:pt x="2787147" y="4413918"/>
                </a:cubicBezTo>
                <a:cubicBezTo>
                  <a:pt x="2784695" y="4412715"/>
                  <a:pt x="2781906" y="4410790"/>
                  <a:pt x="2778492" y="4409154"/>
                </a:cubicBezTo>
                <a:cubicBezTo>
                  <a:pt x="2771663" y="4405930"/>
                  <a:pt x="2764258" y="4404824"/>
                  <a:pt x="2757382" y="4404487"/>
                </a:cubicBezTo>
                <a:cubicBezTo>
                  <a:pt x="2753872" y="4404198"/>
                  <a:pt x="2750458" y="4404390"/>
                  <a:pt x="2746948" y="4404294"/>
                </a:cubicBezTo>
                <a:cubicBezTo>
                  <a:pt x="2743533" y="4404438"/>
                  <a:pt x="2740119" y="4404583"/>
                  <a:pt x="2736705" y="4404679"/>
                </a:cubicBezTo>
                <a:cubicBezTo>
                  <a:pt x="2709393" y="4406267"/>
                  <a:pt x="2681839" y="4409780"/>
                  <a:pt x="2653709" y="4413100"/>
                </a:cubicBezTo>
                <a:cubicBezTo>
                  <a:pt x="2625627" y="4416324"/>
                  <a:pt x="2596872" y="4420078"/>
                  <a:pt x="2567924" y="4420848"/>
                </a:cubicBezTo>
                <a:cubicBezTo>
                  <a:pt x="2553594" y="4421184"/>
                  <a:pt x="2538928" y="4420126"/>
                  <a:pt x="2525705" y="4415795"/>
                </a:cubicBezTo>
                <a:cubicBezTo>
                  <a:pt x="2519117" y="4413630"/>
                  <a:pt x="2513106" y="4410261"/>
                  <a:pt x="2508778" y="4405641"/>
                </a:cubicBezTo>
                <a:cubicBezTo>
                  <a:pt x="2504451" y="4401022"/>
                  <a:pt x="2502239" y="4395007"/>
                  <a:pt x="2502047" y="4388414"/>
                </a:cubicBezTo>
                <a:cubicBezTo>
                  <a:pt x="2501902" y="4381822"/>
                  <a:pt x="2503537" y="4374893"/>
                  <a:pt x="2506182" y="4368204"/>
                </a:cubicBezTo>
                <a:cubicBezTo>
                  <a:pt x="2508778" y="4361467"/>
                  <a:pt x="2512289" y="4354971"/>
                  <a:pt x="2516280" y="4348715"/>
                </a:cubicBezTo>
                <a:cubicBezTo>
                  <a:pt x="2524310" y="4336156"/>
                  <a:pt x="2534168" y="4324463"/>
                  <a:pt x="2544843" y="4313443"/>
                </a:cubicBezTo>
                <a:cubicBezTo>
                  <a:pt x="2566337" y="4291501"/>
                  <a:pt x="2590621" y="4272685"/>
                  <a:pt x="2616010" y="4256613"/>
                </a:cubicBezTo>
                <a:cubicBezTo>
                  <a:pt x="2641447" y="4240638"/>
                  <a:pt x="2668135" y="4227404"/>
                  <a:pt x="2695592" y="4218262"/>
                </a:cubicBezTo>
                <a:cubicBezTo>
                  <a:pt x="2723001" y="4209263"/>
                  <a:pt x="2751612" y="4204836"/>
                  <a:pt x="2779454" y="4200265"/>
                </a:cubicBezTo>
                <a:cubicBezTo>
                  <a:pt x="2807439" y="4195886"/>
                  <a:pt x="2834848" y="4191651"/>
                  <a:pt x="2861584" y="4187465"/>
                </a:cubicBezTo>
                <a:cubicBezTo>
                  <a:pt x="2915104" y="4178755"/>
                  <a:pt x="2965738" y="4168601"/>
                  <a:pt x="3012477" y="4156427"/>
                </a:cubicBezTo>
                <a:cubicBezTo>
                  <a:pt x="3059169" y="4144108"/>
                  <a:pt x="3101869" y="4130250"/>
                  <a:pt x="3141203" y="4119375"/>
                </a:cubicBezTo>
                <a:cubicBezTo>
                  <a:pt x="3151013" y="4116680"/>
                  <a:pt x="3160630" y="4114129"/>
                  <a:pt x="3170055" y="4112012"/>
                </a:cubicBezTo>
                <a:cubicBezTo>
                  <a:pt x="3179431" y="4109943"/>
                  <a:pt x="3188712" y="4108066"/>
                  <a:pt x="3197464" y="4107633"/>
                </a:cubicBezTo>
                <a:cubicBezTo>
                  <a:pt x="3201695" y="4107441"/>
                  <a:pt x="3206407" y="4107730"/>
                  <a:pt x="3208620" y="4109221"/>
                </a:cubicBezTo>
                <a:cubicBezTo>
                  <a:pt x="3209485" y="4109943"/>
                  <a:pt x="3209822" y="4110376"/>
                  <a:pt x="3209581" y="4112012"/>
                </a:cubicBezTo>
                <a:cubicBezTo>
                  <a:pt x="3209341" y="4113552"/>
                  <a:pt x="3208764" y="4115284"/>
                  <a:pt x="3207754" y="4116920"/>
                </a:cubicBezTo>
                <a:cubicBezTo>
                  <a:pt x="3205879" y="4120241"/>
                  <a:pt x="3203138" y="4123320"/>
                  <a:pt x="3200252" y="4126159"/>
                </a:cubicBezTo>
                <a:cubicBezTo>
                  <a:pt x="3197415" y="4128999"/>
                  <a:pt x="3194242" y="4131597"/>
                  <a:pt x="3191164" y="4134099"/>
                </a:cubicBezTo>
                <a:cubicBezTo>
                  <a:pt x="3178566" y="4143964"/>
                  <a:pt x="3165631" y="4151807"/>
                  <a:pt x="3153753" y="4158881"/>
                </a:cubicBezTo>
                <a:cubicBezTo>
                  <a:pt x="3141780" y="4165907"/>
                  <a:pt x="3130624" y="4171970"/>
                  <a:pt x="3120574" y="4177359"/>
                </a:cubicBezTo>
                <a:cubicBezTo>
                  <a:pt x="3100282" y="4187946"/>
                  <a:pt x="3084558" y="4196175"/>
                  <a:pt x="3073883" y="4201756"/>
                </a:cubicBezTo>
                <a:cubicBezTo>
                  <a:pt x="3068546" y="4204547"/>
                  <a:pt x="3064506" y="4206761"/>
                  <a:pt x="3061813" y="4208301"/>
                </a:cubicBezTo>
                <a:cubicBezTo>
                  <a:pt x="3059121" y="4209841"/>
                  <a:pt x="3057822" y="4210755"/>
                  <a:pt x="3057918" y="4210899"/>
                </a:cubicBezTo>
                <a:cubicBezTo>
                  <a:pt x="3058111" y="4211236"/>
                  <a:pt x="3063881" y="4208638"/>
                  <a:pt x="3074845" y="4203681"/>
                </a:cubicBezTo>
                <a:cubicBezTo>
                  <a:pt x="3085808" y="4198677"/>
                  <a:pt x="3101965" y="4191266"/>
                  <a:pt x="3122498" y="4181065"/>
                </a:cubicBezTo>
                <a:cubicBezTo>
                  <a:pt x="3132740" y="4175916"/>
                  <a:pt x="3144088" y="4170093"/>
                  <a:pt x="3156302" y="4163308"/>
                </a:cubicBezTo>
                <a:cubicBezTo>
                  <a:pt x="3168468" y="4156427"/>
                  <a:pt x="3181643" y="4148776"/>
                  <a:pt x="3194867" y="4138815"/>
                </a:cubicBezTo>
                <a:cubicBezTo>
                  <a:pt x="3198137" y="4136265"/>
                  <a:pt x="3201455" y="4133618"/>
                  <a:pt x="3204580" y="4130587"/>
                </a:cubicBezTo>
                <a:cubicBezTo>
                  <a:pt x="3207754" y="4127603"/>
                  <a:pt x="3210831" y="4124283"/>
                  <a:pt x="3213332" y="4120096"/>
                </a:cubicBezTo>
                <a:cubicBezTo>
                  <a:pt x="3214582" y="4118027"/>
                  <a:pt x="3215640" y="4115621"/>
                  <a:pt x="3216073" y="4112830"/>
                </a:cubicBezTo>
                <a:cubicBezTo>
                  <a:pt x="3216794" y="4110184"/>
                  <a:pt x="3215496" y="4105708"/>
                  <a:pt x="3212562" y="4103880"/>
                </a:cubicBezTo>
                <a:cubicBezTo>
                  <a:pt x="3209870" y="4102003"/>
                  <a:pt x="3207177" y="4101522"/>
                  <a:pt x="3204676" y="4101137"/>
                </a:cubicBezTo>
                <a:cubicBezTo>
                  <a:pt x="3202176" y="4100800"/>
                  <a:pt x="3199723" y="4100800"/>
                  <a:pt x="3197271" y="4100848"/>
                </a:cubicBezTo>
                <a:cubicBezTo>
                  <a:pt x="3187606" y="4101233"/>
                  <a:pt x="3178181" y="4103014"/>
                  <a:pt x="3168564" y="4104987"/>
                </a:cubicBezTo>
                <a:cubicBezTo>
                  <a:pt x="3158947" y="4107008"/>
                  <a:pt x="3149233" y="4109462"/>
                  <a:pt x="3139280" y="4112060"/>
                </a:cubicBezTo>
                <a:cubicBezTo>
                  <a:pt x="3099561" y="4122550"/>
                  <a:pt x="3056813" y="4135976"/>
                  <a:pt x="3010313" y="4147813"/>
                </a:cubicBezTo>
                <a:cubicBezTo>
                  <a:pt x="2963815" y="4159555"/>
                  <a:pt x="2913421" y="4169323"/>
                  <a:pt x="2860093" y="4177744"/>
                </a:cubicBezTo>
                <a:cubicBezTo>
                  <a:pt x="2833358" y="4181787"/>
                  <a:pt x="2805949" y="4185925"/>
                  <a:pt x="2777915" y="4190159"/>
                </a:cubicBezTo>
                <a:cubicBezTo>
                  <a:pt x="2749929" y="4194683"/>
                  <a:pt x="2721029" y="4198965"/>
                  <a:pt x="2692370" y="4208301"/>
                </a:cubicBezTo>
                <a:cubicBezTo>
                  <a:pt x="2663903" y="4217732"/>
                  <a:pt x="2636494" y="4231254"/>
                  <a:pt x="2610432" y="4247567"/>
                </a:cubicBezTo>
                <a:cubicBezTo>
                  <a:pt x="2584418" y="4263976"/>
                  <a:pt x="2559509" y="4283224"/>
                  <a:pt x="2537293" y="4305937"/>
                </a:cubicBezTo>
                <a:cubicBezTo>
                  <a:pt x="2526234" y="4317341"/>
                  <a:pt x="2515943" y="4329467"/>
                  <a:pt x="2507336" y="4342941"/>
                </a:cubicBezTo>
                <a:cubicBezTo>
                  <a:pt x="2503056" y="4349678"/>
                  <a:pt x="2499209" y="4356703"/>
                  <a:pt x="2496276" y="4364306"/>
                </a:cubicBezTo>
                <a:cubicBezTo>
                  <a:pt x="2493343" y="4371861"/>
                  <a:pt x="2491275" y="4380042"/>
                  <a:pt x="2491468" y="4388703"/>
                </a:cubicBezTo>
                <a:cubicBezTo>
                  <a:pt x="2491660" y="4397317"/>
                  <a:pt x="2494930" y="4406412"/>
                  <a:pt x="2501085" y="4412811"/>
                </a:cubicBezTo>
                <a:cubicBezTo>
                  <a:pt x="2507144" y="4419260"/>
                  <a:pt x="2514789" y="4423205"/>
                  <a:pt x="2522387" y="4425756"/>
                </a:cubicBezTo>
                <a:cubicBezTo>
                  <a:pt x="2537678" y="4430712"/>
                  <a:pt x="2553162" y="4431626"/>
                  <a:pt x="2568212" y="4431290"/>
                </a:cubicBezTo>
                <a:cubicBezTo>
                  <a:pt x="2598170" y="4430375"/>
                  <a:pt x="2626877" y="4426526"/>
                  <a:pt x="2655008" y="4423205"/>
                </a:cubicBezTo>
                <a:cubicBezTo>
                  <a:pt x="2683138" y="4419789"/>
                  <a:pt x="2710595" y="4416228"/>
                  <a:pt x="2737330" y="4414496"/>
                </a:cubicBezTo>
                <a:cubicBezTo>
                  <a:pt x="2740648" y="4414351"/>
                  <a:pt x="2743966" y="4414207"/>
                  <a:pt x="2747284" y="4414062"/>
                </a:cubicBezTo>
                <a:cubicBezTo>
                  <a:pt x="2750506" y="4414111"/>
                  <a:pt x="2753776" y="4413918"/>
                  <a:pt x="2756949" y="4414159"/>
                </a:cubicBezTo>
                <a:cubicBezTo>
                  <a:pt x="2763345" y="4414399"/>
                  <a:pt x="2769355" y="4415410"/>
                  <a:pt x="2774501" y="4417768"/>
                </a:cubicBezTo>
                <a:cubicBezTo>
                  <a:pt x="2777049" y="4418923"/>
                  <a:pt x="2779694" y="4420751"/>
                  <a:pt x="2783108" y="4422435"/>
                </a:cubicBezTo>
                <a:cubicBezTo>
                  <a:pt x="2786522" y="4424216"/>
                  <a:pt x="2790513" y="4425034"/>
                  <a:pt x="2794168" y="4425419"/>
                </a:cubicBezTo>
                <a:cubicBezTo>
                  <a:pt x="2796716" y="4425611"/>
                  <a:pt x="2799169" y="4425563"/>
                  <a:pt x="2801573" y="4425419"/>
                </a:cubicBezTo>
                <a:cubicBezTo>
                  <a:pt x="2798640" y="4426141"/>
                  <a:pt x="2795610" y="4426910"/>
                  <a:pt x="2792629" y="4427632"/>
                </a:cubicBezTo>
                <a:cubicBezTo>
                  <a:pt x="2779021" y="4429846"/>
                  <a:pt x="2759594" y="4433311"/>
                  <a:pt x="2735022" y="4430279"/>
                </a:cubicBezTo>
                <a:cubicBezTo>
                  <a:pt x="2728483" y="4429509"/>
                  <a:pt x="2721510" y="4428595"/>
                  <a:pt x="2714153" y="4427873"/>
                </a:cubicBezTo>
                <a:cubicBezTo>
                  <a:pt x="2706748" y="4427296"/>
                  <a:pt x="2698958" y="4426814"/>
                  <a:pt x="2690831" y="4426959"/>
                </a:cubicBezTo>
                <a:cubicBezTo>
                  <a:pt x="2674579" y="4427055"/>
                  <a:pt x="2656979" y="4428595"/>
                  <a:pt x="2638273" y="4430760"/>
                </a:cubicBezTo>
                <a:cubicBezTo>
                  <a:pt x="2600863" y="4434995"/>
                  <a:pt x="2558403" y="4440962"/>
                  <a:pt x="2511375" y="4445245"/>
                </a:cubicBezTo>
                <a:cubicBezTo>
                  <a:pt x="2499642" y="4446255"/>
                  <a:pt x="2487573" y="4447217"/>
                  <a:pt x="2475311" y="4447554"/>
                </a:cubicBezTo>
                <a:cubicBezTo>
                  <a:pt x="2469156" y="4447843"/>
                  <a:pt x="2463001" y="4447747"/>
                  <a:pt x="2456798" y="4447651"/>
                </a:cubicBezTo>
                <a:cubicBezTo>
                  <a:pt x="2453768" y="4447410"/>
                  <a:pt x="2450643" y="4447314"/>
                  <a:pt x="2447613" y="4446929"/>
                </a:cubicBezTo>
                <a:cubicBezTo>
                  <a:pt x="2444728" y="4446351"/>
                  <a:pt x="2441603" y="4446159"/>
                  <a:pt x="2439054" y="4445100"/>
                </a:cubicBezTo>
                <a:cubicBezTo>
                  <a:pt x="2433572" y="4443320"/>
                  <a:pt x="2430447" y="4439855"/>
                  <a:pt x="2430254" y="4434754"/>
                </a:cubicBezTo>
                <a:cubicBezTo>
                  <a:pt x="2430110" y="4429509"/>
                  <a:pt x="2432370" y="4423494"/>
                  <a:pt x="2435255" y="4417816"/>
                </a:cubicBezTo>
                <a:cubicBezTo>
                  <a:pt x="2441122" y="4406412"/>
                  <a:pt x="2449393" y="4395585"/>
                  <a:pt x="2458048" y="4384902"/>
                </a:cubicBezTo>
                <a:cubicBezTo>
                  <a:pt x="2466751" y="4374171"/>
                  <a:pt x="2476176" y="4363729"/>
                  <a:pt x="2485601" y="4352661"/>
                </a:cubicBezTo>
                <a:cubicBezTo>
                  <a:pt x="2495122" y="4341353"/>
                  <a:pt x="2503201" y="4328986"/>
                  <a:pt x="2511712" y="4316956"/>
                </a:cubicBezTo>
                <a:cubicBezTo>
                  <a:pt x="2520175" y="4304830"/>
                  <a:pt x="2529023" y="4292848"/>
                  <a:pt x="2538784" y="4281443"/>
                </a:cubicBezTo>
                <a:cubicBezTo>
                  <a:pt x="2548545" y="4270039"/>
                  <a:pt x="2559413" y="4259356"/>
                  <a:pt x="2571194" y="4249540"/>
                </a:cubicBezTo>
                <a:cubicBezTo>
                  <a:pt x="2582879" y="4239531"/>
                  <a:pt x="2596102" y="4231254"/>
                  <a:pt x="2609710" y="4223507"/>
                </a:cubicBezTo>
                <a:cubicBezTo>
                  <a:pt x="2616779" y="4220042"/>
                  <a:pt x="2623656" y="4216144"/>
                  <a:pt x="2631109" y="4213305"/>
                </a:cubicBezTo>
                <a:cubicBezTo>
                  <a:pt x="2634811" y="4211814"/>
                  <a:pt x="2638418" y="4210177"/>
                  <a:pt x="2642168" y="4208734"/>
                </a:cubicBezTo>
                <a:cubicBezTo>
                  <a:pt x="2645967" y="4207435"/>
                  <a:pt x="2649766" y="4206183"/>
                  <a:pt x="2653565" y="4204884"/>
                </a:cubicBezTo>
                <a:cubicBezTo>
                  <a:pt x="2668856" y="4199784"/>
                  <a:pt x="2684821" y="4195934"/>
                  <a:pt x="2701074" y="4192710"/>
                </a:cubicBezTo>
                <a:cubicBezTo>
                  <a:pt x="2717327" y="4189437"/>
                  <a:pt x="2733916" y="4186743"/>
                  <a:pt x="2750698" y="4184481"/>
                </a:cubicBezTo>
                <a:cubicBezTo>
                  <a:pt x="2817922" y="4175194"/>
                  <a:pt x="2888704" y="4169612"/>
                  <a:pt x="2959631" y="4152818"/>
                </a:cubicBezTo>
                <a:cubicBezTo>
                  <a:pt x="2995022" y="4144397"/>
                  <a:pt x="3029307" y="4133907"/>
                  <a:pt x="3062919" y="4123369"/>
                </a:cubicBezTo>
                <a:cubicBezTo>
                  <a:pt x="3079701" y="4118075"/>
                  <a:pt x="3096339" y="4112782"/>
                  <a:pt x="3112881" y="4107537"/>
                </a:cubicBezTo>
                <a:cubicBezTo>
                  <a:pt x="3129374" y="4102147"/>
                  <a:pt x="3145675" y="4096806"/>
                  <a:pt x="3161880" y="4091513"/>
                </a:cubicBezTo>
                <a:cubicBezTo>
                  <a:pt x="3178037" y="4086268"/>
                  <a:pt x="3194098" y="4081263"/>
                  <a:pt x="3210110" y="4076836"/>
                </a:cubicBezTo>
                <a:cubicBezTo>
                  <a:pt x="3226074" y="4072554"/>
                  <a:pt x="3242135" y="4068512"/>
                  <a:pt x="3257715" y="4067357"/>
                </a:cubicBezTo>
                <a:cubicBezTo>
                  <a:pt x="3261562" y="4067068"/>
                  <a:pt x="3265409" y="4067068"/>
                  <a:pt x="3268871" y="4067597"/>
                </a:cubicBezTo>
                <a:cubicBezTo>
                  <a:pt x="3272333" y="4068030"/>
                  <a:pt x="3275362" y="4069282"/>
                  <a:pt x="3276276" y="4070725"/>
                </a:cubicBezTo>
                <a:cubicBezTo>
                  <a:pt x="3278632" y="4073083"/>
                  <a:pt x="3275699" y="4081841"/>
                  <a:pt x="3272141" y="4087856"/>
                </a:cubicBezTo>
                <a:cubicBezTo>
                  <a:pt x="3264591" y="4100656"/>
                  <a:pt x="3252762" y="4111242"/>
                  <a:pt x="3240885" y="4120770"/>
                </a:cubicBezTo>
                <a:cubicBezTo>
                  <a:pt x="3216602" y="4139681"/>
                  <a:pt x="3190058" y="4154743"/>
                  <a:pt x="3164044" y="4168698"/>
                </a:cubicBezTo>
                <a:cubicBezTo>
                  <a:pt x="3151013" y="4175627"/>
                  <a:pt x="3138029" y="4182268"/>
                  <a:pt x="3125190" y="4188764"/>
                </a:cubicBezTo>
                <a:cubicBezTo>
                  <a:pt x="3112304" y="4195212"/>
                  <a:pt x="3099705" y="4201901"/>
                  <a:pt x="3087443" y="4208301"/>
                </a:cubicBezTo>
                <a:cubicBezTo>
                  <a:pt x="3062775" y="4221053"/>
                  <a:pt x="3038684" y="4233034"/>
                  <a:pt x="3015603" y="4244728"/>
                </a:cubicBezTo>
                <a:cubicBezTo>
                  <a:pt x="2992570" y="4256517"/>
                  <a:pt x="2970450" y="4267970"/>
                  <a:pt x="2950062" y="4280529"/>
                </a:cubicBezTo>
                <a:cubicBezTo>
                  <a:pt x="2939964" y="4286881"/>
                  <a:pt x="2930106" y="4293666"/>
                  <a:pt x="2921739" y="4301654"/>
                </a:cubicBezTo>
                <a:cubicBezTo>
                  <a:pt x="2917508" y="4305600"/>
                  <a:pt x="2913565" y="4309834"/>
                  <a:pt x="2910151" y="4314646"/>
                </a:cubicBezTo>
                <a:cubicBezTo>
                  <a:pt x="2908516" y="4317101"/>
                  <a:pt x="2906977" y="4319747"/>
                  <a:pt x="2905967" y="4322731"/>
                </a:cubicBezTo>
                <a:cubicBezTo>
                  <a:pt x="2904958" y="4325666"/>
                  <a:pt x="2904429" y="4329178"/>
                  <a:pt x="2905294" y="4332547"/>
                </a:cubicBezTo>
                <a:close/>
                <a:moveTo>
                  <a:pt x="3641776" y="3984734"/>
                </a:moveTo>
                <a:cubicBezTo>
                  <a:pt x="3647354" y="3978671"/>
                  <a:pt x="3652788" y="3972416"/>
                  <a:pt x="3657789" y="3965535"/>
                </a:cubicBezTo>
                <a:cubicBezTo>
                  <a:pt x="3660386" y="3962070"/>
                  <a:pt x="3662790" y="3958268"/>
                  <a:pt x="3665002" y="3954274"/>
                </a:cubicBezTo>
                <a:cubicBezTo>
                  <a:pt x="3666060" y="3952205"/>
                  <a:pt x="3667070" y="3950040"/>
                  <a:pt x="3667887" y="3947634"/>
                </a:cubicBezTo>
                <a:cubicBezTo>
                  <a:pt x="3668272" y="3946383"/>
                  <a:pt x="3668560" y="3944987"/>
                  <a:pt x="3668849" y="3943592"/>
                </a:cubicBezTo>
                <a:cubicBezTo>
                  <a:pt x="3668897" y="3941859"/>
                  <a:pt x="3669185" y="3940416"/>
                  <a:pt x="3668416" y="3938202"/>
                </a:cubicBezTo>
                <a:lnTo>
                  <a:pt x="3668031" y="3936662"/>
                </a:lnTo>
                <a:cubicBezTo>
                  <a:pt x="3667839" y="3936181"/>
                  <a:pt x="3667502" y="3935748"/>
                  <a:pt x="3667262" y="3935315"/>
                </a:cubicBezTo>
                <a:cubicBezTo>
                  <a:pt x="3666685" y="3934449"/>
                  <a:pt x="3666060" y="3933583"/>
                  <a:pt x="3665194" y="3933005"/>
                </a:cubicBezTo>
                <a:cubicBezTo>
                  <a:pt x="3663511" y="3931562"/>
                  <a:pt x="3661588" y="3931225"/>
                  <a:pt x="3659760" y="3930695"/>
                </a:cubicBezTo>
                <a:cubicBezTo>
                  <a:pt x="3656587" y="3930262"/>
                  <a:pt x="3654038" y="3930599"/>
                  <a:pt x="3651586" y="3931032"/>
                </a:cubicBezTo>
                <a:cubicBezTo>
                  <a:pt x="3646777" y="3931946"/>
                  <a:pt x="3642690" y="3933583"/>
                  <a:pt x="3638555" y="3935219"/>
                </a:cubicBezTo>
                <a:cubicBezTo>
                  <a:pt x="3630428" y="3938587"/>
                  <a:pt x="3622975" y="3942629"/>
                  <a:pt x="3615666" y="3946816"/>
                </a:cubicBezTo>
                <a:cubicBezTo>
                  <a:pt x="3601096" y="3955140"/>
                  <a:pt x="3587391" y="3964428"/>
                  <a:pt x="3574312" y="3973907"/>
                </a:cubicBezTo>
                <a:cubicBezTo>
                  <a:pt x="3548202" y="3992867"/>
                  <a:pt x="3524062" y="4012211"/>
                  <a:pt x="3501077" y="4030737"/>
                </a:cubicBezTo>
                <a:cubicBezTo>
                  <a:pt x="3496653" y="4034298"/>
                  <a:pt x="3492181" y="4037763"/>
                  <a:pt x="3487758" y="4041179"/>
                </a:cubicBezTo>
                <a:cubicBezTo>
                  <a:pt x="3498000" y="4032085"/>
                  <a:pt x="3507954" y="4022990"/>
                  <a:pt x="3517715" y="4014039"/>
                </a:cubicBezTo>
                <a:cubicBezTo>
                  <a:pt x="3547288" y="3986996"/>
                  <a:pt x="3575226" y="3961252"/>
                  <a:pt x="3603356" y="3939790"/>
                </a:cubicBezTo>
                <a:cubicBezTo>
                  <a:pt x="3617397" y="3929011"/>
                  <a:pt x="3631342" y="3919291"/>
                  <a:pt x="3645383" y="3910774"/>
                </a:cubicBezTo>
                <a:cubicBezTo>
                  <a:pt x="3659328" y="3902401"/>
                  <a:pt x="3673321" y="3894702"/>
                  <a:pt x="3687169" y="3890852"/>
                </a:cubicBezTo>
                <a:cubicBezTo>
                  <a:pt x="3693853" y="3888975"/>
                  <a:pt x="3701595" y="3888831"/>
                  <a:pt x="3702797" y="3892777"/>
                </a:cubicBezTo>
                <a:cubicBezTo>
                  <a:pt x="3703663" y="3894846"/>
                  <a:pt x="3703471" y="3898070"/>
                  <a:pt x="3702797" y="3901102"/>
                </a:cubicBezTo>
                <a:cubicBezTo>
                  <a:pt x="3702076" y="3904181"/>
                  <a:pt x="3700922" y="3907261"/>
                  <a:pt x="3699624" y="3910244"/>
                </a:cubicBezTo>
                <a:cubicBezTo>
                  <a:pt x="3694142" y="3922226"/>
                  <a:pt x="3686689" y="3932717"/>
                  <a:pt x="3679524" y="3942148"/>
                </a:cubicBezTo>
                <a:cubicBezTo>
                  <a:pt x="3666204" y="3959423"/>
                  <a:pt x="3653077" y="3973330"/>
                  <a:pt x="3641824" y="3984686"/>
                </a:cubicBezTo>
                <a:close/>
                <a:moveTo>
                  <a:pt x="3264784" y="4215278"/>
                </a:moveTo>
                <a:cubicBezTo>
                  <a:pt x="3265361" y="4215759"/>
                  <a:pt x="3265601" y="4215374"/>
                  <a:pt x="3265601" y="4215374"/>
                </a:cubicBezTo>
                <a:lnTo>
                  <a:pt x="3265264" y="4214989"/>
                </a:lnTo>
                <a:cubicBezTo>
                  <a:pt x="3265264" y="4214989"/>
                  <a:pt x="3265601" y="4214316"/>
                  <a:pt x="3266178" y="4213786"/>
                </a:cubicBezTo>
                <a:cubicBezTo>
                  <a:pt x="3267284" y="4212632"/>
                  <a:pt x="3269208" y="4211044"/>
                  <a:pt x="3271756" y="4209023"/>
                </a:cubicBezTo>
                <a:cubicBezTo>
                  <a:pt x="3276853" y="4204980"/>
                  <a:pt x="3284595" y="4199206"/>
                  <a:pt x="3294645" y="4191844"/>
                </a:cubicBezTo>
                <a:cubicBezTo>
                  <a:pt x="3314745" y="4177167"/>
                  <a:pt x="3344125" y="4156331"/>
                  <a:pt x="3380478" y="4130538"/>
                </a:cubicBezTo>
                <a:cubicBezTo>
                  <a:pt x="3398606" y="4117594"/>
                  <a:pt x="3418514" y="4103447"/>
                  <a:pt x="3439864" y="4088241"/>
                </a:cubicBezTo>
                <a:cubicBezTo>
                  <a:pt x="3461118" y="4072891"/>
                  <a:pt x="3483959" y="4056770"/>
                  <a:pt x="3507280" y="4038388"/>
                </a:cubicBezTo>
                <a:cubicBezTo>
                  <a:pt x="3530362" y="4020151"/>
                  <a:pt x="3554597" y="4000999"/>
                  <a:pt x="3580467" y="3982377"/>
                </a:cubicBezTo>
                <a:cubicBezTo>
                  <a:pt x="3593402" y="3973089"/>
                  <a:pt x="3606770" y="3964091"/>
                  <a:pt x="3620955" y="3956055"/>
                </a:cubicBezTo>
                <a:cubicBezTo>
                  <a:pt x="3628024" y="3952013"/>
                  <a:pt x="3635237" y="3948163"/>
                  <a:pt x="3642642" y="3945083"/>
                </a:cubicBezTo>
                <a:cubicBezTo>
                  <a:pt x="3646296" y="3943640"/>
                  <a:pt x="3650095" y="3942196"/>
                  <a:pt x="3653606" y="3941522"/>
                </a:cubicBezTo>
                <a:cubicBezTo>
                  <a:pt x="3654471" y="3941330"/>
                  <a:pt x="3655240" y="3941330"/>
                  <a:pt x="3656106" y="3941186"/>
                </a:cubicBezTo>
                <a:cubicBezTo>
                  <a:pt x="3656875" y="3941138"/>
                  <a:pt x="3657500" y="3941234"/>
                  <a:pt x="3658078" y="3941186"/>
                </a:cubicBezTo>
                <a:lnTo>
                  <a:pt x="3658414" y="3941282"/>
                </a:lnTo>
                <a:lnTo>
                  <a:pt x="3658414" y="3942196"/>
                </a:lnTo>
                <a:cubicBezTo>
                  <a:pt x="3658174" y="3942870"/>
                  <a:pt x="3658078" y="3943592"/>
                  <a:pt x="3657837" y="3944362"/>
                </a:cubicBezTo>
                <a:cubicBezTo>
                  <a:pt x="3657308" y="3945950"/>
                  <a:pt x="3656539" y="3947634"/>
                  <a:pt x="3655673" y="3949318"/>
                </a:cubicBezTo>
                <a:cubicBezTo>
                  <a:pt x="3653798" y="3952686"/>
                  <a:pt x="3651682" y="3956055"/>
                  <a:pt x="3649278" y="3959327"/>
                </a:cubicBezTo>
                <a:cubicBezTo>
                  <a:pt x="3644517" y="3965871"/>
                  <a:pt x="3639180" y="3972079"/>
                  <a:pt x="3633698" y="3978046"/>
                </a:cubicBezTo>
                <a:cubicBezTo>
                  <a:pt x="3622686" y="3990028"/>
                  <a:pt x="3610857" y="4001143"/>
                  <a:pt x="3599028" y="4011682"/>
                </a:cubicBezTo>
                <a:cubicBezTo>
                  <a:pt x="3575370" y="4032710"/>
                  <a:pt x="3550077" y="4050466"/>
                  <a:pt x="3526082" y="4067309"/>
                </a:cubicBezTo>
                <a:cubicBezTo>
                  <a:pt x="3477756" y="4100800"/>
                  <a:pt x="3432555" y="4128132"/>
                  <a:pt x="3393606" y="4149642"/>
                </a:cubicBezTo>
                <a:cubicBezTo>
                  <a:pt x="3354800" y="4171392"/>
                  <a:pt x="3323016" y="4188379"/>
                  <a:pt x="3300848" y="4199591"/>
                </a:cubicBezTo>
                <a:cubicBezTo>
                  <a:pt x="3289740" y="4205173"/>
                  <a:pt x="3281037" y="4209359"/>
                  <a:pt x="3275074" y="4211862"/>
                </a:cubicBezTo>
                <a:cubicBezTo>
                  <a:pt x="3269063" y="4214508"/>
                  <a:pt x="3265841" y="4215038"/>
                  <a:pt x="3265793" y="4215374"/>
                </a:cubicBezTo>
                <a:cubicBezTo>
                  <a:pt x="3265745" y="4215759"/>
                  <a:pt x="3269496" y="4215952"/>
                  <a:pt x="3275795" y="4213883"/>
                </a:cubicBezTo>
                <a:cubicBezTo>
                  <a:pt x="3282143" y="4211958"/>
                  <a:pt x="3291183" y="4208397"/>
                  <a:pt x="3302627" y="4203344"/>
                </a:cubicBezTo>
                <a:cubicBezTo>
                  <a:pt x="3316380" y="4197233"/>
                  <a:pt x="3333690" y="4188956"/>
                  <a:pt x="3353838" y="4178803"/>
                </a:cubicBezTo>
                <a:cubicBezTo>
                  <a:pt x="3352829" y="4179381"/>
                  <a:pt x="3351867" y="4179910"/>
                  <a:pt x="3350857" y="4180487"/>
                </a:cubicBezTo>
                <a:cubicBezTo>
                  <a:pt x="3319746" y="4197810"/>
                  <a:pt x="3286518" y="4216433"/>
                  <a:pt x="3251079" y="4234815"/>
                </a:cubicBezTo>
                <a:cubicBezTo>
                  <a:pt x="3242231" y="4239386"/>
                  <a:pt x="3233191" y="4243958"/>
                  <a:pt x="3224007" y="4248096"/>
                </a:cubicBezTo>
                <a:cubicBezTo>
                  <a:pt x="3214919" y="4252138"/>
                  <a:pt x="3205302" y="4255651"/>
                  <a:pt x="3195540" y="4258153"/>
                </a:cubicBezTo>
                <a:cubicBezTo>
                  <a:pt x="3190683" y="4259404"/>
                  <a:pt x="3185683" y="4260367"/>
                  <a:pt x="3180970" y="4260655"/>
                </a:cubicBezTo>
                <a:cubicBezTo>
                  <a:pt x="3178662" y="4260800"/>
                  <a:pt x="3176306" y="4260655"/>
                  <a:pt x="3174719" y="4260271"/>
                </a:cubicBezTo>
                <a:cubicBezTo>
                  <a:pt x="3174238" y="4260126"/>
                  <a:pt x="3174382" y="4260126"/>
                  <a:pt x="3174334" y="4260126"/>
                </a:cubicBezTo>
                <a:lnTo>
                  <a:pt x="3174334" y="4259982"/>
                </a:lnTo>
                <a:cubicBezTo>
                  <a:pt x="3174334" y="4259982"/>
                  <a:pt x="3174575" y="4259308"/>
                  <a:pt x="3175055" y="4258490"/>
                </a:cubicBezTo>
                <a:cubicBezTo>
                  <a:pt x="3175584" y="4257624"/>
                  <a:pt x="3176209" y="4256758"/>
                  <a:pt x="3176931" y="4255843"/>
                </a:cubicBezTo>
                <a:cubicBezTo>
                  <a:pt x="3178422" y="4254063"/>
                  <a:pt x="3180104" y="4252186"/>
                  <a:pt x="3182076" y="4250550"/>
                </a:cubicBezTo>
                <a:cubicBezTo>
                  <a:pt x="3183999" y="4248866"/>
                  <a:pt x="3185779" y="4247085"/>
                  <a:pt x="3187895" y="4245498"/>
                </a:cubicBezTo>
                <a:lnTo>
                  <a:pt x="3194194" y="4240686"/>
                </a:lnTo>
                <a:cubicBezTo>
                  <a:pt x="3211456" y="4228030"/>
                  <a:pt x="3230450" y="4216577"/>
                  <a:pt x="3249637" y="4204932"/>
                </a:cubicBezTo>
                <a:cubicBezTo>
                  <a:pt x="3268967" y="4193383"/>
                  <a:pt x="3288538" y="4181642"/>
                  <a:pt x="3308398" y="4169757"/>
                </a:cubicBezTo>
                <a:cubicBezTo>
                  <a:pt x="3321813" y="4161672"/>
                  <a:pt x="3335133" y="4153588"/>
                  <a:pt x="3348213" y="4145407"/>
                </a:cubicBezTo>
                <a:cubicBezTo>
                  <a:pt x="3325324" y="4162635"/>
                  <a:pt x="3306330" y="4177215"/>
                  <a:pt x="3292337" y="4188620"/>
                </a:cubicBezTo>
                <a:cubicBezTo>
                  <a:pt x="3282623" y="4196511"/>
                  <a:pt x="3275266" y="4202815"/>
                  <a:pt x="3270554" y="4207483"/>
                </a:cubicBezTo>
                <a:cubicBezTo>
                  <a:pt x="3268198" y="4209792"/>
                  <a:pt x="3266515" y="4211717"/>
                  <a:pt x="3265553" y="4213209"/>
                </a:cubicBezTo>
                <a:cubicBezTo>
                  <a:pt x="3265120" y="4213979"/>
                  <a:pt x="3264687" y="4214604"/>
                  <a:pt x="3265024" y="4215374"/>
                </a:cubicBezTo>
                <a:close/>
                <a:moveTo>
                  <a:pt x="3793680" y="3836957"/>
                </a:moveTo>
                <a:cubicBezTo>
                  <a:pt x="3794978" y="3834792"/>
                  <a:pt x="3796324" y="3832626"/>
                  <a:pt x="3797430" y="3830269"/>
                </a:cubicBezTo>
                <a:cubicBezTo>
                  <a:pt x="3798584" y="3827911"/>
                  <a:pt x="3799883" y="3825793"/>
                  <a:pt x="3800796" y="3822906"/>
                </a:cubicBezTo>
                <a:cubicBezTo>
                  <a:pt x="3802720" y="3817324"/>
                  <a:pt x="3802287" y="3810924"/>
                  <a:pt x="3800171" y="3805439"/>
                </a:cubicBezTo>
                <a:cubicBezTo>
                  <a:pt x="3795651" y="3794323"/>
                  <a:pt x="3785986" y="3786816"/>
                  <a:pt x="3775696" y="3781812"/>
                </a:cubicBezTo>
                <a:cubicBezTo>
                  <a:pt x="3754730" y="3771899"/>
                  <a:pt x="3729293" y="3771273"/>
                  <a:pt x="3705683" y="3778588"/>
                </a:cubicBezTo>
                <a:cubicBezTo>
                  <a:pt x="3699768" y="3780464"/>
                  <a:pt x="3693950" y="3782726"/>
                  <a:pt x="3688276" y="3785517"/>
                </a:cubicBezTo>
                <a:cubicBezTo>
                  <a:pt x="3682553" y="3788308"/>
                  <a:pt x="3677264" y="3791580"/>
                  <a:pt x="3671926" y="3794804"/>
                </a:cubicBezTo>
                <a:cubicBezTo>
                  <a:pt x="3661059" y="3801060"/>
                  <a:pt x="3650480" y="3808278"/>
                  <a:pt x="3639853" y="3815832"/>
                </a:cubicBezTo>
                <a:cubicBezTo>
                  <a:pt x="3618695" y="3831087"/>
                  <a:pt x="3598644" y="3849565"/>
                  <a:pt x="3580804" y="3870882"/>
                </a:cubicBezTo>
                <a:cubicBezTo>
                  <a:pt x="3562820" y="3892151"/>
                  <a:pt x="3547288" y="3916019"/>
                  <a:pt x="3530842" y="3939742"/>
                </a:cubicBezTo>
                <a:cubicBezTo>
                  <a:pt x="3514493" y="3963513"/>
                  <a:pt x="3496605" y="3986996"/>
                  <a:pt x="3476361" y="4009083"/>
                </a:cubicBezTo>
                <a:cubicBezTo>
                  <a:pt x="3466456" y="4019622"/>
                  <a:pt x="3455780" y="4029823"/>
                  <a:pt x="3444673" y="4039736"/>
                </a:cubicBezTo>
                <a:cubicBezTo>
                  <a:pt x="3446885" y="4037522"/>
                  <a:pt x="3449096" y="4035261"/>
                  <a:pt x="3451212" y="4032903"/>
                </a:cubicBezTo>
                <a:cubicBezTo>
                  <a:pt x="3456550" y="4026936"/>
                  <a:pt x="3461695" y="4020728"/>
                  <a:pt x="3466408" y="4014136"/>
                </a:cubicBezTo>
                <a:cubicBezTo>
                  <a:pt x="3475977" y="4001095"/>
                  <a:pt x="3483574" y="3986563"/>
                  <a:pt x="3490114" y="3972079"/>
                </a:cubicBezTo>
                <a:cubicBezTo>
                  <a:pt x="3496702" y="3957595"/>
                  <a:pt x="3502904" y="3943255"/>
                  <a:pt x="3510647" y="3929685"/>
                </a:cubicBezTo>
                <a:cubicBezTo>
                  <a:pt x="3518244" y="3916067"/>
                  <a:pt x="3527044" y="3903026"/>
                  <a:pt x="3536661" y="3890756"/>
                </a:cubicBezTo>
                <a:cubicBezTo>
                  <a:pt x="3546663" y="3878677"/>
                  <a:pt x="3557145" y="3866888"/>
                  <a:pt x="3568494" y="3855772"/>
                </a:cubicBezTo>
                <a:cubicBezTo>
                  <a:pt x="3590902" y="3833348"/>
                  <a:pt x="3615041" y="3812272"/>
                  <a:pt x="3639949" y="3792061"/>
                </a:cubicBezTo>
                <a:cubicBezTo>
                  <a:pt x="3664906" y="3771899"/>
                  <a:pt x="3690632" y="3752314"/>
                  <a:pt x="3717367" y="3734510"/>
                </a:cubicBezTo>
                <a:cubicBezTo>
                  <a:pt x="3724099" y="3730082"/>
                  <a:pt x="3730735" y="3725944"/>
                  <a:pt x="3737804" y="3722480"/>
                </a:cubicBezTo>
                <a:cubicBezTo>
                  <a:pt x="3744776" y="3718871"/>
                  <a:pt x="3752037" y="3716031"/>
                  <a:pt x="3759346" y="3714251"/>
                </a:cubicBezTo>
                <a:cubicBezTo>
                  <a:pt x="3766655" y="3712374"/>
                  <a:pt x="3774060" y="3712182"/>
                  <a:pt x="3780841" y="3714107"/>
                </a:cubicBezTo>
                <a:cubicBezTo>
                  <a:pt x="3787621" y="3716031"/>
                  <a:pt x="3793583" y="3720410"/>
                  <a:pt x="3799113" y="3725800"/>
                </a:cubicBezTo>
                <a:cubicBezTo>
                  <a:pt x="3804691" y="3731189"/>
                  <a:pt x="3809884" y="3737493"/>
                  <a:pt x="3815991" y="3743508"/>
                </a:cubicBezTo>
                <a:cubicBezTo>
                  <a:pt x="3822435" y="3749860"/>
                  <a:pt x="3829840" y="3754046"/>
                  <a:pt x="3834697" y="3759147"/>
                </a:cubicBezTo>
                <a:cubicBezTo>
                  <a:pt x="3839650" y="3764151"/>
                  <a:pt x="3840659" y="3769781"/>
                  <a:pt x="3838496" y="3776663"/>
                </a:cubicBezTo>
                <a:cubicBezTo>
                  <a:pt x="3838063" y="3778347"/>
                  <a:pt x="3837197" y="3780031"/>
                  <a:pt x="3836572" y="3781715"/>
                </a:cubicBezTo>
                <a:lnTo>
                  <a:pt x="3833927" y="3786720"/>
                </a:lnTo>
                <a:cubicBezTo>
                  <a:pt x="3831763" y="3790088"/>
                  <a:pt x="3829696" y="3793457"/>
                  <a:pt x="3827436" y="3796777"/>
                </a:cubicBezTo>
                <a:cubicBezTo>
                  <a:pt x="3813587" y="3816651"/>
                  <a:pt x="3798055" y="3835658"/>
                  <a:pt x="3782043" y="3854329"/>
                </a:cubicBezTo>
                <a:cubicBezTo>
                  <a:pt x="3785986" y="3848795"/>
                  <a:pt x="3789881" y="3843069"/>
                  <a:pt x="3793583" y="3836957"/>
                </a:cubicBezTo>
                <a:close/>
                <a:moveTo>
                  <a:pt x="3116631" y="4239867"/>
                </a:moveTo>
                <a:lnTo>
                  <a:pt x="3107110" y="4246268"/>
                </a:lnTo>
                <a:cubicBezTo>
                  <a:pt x="3103937" y="4248385"/>
                  <a:pt x="3100955" y="4250839"/>
                  <a:pt x="3097878" y="4253149"/>
                </a:cubicBezTo>
                <a:lnTo>
                  <a:pt x="3088741" y="4260126"/>
                </a:lnTo>
                <a:lnTo>
                  <a:pt x="3080134" y="4267970"/>
                </a:lnTo>
                <a:cubicBezTo>
                  <a:pt x="3074316" y="4273022"/>
                  <a:pt x="3068834" y="4278749"/>
                  <a:pt x="3064651" y="4286640"/>
                </a:cubicBezTo>
                <a:cubicBezTo>
                  <a:pt x="3064170" y="4287699"/>
                  <a:pt x="3063785" y="4288854"/>
                  <a:pt x="3063352" y="4289961"/>
                </a:cubicBezTo>
                <a:cubicBezTo>
                  <a:pt x="3063064" y="4291212"/>
                  <a:pt x="3062727" y="4292415"/>
                  <a:pt x="3062631" y="4293810"/>
                </a:cubicBezTo>
                <a:cubicBezTo>
                  <a:pt x="3062342" y="4296553"/>
                  <a:pt x="3063112" y="4299729"/>
                  <a:pt x="3064651" y="4302231"/>
                </a:cubicBezTo>
                <a:cubicBezTo>
                  <a:pt x="3067920" y="4307140"/>
                  <a:pt x="3072248" y="4308968"/>
                  <a:pt x="3075854" y="4310700"/>
                </a:cubicBezTo>
                <a:cubicBezTo>
                  <a:pt x="3079557" y="4312336"/>
                  <a:pt x="3083115" y="4313539"/>
                  <a:pt x="3085953" y="4314983"/>
                </a:cubicBezTo>
                <a:cubicBezTo>
                  <a:pt x="3086626" y="4315320"/>
                  <a:pt x="3087251" y="4315705"/>
                  <a:pt x="3087684" y="4315994"/>
                </a:cubicBezTo>
                <a:cubicBezTo>
                  <a:pt x="3088164" y="4316330"/>
                  <a:pt x="3088068" y="4316282"/>
                  <a:pt x="3088164" y="4316379"/>
                </a:cubicBezTo>
                <a:lnTo>
                  <a:pt x="3088164" y="4316523"/>
                </a:lnTo>
                <a:cubicBezTo>
                  <a:pt x="3088164" y="4316523"/>
                  <a:pt x="3088309" y="4316427"/>
                  <a:pt x="3088020" y="4316956"/>
                </a:cubicBezTo>
                <a:cubicBezTo>
                  <a:pt x="3087107" y="4318592"/>
                  <a:pt x="3084318" y="4321287"/>
                  <a:pt x="3081721" y="4323356"/>
                </a:cubicBezTo>
                <a:cubicBezTo>
                  <a:pt x="3078980" y="4325569"/>
                  <a:pt x="3076095" y="4327543"/>
                  <a:pt x="3073066" y="4329467"/>
                </a:cubicBezTo>
                <a:cubicBezTo>
                  <a:pt x="3071719" y="4330285"/>
                  <a:pt x="3070373" y="4331055"/>
                  <a:pt x="3069026" y="4331873"/>
                </a:cubicBezTo>
                <a:cubicBezTo>
                  <a:pt x="3069603" y="4330189"/>
                  <a:pt x="3069988" y="4328216"/>
                  <a:pt x="3069700" y="4326436"/>
                </a:cubicBezTo>
                <a:cubicBezTo>
                  <a:pt x="3069171" y="4323452"/>
                  <a:pt x="3066910" y="4320998"/>
                  <a:pt x="3065179" y="4319699"/>
                </a:cubicBezTo>
                <a:cubicBezTo>
                  <a:pt x="3063496" y="4318448"/>
                  <a:pt x="3061862" y="4317582"/>
                  <a:pt x="3060323" y="4316860"/>
                </a:cubicBezTo>
                <a:cubicBezTo>
                  <a:pt x="3054168" y="4314021"/>
                  <a:pt x="3048398" y="4312289"/>
                  <a:pt x="3043829" y="4309546"/>
                </a:cubicBezTo>
                <a:cubicBezTo>
                  <a:pt x="3041617" y="4308198"/>
                  <a:pt x="3039983" y="4306658"/>
                  <a:pt x="3039406" y="4305311"/>
                </a:cubicBezTo>
                <a:cubicBezTo>
                  <a:pt x="3038829" y="4304012"/>
                  <a:pt x="3038876" y="4302328"/>
                  <a:pt x="3039742" y="4300114"/>
                </a:cubicBezTo>
                <a:cubicBezTo>
                  <a:pt x="3041521" y="4295735"/>
                  <a:pt x="3045320" y="4291164"/>
                  <a:pt x="3049600" y="4287073"/>
                </a:cubicBezTo>
                <a:cubicBezTo>
                  <a:pt x="3066285" y="4270135"/>
                  <a:pt x="3086722" y="4256710"/>
                  <a:pt x="3107255" y="4244150"/>
                </a:cubicBezTo>
                <a:cubicBezTo>
                  <a:pt x="3116102" y="4238809"/>
                  <a:pt x="3125046" y="4233708"/>
                  <a:pt x="3134087" y="4228752"/>
                </a:cubicBezTo>
                <a:cubicBezTo>
                  <a:pt x="3128220" y="4232313"/>
                  <a:pt x="3122354" y="4235970"/>
                  <a:pt x="3116679" y="4239916"/>
                </a:cubicBezTo>
                <a:close/>
                <a:moveTo>
                  <a:pt x="3042531" y="4280192"/>
                </a:moveTo>
                <a:cubicBezTo>
                  <a:pt x="3038107" y="4284571"/>
                  <a:pt x="3033491" y="4289527"/>
                  <a:pt x="3030558" y="4296553"/>
                </a:cubicBezTo>
                <a:cubicBezTo>
                  <a:pt x="3029115" y="4299970"/>
                  <a:pt x="3028346" y="4304878"/>
                  <a:pt x="3030365" y="4309257"/>
                </a:cubicBezTo>
                <a:cubicBezTo>
                  <a:pt x="3032289" y="4313588"/>
                  <a:pt x="3035703" y="4316138"/>
                  <a:pt x="3038684" y="4318015"/>
                </a:cubicBezTo>
                <a:cubicBezTo>
                  <a:pt x="3044791" y="4321624"/>
                  <a:pt x="3050946" y="4323404"/>
                  <a:pt x="3056043" y="4325810"/>
                </a:cubicBezTo>
                <a:cubicBezTo>
                  <a:pt x="3057341" y="4326388"/>
                  <a:pt x="3058399" y="4327013"/>
                  <a:pt x="3059169" y="4327591"/>
                </a:cubicBezTo>
                <a:cubicBezTo>
                  <a:pt x="3059842" y="4328120"/>
                  <a:pt x="3059794" y="4328168"/>
                  <a:pt x="3059842" y="4328264"/>
                </a:cubicBezTo>
                <a:cubicBezTo>
                  <a:pt x="3059794" y="4328505"/>
                  <a:pt x="3060034" y="4328168"/>
                  <a:pt x="3059409" y="4329082"/>
                </a:cubicBezTo>
                <a:cubicBezTo>
                  <a:pt x="3058928" y="4329804"/>
                  <a:pt x="3058159" y="4330767"/>
                  <a:pt x="3057149" y="4331633"/>
                </a:cubicBezTo>
                <a:cubicBezTo>
                  <a:pt x="3053831" y="4334761"/>
                  <a:pt x="3049600" y="4337552"/>
                  <a:pt x="3045176" y="4340198"/>
                </a:cubicBezTo>
                <a:cubicBezTo>
                  <a:pt x="3045224" y="4340102"/>
                  <a:pt x="3045272" y="4340054"/>
                  <a:pt x="3045320" y="4339909"/>
                </a:cubicBezTo>
                <a:cubicBezTo>
                  <a:pt x="3045705" y="4338899"/>
                  <a:pt x="3046282" y="4337936"/>
                  <a:pt x="3046282" y="4336782"/>
                </a:cubicBezTo>
                <a:cubicBezTo>
                  <a:pt x="3046570" y="4334568"/>
                  <a:pt x="3045416" y="4332162"/>
                  <a:pt x="3043926" y="4330815"/>
                </a:cubicBezTo>
                <a:cubicBezTo>
                  <a:pt x="3041040" y="4328024"/>
                  <a:pt x="3038059" y="4326869"/>
                  <a:pt x="3035126" y="4325425"/>
                </a:cubicBezTo>
                <a:cubicBezTo>
                  <a:pt x="3032193" y="4324078"/>
                  <a:pt x="3029307" y="4322875"/>
                  <a:pt x="3026566" y="4321528"/>
                </a:cubicBezTo>
                <a:cubicBezTo>
                  <a:pt x="3021181" y="4318929"/>
                  <a:pt x="3015651" y="4315416"/>
                  <a:pt x="3014882" y="4310412"/>
                </a:cubicBezTo>
                <a:cubicBezTo>
                  <a:pt x="3014497" y="4307958"/>
                  <a:pt x="3015026" y="4305215"/>
                  <a:pt x="3016324" y="4302616"/>
                </a:cubicBezTo>
                <a:cubicBezTo>
                  <a:pt x="3017478" y="4300018"/>
                  <a:pt x="3019258" y="4297516"/>
                  <a:pt x="3021085" y="4295158"/>
                </a:cubicBezTo>
                <a:cubicBezTo>
                  <a:pt x="3028827" y="4285774"/>
                  <a:pt x="3038588" y="4277882"/>
                  <a:pt x="3048494" y="4270472"/>
                </a:cubicBezTo>
                <a:cubicBezTo>
                  <a:pt x="3064987" y="4258346"/>
                  <a:pt x="3082394" y="4247567"/>
                  <a:pt x="3099945" y="4237221"/>
                </a:cubicBezTo>
                <a:cubicBezTo>
                  <a:pt x="3079846" y="4249588"/>
                  <a:pt x="3059794" y="4262773"/>
                  <a:pt x="3042531" y="4280192"/>
                </a:cubicBezTo>
                <a:close/>
                <a:moveTo>
                  <a:pt x="3201455" y="4279759"/>
                </a:moveTo>
                <a:lnTo>
                  <a:pt x="3195107" y="4282695"/>
                </a:lnTo>
                <a:cubicBezTo>
                  <a:pt x="3172459" y="4293233"/>
                  <a:pt x="3148993" y="4303627"/>
                  <a:pt x="3124902" y="4313828"/>
                </a:cubicBezTo>
                <a:cubicBezTo>
                  <a:pt x="3124902" y="4313780"/>
                  <a:pt x="3124950" y="4313732"/>
                  <a:pt x="3124998" y="4313684"/>
                </a:cubicBezTo>
                <a:cubicBezTo>
                  <a:pt x="3126585" y="4311278"/>
                  <a:pt x="3127787" y="4308631"/>
                  <a:pt x="3127306" y="4305840"/>
                </a:cubicBezTo>
                <a:cubicBezTo>
                  <a:pt x="3126777" y="4303097"/>
                  <a:pt x="3124806" y="4300932"/>
                  <a:pt x="3122305" y="4299537"/>
                </a:cubicBezTo>
                <a:lnTo>
                  <a:pt x="3120334" y="4298526"/>
                </a:lnTo>
                <a:cubicBezTo>
                  <a:pt x="3119661" y="4298189"/>
                  <a:pt x="3119420" y="4298189"/>
                  <a:pt x="3118939" y="4297997"/>
                </a:cubicBezTo>
                <a:cubicBezTo>
                  <a:pt x="3118074" y="4297660"/>
                  <a:pt x="3117256" y="4297419"/>
                  <a:pt x="3116487" y="4297227"/>
                </a:cubicBezTo>
                <a:cubicBezTo>
                  <a:pt x="3114900" y="4296746"/>
                  <a:pt x="3113362" y="4296409"/>
                  <a:pt x="3111919" y="4296024"/>
                </a:cubicBezTo>
                <a:cubicBezTo>
                  <a:pt x="3108986" y="4295302"/>
                  <a:pt x="3106197" y="4294580"/>
                  <a:pt x="3103696" y="4293714"/>
                </a:cubicBezTo>
                <a:cubicBezTo>
                  <a:pt x="3101244" y="4292896"/>
                  <a:pt x="3099128" y="4291645"/>
                  <a:pt x="3098455" y="4290682"/>
                </a:cubicBezTo>
                <a:cubicBezTo>
                  <a:pt x="3098022" y="4290249"/>
                  <a:pt x="3098070" y="4289864"/>
                  <a:pt x="3097926" y="4289383"/>
                </a:cubicBezTo>
                <a:lnTo>
                  <a:pt x="3097926" y="4288324"/>
                </a:lnTo>
                <a:cubicBezTo>
                  <a:pt x="3097926" y="4288324"/>
                  <a:pt x="3098407" y="4286929"/>
                  <a:pt x="3098407" y="4286929"/>
                </a:cubicBezTo>
                <a:cubicBezTo>
                  <a:pt x="3099945" y="4282791"/>
                  <a:pt x="3103889" y="4278123"/>
                  <a:pt x="3107783" y="4273985"/>
                </a:cubicBezTo>
                <a:cubicBezTo>
                  <a:pt x="3111775" y="4269702"/>
                  <a:pt x="3116535" y="4265997"/>
                  <a:pt x="3120911" y="4261955"/>
                </a:cubicBezTo>
                <a:cubicBezTo>
                  <a:pt x="3139761" y="4246845"/>
                  <a:pt x="3161063" y="4233852"/>
                  <a:pt x="3182749" y="4221197"/>
                </a:cubicBezTo>
                <a:cubicBezTo>
                  <a:pt x="3193472" y="4214989"/>
                  <a:pt x="3204340" y="4208926"/>
                  <a:pt x="3215303" y="4202863"/>
                </a:cubicBezTo>
                <a:cubicBezTo>
                  <a:pt x="3202561" y="4210562"/>
                  <a:pt x="3191068" y="4217588"/>
                  <a:pt x="3181066" y="4223988"/>
                </a:cubicBezTo>
                <a:cubicBezTo>
                  <a:pt x="3163900" y="4235152"/>
                  <a:pt x="3150820" y="4244198"/>
                  <a:pt x="3142598" y="4251224"/>
                </a:cubicBezTo>
                <a:cubicBezTo>
                  <a:pt x="3138318" y="4254496"/>
                  <a:pt x="3135577" y="4257672"/>
                  <a:pt x="3133557" y="4259597"/>
                </a:cubicBezTo>
                <a:cubicBezTo>
                  <a:pt x="3131634" y="4261570"/>
                  <a:pt x="3130720" y="4262677"/>
                  <a:pt x="3130865" y="4262773"/>
                </a:cubicBezTo>
                <a:cubicBezTo>
                  <a:pt x="3131009" y="4262917"/>
                  <a:pt x="3132163" y="4262099"/>
                  <a:pt x="3134327" y="4260367"/>
                </a:cubicBezTo>
                <a:cubicBezTo>
                  <a:pt x="3136539" y="4258731"/>
                  <a:pt x="3139424" y="4255892"/>
                  <a:pt x="3143896" y="4252908"/>
                </a:cubicBezTo>
                <a:cubicBezTo>
                  <a:pt x="3152455" y="4246460"/>
                  <a:pt x="3165823" y="4238039"/>
                  <a:pt x="3183230" y="4227501"/>
                </a:cubicBezTo>
                <a:cubicBezTo>
                  <a:pt x="3200782" y="4217107"/>
                  <a:pt x="3222420" y="4204740"/>
                  <a:pt x="3247665" y="4190448"/>
                </a:cubicBezTo>
                <a:cubicBezTo>
                  <a:pt x="3272862" y="4176108"/>
                  <a:pt x="3301617" y="4159843"/>
                  <a:pt x="3332873" y="4140884"/>
                </a:cubicBezTo>
                <a:cubicBezTo>
                  <a:pt x="3364033" y="4121829"/>
                  <a:pt x="3398126" y="4100560"/>
                  <a:pt x="3432266" y="4074045"/>
                </a:cubicBezTo>
                <a:cubicBezTo>
                  <a:pt x="3449433" y="4060908"/>
                  <a:pt x="3466311" y="4046136"/>
                  <a:pt x="3482805" y="4030112"/>
                </a:cubicBezTo>
                <a:cubicBezTo>
                  <a:pt x="3499346" y="4014088"/>
                  <a:pt x="3515359" y="3996572"/>
                  <a:pt x="3531179" y="3978286"/>
                </a:cubicBezTo>
                <a:cubicBezTo>
                  <a:pt x="3562964" y="3941956"/>
                  <a:pt x="3594172" y="3901679"/>
                  <a:pt x="3636343" y="3871508"/>
                </a:cubicBezTo>
                <a:cubicBezTo>
                  <a:pt x="3656875" y="3856109"/>
                  <a:pt x="3680870" y="3844705"/>
                  <a:pt x="3706500" y="3838978"/>
                </a:cubicBezTo>
                <a:cubicBezTo>
                  <a:pt x="3719195" y="3836284"/>
                  <a:pt x="3732755" y="3834696"/>
                  <a:pt x="3744824" y="3837198"/>
                </a:cubicBezTo>
                <a:cubicBezTo>
                  <a:pt x="3750739" y="3838401"/>
                  <a:pt x="3756173" y="3841288"/>
                  <a:pt x="3757134" y="3844945"/>
                </a:cubicBezTo>
                <a:cubicBezTo>
                  <a:pt x="3757711" y="3846774"/>
                  <a:pt x="3757615" y="3849084"/>
                  <a:pt x="3756653" y="3851730"/>
                </a:cubicBezTo>
                <a:lnTo>
                  <a:pt x="3754922" y="3855965"/>
                </a:lnTo>
                <a:lnTo>
                  <a:pt x="3752614" y="3860295"/>
                </a:lnTo>
                <a:cubicBezTo>
                  <a:pt x="3746123" y="3871893"/>
                  <a:pt x="3737804" y="3882960"/>
                  <a:pt x="3729533" y="3893691"/>
                </a:cubicBezTo>
                <a:cubicBezTo>
                  <a:pt x="3721166" y="3904422"/>
                  <a:pt x="3712414" y="3914816"/>
                  <a:pt x="3703519" y="3924969"/>
                </a:cubicBezTo>
                <a:cubicBezTo>
                  <a:pt x="3696402" y="3933101"/>
                  <a:pt x="3689141" y="3940993"/>
                  <a:pt x="3681832" y="3948740"/>
                </a:cubicBezTo>
                <a:cubicBezTo>
                  <a:pt x="3682601" y="3947778"/>
                  <a:pt x="3683371" y="3946864"/>
                  <a:pt x="3684188" y="3945901"/>
                </a:cubicBezTo>
                <a:cubicBezTo>
                  <a:pt x="3691738" y="3936374"/>
                  <a:pt x="3699576" y="3925883"/>
                  <a:pt x="3705779" y="3913083"/>
                </a:cubicBezTo>
                <a:cubicBezTo>
                  <a:pt x="3707269" y="3909859"/>
                  <a:pt x="3708616" y="3906443"/>
                  <a:pt x="3709578" y="3902737"/>
                </a:cubicBezTo>
                <a:cubicBezTo>
                  <a:pt x="3710395" y="3899032"/>
                  <a:pt x="3711164" y="3894798"/>
                  <a:pt x="3709433" y="3890034"/>
                </a:cubicBezTo>
                <a:cubicBezTo>
                  <a:pt x="3708519" y="3887676"/>
                  <a:pt x="3706644" y="3885463"/>
                  <a:pt x="3704384" y="3884211"/>
                </a:cubicBezTo>
                <a:cubicBezTo>
                  <a:pt x="3702172" y="3882912"/>
                  <a:pt x="3699816" y="3882431"/>
                  <a:pt x="3697652" y="3882239"/>
                </a:cubicBezTo>
                <a:cubicBezTo>
                  <a:pt x="3693276" y="3881902"/>
                  <a:pt x="3689237" y="3882527"/>
                  <a:pt x="3685294" y="3883489"/>
                </a:cubicBezTo>
                <a:cubicBezTo>
                  <a:pt x="3669810" y="3887580"/>
                  <a:pt x="3655577" y="3895279"/>
                  <a:pt x="3641151" y="3903652"/>
                </a:cubicBezTo>
                <a:cubicBezTo>
                  <a:pt x="3626774" y="3912121"/>
                  <a:pt x="3612348" y="3921890"/>
                  <a:pt x="3598018" y="3932668"/>
                </a:cubicBezTo>
                <a:cubicBezTo>
                  <a:pt x="3569263" y="3954178"/>
                  <a:pt x="3540892" y="3979874"/>
                  <a:pt x="3511127" y="4006677"/>
                </a:cubicBezTo>
                <a:cubicBezTo>
                  <a:pt x="3481410" y="4033528"/>
                  <a:pt x="3450203" y="4061582"/>
                  <a:pt x="3415436" y="4087375"/>
                </a:cubicBezTo>
                <a:cubicBezTo>
                  <a:pt x="3380574" y="4113023"/>
                  <a:pt x="3342202" y="4136698"/>
                  <a:pt x="3302675" y="4160517"/>
                </a:cubicBezTo>
                <a:cubicBezTo>
                  <a:pt x="3282864" y="4172403"/>
                  <a:pt x="3263245" y="4184144"/>
                  <a:pt x="3243914" y="4195741"/>
                </a:cubicBezTo>
                <a:cubicBezTo>
                  <a:pt x="3224680" y="4207531"/>
                  <a:pt x="3205638" y="4219032"/>
                  <a:pt x="3187750" y="4232217"/>
                </a:cubicBezTo>
                <a:lnTo>
                  <a:pt x="3181114" y="4237317"/>
                </a:lnTo>
                <a:cubicBezTo>
                  <a:pt x="3178902" y="4239001"/>
                  <a:pt x="3176835" y="4241070"/>
                  <a:pt x="3174719" y="4242947"/>
                </a:cubicBezTo>
                <a:cubicBezTo>
                  <a:pt x="3172555" y="4244776"/>
                  <a:pt x="3170584" y="4246941"/>
                  <a:pt x="3168660" y="4249251"/>
                </a:cubicBezTo>
                <a:cubicBezTo>
                  <a:pt x="3167698" y="4250454"/>
                  <a:pt x="3166785" y="4251705"/>
                  <a:pt x="3165919" y="4253149"/>
                </a:cubicBezTo>
                <a:cubicBezTo>
                  <a:pt x="3165150" y="4254689"/>
                  <a:pt x="3164140" y="4256228"/>
                  <a:pt x="3163707" y="4259068"/>
                </a:cubicBezTo>
                <a:cubicBezTo>
                  <a:pt x="3163371" y="4261618"/>
                  <a:pt x="3163948" y="4264313"/>
                  <a:pt x="3165583" y="4266286"/>
                </a:cubicBezTo>
                <a:cubicBezTo>
                  <a:pt x="3167121" y="4268307"/>
                  <a:pt x="3169718" y="4269558"/>
                  <a:pt x="3171834" y="4270135"/>
                </a:cubicBezTo>
                <a:cubicBezTo>
                  <a:pt x="3175440" y="4271001"/>
                  <a:pt x="3178470" y="4270953"/>
                  <a:pt x="3181403" y="4270809"/>
                </a:cubicBezTo>
                <a:cubicBezTo>
                  <a:pt x="3187269" y="4270424"/>
                  <a:pt x="3192655" y="4269269"/>
                  <a:pt x="3197896" y="4267922"/>
                </a:cubicBezTo>
                <a:cubicBezTo>
                  <a:pt x="3208427" y="4265131"/>
                  <a:pt x="3218333" y="4261474"/>
                  <a:pt x="3227998" y="4257143"/>
                </a:cubicBezTo>
                <a:cubicBezTo>
                  <a:pt x="3232614" y="4255025"/>
                  <a:pt x="3237134" y="4252812"/>
                  <a:pt x="3241606" y="4250598"/>
                </a:cubicBezTo>
                <a:cubicBezTo>
                  <a:pt x="3236605" y="4253389"/>
                  <a:pt x="3231701" y="4256132"/>
                  <a:pt x="3226940" y="4258731"/>
                </a:cubicBezTo>
                <a:cubicBezTo>
                  <a:pt x="3214246" y="4265660"/>
                  <a:pt x="3202368" y="4271916"/>
                  <a:pt x="3191212" y="4277209"/>
                </a:cubicBezTo>
                <a:cubicBezTo>
                  <a:pt x="3180104" y="4282550"/>
                  <a:pt x="3169718" y="4286640"/>
                  <a:pt x="3159860" y="4288613"/>
                </a:cubicBezTo>
                <a:cubicBezTo>
                  <a:pt x="3150099" y="4290634"/>
                  <a:pt x="3141059" y="4291019"/>
                  <a:pt x="3133846" y="4289143"/>
                </a:cubicBezTo>
                <a:cubicBezTo>
                  <a:pt x="3130288" y="4288180"/>
                  <a:pt x="3127162" y="4286544"/>
                  <a:pt x="3125383" y="4284234"/>
                </a:cubicBezTo>
                <a:cubicBezTo>
                  <a:pt x="3123508" y="4281973"/>
                  <a:pt x="3123219" y="4279134"/>
                  <a:pt x="3123604" y="4276679"/>
                </a:cubicBezTo>
                <a:cubicBezTo>
                  <a:pt x="3124565" y="4271723"/>
                  <a:pt x="3127114" y="4268307"/>
                  <a:pt x="3128605" y="4266093"/>
                </a:cubicBezTo>
                <a:cubicBezTo>
                  <a:pt x="3130192" y="4263880"/>
                  <a:pt x="3131057" y="4262773"/>
                  <a:pt x="3130913" y="4262628"/>
                </a:cubicBezTo>
                <a:cubicBezTo>
                  <a:pt x="3130816" y="4262532"/>
                  <a:pt x="3129662" y="4263398"/>
                  <a:pt x="3127739" y="4265419"/>
                </a:cubicBezTo>
                <a:cubicBezTo>
                  <a:pt x="3125912" y="4267489"/>
                  <a:pt x="3122979" y="4270664"/>
                  <a:pt x="3121488" y="4276294"/>
                </a:cubicBezTo>
                <a:cubicBezTo>
                  <a:pt x="3120815" y="4279037"/>
                  <a:pt x="3120959" y="4282791"/>
                  <a:pt x="3123267" y="4285822"/>
                </a:cubicBezTo>
                <a:cubicBezTo>
                  <a:pt x="3125431" y="4288902"/>
                  <a:pt x="3129037" y="4290923"/>
                  <a:pt x="3132980" y="4292174"/>
                </a:cubicBezTo>
                <a:cubicBezTo>
                  <a:pt x="3140915" y="4294628"/>
                  <a:pt x="3150484" y="4294484"/>
                  <a:pt x="3160726" y="4292704"/>
                </a:cubicBezTo>
                <a:cubicBezTo>
                  <a:pt x="3171016" y="4290971"/>
                  <a:pt x="3182028" y="4286977"/>
                  <a:pt x="3193376" y="4281877"/>
                </a:cubicBezTo>
                <a:cubicBezTo>
                  <a:pt x="3197800" y="4279903"/>
                  <a:pt x="3202368" y="4277738"/>
                  <a:pt x="3207033" y="4275476"/>
                </a:cubicBezTo>
                <a:lnTo>
                  <a:pt x="3201503" y="4279663"/>
                </a:lnTo>
                <a:close/>
                <a:moveTo>
                  <a:pt x="3992370" y="3609830"/>
                </a:moveTo>
                <a:lnTo>
                  <a:pt x="3992370" y="3609830"/>
                </a:lnTo>
                <a:cubicBezTo>
                  <a:pt x="3992370" y="3609830"/>
                  <a:pt x="3992178" y="3609638"/>
                  <a:pt x="3992755" y="3610215"/>
                </a:cubicBezTo>
                <a:lnTo>
                  <a:pt x="3992947" y="3610456"/>
                </a:lnTo>
                <a:lnTo>
                  <a:pt x="3992322" y="3609830"/>
                </a:lnTo>
                <a:cubicBezTo>
                  <a:pt x="3992322" y="3609830"/>
                  <a:pt x="3992322" y="3609830"/>
                  <a:pt x="3992322" y="3609830"/>
                </a:cubicBezTo>
                <a:lnTo>
                  <a:pt x="3992322" y="3609830"/>
                </a:lnTo>
                <a:close/>
                <a:moveTo>
                  <a:pt x="3999679" y="3616615"/>
                </a:moveTo>
                <a:cubicBezTo>
                  <a:pt x="3999679" y="3616615"/>
                  <a:pt x="3999679" y="3616615"/>
                  <a:pt x="3999679" y="3616615"/>
                </a:cubicBezTo>
                <a:lnTo>
                  <a:pt x="3999679" y="3616615"/>
                </a:lnTo>
                <a:close/>
                <a:moveTo>
                  <a:pt x="3998958" y="3616711"/>
                </a:moveTo>
                <a:lnTo>
                  <a:pt x="3996409" y="3614065"/>
                </a:lnTo>
                <a:cubicBezTo>
                  <a:pt x="3996794" y="3614353"/>
                  <a:pt x="3997275" y="3614690"/>
                  <a:pt x="3997948" y="3615268"/>
                </a:cubicBezTo>
                <a:lnTo>
                  <a:pt x="3999198" y="3616278"/>
                </a:lnTo>
                <a:cubicBezTo>
                  <a:pt x="3999198" y="3616278"/>
                  <a:pt x="3999006" y="3616567"/>
                  <a:pt x="3998910" y="3616711"/>
                </a:cubicBezTo>
                <a:close/>
                <a:moveTo>
                  <a:pt x="4005930" y="3629704"/>
                </a:moveTo>
                <a:cubicBezTo>
                  <a:pt x="4003622" y="3633313"/>
                  <a:pt x="4001314" y="3636874"/>
                  <a:pt x="3999198" y="3640868"/>
                </a:cubicBezTo>
                <a:cubicBezTo>
                  <a:pt x="3998669" y="3641926"/>
                  <a:pt x="3998141" y="3642889"/>
                  <a:pt x="3997611" y="3644188"/>
                </a:cubicBezTo>
                <a:cubicBezTo>
                  <a:pt x="3997371" y="3644717"/>
                  <a:pt x="3997082" y="3645632"/>
                  <a:pt x="3996842" y="3646498"/>
                </a:cubicBezTo>
                <a:cubicBezTo>
                  <a:pt x="3996698" y="3646979"/>
                  <a:pt x="3996602" y="3648230"/>
                  <a:pt x="3996698" y="3649048"/>
                </a:cubicBezTo>
                <a:lnTo>
                  <a:pt x="3996794" y="3649192"/>
                </a:lnTo>
                <a:lnTo>
                  <a:pt x="3996986" y="3649096"/>
                </a:lnTo>
                <a:lnTo>
                  <a:pt x="3996842" y="3649289"/>
                </a:lnTo>
                <a:cubicBezTo>
                  <a:pt x="3990831" y="3656795"/>
                  <a:pt x="3984724" y="3664350"/>
                  <a:pt x="3978617" y="3671953"/>
                </a:cubicBezTo>
                <a:lnTo>
                  <a:pt x="3978473" y="3671953"/>
                </a:lnTo>
                <a:cubicBezTo>
                  <a:pt x="3978473" y="3671953"/>
                  <a:pt x="3976598" y="3672098"/>
                  <a:pt x="3976598" y="3672098"/>
                </a:cubicBezTo>
                <a:lnTo>
                  <a:pt x="3976358" y="3672098"/>
                </a:lnTo>
                <a:cubicBezTo>
                  <a:pt x="3976358" y="3672098"/>
                  <a:pt x="3976117" y="3671809"/>
                  <a:pt x="3976117" y="3671809"/>
                </a:cubicBezTo>
                <a:cubicBezTo>
                  <a:pt x="3975781" y="3672675"/>
                  <a:pt x="3977079" y="3668344"/>
                  <a:pt x="3978473" y="3665746"/>
                </a:cubicBezTo>
                <a:cubicBezTo>
                  <a:pt x="3981358" y="3659923"/>
                  <a:pt x="3985013" y="3653812"/>
                  <a:pt x="3988812" y="3648374"/>
                </a:cubicBezTo>
                <a:cubicBezTo>
                  <a:pt x="3996890" y="3636922"/>
                  <a:pt x="4004969" y="3625469"/>
                  <a:pt x="4013095" y="3613969"/>
                </a:cubicBezTo>
                <a:lnTo>
                  <a:pt x="4025261" y="3596549"/>
                </a:lnTo>
                <a:lnTo>
                  <a:pt x="4031271" y="3587599"/>
                </a:lnTo>
                <a:lnTo>
                  <a:pt x="4032762" y="3585193"/>
                </a:lnTo>
                <a:cubicBezTo>
                  <a:pt x="4033003" y="3584808"/>
                  <a:pt x="4033291" y="3584326"/>
                  <a:pt x="4033532" y="3583845"/>
                </a:cubicBezTo>
                <a:cubicBezTo>
                  <a:pt x="4033628" y="3583653"/>
                  <a:pt x="4033820" y="3583364"/>
                  <a:pt x="4034012" y="3582835"/>
                </a:cubicBezTo>
                <a:lnTo>
                  <a:pt x="4034301" y="3582161"/>
                </a:lnTo>
                <a:cubicBezTo>
                  <a:pt x="4034445" y="3581872"/>
                  <a:pt x="4034782" y="3580092"/>
                  <a:pt x="4034301" y="3578841"/>
                </a:cubicBezTo>
                <a:cubicBezTo>
                  <a:pt x="4034109" y="3578167"/>
                  <a:pt x="4033772" y="3577590"/>
                  <a:pt x="4033387" y="3577157"/>
                </a:cubicBezTo>
                <a:cubicBezTo>
                  <a:pt x="4033051" y="3576723"/>
                  <a:pt x="4032714" y="3576387"/>
                  <a:pt x="4032089" y="3576002"/>
                </a:cubicBezTo>
                <a:cubicBezTo>
                  <a:pt x="4031512" y="3575665"/>
                  <a:pt x="4030887" y="3575424"/>
                  <a:pt x="4030262" y="3575328"/>
                </a:cubicBezTo>
                <a:lnTo>
                  <a:pt x="4029300" y="3575232"/>
                </a:lnTo>
                <a:lnTo>
                  <a:pt x="4028386" y="3575328"/>
                </a:lnTo>
                <a:lnTo>
                  <a:pt x="4027954" y="3575424"/>
                </a:lnTo>
                <a:cubicBezTo>
                  <a:pt x="4027328" y="3575569"/>
                  <a:pt x="4027040" y="3575713"/>
                  <a:pt x="4026751" y="3575857"/>
                </a:cubicBezTo>
                <a:cubicBezTo>
                  <a:pt x="4026222" y="3576098"/>
                  <a:pt x="4025886" y="3576339"/>
                  <a:pt x="4025597" y="3576483"/>
                </a:cubicBezTo>
                <a:cubicBezTo>
                  <a:pt x="4025020" y="3576868"/>
                  <a:pt x="4024588" y="3577205"/>
                  <a:pt x="4024155" y="3577542"/>
                </a:cubicBezTo>
                <a:cubicBezTo>
                  <a:pt x="4023337" y="3578215"/>
                  <a:pt x="4022616" y="3578793"/>
                  <a:pt x="4021895" y="3579466"/>
                </a:cubicBezTo>
                <a:cubicBezTo>
                  <a:pt x="4016317" y="3584471"/>
                  <a:pt x="4011460" y="3589524"/>
                  <a:pt x="4006459" y="3594721"/>
                </a:cubicBezTo>
                <a:lnTo>
                  <a:pt x="3999054" y="3602516"/>
                </a:lnTo>
                <a:lnTo>
                  <a:pt x="3995400" y="3606462"/>
                </a:lnTo>
                <a:lnTo>
                  <a:pt x="3993572" y="3608483"/>
                </a:lnTo>
                <a:lnTo>
                  <a:pt x="3992659" y="3609493"/>
                </a:lnTo>
                <a:lnTo>
                  <a:pt x="3992178" y="3610071"/>
                </a:lnTo>
                <a:lnTo>
                  <a:pt x="3991841" y="3610456"/>
                </a:lnTo>
                <a:cubicBezTo>
                  <a:pt x="3991841" y="3610456"/>
                  <a:pt x="3991457" y="3610841"/>
                  <a:pt x="3991216" y="3611033"/>
                </a:cubicBezTo>
                <a:cubicBezTo>
                  <a:pt x="3989533" y="3610311"/>
                  <a:pt x="3989485" y="3610889"/>
                  <a:pt x="3990206" y="3611996"/>
                </a:cubicBezTo>
                <a:cubicBezTo>
                  <a:pt x="3983715" y="3618251"/>
                  <a:pt x="3977223" y="3624555"/>
                  <a:pt x="3970828" y="3631003"/>
                </a:cubicBezTo>
                <a:cubicBezTo>
                  <a:pt x="3963759" y="3638269"/>
                  <a:pt x="3956642" y="3645439"/>
                  <a:pt x="3950151" y="3653860"/>
                </a:cubicBezTo>
                <a:cubicBezTo>
                  <a:pt x="3946929" y="3658047"/>
                  <a:pt x="3943948" y="3663436"/>
                  <a:pt x="3942313" y="3668393"/>
                </a:cubicBezTo>
                <a:cubicBezTo>
                  <a:pt x="3940630" y="3673156"/>
                  <a:pt x="3938851" y="3677343"/>
                  <a:pt x="3936542" y="3681626"/>
                </a:cubicBezTo>
                <a:cubicBezTo>
                  <a:pt x="3931926" y="3690191"/>
                  <a:pt x="3926252" y="3698323"/>
                  <a:pt x="3920241" y="3706311"/>
                </a:cubicBezTo>
                <a:cubicBezTo>
                  <a:pt x="3908124" y="3722335"/>
                  <a:pt x="3895045" y="3737878"/>
                  <a:pt x="3881917" y="3753469"/>
                </a:cubicBezTo>
                <a:cubicBezTo>
                  <a:pt x="3868693" y="3769012"/>
                  <a:pt x="3855422" y="3784651"/>
                  <a:pt x="3841862" y="3799953"/>
                </a:cubicBezTo>
                <a:cubicBezTo>
                  <a:pt x="3835755" y="3806882"/>
                  <a:pt x="3829600" y="3813715"/>
                  <a:pt x="3823348" y="3820596"/>
                </a:cubicBezTo>
                <a:cubicBezTo>
                  <a:pt x="3827772" y="3814774"/>
                  <a:pt x="3832148" y="3808855"/>
                  <a:pt x="3836380" y="3802792"/>
                </a:cubicBezTo>
                <a:cubicBezTo>
                  <a:pt x="3838736" y="3799327"/>
                  <a:pt x="3840948" y="3795670"/>
                  <a:pt x="3843256" y="3792109"/>
                </a:cubicBezTo>
                <a:lnTo>
                  <a:pt x="3846334" y="3786191"/>
                </a:lnTo>
                <a:cubicBezTo>
                  <a:pt x="3847151" y="3784025"/>
                  <a:pt x="3848161" y="3782052"/>
                  <a:pt x="3848786" y="3779742"/>
                </a:cubicBezTo>
                <a:cubicBezTo>
                  <a:pt x="3850229" y="3775315"/>
                  <a:pt x="3850806" y="3770118"/>
                  <a:pt x="3849747" y="3764969"/>
                </a:cubicBezTo>
                <a:cubicBezTo>
                  <a:pt x="3848690" y="3759773"/>
                  <a:pt x="3845708" y="3755201"/>
                  <a:pt x="3842486" y="3751833"/>
                </a:cubicBezTo>
                <a:cubicBezTo>
                  <a:pt x="3835899" y="3745144"/>
                  <a:pt x="3828734" y="3741150"/>
                  <a:pt x="3823541" y="3735953"/>
                </a:cubicBezTo>
                <a:cubicBezTo>
                  <a:pt x="3817963" y="3730467"/>
                  <a:pt x="3812769" y="3724115"/>
                  <a:pt x="3806567" y="3718149"/>
                </a:cubicBezTo>
                <a:cubicBezTo>
                  <a:pt x="3800460" y="3712230"/>
                  <a:pt x="3792910" y="3706504"/>
                  <a:pt x="3783870" y="3703953"/>
                </a:cubicBezTo>
                <a:cubicBezTo>
                  <a:pt x="3774878" y="3701355"/>
                  <a:pt x="3765405" y="3701788"/>
                  <a:pt x="3757038" y="3703953"/>
                </a:cubicBezTo>
                <a:cubicBezTo>
                  <a:pt x="3748527" y="3706022"/>
                  <a:pt x="3740593" y="3709198"/>
                  <a:pt x="3733139" y="3713048"/>
                </a:cubicBezTo>
                <a:cubicBezTo>
                  <a:pt x="3725590" y="3716705"/>
                  <a:pt x="3718425" y="3721228"/>
                  <a:pt x="3711597" y="3725704"/>
                </a:cubicBezTo>
                <a:cubicBezTo>
                  <a:pt x="3684332" y="3743893"/>
                  <a:pt x="3658558" y="3763574"/>
                  <a:pt x="3633361" y="3783881"/>
                </a:cubicBezTo>
                <a:cubicBezTo>
                  <a:pt x="3608213" y="3804236"/>
                  <a:pt x="3583881" y="3825505"/>
                  <a:pt x="3561088" y="3848362"/>
                </a:cubicBezTo>
                <a:cubicBezTo>
                  <a:pt x="3549596" y="3859670"/>
                  <a:pt x="3538825" y="3871748"/>
                  <a:pt x="3528486" y="3884211"/>
                </a:cubicBezTo>
                <a:cubicBezTo>
                  <a:pt x="3518388" y="3897059"/>
                  <a:pt x="3509396" y="3910437"/>
                  <a:pt x="3501510" y="3924584"/>
                </a:cubicBezTo>
                <a:cubicBezTo>
                  <a:pt x="3493528" y="3938635"/>
                  <a:pt x="3487132" y="3953456"/>
                  <a:pt x="3480641" y="3967748"/>
                </a:cubicBezTo>
                <a:cubicBezTo>
                  <a:pt x="3474197" y="3982040"/>
                  <a:pt x="3467081" y="3995658"/>
                  <a:pt x="3457993" y="4008073"/>
                </a:cubicBezTo>
                <a:cubicBezTo>
                  <a:pt x="3453569" y="4014328"/>
                  <a:pt x="3448616" y="4020247"/>
                  <a:pt x="3443519" y="4025973"/>
                </a:cubicBezTo>
                <a:cubicBezTo>
                  <a:pt x="3438373" y="4031700"/>
                  <a:pt x="3432699" y="4036993"/>
                  <a:pt x="3427314" y="4042527"/>
                </a:cubicBezTo>
                <a:cubicBezTo>
                  <a:pt x="3422072" y="4048205"/>
                  <a:pt x="3415869" y="4052921"/>
                  <a:pt x="3410147" y="4058070"/>
                </a:cubicBezTo>
                <a:lnTo>
                  <a:pt x="3401395" y="4065673"/>
                </a:lnTo>
                <a:lnTo>
                  <a:pt x="3397212" y="4068897"/>
                </a:lnTo>
                <a:cubicBezTo>
                  <a:pt x="3401347" y="4065047"/>
                  <a:pt x="3405435" y="4061149"/>
                  <a:pt x="3409426" y="4057107"/>
                </a:cubicBezTo>
                <a:cubicBezTo>
                  <a:pt x="3413561" y="4052969"/>
                  <a:pt x="3417360" y="4048542"/>
                  <a:pt x="3421351" y="4044259"/>
                </a:cubicBezTo>
                <a:cubicBezTo>
                  <a:pt x="3425006" y="4039688"/>
                  <a:pt x="3428901" y="4035405"/>
                  <a:pt x="3432363" y="4030593"/>
                </a:cubicBezTo>
                <a:cubicBezTo>
                  <a:pt x="3439479" y="4021209"/>
                  <a:pt x="3445634" y="4010864"/>
                  <a:pt x="3449626" y="3999555"/>
                </a:cubicBezTo>
                <a:cubicBezTo>
                  <a:pt x="3453761" y="3988343"/>
                  <a:pt x="3455444" y="3976506"/>
                  <a:pt x="3457223" y="3965535"/>
                </a:cubicBezTo>
                <a:cubicBezTo>
                  <a:pt x="3459002" y="3954515"/>
                  <a:pt x="3461551" y="3943977"/>
                  <a:pt x="3466071" y="3934112"/>
                </a:cubicBezTo>
                <a:cubicBezTo>
                  <a:pt x="3467273" y="3931706"/>
                  <a:pt x="3468331" y="3929204"/>
                  <a:pt x="3469629" y="3926798"/>
                </a:cubicBezTo>
                <a:lnTo>
                  <a:pt x="3473620" y="3919724"/>
                </a:lnTo>
                <a:cubicBezTo>
                  <a:pt x="3476746" y="3915249"/>
                  <a:pt x="3479727" y="3910726"/>
                  <a:pt x="3482997" y="3906299"/>
                </a:cubicBezTo>
                <a:lnTo>
                  <a:pt x="3493335" y="3893402"/>
                </a:lnTo>
                <a:lnTo>
                  <a:pt x="3504203" y="3880891"/>
                </a:lnTo>
                <a:cubicBezTo>
                  <a:pt x="3518869" y="3864386"/>
                  <a:pt x="3534208" y="3848554"/>
                  <a:pt x="3549740" y="3833156"/>
                </a:cubicBezTo>
                <a:cubicBezTo>
                  <a:pt x="3580804" y="3802359"/>
                  <a:pt x="3612636" y="3773054"/>
                  <a:pt x="3644710" y="3745000"/>
                </a:cubicBezTo>
                <a:cubicBezTo>
                  <a:pt x="3676831" y="3717090"/>
                  <a:pt x="3709096" y="3689902"/>
                  <a:pt x="3742853" y="3666468"/>
                </a:cubicBezTo>
                <a:cubicBezTo>
                  <a:pt x="3747084" y="3663532"/>
                  <a:pt x="3751460" y="3661030"/>
                  <a:pt x="3755692" y="3658287"/>
                </a:cubicBezTo>
                <a:cubicBezTo>
                  <a:pt x="3760068" y="3655785"/>
                  <a:pt x="3764588" y="3653716"/>
                  <a:pt x="3769012" y="3651406"/>
                </a:cubicBezTo>
                <a:cubicBezTo>
                  <a:pt x="3778196" y="3647797"/>
                  <a:pt x="3787573" y="3644380"/>
                  <a:pt x="3797334" y="3643659"/>
                </a:cubicBezTo>
                <a:cubicBezTo>
                  <a:pt x="3806999" y="3642600"/>
                  <a:pt x="3816761" y="3643322"/>
                  <a:pt x="3826474" y="3645150"/>
                </a:cubicBezTo>
                <a:cubicBezTo>
                  <a:pt x="3836235" y="3646883"/>
                  <a:pt x="3846045" y="3649818"/>
                  <a:pt x="3856720" y="3650540"/>
                </a:cubicBezTo>
                <a:cubicBezTo>
                  <a:pt x="3867395" y="3651406"/>
                  <a:pt x="3878792" y="3648808"/>
                  <a:pt x="3887832" y="3642985"/>
                </a:cubicBezTo>
                <a:cubicBezTo>
                  <a:pt x="3890092" y="3641590"/>
                  <a:pt x="3892111" y="3639905"/>
                  <a:pt x="3894275" y="3638365"/>
                </a:cubicBezTo>
                <a:cubicBezTo>
                  <a:pt x="3896487" y="3636922"/>
                  <a:pt x="3898362" y="3635045"/>
                  <a:pt x="3900189" y="3633120"/>
                </a:cubicBezTo>
                <a:lnTo>
                  <a:pt x="3902979" y="3630281"/>
                </a:lnTo>
                <a:lnTo>
                  <a:pt x="3905431" y="3627346"/>
                </a:lnTo>
                <a:lnTo>
                  <a:pt x="3910240" y="3621427"/>
                </a:lnTo>
                <a:cubicBezTo>
                  <a:pt x="3922309" y="3605307"/>
                  <a:pt x="3932744" y="3588609"/>
                  <a:pt x="3942890" y="3571911"/>
                </a:cubicBezTo>
                <a:cubicBezTo>
                  <a:pt x="3963086" y="3538468"/>
                  <a:pt x="3981695" y="3504976"/>
                  <a:pt x="3999823" y="3472014"/>
                </a:cubicBezTo>
                <a:cubicBezTo>
                  <a:pt x="4001987" y="3468020"/>
                  <a:pt x="4004151" y="3464171"/>
                  <a:pt x="4006315" y="3460225"/>
                </a:cubicBezTo>
                <a:cubicBezTo>
                  <a:pt x="4005978" y="3460898"/>
                  <a:pt x="4005642" y="3461572"/>
                  <a:pt x="4005353" y="3462246"/>
                </a:cubicBezTo>
                <a:cubicBezTo>
                  <a:pt x="4002180" y="3468694"/>
                  <a:pt x="3999295" y="3475286"/>
                  <a:pt x="3996265" y="3481831"/>
                </a:cubicBezTo>
                <a:cubicBezTo>
                  <a:pt x="3993188" y="3488375"/>
                  <a:pt x="3990398" y="3495064"/>
                  <a:pt x="3987610" y="3501752"/>
                </a:cubicBezTo>
                <a:cubicBezTo>
                  <a:pt x="3981935" y="3514985"/>
                  <a:pt x="3976117" y="3528892"/>
                  <a:pt x="3974242" y="3544339"/>
                </a:cubicBezTo>
                <a:cubicBezTo>
                  <a:pt x="3973857" y="3548236"/>
                  <a:pt x="3973665" y="3552230"/>
                  <a:pt x="3974434" y="3556513"/>
                </a:cubicBezTo>
                <a:cubicBezTo>
                  <a:pt x="3975155" y="3560651"/>
                  <a:pt x="3977127" y="3565559"/>
                  <a:pt x="3981599" y="3568591"/>
                </a:cubicBezTo>
                <a:cubicBezTo>
                  <a:pt x="3986119" y="3571478"/>
                  <a:pt x="3991264" y="3571575"/>
                  <a:pt x="3995351" y="3570805"/>
                </a:cubicBezTo>
                <a:cubicBezTo>
                  <a:pt x="3999583" y="3570083"/>
                  <a:pt x="4003334" y="3568543"/>
                  <a:pt x="4006892" y="3566859"/>
                </a:cubicBezTo>
                <a:cubicBezTo>
                  <a:pt x="4020981" y="3559881"/>
                  <a:pt x="4032425" y="3549873"/>
                  <a:pt x="4043389" y="3539478"/>
                </a:cubicBezTo>
                <a:cubicBezTo>
                  <a:pt x="4053199" y="3529903"/>
                  <a:pt x="4062431" y="3519749"/>
                  <a:pt x="4071279" y="3509259"/>
                </a:cubicBezTo>
                <a:cubicBezTo>
                  <a:pt x="4066711" y="3516092"/>
                  <a:pt x="4061998" y="3523070"/>
                  <a:pt x="4057238" y="3530288"/>
                </a:cubicBezTo>
                <a:cubicBezTo>
                  <a:pt x="4052333" y="3537794"/>
                  <a:pt x="4047332" y="3545493"/>
                  <a:pt x="4042187" y="3553337"/>
                </a:cubicBezTo>
                <a:cubicBezTo>
                  <a:pt x="4040937" y="3555358"/>
                  <a:pt x="4039686" y="3557379"/>
                  <a:pt x="4038388" y="3559400"/>
                </a:cubicBezTo>
                <a:lnTo>
                  <a:pt x="4036513" y="3562528"/>
                </a:lnTo>
                <a:cubicBezTo>
                  <a:pt x="4036176" y="3563106"/>
                  <a:pt x="4035888" y="3563539"/>
                  <a:pt x="4035551" y="3564212"/>
                </a:cubicBezTo>
                <a:lnTo>
                  <a:pt x="4035070" y="3565127"/>
                </a:lnTo>
                <a:lnTo>
                  <a:pt x="4034830" y="3565608"/>
                </a:lnTo>
                <a:cubicBezTo>
                  <a:pt x="4034686" y="3565945"/>
                  <a:pt x="4034397" y="3566618"/>
                  <a:pt x="4034301" y="3567196"/>
                </a:cubicBezTo>
                <a:cubicBezTo>
                  <a:pt x="4034157" y="3567773"/>
                  <a:pt x="4034060" y="3568351"/>
                  <a:pt x="4034060" y="3568928"/>
                </a:cubicBezTo>
                <a:cubicBezTo>
                  <a:pt x="4034060" y="3569650"/>
                  <a:pt x="4034397" y="3570757"/>
                  <a:pt x="4034878" y="3571575"/>
                </a:cubicBezTo>
                <a:lnTo>
                  <a:pt x="4035743" y="3572681"/>
                </a:lnTo>
                <a:cubicBezTo>
                  <a:pt x="4036176" y="3573067"/>
                  <a:pt x="4036705" y="3573451"/>
                  <a:pt x="4037330" y="3573740"/>
                </a:cubicBezTo>
                <a:cubicBezTo>
                  <a:pt x="4038484" y="3574317"/>
                  <a:pt x="4040263" y="3574270"/>
                  <a:pt x="4040263" y="3574173"/>
                </a:cubicBezTo>
                <a:lnTo>
                  <a:pt x="4041466" y="3573884"/>
                </a:lnTo>
                <a:cubicBezTo>
                  <a:pt x="4042427" y="3573548"/>
                  <a:pt x="4042427" y="3573451"/>
                  <a:pt x="4042764" y="3573307"/>
                </a:cubicBezTo>
                <a:cubicBezTo>
                  <a:pt x="4043966" y="3572585"/>
                  <a:pt x="4044399" y="3572152"/>
                  <a:pt x="4045024" y="3571671"/>
                </a:cubicBezTo>
                <a:cubicBezTo>
                  <a:pt x="4046178" y="3570708"/>
                  <a:pt x="4047044" y="3569842"/>
                  <a:pt x="4048005" y="3568928"/>
                </a:cubicBezTo>
                <a:cubicBezTo>
                  <a:pt x="4048486" y="3568447"/>
                  <a:pt x="4048967" y="3567918"/>
                  <a:pt x="4049448" y="3567436"/>
                </a:cubicBezTo>
                <a:cubicBezTo>
                  <a:pt x="4049448" y="3567436"/>
                  <a:pt x="4049448" y="3567436"/>
                  <a:pt x="4049448" y="3567484"/>
                </a:cubicBezTo>
                <a:cubicBezTo>
                  <a:pt x="4039638" y="3581006"/>
                  <a:pt x="4029877" y="3594624"/>
                  <a:pt x="4020308" y="3608435"/>
                </a:cubicBezTo>
                <a:cubicBezTo>
                  <a:pt x="4015499" y="3615316"/>
                  <a:pt x="4010691" y="3622293"/>
                  <a:pt x="4006075" y="3629415"/>
                </a:cubicBezTo>
                <a:close/>
                <a:moveTo>
                  <a:pt x="4411486" y="2762819"/>
                </a:moveTo>
                <a:cubicBezTo>
                  <a:pt x="4409467" y="2778121"/>
                  <a:pt x="4407014" y="2793135"/>
                  <a:pt x="4404273" y="2808004"/>
                </a:cubicBezTo>
                <a:cubicBezTo>
                  <a:pt x="4404562" y="2805839"/>
                  <a:pt x="4404802" y="2803721"/>
                  <a:pt x="4405043" y="2801845"/>
                </a:cubicBezTo>
                <a:cubicBezTo>
                  <a:pt x="4405668" y="2796166"/>
                  <a:pt x="4406052" y="2791836"/>
                  <a:pt x="4406197" y="2788900"/>
                </a:cubicBezTo>
                <a:cubicBezTo>
                  <a:pt x="4406293" y="2785965"/>
                  <a:pt x="4406293" y="2784473"/>
                  <a:pt x="4406101" y="2784473"/>
                </a:cubicBezTo>
                <a:cubicBezTo>
                  <a:pt x="4405716" y="2784473"/>
                  <a:pt x="4404947" y="2790344"/>
                  <a:pt x="4402927" y="2801556"/>
                </a:cubicBezTo>
                <a:cubicBezTo>
                  <a:pt x="4400955" y="2812720"/>
                  <a:pt x="4397830" y="2829225"/>
                  <a:pt x="4393310" y="2850302"/>
                </a:cubicBezTo>
                <a:cubicBezTo>
                  <a:pt x="4392733" y="2852996"/>
                  <a:pt x="4392108" y="2855739"/>
                  <a:pt x="4391483" y="2858578"/>
                </a:cubicBezTo>
                <a:cubicBezTo>
                  <a:pt x="4392781" y="2851842"/>
                  <a:pt x="4394031" y="2844960"/>
                  <a:pt x="4394993" y="2837887"/>
                </a:cubicBezTo>
                <a:cubicBezTo>
                  <a:pt x="4396387" y="2828599"/>
                  <a:pt x="4396868" y="2818783"/>
                  <a:pt x="4396147" y="2808870"/>
                </a:cubicBezTo>
                <a:cubicBezTo>
                  <a:pt x="4395329" y="2798957"/>
                  <a:pt x="4393598" y="2788708"/>
                  <a:pt x="4388357" y="2778891"/>
                </a:cubicBezTo>
                <a:cubicBezTo>
                  <a:pt x="4385616" y="2774127"/>
                  <a:pt x="4381721" y="2769123"/>
                  <a:pt x="4375374" y="2766717"/>
                </a:cubicBezTo>
                <a:cubicBezTo>
                  <a:pt x="4372296" y="2765514"/>
                  <a:pt x="4368786" y="2765225"/>
                  <a:pt x="4365612" y="2765803"/>
                </a:cubicBezTo>
                <a:cubicBezTo>
                  <a:pt x="4362439" y="2766380"/>
                  <a:pt x="4359505" y="2767439"/>
                  <a:pt x="4356957" y="2768930"/>
                </a:cubicBezTo>
                <a:cubicBezTo>
                  <a:pt x="4351764" y="2771818"/>
                  <a:pt x="4347676" y="2775764"/>
                  <a:pt x="4343926" y="2779806"/>
                </a:cubicBezTo>
                <a:cubicBezTo>
                  <a:pt x="4340175" y="2783896"/>
                  <a:pt x="4337338" y="2788419"/>
                  <a:pt x="4334020" y="2792798"/>
                </a:cubicBezTo>
                <a:cubicBezTo>
                  <a:pt x="4321710" y="2810795"/>
                  <a:pt x="4312333" y="2830813"/>
                  <a:pt x="4303389" y="2851456"/>
                </a:cubicBezTo>
                <a:cubicBezTo>
                  <a:pt x="4298436" y="2862909"/>
                  <a:pt x="4293772" y="2874650"/>
                  <a:pt x="4289204" y="2886536"/>
                </a:cubicBezTo>
                <a:cubicBezTo>
                  <a:pt x="4293724" y="2873014"/>
                  <a:pt x="4298196" y="2859878"/>
                  <a:pt x="4302668" y="2847270"/>
                </a:cubicBezTo>
                <a:cubicBezTo>
                  <a:pt x="4315651" y="2811084"/>
                  <a:pt x="4328490" y="2778506"/>
                  <a:pt x="4344454" y="2752714"/>
                </a:cubicBezTo>
                <a:cubicBezTo>
                  <a:pt x="4346474" y="2749538"/>
                  <a:pt x="4348446" y="2746362"/>
                  <a:pt x="4350417" y="2743282"/>
                </a:cubicBezTo>
                <a:cubicBezTo>
                  <a:pt x="4352485" y="2740251"/>
                  <a:pt x="4354793" y="2737556"/>
                  <a:pt x="4356909" y="2734765"/>
                </a:cubicBezTo>
                <a:cubicBezTo>
                  <a:pt x="4361044" y="2729135"/>
                  <a:pt x="4365660" y="2724179"/>
                  <a:pt x="4370469" y="2720040"/>
                </a:cubicBezTo>
                <a:cubicBezTo>
                  <a:pt x="4375230" y="2715950"/>
                  <a:pt x="4380519" y="2712630"/>
                  <a:pt x="4385616" y="2712245"/>
                </a:cubicBezTo>
                <a:cubicBezTo>
                  <a:pt x="4390713" y="2711764"/>
                  <a:pt x="4394896" y="2715228"/>
                  <a:pt x="4397397" y="2719559"/>
                </a:cubicBezTo>
                <a:cubicBezTo>
                  <a:pt x="4400042" y="2723842"/>
                  <a:pt x="4401484" y="2728702"/>
                  <a:pt x="4402590" y="2733177"/>
                </a:cubicBezTo>
                <a:cubicBezTo>
                  <a:pt x="4403696" y="2737749"/>
                  <a:pt x="4404370" y="2742079"/>
                  <a:pt x="4404802" y="2746170"/>
                </a:cubicBezTo>
                <a:cubicBezTo>
                  <a:pt x="4405716" y="2754350"/>
                  <a:pt x="4405860" y="2761375"/>
                  <a:pt x="4405956" y="2767006"/>
                </a:cubicBezTo>
                <a:cubicBezTo>
                  <a:pt x="4406004" y="2778314"/>
                  <a:pt x="4405572" y="2784329"/>
                  <a:pt x="4406004" y="2784329"/>
                </a:cubicBezTo>
                <a:cubicBezTo>
                  <a:pt x="4406197" y="2784329"/>
                  <a:pt x="4406485" y="2782885"/>
                  <a:pt x="4406918" y="2779998"/>
                </a:cubicBezTo>
                <a:cubicBezTo>
                  <a:pt x="4407303" y="2777111"/>
                  <a:pt x="4407783" y="2772780"/>
                  <a:pt x="4408120" y="2767054"/>
                </a:cubicBezTo>
                <a:cubicBezTo>
                  <a:pt x="4408409" y="2761328"/>
                  <a:pt x="4408601" y="2754254"/>
                  <a:pt x="4407976" y="2745881"/>
                </a:cubicBezTo>
                <a:cubicBezTo>
                  <a:pt x="4407687" y="2741694"/>
                  <a:pt x="4407110" y="2737171"/>
                  <a:pt x="4406149" y="2732359"/>
                </a:cubicBezTo>
                <a:cubicBezTo>
                  <a:pt x="4405091" y="2727595"/>
                  <a:pt x="4403793" y="2722446"/>
                  <a:pt x="4400907" y="2717394"/>
                </a:cubicBezTo>
                <a:cubicBezTo>
                  <a:pt x="4399513" y="2714891"/>
                  <a:pt x="4397589" y="2712389"/>
                  <a:pt x="4394945" y="2710464"/>
                </a:cubicBezTo>
                <a:cubicBezTo>
                  <a:pt x="4392300" y="2708491"/>
                  <a:pt x="4388790" y="2707385"/>
                  <a:pt x="4385327" y="2707625"/>
                </a:cubicBezTo>
                <a:cubicBezTo>
                  <a:pt x="4378307" y="2708058"/>
                  <a:pt x="4372440" y="2711908"/>
                  <a:pt x="4367199" y="2716094"/>
                </a:cubicBezTo>
                <a:cubicBezTo>
                  <a:pt x="4361910" y="2720425"/>
                  <a:pt x="4357053" y="2725478"/>
                  <a:pt x="4352629" y="2731204"/>
                </a:cubicBezTo>
                <a:cubicBezTo>
                  <a:pt x="4350369" y="2734043"/>
                  <a:pt x="4347917" y="2736834"/>
                  <a:pt x="4345705" y="2739914"/>
                </a:cubicBezTo>
                <a:cubicBezTo>
                  <a:pt x="4343637" y="2743042"/>
                  <a:pt x="4341521" y="2746218"/>
                  <a:pt x="4339406" y="2749490"/>
                </a:cubicBezTo>
                <a:cubicBezTo>
                  <a:pt x="4322527" y="2775667"/>
                  <a:pt x="4309112" y="2808389"/>
                  <a:pt x="4295551" y="2844624"/>
                </a:cubicBezTo>
                <a:cubicBezTo>
                  <a:pt x="4290166" y="2859156"/>
                  <a:pt x="4284828" y="2874362"/>
                  <a:pt x="4279395" y="2890097"/>
                </a:cubicBezTo>
                <a:cubicBezTo>
                  <a:pt x="4284684" y="2873977"/>
                  <a:pt x="4289973" y="2857953"/>
                  <a:pt x="4295311" y="2842169"/>
                </a:cubicBezTo>
                <a:cubicBezTo>
                  <a:pt x="4304688" y="2814452"/>
                  <a:pt x="4314305" y="2787264"/>
                  <a:pt x="4325124" y="2761183"/>
                </a:cubicBezTo>
                <a:cubicBezTo>
                  <a:pt x="4336039" y="2735198"/>
                  <a:pt x="4348109" y="2709935"/>
                  <a:pt x="4364266" y="2688522"/>
                </a:cubicBezTo>
                <a:cubicBezTo>
                  <a:pt x="4368257" y="2683132"/>
                  <a:pt x="4372729" y="2678224"/>
                  <a:pt x="4377345" y="2673556"/>
                </a:cubicBezTo>
                <a:cubicBezTo>
                  <a:pt x="4379701" y="2671343"/>
                  <a:pt x="4382202" y="2669081"/>
                  <a:pt x="4384558" y="2667108"/>
                </a:cubicBezTo>
                <a:cubicBezTo>
                  <a:pt x="4386866" y="2665280"/>
                  <a:pt x="4389367" y="2663932"/>
                  <a:pt x="4391771" y="2663403"/>
                </a:cubicBezTo>
                <a:cubicBezTo>
                  <a:pt x="4396435" y="2662152"/>
                  <a:pt x="4400811" y="2664895"/>
                  <a:pt x="4404177" y="2669755"/>
                </a:cubicBezTo>
                <a:cubicBezTo>
                  <a:pt x="4407447" y="2674567"/>
                  <a:pt x="4409611" y="2680582"/>
                  <a:pt x="4411101" y="2686693"/>
                </a:cubicBezTo>
                <a:cubicBezTo>
                  <a:pt x="4414083" y="2699012"/>
                  <a:pt x="4414852" y="2712004"/>
                  <a:pt x="4414612" y="2724756"/>
                </a:cubicBezTo>
                <a:cubicBezTo>
                  <a:pt x="4414419" y="2737556"/>
                  <a:pt x="4413073" y="2750260"/>
                  <a:pt x="4411438" y="2762819"/>
                </a:cubicBezTo>
                <a:close/>
                <a:moveTo>
                  <a:pt x="4045890" y="3460850"/>
                </a:moveTo>
                <a:cubicBezTo>
                  <a:pt x="4046419" y="3463160"/>
                  <a:pt x="4047476" y="3465710"/>
                  <a:pt x="4049640" y="3468164"/>
                </a:cubicBezTo>
                <a:cubicBezTo>
                  <a:pt x="4050987" y="3469175"/>
                  <a:pt x="4052429" y="3470474"/>
                  <a:pt x="4054112" y="3470811"/>
                </a:cubicBezTo>
                <a:cubicBezTo>
                  <a:pt x="4054930" y="3471052"/>
                  <a:pt x="4055795" y="3471244"/>
                  <a:pt x="4056613" y="3471340"/>
                </a:cubicBezTo>
                <a:cubicBezTo>
                  <a:pt x="4057334" y="3471340"/>
                  <a:pt x="4058103" y="3471340"/>
                  <a:pt x="4058825" y="3471244"/>
                </a:cubicBezTo>
                <a:cubicBezTo>
                  <a:pt x="4061710" y="3470955"/>
                  <a:pt x="4063826" y="3470041"/>
                  <a:pt x="4065797" y="3469079"/>
                </a:cubicBezTo>
                <a:cubicBezTo>
                  <a:pt x="4069644" y="3467106"/>
                  <a:pt x="4072818" y="3464796"/>
                  <a:pt x="4075703" y="3462342"/>
                </a:cubicBezTo>
                <a:cubicBezTo>
                  <a:pt x="4077963" y="3460417"/>
                  <a:pt x="4080079" y="3458444"/>
                  <a:pt x="4082194" y="3456423"/>
                </a:cubicBezTo>
                <a:cubicBezTo>
                  <a:pt x="4076857" y="3462823"/>
                  <a:pt x="4071327" y="3469079"/>
                  <a:pt x="4065557" y="3474949"/>
                </a:cubicBezTo>
                <a:lnTo>
                  <a:pt x="4061133" y="3479425"/>
                </a:lnTo>
                <a:cubicBezTo>
                  <a:pt x="4059594" y="3480820"/>
                  <a:pt x="4058007" y="3482119"/>
                  <a:pt x="4056468" y="3483467"/>
                </a:cubicBezTo>
                <a:lnTo>
                  <a:pt x="4051804" y="3487461"/>
                </a:lnTo>
                <a:lnTo>
                  <a:pt x="4046803" y="3491118"/>
                </a:lnTo>
                <a:cubicBezTo>
                  <a:pt x="4043389" y="3493379"/>
                  <a:pt x="4039975" y="3495689"/>
                  <a:pt x="4036513" y="3497325"/>
                </a:cubicBezTo>
                <a:cubicBezTo>
                  <a:pt x="4035647" y="3497807"/>
                  <a:pt x="4034830" y="3498095"/>
                  <a:pt x="4033964" y="3498432"/>
                </a:cubicBezTo>
                <a:cubicBezTo>
                  <a:pt x="4033099" y="3498817"/>
                  <a:pt x="4032329" y="3499058"/>
                  <a:pt x="4031560" y="3499250"/>
                </a:cubicBezTo>
                <a:cubicBezTo>
                  <a:pt x="4029973" y="3499731"/>
                  <a:pt x="4028771" y="3499587"/>
                  <a:pt x="4028579" y="3499491"/>
                </a:cubicBezTo>
                <a:cubicBezTo>
                  <a:pt x="4028483" y="3499394"/>
                  <a:pt x="4028242" y="3499587"/>
                  <a:pt x="4027905" y="3498191"/>
                </a:cubicBezTo>
                <a:cubicBezTo>
                  <a:pt x="4027569" y="3497036"/>
                  <a:pt x="4027521" y="3495256"/>
                  <a:pt x="4027521" y="3493476"/>
                </a:cubicBezTo>
                <a:cubicBezTo>
                  <a:pt x="4027665" y="3489818"/>
                  <a:pt x="4028483" y="3485825"/>
                  <a:pt x="4029396" y="3481879"/>
                </a:cubicBezTo>
                <a:cubicBezTo>
                  <a:pt x="4031320" y="3473939"/>
                  <a:pt x="4034012" y="3465999"/>
                  <a:pt x="4036898" y="3458156"/>
                </a:cubicBezTo>
                <a:cubicBezTo>
                  <a:pt x="4042620" y="3442901"/>
                  <a:pt x="4049015" y="3427840"/>
                  <a:pt x="4055747" y="3412971"/>
                </a:cubicBezTo>
                <a:cubicBezTo>
                  <a:pt x="4052141" y="3422450"/>
                  <a:pt x="4048871" y="3432026"/>
                  <a:pt x="4046707" y="3442276"/>
                </a:cubicBezTo>
                <a:cubicBezTo>
                  <a:pt x="4046274" y="3444104"/>
                  <a:pt x="4045938" y="3446029"/>
                  <a:pt x="4045697" y="3448050"/>
                </a:cubicBezTo>
                <a:lnTo>
                  <a:pt x="4045313" y="3450985"/>
                </a:lnTo>
                <a:lnTo>
                  <a:pt x="4045216" y="3454113"/>
                </a:lnTo>
                <a:cubicBezTo>
                  <a:pt x="4045024" y="3456134"/>
                  <a:pt x="4045409" y="3458492"/>
                  <a:pt x="4045842" y="3460802"/>
                </a:cubicBezTo>
                <a:close/>
                <a:moveTo>
                  <a:pt x="4017663" y="3501127"/>
                </a:moveTo>
                <a:cubicBezTo>
                  <a:pt x="4017904" y="3501897"/>
                  <a:pt x="4018096" y="3502619"/>
                  <a:pt x="4018433" y="3503388"/>
                </a:cubicBezTo>
                <a:cubicBezTo>
                  <a:pt x="4018866" y="3504206"/>
                  <a:pt x="4019346" y="3505025"/>
                  <a:pt x="4019827" y="3505794"/>
                </a:cubicBezTo>
                <a:cubicBezTo>
                  <a:pt x="4021029" y="3507334"/>
                  <a:pt x="4022664" y="3508826"/>
                  <a:pt x="4024588" y="3509500"/>
                </a:cubicBezTo>
                <a:cubicBezTo>
                  <a:pt x="4028386" y="3510943"/>
                  <a:pt x="4031704" y="3510414"/>
                  <a:pt x="4034205" y="3509740"/>
                </a:cubicBezTo>
                <a:cubicBezTo>
                  <a:pt x="4035551" y="3509403"/>
                  <a:pt x="4036801" y="3509018"/>
                  <a:pt x="4037907" y="3508537"/>
                </a:cubicBezTo>
                <a:cubicBezTo>
                  <a:pt x="4039061" y="3508056"/>
                  <a:pt x="4040216" y="3507623"/>
                  <a:pt x="4041225" y="3507094"/>
                </a:cubicBezTo>
                <a:cubicBezTo>
                  <a:pt x="4045553" y="3505025"/>
                  <a:pt x="4049208" y="3502522"/>
                  <a:pt x="4052958" y="3500020"/>
                </a:cubicBezTo>
                <a:lnTo>
                  <a:pt x="4057815" y="3496459"/>
                </a:lnTo>
                <a:cubicBezTo>
                  <a:pt x="4056324" y="3497951"/>
                  <a:pt x="4054882" y="3499539"/>
                  <a:pt x="4053343" y="3500982"/>
                </a:cubicBezTo>
                <a:cubicBezTo>
                  <a:pt x="4045072" y="3508826"/>
                  <a:pt x="4036561" y="3516381"/>
                  <a:pt x="4027473" y="3522348"/>
                </a:cubicBezTo>
                <a:cubicBezTo>
                  <a:pt x="4023001" y="3525235"/>
                  <a:pt x="4018048" y="3527882"/>
                  <a:pt x="4014009" y="3528411"/>
                </a:cubicBezTo>
                <a:cubicBezTo>
                  <a:pt x="4011989" y="3528555"/>
                  <a:pt x="4010979" y="3528315"/>
                  <a:pt x="4010354" y="3527497"/>
                </a:cubicBezTo>
                <a:cubicBezTo>
                  <a:pt x="4009585" y="3526679"/>
                  <a:pt x="4008912" y="3524657"/>
                  <a:pt x="4008719" y="3522348"/>
                </a:cubicBezTo>
                <a:cubicBezTo>
                  <a:pt x="4008335" y="3517680"/>
                  <a:pt x="4009152" y="3512243"/>
                  <a:pt x="4010306" y="3507046"/>
                </a:cubicBezTo>
                <a:cubicBezTo>
                  <a:pt x="4011508" y="3501800"/>
                  <a:pt x="4013047" y="3496555"/>
                  <a:pt x="4014826" y="3491406"/>
                </a:cubicBezTo>
                <a:cubicBezTo>
                  <a:pt x="4016269" y="3487461"/>
                  <a:pt x="4017711" y="3483515"/>
                  <a:pt x="4019154" y="3479521"/>
                </a:cubicBezTo>
                <a:cubicBezTo>
                  <a:pt x="4018144" y="3483852"/>
                  <a:pt x="4017230" y="3488231"/>
                  <a:pt x="4016990" y="3493139"/>
                </a:cubicBezTo>
                <a:cubicBezTo>
                  <a:pt x="4016990" y="3495641"/>
                  <a:pt x="4016942" y="3498143"/>
                  <a:pt x="4017759" y="3501175"/>
                </a:cubicBezTo>
                <a:close/>
                <a:moveTo>
                  <a:pt x="4023963" y="3443720"/>
                </a:moveTo>
                <a:cubicBezTo>
                  <a:pt x="4021991" y="3448146"/>
                  <a:pt x="4019923" y="3452525"/>
                  <a:pt x="4018048" y="3457049"/>
                </a:cubicBezTo>
                <a:cubicBezTo>
                  <a:pt x="4015932" y="3462197"/>
                  <a:pt x="4013720" y="3467298"/>
                  <a:pt x="4011749" y="3472543"/>
                </a:cubicBezTo>
                <a:cubicBezTo>
                  <a:pt x="4009825" y="3477788"/>
                  <a:pt x="4007854" y="3483082"/>
                  <a:pt x="4005930" y="3488375"/>
                </a:cubicBezTo>
                <a:cubicBezTo>
                  <a:pt x="4004055" y="3493764"/>
                  <a:pt x="4002420" y="3499298"/>
                  <a:pt x="4001122" y="3504976"/>
                </a:cubicBezTo>
                <a:cubicBezTo>
                  <a:pt x="3999872" y="3510703"/>
                  <a:pt x="3998814" y="3516573"/>
                  <a:pt x="3999295" y="3523214"/>
                </a:cubicBezTo>
                <a:cubicBezTo>
                  <a:pt x="3999631" y="3526486"/>
                  <a:pt x="4000256" y="3530239"/>
                  <a:pt x="4003189" y="3533800"/>
                </a:cubicBezTo>
                <a:cubicBezTo>
                  <a:pt x="4004632" y="3535533"/>
                  <a:pt x="4006796" y="3536928"/>
                  <a:pt x="4008960" y="3537457"/>
                </a:cubicBezTo>
                <a:cubicBezTo>
                  <a:pt x="4011172" y="3538131"/>
                  <a:pt x="4013191" y="3538083"/>
                  <a:pt x="4015018" y="3537890"/>
                </a:cubicBezTo>
                <a:cubicBezTo>
                  <a:pt x="4022328" y="3536832"/>
                  <a:pt x="4027521" y="3533608"/>
                  <a:pt x="4032666" y="3530432"/>
                </a:cubicBezTo>
                <a:cubicBezTo>
                  <a:pt x="4042716" y="3523888"/>
                  <a:pt x="4051516" y="3516092"/>
                  <a:pt x="4060027" y="3508056"/>
                </a:cubicBezTo>
                <a:cubicBezTo>
                  <a:pt x="4062720" y="3505457"/>
                  <a:pt x="4065316" y="3502763"/>
                  <a:pt x="4067913" y="3500068"/>
                </a:cubicBezTo>
                <a:cubicBezTo>
                  <a:pt x="4058248" y="3511809"/>
                  <a:pt x="4048101" y="3523070"/>
                  <a:pt x="4037378" y="3533560"/>
                </a:cubicBezTo>
                <a:cubicBezTo>
                  <a:pt x="4026848" y="3543617"/>
                  <a:pt x="4015595" y="3553289"/>
                  <a:pt x="4003238" y="3559400"/>
                </a:cubicBezTo>
                <a:cubicBezTo>
                  <a:pt x="4000160" y="3560892"/>
                  <a:pt x="3996986" y="3562095"/>
                  <a:pt x="3993957" y="3562624"/>
                </a:cubicBezTo>
                <a:cubicBezTo>
                  <a:pt x="3990928" y="3563202"/>
                  <a:pt x="3988187" y="3562817"/>
                  <a:pt x="3986455" y="3561710"/>
                </a:cubicBezTo>
                <a:cubicBezTo>
                  <a:pt x="3984724" y="3560555"/>
                  <a:pt x="3983522" y="3558245"/>
                  <a:pt x="3982945" y="3555262"/>
                </a:cubicBezTo>
                <a:cubicBezTo>
                  <a:pt x="3982416" y="3552279"/>
                  <a:pt x="3982465" y="3548910"/>
                  <a:pt x="3982849" y="3545590"/>
                </a:cubicBezTo>
                <a:cubicBezTo>
                  <a:pt x="3983570" y="3538853"/>
                  <a:pt x="3985446" y="3531972"/>
                  <a:pt x="3987706" y="3525283"/>
                </a:cubicBezTo>
                <a:cubicBezTo>
                  <a:pt x="3989918" y="3518594"/>
                  <a:pt x="3992803" y="3512002"/>
                  <a:pt x="3995544" y="3505361"/>
                </a:cubicBezTo>
                <a:cubicBezTo>
                  <a:pt x="3998285" y="3498721"/>
                  <a:pt x="4001074" y="3492128"/>
                  <a:pt x="4004055" y="3485632"/>
                </a:cubicBezTo>
                <a:cubicBezTo>
                  <a:pt x="4007036" y="3479136"/>
                  <a:pt x="4009873" y="3472592"/>
                  <a:pt x="4013047" y="3466192"/>
                </a:cubicBezTo>
                <a:cubicBezTo>
                  <a:pt x="4016653" y="3458637"/>
                  <a:pt x="4020308" y="3451178"/>
                  <a:pt x="4024010" y="3443767"/>
                </a:cubicBezTo>
                <a:close/>
                <a:moveTo>
                  <a:pt x="4097534" y="3423894"/>
                </a:moveTo>
                <a:cubicBezTo>
                  <a:pt x="4088638" y="3434625"/>
                  <a:pt x="4079405" y="3445500"/>
                  <a:pt x="4069019" y="3454210"/>
                </a:cubicBezTo>
                <a:cubicBezTo>
                  <a:pt x="4066422" y="3456375"/>
                  <a:pt x="4063729" y="3458252"/>
                  <a:pt x="4061181" y="3459599"/>
                </a:cubicBezTo>
                <a:cubicBezTo>
                  <a:pt x="4059931" y="3460225"/>
                  <a:pt x="4058680" y="3460658"/>
                  <a:pt x="4057959" y="3460706"/>
                </a:cubicBezTo>
                <a:lnTo>
                  <a:pt x="4057478" y="3460706"/>
                </a:lnTo>
                <a:cubicBezTo>
                  <a:pt x="4057478" y="3460706"/>
                  <a:pt x="4057334" y="3460706"/>
                  <a:pt x="4057334" y="3460706"/>
                </a:cubicBezTo>
                <a:lnTo>
                  <a:pt x="4057190" y="3460706"/>
                </a:lnTo>
                <a:cubicBezTo>
                  <a:pt x="4057046" y="3460369"/>
                  <a:pt x="4056468" y="3459599"/>
                  <a:pt x="4056228" y="3458348"/>
                </a:cubicBezTo>
                <a:cubicBezTo>
                  <a:pt x="4056084" y="3457097"/>
                  <a:pt x="4055747" y="3455894"/>
                  <a:pt x="4055939" y="3454258"/>
                </a:cubicBezTo>
                <a:lnTo>
                  <a:pt x="4055939" y="3451948"/>
                </a:lnTo>
                <a:cubicBezTo>
                  <a:pt x="4055939" y="3451948"/>
                  <a:pt x="4056324" y="3449494"/>
                  <a:pt x="4056324" y="3449494"/>
                </a:cubicBezTo>
                <a:cubicBezTo>
                  <a:pt x="4056516" y="3447858"/>
                  <a:pt x="4056757" y="3446222"/>
                  <a:pt x="4057190" y="3444489"/>
                </a:cubicBezTo>
                <a:cubicBezTo>
                  <a:pt x="4060027" y="3431160"/>
                  <a:pt x="4065268" y="3417686"/>
                  <a:pt x="4070606" y="3404405"/>
                </a:cubicBezTo>
                <a:cubicBezTo>
                  <a:pt x="4069163" y="3409458"/>
                  <a:pt x="4067913" y="3414559"/>
                  <a:pt x="4067528" y="3420237"/>
                </a:cubicBezTo>
                <a:cubicBezTo>
                  <a:pt x="4067432" y="3421777"/>
                  <a:pt x="4067432" y="3423413"/>
                  <a:pt x="4067672" y="3425241"/>
                </a:cubicBezTo>
                <a:cubicBezTo>
                  <a:pt x="4067769" y="3426107"/>
                  <a:pt x="4068009" y="3427022"/>
                  <a:pt x="4068346" y="3428225"/>
                </a:cubicBezTo>
                <a:cubicBezTo>
                  <a:pt x="4068826" y="3429380"/>
                  <a:pt x="4069356" y="3430583"/>
                  <a:pt x="4070221" y="3431497"/>
                </a:cubicBezTo>
                <a:cubicBezTo>
                  <a:pt x="4071760" y="3433470"/>
                  <a:pt x="4074068" y="3434769"/>
                  <a:pt x="4076568" y="3434865"/>
                </a:cubicBezTo>
                <a:cubicBezTo>
                  <a:pt x="4079069" y="3435058"/>
                  <a:pt x="4081762" y="3434143"/>
                  <a:pt x="4083012" y="3433422"/>
                </a:cubicBezTo>
                <a:cubicBezTo>
                  <a:pt x="4089023" y="3430342"/>
                  <a:pt x="4092821" y="3426444"/>
                  <a:pt x="4096812" y="3422595"/>
                </a:cubicBezTo>
                <a:cubicBezTo>
                  <a:pt x="4102150" y="3417109"/>
                  <a:pt x="4107055" y="3411431"/>
                  <a:pt x="4111719" y="3405753"/>
                </a:cubicBezTo>
                <a:cubicBezTo>
                  <a:pt x="4107055" y="3411864"/>
                  <a:pt x="4102342" y="3417927"/>
                  <a:pt x="4097486" y="3423846"/>
                </a:cubicBezTo>
                <a:close/>
                <a:moveTo>
                  <a:pt x="4037667" y="3564645"/>
                </a:moveTo>
                <a:lnTo>
                  <a:pt x="4037667" y="3564645"/>
                </a:lnTo>
                <a:cubicBezTo>
                  <a:pt x="4037667" y="3564645"/>
                  <a:pt x="4037667" y="3564645"/>
                  <a:pt x="4037667" y="3564645"/>
                </a:cubicBezTo>
                <a:lnTo>
                  <a:pt x="4037667" y="3564645"/>
                </a:lnTo>
                <a:close/>
                <a:moveTo>
                  <a:pt x="4026751" y="3622197"/>
                </a:moveTo>
                <a:lnTo>
                  <a:pt x="4026751" y="3622197"/>
                </a:lnTo>
                <a:cubicBezTo>
                  <a:pt x="4026751" y="3622197"/>
                  <a:pt x="4026751" y="3622197"/>
                  <a:pt x="4026751" y="3622197"/>
                </a:cubicBezTo>
                <a:close/>
                <a:moveTo>
                  <a:pt x="4226067" y="3292141"/>
                </a:moveTo>
                <a:cubicBezTo>
                  <a:pt x="4226067" y="3292670"/>
                  <a:pt x="4225875" y="3293151"/>
                  <a:pt x="4225731" y="3293633"/>
                </a:cubicBezTo>
                <a:lnTo>
                  <a:pt x="4224048" y="3297867"/>
                </a:lnTo>
                <a:lnTo>
                  <a:pt x="4221740" y="3303209"/>
                </a:lnTo>
                <a:cubicBezTo>
                  <a:pt x="4218518" y="3310282"/>
                  <a:pt x="4215056" y="3317356"/>
                  <a:pt x="4211449" y="3324333"/>
                </a:cubicBezTo>
                <a:cubicBezTo>
                  <a:pt x="4211161" y="3323852"/>
                  <a:pt x="4210824" y="3323419"/>
                  <a:pt x="4210151" y="3322986"/>
                </a:cubicBezTo>
                <a:cubicBezTo>
                  <a:pt x="4208468" y="3322408"/>
                  <a:pt x="4207458" y="3322890"/>
                  <a:pt x="4206208" y="3323323"/>
                </a:cubicBezTo>
                <a:cubicBezTo>
                  <a:pt x="4203852" y="3324141"/>
                  <a:pt x="4200822" y="3326643"/>
                  <a:pt x="4197841" y="3329915"/>
                </a:cubicBezTo>
                <a:cubicBezTo>
                  <a:pt x="4196350" y="3331551"/>
                  <a:pt x="4194908" y="3333284"/>
                  <a:pt x="4193513" y="3334968"/>
                </a:cubicBezTo>
                <a:cubicBezTo>
                  <a:pt x="4192455" y="3336315"/>
                  <a:pt x="4191445" y="3337614"/>
                  <a:pt x="4190436" y="3338865"/>
                </a:cubicBezTo>
                <a:cubicBezTo>
                  <a:pt x="4183944" y="3347623"/>
                  <a:pt x="4178847" y="3355178"/>
                  <a:pt x="4174423" y="3361338"/>
                </a:cubicBezTo>
                <a:cubicBezTo>
                  <a:pt x="4165671" y="3373753"/>
                  <a:pt x="4161776" y="3381259"/>
                  <a:pt x="4162402" y="3381644"/>
                </a:cubicBezTo>
                <a:cubicBezTo>
                  <a:pt x="4163027" y="3382078"/>
                  <a:pt x="4168076" y="3375389"/>
                  <a:pt x="4177741" y="3363888"/>
                </a:cubicBezTo>
                <a:cubicBezTo>
                  <a:pt x="4182646" y="3358162"/>
                  <a:pt x="4188416" y="3350751"/>
                  <a:pt x="4195148" y="3342619"/>
                </a:cubicBezTo>
                <a:cubicBezTo>
                  <a:pt x="4197168" y="3340213"/>
                  <a:pt x="4197601" y="3339780"/>
                  <a:pt x="4198418" y="3338962"/>
                </a:cubicBezTo>
                <a:cubicBezTo>
                  <a:pt x="4199187" y="3338192"/>
                  <a:pt x="4199909" y="3337518"/>
                  <a:pt x="4200678" y="3336941"/>
                </a:cubicBezTo>
                <a:cubicBezTo>
                  <a:pt x="4201063" y="3336700"/>
                  <a:pt x="4201447" y="3336363"/>
                  <a:pt x="4201976" y="3336508"/>
                </a:cubicBezTo>
                <a:cubicBezTo>
                  <a:pt x="4202409" y="3336941"/>
                  <a:pt x="4202072" y="3337711"/>
                  <a:pt x="4201976" y="3338240"/>
                </a:cubicBezTo>
                <a:cubicBezTo>
                  <a:pt x="4201592" y="3339395"/>
                  <a:pt x="4201111" y="3340454"/>
                  <a:pt x="4200678" y="3341368"/>
                </a:cubicBezTo>
                <a:cubicBezTo>
                  <a:pt x="4199716" y="3343341"/>
                  <a:pt x="4198706" y="3345362"/>
                  <a:pt x="4197649" y="3347431"/>
                </a:cubicBezTo>
                <a:cubicBezTo>
                  <a:pt x="4196062" y="3350559"/>
                  <a:pt x="4194427" y="3353687"/>
                  <a:pt x="4192647" y="3356911"/>
                </a:cubicBezTo>
                <a:cubicBezTo>
                  <a:pt x="4192359" y="3357488"/>
                  <a:pt x="4192022" y="3358065"/>
                  <a:pt x="4191686" y="3358595"/>
                </a:cubicBezTo>
                <a:cubicBezTo>
                  <a:pt x="4191445" y="3358306"/>
                  <a:pt x="4191157" y="3358065"/>
                  <a:pt x="4190676" y="3357729"/>
                </a:cubicBezTo>
                <a:cubicBezTo>
                  <a:pt x="4190243" y="3357488"/>
                  <a:pt x="4189714" y="3357296"/>
                  <a:pt x="4189282" y="3357247"/>
                </a:cubicBezTo>
                <a:lnTo>
                  <a:pt x="4188512" y="3357247"/>
                </a:lnTo>
                <a:cubicBezTo>
                  <a:pt x="4188512" y="3357247"/>
                  <a:pt x="4187310" y="3357488"/>
                  <a:pt x="4187310" y="3357488"/>
                </a:cubicBezTo>
                <a:lnTo>
                  <a:pt x="4186396" y="3357921"/>
                </a:lnTo>
                <a:lnTo>
                  <a:pt x="4185579" y="3358547"/>
                </a:lnTo>
                <a:cubicBezTo>
                  <a:pt x="4184809" y="3359221"/>
                  <a:pt x="4184377" y="3359750"/>
                  <a:pt x="4183896" y="3360327"/>
                </a:cubicBezTo>
                <a:cubicBezTo>
                  <a:pt x="4182982" y="3361386"/>
                  <a:pt x="4182261" y="3362444"/>
                  <a:pt x="4181491" y="3363455"/>
                </a:cubicBezTo>
                <a:cubicBezTo>
                  <a:pt x="4180049" y="3365476"/>
                  <a:pt x="4178751" y="3367353"/>
                  <a:pt x="4177549" y="3369181"/>
                </a:cubicBezTo>
                <a:cubicBezTo>
                  <a:pt x="4175192" y="3372790"/>
                  <a:pt x="4173269" y="3375918"/>
                  <a:pt x="4171778" y="3378516"/>
                </a:cubicBezTo>
                <a:cubicBezTo>
                  <a:pt x="4168797" y="3383762"/>
                  <a:pt x="4167450" y="3386841"/>
                  <a:pt x="4168027" y="3387274"/>
                </a:cubicBezTo>
                <a:cubicBezTo>
                  <a:pt x="4168316" y="3387467"/>
                  <a:pt x="4169086" y="3387034"/>
                  <a:pt x="4170191" y="3386023"/>
                </a:cubicBezTo>
                <a:cubicBezTo>
                  <a:pt x="4168989" y="3387948"/>
                  <a:pt x="4167787" y="3389873"/>
                  <a:pt x="4166537" y="3391894"/>
                </a:cubicBezTo>
                <a:cubicBezTo>
                  <a:pt x="4167883" y="3389247"/>
                  <a:pt x="4168460" y="3387611"/>
                  <a:pt x="4168027" y="3387274"/>
                </a:cubicBezTo>
                <a:cubicBezTo>
                  <a:pt x="4166873" y="3386505"/>
                  <a:pt x="4157930" y="3396225"/>
                  <a:pt x="4145091" y="3413596"/>
                </a:cubicBezTo>
                <a:cubicBezTo>
                  <a:pt x="4138743" y="3422354"/>
                  <a:pt x="4131434" y="3432989"/>
                  <a:pt x="4125039" y="3446173"/>
                </a:cubicBezTo>
                <a:cubicBezTo>
                  <a:pt x="4124221" y="3447810"/>
                  <a:pt x="4123500" y="3449542"/>
                  <a:pt x="4122731" y="3451274"/>
                </a:cubicBezTo>
                <a:cubicBezTo>
                  <a:pt x="4122009" y="3453055"/>
                  <a:pt x="4121240" y="3454691"/>
                  <a:pt x="4120615" y="3457241"/>
                </a:cubicBezTo>
                <a:cubicBezTo>
                  <a:pt x="4120519" y="3457626"/>
                  <a:pt x="4120471" y="3457915"/>
                  <a:pt x="4120423" y="3458540"/>
                </a:cubicBezTo>
                <a:cubicBezTo>
                  <a:pt x="4120423" y="3458781"/>
                  <a:pt x="4120375" y="3459070"/>
                  <a:pt x="4120423" y="3459551"/>
                </a:cubicBezTo>
                <a:lnTo>
                  <a:pt x="4120423" y="3460225"/>
                </a:lnTo>
                <a:cubicBezTo>
                  <a:pt x="4120423" y="3460225"/>
                  <a:pt x="4120711" y="3461331"/>
                  <a:pt x="4120711" y="3461331"/>
                </a:cubicBezTo>
                <a:cubicBezTo>
                  <a:pt x="4120855" y="3461812"/>
                  <a:pt x="4121144" y="3462438"/>
                  <a:pt x="4121673" y="3463112"/>
                </a:cubicBezTo>
                <a:cubicBezTo>
                  <a:pt x="4121480" y="3463352"/>
                  <a:pt x="4121288" y="3463641"/>
                  <a:pt x="4121048" y="3463882"/>
                </a:cubicBezTo>
                <a:cubicBezTo>
                  <a:pt x="4108978" y="3479088"/>
                  <a:pt x="4096476" y="3494775"/>
                  <a:pt x="4083685" y="3510895"/>
                </a:cubicBezTo>
                <a:cubicBezTo>
                  <a:pt x="4080463" y="3514889"/>
                  <a:pt x="4077241" y="3518883"/>
                  <a:pt x="4074020" y="3522829"/>
                </a:cubicBezTo>
                <a:cubicBezTo>
                  <a:pt x="4089936" y="3498143"/>
                  <a:pt x="4104410" y="3475671"/>
                  <a:pt x="4116816" y="3456423"/>
                </a:cubicBezTo>
                <a:cubicBezTo>
                  <a:pt x="4131386" y="3433710"/>
                  <a:pt x="4143119" y="3415232"/>
                  <a:pt x="4151005" y="3402336"/>
                </a:cubicBezTo>
                <a:cubicBezTo>
                  <a:pt x="4158891" y="3389440"/>
                  <a:pt x="4162979" y="3382125"/>
                  <a:pt x="4162402" y="3381741"/>
                </a:cubicBezTo>
                <a:cubicBezTo>
                  <a:pt x="4162113" y="3381548"/>
                  <a:pt x="4160574" y="3383136"/>
                  <a:pt x="4157930" y="3386360"/>
                </a:cubicBezTo>
                <a:cubicBezTo>
                  <a:pt x="4173076" y="3363022"/>
                  <a:pt x="4188320" y="3339587"/>
                  <a:pt x="4205102" y="3317115"/>
                </a:cubicBezTo>
                <a:cubicBezTo>
                  <a:pt x="4213421" y="3305711"/>
                  <a:pt x="4228183" y="3288051"/>
                  <a:pt x="4226067" y="3292189"/>
                </a:cubicBezTo>
                <a:close/>
                <a:moveTo>
                  <a:pt x="4224865" y="3280015"/>
                </a:moveTo>
                <a:cubicBezTo>
                  <a:pt x="4226548" y="3277849"/>
                  <a:pt x="4228183" y="3275588"/>
                  <a:pt x="4229914" y="3273422"/>
                </a:cubicBezTo>
                <a:cubicBezTo>
                  <a:pt x="4231838" y="3271064"/>
                  <a:pt x="4233857" y="3268707"/>
                  <a:pt x="4235877" y="3266445"/>
                </a:cubicBezTo>
                <a:cubicBezTo>
                  <a:pt x="4236887" y="3265338"/>
                  <a:pt x="4237896" y="3264231"/>
                  <a:pt x="4238954" y="3263124"/>
                </a:cubicBezTo>
                <a:cubicBezTo>
                  <a:pt x="4239964" y="3262066"/>
                  <a:pt x="4241214" y="3260863"/>
                  <a:pt x="4241647" y="3260478"/>
                </a:cubicBezTo>
                <a:cubicBezTo>
                  <a:pt x="4242272" y="3259804"/>
                  <a:pt x="4242176" y="3260189"/>
                  <a:pt x="4242176" y="3260382"/>
                </a:cubicBezTo>
                <a:lnTo>
                  <a:pt x="4241984" y="3261055"/>
                </a:lnTo>
                <a:lnTo>
                  <a:pt x="4241455" y="3262788"/>
                </a:lnTo>
                <a:cubicBezTo>
                  <a:pt x="4241022" y="3264183"/>
                  <a:pt x="4240493" y="3265627"/>
                  <a:pt x="4239964" y="3267022"/>
                </a:cubicBezTo>
                <a:cubicBezTo>
                  <a:pt x="4238858" y="3269861"/>
                  <a:pt x="4237704" y="3272748"/>
                  <a:pt x="4236454" y="3275588"/>
                </a:cubicBezTo>
                <a:cubicBezTo>
                  <a:pt x="4236117" y="3276357"/>
                  <a:pt x="4235733" y="3277175"/>
                  <a:pt x="4235396" y="3277946"/>
                </a:cubicBezTo>
                <a:cubicBezTo>
                  <a:pt x="4234723" y="3277416"/>
                  <a:pt x="4233809" y="3277031"/>
                  <a:pt x="4233136" y="3276935"/>
                </a:cubicBezTo>
                <a:cubicBezTo>
                  <a:pt x="4232174" y="3276742"/>
                  <a:pt x="4231261" y="3276791"/>
                  <a:pt x="4230203" y="3277079"/>
                </a:cubicBezTo>
                <a:cubicBezTo>
                  <a:pt x="4229241" y="3277224"/>
                  <a:pt x="4227991" y="3277897"/>
                  <a:pt x="4226837" y="3278571"/>
                </a:cubicBezTo>
                <a:cubicBezTo>
                  <a:pt x="4226212" y="3278956"/>
                  <a:pt x="4225586" y="3279437"/>
                  <a:pt x="4224913" y="3279966"/>
                </a:cubicBezTo>
                <a:close/>
                <a:moveTo>
                  <a:pt x="4254101" y="3233675"/>
                </a:moveTo>
                <a:lnTo>
                  <a:pt x="4256265" y="3231654"/>
                </a:lnTo>
                <a:lnTo>
                  <a:pt x="4258044" y="3230066"/>
                </a:lnTo>
                <a:lnTo>
                  <a:pt x="4258140" y="3230066"/>
                </a:lnTo>
                <a:cubicBezTo>
                  <a:pt x="4258140" y="3230066"/>
                  <a:pt x="4258237" y="3230066"/>
                  <a:pt x="4258237" y="3230066"/>
                </a:cubicBezTo>
                <a:lnTo>
                  <a:pt x="4257612" y="3231846"/>
                </a:lnTo>
                <a:lnTo>
                  <a:pt x="4255448" y="3237524"/>
                </a:lnTo>
                <a:cubicBezTo>
                  <a:pt x="4254053" y="3241037"/>
                  <a:pt x="4252514" y="3244646"/>
                  <a:pt x="4251024" y="3248015"/>
                </a:cubicBezTo>
                <a:cubicBezTo>
                  <a:pt x="4250447" y="3247534"/>
                  <a:pt x="4249822" y="3247052"/>
                  <a:pt x="4249004" y="3246763"/>
                </a:cubicBezTo>
                <a:cubicBezTo>
                  <a:pt x="4246937" y="3246090"/>
                  <a:pt x="4244965" y="3246186"/>
                  <a:pt x="4242561" y="3247245"/>
                </a:cubicBezTo>
                <a:cubicBezTo>
                  <a:pt x="4242224" y="3247389"/>
                  <a:pt x="4241840" y="3247678"/>
                  <a:pt x="4241503" y="3247870"/>
                </a:cubicBezTo>
                <a:cubicBezTo>
                  <a:pt x="4245590" y="3242914"/>
                  <a:pt x="4249774" y="3238102"/>
                  <a:pt x="4254149" y="3233675"/>
                </a:cubicBezTo>
                <a:close/>
                <a:moveTo>
                  <a:pt x="4298821" y="3143353"/>
                </a:moveTo>
                <a:cubicBezTo>
                  <a:pt x="4293820" y="3153314"/>
                  <a:pt x="4288146" y="3163131"/>
                  <a:pt x="4281222" y="3172081"/>
                </a:cubicBezTo>
                <a:cubicBezTo>
                  <a:pt x="4277711" y="3176508"/>
                  <a:pt x="4273913" y="3180695"/>
                  <a:pt x="4269729" y="3184689"/>
                </a:cubicBezTo>
                <a:cubicBezTo>
                  <a:pt x="4265594" y="3188683"/>
                  <a:pt x="4261026" y="3192532"/>
                  <a:pt x="4256458" y="3196767"/>
                </a:cubicBezTo>
                <a:cubicBezTo>
                  <a:pt x="4251937" y="3200953"/>
                  <a:pt x="4247369" y="3205909"/>
                  <a:pt x="4243763" y="3210962"/>
                </a:cubicBezTo>
                <a:cubicBezTo>
                  <a:pt x="4240012" y="3215870"/>
                  <a:pt x="4236502" y="3220875"/>
                  <a:pt x="4232943" y="3225976"/>
                </a:cubicBezTo>
                <a:cubicBezTo>
                  <a:pt x="4237560" y="3218661"/>
                  <a:pt x="4242032" y="3211588"/>
                  <a:pt x="4246311" y="3204803"/>
                </a:cubicBezTo>
                <a:cubicBezTo>
                  <a:pt x="4260208" y="3181946"/>
                  <a:pt x="4275788" y="3164959"/>
                  <a:pt x="4287280" y="3149801"/>
                </a:cubicBezTo>
                <a:cubicBezTo>
                  <a:pt x="4298917" y="3134692"/>
                  <a:pt x="4306178" y="3121651"/>
                  <a:pt x="4310458" y="3112653"/>
                </a:cubicBezTo>
                <a:cubicBezTo>
                  <a:pt x="4312622" y="3108129"/>
                  <a:pt x="4314112" y="3104617"/>
                  <a:pt x="4314978" y="3102211"/>
                </a:cubicBezTo>
                <a:cubicBezTo>
                  <a:pt x="4315892" y="3099805"/>
                  <a:pt x="4316276" y="3098553"/>
                  <a:pt x="4316132" y="3098505"/>
                </a:cubicBezTo>
                <a:cubicBezTo>
                  <a:pt x="4315699" y="3098313"/>
                  <a:pt x="4313439" y="3103029"/>
                  <a:pt x="4308583" y="3111690"/>
                </a:cubicBezTo>
                <a:cubicBezTo>
                  <a:pt x="4303678" y="3120304"/>
                  <a:pt x="4296032" y="3132767"/>
                  <a:pt x="4284059" y="3147251"/>
                </a:cubicBezTo>
                <a:cubicBezTo>
                  <a:pt x="4272278" y="3161783"/>
                  <a:pt x="4255929" y="3178722"/>
                  <a:pt x="4241358" y="3201579"/>
                </a:cubicBezTo>
                <a:cubicBezTo>
                  <a:pt x="4226596" y="3224051"/>
                  <a:pt x="4209814" y="3249603"/>
                  <a:pt x="4191205" y="3277849"/>
                </a:cubicBezTo>
                <a:cubicBezTo>
                  <a:pt x="4172548" y="3306000"/>
                  <a:pt x="4152063" y="3336845"/>
                  <a:pt x="4128693" y="3368845"/>
                </a:cubicBezTo>
                <a:cubicBezTo>
                  <a:pt x="4116912" y="3384676"/>
                  <a:pt x="4104650" y="3401326"/>
                  <a:pt x="4090225" y="3415954"/>
                </a:cubicBezTo>
                <a:cubicBezTo>
                  <a:pt x="4086666" y="3419467"/>
                  <a:pt x="4082627" y="3423076"/>
                  <a:pt x="4079021" y="3424856"/>
                </a:cubicBezTo>
                <a:lnTo>
                  <a:pt x="4078011" y="3425289"/>
                </a:lnTo>
                <a:lnTo>
                  <a:pt x="4077771" y="3425289"/>
                </a:lnTo>
                <a:cubicBezTo>
                  <a:pt x="4077771" y="3425289"/>
                  <a:pt x="4077434" y="3425097"/>
                  <a:pt x="4077434" y="3425097"/>
                </a:cubicBezTo>
                <a:cubicBezTo>
                  <a:pt x="4077434" y="3425530"/>
                  <a:pt x="4076905" y="3423028"/>
                  <a:pt x="4077097" y="3420814"/>
                </a:cubicBezTo>
                <a:cubicBezTo>
                  <a:pt x="4077434" y="3416146"/>
                  <a:pt x="4078732" y="3410950"/>
                  <a:pt x="4080271" y="3405849"/>
                </a:cubicBezTo>
                <a:cubicBezTo>
                  <a:pt x="4081810" y="3400748"/>
                  <a:pt x="4083637" y="3395599"/>
                  <a:pt x="4085608" y="3390450"/>
                </a:cubicBezTo>
                <a:cubicBezTo>
                  <a:pt x="4093543" y="3369855"/>
                  <a:pt x="4103208" y="3349115"/>
                  <a:pt x="4113306" y="3328087"/>
                </a:cubicBezTo>
                <a:cubicBezTo>
                  <a:pt x="4123452" y="3307058"/>
                  <a:pt x="4134127" y="3285693"/>
                  <a:pt x="4145091" y="3263991"/>
                </a:cubicBezTo>
                <a:cubicBezTo>
                  <a:pt x="4156006" y="3242240"/>
                  <a:pt x="4167114" y="3220105"/>
                  <a:pt x="4178414" y="3197633"/>
                </a:cubicBezTo>
                <a:cubicBezTo>
                  <a:pt x="4189522" y="3175113"/>
                  <a:pt x="4200726" y="3151871"/>
                  <a:pt x="4210487" y="3127907"/>
                </a:cubicBezTo>
                <a:cubicBezTo>
                  <a:pt x="4230732" y="3080220"/>
                  <a:pt x="4247802" y="3032677"/>
                  <a:pt x="4264055" y="2986770"/>
                </a:cubicBezTo>
                <a:cubicBezTo>
                  <a:pt x="4272134" y="2963817"/>
                  <a:pt x="4280116" y="2941297"/>
                  <a:pt x="4287906" y="2919258"/>
                </a:cubicBezTo>
                <a:cubicBezTo>
                  <a:pt x="4295792" y="2897267"/>
                  <a:pt x="4303726" y="2875853"/>
                  <a:pt x="4312429" y="2855402"/>
                </a:cubicBezTo>
                <a:cubicBezTo>
                  <a:pt x="4321133" y="2834999"/>
                  <a:pt x="4330221" y="2815318"/>
                  <a:pt x="4341762" y="2798187"/>
                </a:cubicBezTo>
                <a:cubicBezTo>
                  <a:pt x="4344839" y="2794097"/>
                  <a:pt x="4347580" y="2789670"/>
                  <a:pt x="4350850" y="2786061"/>
                </a:cubicBezTo>
                <a:cubicBezTo>
                  <a:pt x="4354120" y="2782404"/>
                  <a:pt x="4357630" y="2779084"/>
                  <a:pt x="4361429" y="2776967"/>
                </a:cubicBezTo>
                <a:cubicBezTo>
                  <a:pt x="4365228" y="2774801"/>
                  <a:pt x="4369074" y="2773935"/>
                  <a:pt x="4372296" y="2775234"/>
                </a:cubicBezTo>
                <a:cubicBezTo>
                  <a:pt x="4375614" y="2776389"/>
                  <a:pt x="4378499" y="2779565"/>
                  <a:pt x="4380663" y="2783318"/>
                </a:cubicBezTo>
                <a:cubicBezTo>
                  <a:pt x="4384943" y="2791066"/>
                  <a:pt x="4386818" y="2800497"/>
                  <a:pt x="4387636" y="2809592"/>
                </a:cubicBezTo>
                <a:cubicBezTo>
                  <a:pt x="4388405" y="2818783"/>
                  <a:pt x="4388068" y="2827926"/>
                  <a:pt x="4386866" y="2836924"/>
                </a:cubicBezTo>
                <a:cubicBezTo>
                  <a:pt x="4384558" y="2854921"/>
                  <a:pt x="4380855" y="2872244"/>
                  <a:pt x="4377249" y="2888701"/>
                </a:cubicBezTo>
                <a:cubicBezTo>
                  <a:pt x="4362246" y="2954482"/>
                  <a:pt x="4346522" y="3006933"/>
                  <a:pt x="4335030" y="3042878"/>
                </a:cubicBezTo>
                <a:cubicBezTo>
                  <a:pt x="4329308" y="3060876"/>
                  <a:pt x="4324355" y="3074686"/>
                  <a:pt x="4321037" y="3084069"/>
                </a:cubicBezTo>
                <a:cubicBezTo>
                  <a:pt x="4317575" y="3093357"/>
                  <a:pt x="4315843" y="3098313"/>
                  <a:pt x="4316180" y="3098457"/>
                </a:cubicBezTo>
                <a:cubicBezTo>
                  <a:pt x="4316469" y="3098602"/>
                  <a:pt x="4318584" y="3094560"/>
                  <a:pt x="4322191" y="3086716"/>
                </a:cubicBezTo>
                <a:cubicBezTo>
                  <a:pt x="4315218" y="3105290"/>
                  <a:pt x="4308150" y="3124587"/>
                  <a:pt x="4298773" y="3143353"/>
                </a:cubicBezTo>
                <a:close/>
                <a:moveTo>
                  <a:pt x="4306322" y="2762627"/>
                </a:moveTo>
                <a:cubicBezTo>
                  <a:pt x="4313151" y="2741646"/>
                  <a:pt x="4320508" y="2721243"/>
                  <a:pt x="4328346" y="2701466"/>
                </a:cubicBezTo>
                <a:cubicBezTo>
                  <a:pt x="4332241" y="2691553"/>
                  <a:pt x="4336713" y="2682025"/>
                  <a:pt x="4340848" y="2672401"/>
                </a:cubicBezTo>
                <a:cubicBezTo>
                  <a:pt x="4343204" y="2667734"/>
                  <a:pt x="4345513" y="2663114"/>
                  <a:pt x="4347821" y="2658494"/>
                </a:cubicBezTo>
                <a:cubicBezTo>
                  <a:pt x="4350177" y="2653923"/>
                  <a:pt x="4352292" y="2649207"/>
                  <a:pt x="4355033" y="2644877"/>
                </a:cubicBezTo>
                <a:cubicBezTo>
                  <a:pt x="4364843" y="2626735"/>
                  <a:pt x="4376961" y="2611144"/>
                  <a:pt x="4388453" y="2594447"/>
                </a:cubicBezTo>
                <a:cubicBezTo>
                  <a:pt x="4394031" y="2586218"/>
                  <a:pt x="4399417" y="2577990"/>
                  <a:pt x="4405331" y="2570435"/>
                </a:cubicBezTo>
                <a:cubicBezTo>
                  <a:pt x="4408264" y="2566681"/>
                  <a:pt x="4411390" y="2563072"/>
                  <a:pt x="4414756" y="2560185"/>
                </a:cubicBezTo>
                <a:cubicBezTo>
                  <a:pt x="4416439" y="2558790"/>
                  <a:pt x="4418266" y="2557587"/>
                  <a:pt x="4419757" y="2557298"/>
                </a:cubicBezTo>
                <a:cubicBezTo>
                  <a:pt x="4421055" y="2557009"/>
                  <a:pt x="4421873" y="2557490"/>
                  <a:pt x="4423075" y="2558982"/>
                </a:cubicBezTo>
                <a:cubicBezTo>
                  <a:pt x="4425239" y="2562110"/>
                  <a:pt x="4426393" y="2566826"/>
                  <a:pt x="4427258" y="2571205"/>
                </a:cubicBezTo>
                <a:cubicBezTo>
                  <a:pt x="4428076" y="2575728"/>
                  <a:pt x="4428605" y="2580347"/>
                  <a:pt x="4428941" y="2584919"/>
                </a:cubicBezTo>
                <a:cubicBezTo>
                  <a:pt x="4429663" y="2594158"/>
                  <a:pt x="4429807" y="2603349"/>
                  <a:pt x="4429759" y="2612492"/>
                </a:cubicBezTo>
                <a:cubicBezTo>
                  <a:pt x="4429615" y="2629382"/>
                  <a:pt x="4428749" y="2645935"/>
                  <a:pt x="4427595" y="2662152"/>
                </a:cubicBezTo>
                <a:cubicBezTo>
                  <a:pt x="4426393" y="2647908"/>
                  <a:pt x="4424036" y="2635782"/>
                  <a:pt x="4419901" y="2626639"/>
                </a:cubicBezTo>
                <a:cubicBezTo>
                  <a:pt x="4417689" y="2622020"/>
                  <a:pt x="4414900" y="2617977"/>
                  <a:pt x="4411246" y="2616053"/>
                </a:cubicBezTo>
                <a:cubicBezTo>
                  <a:pt x="4407591" y="2613983"/>
                  <a:pt x="4403841" y="2614609"/>
                  <a:pt x="4401388" y="2615571"/>
                </a:cubicBezTo>
                <a:cubicBezTo>
                  <a:pt x="4396483" y="2617737"/>
                  <a:pt x="4394800" y="2619950"/>
                  <a:pt x="4394800" y="2619950"/>
                </a:cubicBezTo>
                <a:cubicBezTo>
                  <a:pt x="4394945" y="2620191"/>
                  <a:pt x="4396964" y="2618266"/>
                  <a:pt x="4401725" y="2616534"/>
                </a:cubicBezTo>
                <a:cubicBezTo>
                  <a:pt x="4404081" y="2615764"/>
                  <a:pt x="4407399" y="2615427"/>
                  <a:pt x="4410524" y="2617352"/>
                </a:cubicBezTo>
                <a:cubicBezTo>
                  <a:pt x="4413650" y="2619180"/>
                  <a:pt x="4416151" y="2622934"/>
                  <a:pt x="4418122" y="2627457"/>
                </a:cubicBezTo>
                <a:cubicBezTo>
                  <a:pt x="4421969" y="2636648"/>
                  <a:pt x="4423989" y="2649111"/>
                  <a:pt x="4424854" y="2663788"/>
                </a:cubicBezTo>
                <a:cubicBezTo>
                  <a:pt x="4425383" y="2672738"/>
                  <a:pt x="4425383" y="2682699"/>
                  <a:pt x="4424998" y="2693382"/>
                </a:cubicBezTo>
                <a:cubicBezTo>
                  <a:pt x="4424421" y="2699349"/>
                  <a:pt x="4423796" y="2705171"/>
                  <a:pt x="4423171" y="2711042"/>
                </a:cubicBezTo>
                <a:cubicBezTo>
                  <a:pt x="4422786" y="2702332"/>
                  <a:pt x="4421873" y="2693526"/>
                  <a:pt x="4419757" y="2684672"/>
                </a:cubicBezTo>
                <a:cubicBezTo>
                  <a:pt x="4418122" y="2677935"/>
                  <a:pt x="4415814" y="2671102"/>
                  <a:pt x="4411582" y="2664750"/>
                </a:cubicBezTo>
                <a:cubicBezTo>
                  <a:pt x="4409418" y="2661622"/>
                  <a:pt x="4406629" y="2658591"/>
                  <a:pt x="4402783" y="2656474"/>
                </a:cubicBezTo>
                <a:cubicBezTo>
                  <a:pt x="4398984" y="2654308"/>
                  <a:pt x="4394079" y="2653635"/>
                  <a:pt x="4389896" y="2654693"/>
                </a:cubicBezTo>
                <a:cubicBezTo>
                  <a:pt x="4385664" y="2655656"/>
                  <a:pt x="4382106" y="2657725"/>
                  <a:pt x="4379124" y="2660034"/>
                </a:cubicBezTo>
                <a:cubicBezTo>
                  <a:pt x="4376287" y="2662392"/>
                  <a:pt x="4373691" y="2664702"/>
                  <a:pt x="4371094" y="2667108"/>
                </a:cubicBezTo>
                <a:cubicBezTo>
                  <a:pt x="4366093" y="2672113"/>
                  <a:pt x="4361333" y="2677358"/>
                  <a:pt x="4357101" y="2683036"/>
                </a:cubicBezTo>
                <a:cubicBezTo>
                  <a:pt x="4339983" y="2705556"/>
                  <a:pt x="4327721" y="2731348"/>
                  <a:pt x="4316517" y="2757622"/>
                </a:cubicBezTo>
                <a:cubicBezTo>
                  <a:pt x="4316373" y="2757959"/>
                  <a:pt x="4316228" y="2758296"/>
                  <a:pt x="4316084" y="2758633"/>
                </a:cubicBezTo>
                <a:cubicBezTo>
                  <a:pt x="4322768" y="2740203"/>
                  <a:pt x="4329308" y="2723409"/>
                  <a:pt x="4335895" y="2708540"/>
                </a:cubicBezTo>
                <a:cubicBezTo>
                  <a:pt x="4349840" y="2676684"/>
                  <a:pt x="4364074" y="2653682"/>
                  <a:pt x="4375758" y="2639824"/>
                </a:cubicBezTo>
                <a:cubicBezTo>
                  <a:pt x="4387347" y="2625869"/>
                  <a:pt x="4395185" y="2620239"/>
                  <a:pt x="4394800" y="2619854"/>
                </a:cubicBezTo>
                <a:cubicBezTo>
                  <a:pt x="4394704" y="2619710"/>
                  <a:pt x="4392781" y="2621153"/>
                  <a:pt x="4389126" y="2624089"/>
                </a:cubicBezTo>
                <a:cubicBezTo>
                  <a:pt x="4387251" y="2625484"/>
                  <a:pt x="4385135" y="2627505"/>
                  <a:pt x="4382635" y="2629911"/>
                </a:cubicBezTo>
                <a:cubicBezTo>
                  <a:pt x="4380038" y="2632221"/>
                  <a:pt x="4377345" y="2635253"/>
                  <a:pt x="4374316" y="2638669"/>
                </a:cubicBezTo>
                <a:cubicBezTo>
                  <a:pt x="4362054" y="2652287"/>
                  <a:pt x="4347147" y="2675240"/>
                  <a:pt x="4332577" y="2707096"/>
                </a:cubicBezTo>
                <a:cubicBezTo>
                  <a:pt x="4317863" y="2738903"/>
                  <a:pt x="4303341" y="2779324"/>
                  <a:pt x="4287473" y="2826723"/>
                </a:cubicBezTo>
                <a:cubicBezTo>
                  <a:pt x="4282953" y="2840148"/>
                  <a:pt x="4278336" y="2854199"/>
                  <a:pt x="4273528" y="2868731"/>
                </a:cubicBezTo>
                <a:cubicBezTo>
                  <a:pt x="4284492" y="2832353"/>
                  <a:pt x="4295071" y="2796840"/>
                  <a:pt x="4306322" y="2762627"/>
                </a:cubicBezTo>
                <a:close/>
                <a:moveTo>
                  <a:pt x="4046707" y="3371683"/>
                </a:moveTo>
                <a:cubicBezTo>
                  <a:pt x="4029204" y="3403395"/>
                  <a:pt x="4011364" y="3435731"/>
                  <a:pt x="3993188" y="3468646"/>
                </a:cubicBezTo>
                <a:cubicBezTo>
                  <a:pt x="3975011" y="3501512"/>
                  <a:pt x="3956306" y="3534907"/>
                  <a:pt x="3936206" y="3568110"/>
                </a:cubicBezTo>
                <a:cubicBezTo>
                  <a:pt x="3926108" y="3584663"/>
                  <a:pt x="3915625" y="3601265"/>
                  <a:pt x="3903940" y="3616808"/>
                </a:cubicBezTo>
                <a:lnTo>
                  <a:pt x="3899372" y="3622390"/>
                </a:lnTo>
                <a:lnTo>
                  <a:pt x="3897064" y="3625180"/>
                </a:lnTo>
                <a:lnTo>
                  <a:pt x="3894612" y="3627635"/>
                </a:lnTo>
                <a:cubicBezTo>
                  <a:pt x="3893025" y="3629319"/>
                  <a:pt x="3891390" y="3630955"/>
                  <a:pt x="3889370" y="3632254"/>
                </a:cubicBezTo>
                <a:cubicBezTo>
                  <a:pt x="3887447" y="3633601"/>
                  <a:pt x="3885620" y="3635141"/>
                  <a:pt x="3883648" y="3636344"/>
                </a:cubicBezTo>
                <a:cubicBezTo>
                  <a:pt x="3875762" y="3641301"/>
                  <a:pt x="3866722" y="3643370"/>
                  <a:pt x="3857297" y="3642648"/>
                </a:cubicBezTo>
                <a:cubicBezTo>
                  <a:pt x="3847872" y="3642023"/>
                  <a:pt x="3838159" y="3639184"/>
                  <a:pt x="3828013" y="3637307"/>
                </a:cubicBezTo>
                <a:cubicBezTo>
                  <a:pt x="3817867" y="3635334"/>
                  <a:pt x="3807095" y="3634516"/>
                  <a:pt x="3796469" y="3635623"/>
                </a:cubicBezTo>
                <a:cubicBezTo>
                  <a:pt x="3785745" y="3636441"/>
                  <a:pt x="3775551" y="3640098"/>
                  <a:pt x="3765694" y="3643996"/>
                </a:cubicBezTo>
                <a:cubicBezTo>
                  <a:pt x="3760981" y="3646402"/>
                  <a:pt x="3756125" y="3648615"/>
                  <a:pt x="3751556" y="3651262"/>
                </a:cubicBezTo>
                <a:cubicBezTo>
                  <a:pt x="3747133" y="3654101"/>
                  <a:pt x="3742516" y="3656747"/>
                  <a:pt x="3738188" y="3659731"/>
                </a:cubicBezTo>
                <a:cubicBezTo>
                  <a:pt x="3703711" y="3683550"/>
                  <a:pt x="3671397" y="3710690"/>
                  <a:pt x="3639035" y="3738696"/>
                </a:cubicBezTo>
                <a:cubicBezTo>
                  <a:pt x="3606770" y="3766798"/>
                  <a:pt x="3574841" y="3796152"/>
                  <a:pt x="3543489" y="3827093"/>
                </a:cubicBezTo>
                <a:cubicBezTo>
                  <a:pt x="3527861" y="3842539"/>
                  <a:pt x="3512378" y="3858467"/>
                  <a:pt x="3497471" y="3875165"/>
                </a:cubicBezTo>
                <a:lnTo>
                  <a:pt x="3486411" y="3887820"/>
                </a:lnTo>
                <a:lnTo>
                  <a:pt x="3475784" y="3901053"/>
                </a:lnTo>
                <a:cubicBezTo>
                  <a:pt x="3472370" y="3905625"/>
                  <a:pt x="3469197" y="3910485"/>
                  <a:pt x="3465926" y="3915201"/>
                </a:cubicBezTo>
                <a:lnTo>
                  <a:pt x="3461599" y="3922756"/>
                </a:lnTo>
                <a:cubicBezTo>
                  <a:pt x="3460204" y="3925306"/>
                  <a:pt x="3459050" y="3928001"/>
                  <a:pt x="3457752" y="3930599"/>
                </a:cubicBezTo>
                <a:cubicBezTo>
                  <a:pt x="3452847" y="3941234"/>
                  <a:pt x="3450010" y="3952879"/>
                  <a:pt x="3448183" y="3964187"/>
                </a:cubicBezTo>
                <a:cubicBezTo>
                  <a:pt x="3446356" y="3975543"/>
                  <a:pt x="3444721" y="3986370"/>
                  <a:pt x="3440970" y="3996572"/>
                </a:cubicBezTo>
                <a:cubicBezTo>
                  <a:pt x="3437316" y="4006773"/>
                  <a:pt x="3431689" y="4016349"/>
                  <a:pt x="3424958" y="4025203"/>
                </a:cubicBezTo>
                <a:cubicBezTo>
                  <a:pt x="3421688" y="4029679"/>
                  <a:pt x="3417889" y="4033913"/>
                  <a:pt x="3414331" y="4038292"/>
                </a:cubicBezTo>
                <a:cubicBezTo>
                  <a:pt x="3410484" y="4042430"/>
                  <a:pt x="3406781" y="4046713"/>
                  <a:pt x="3402742" y="4050707"/>
                </a:cubicBezTo>
                <a:cubicBezTo>
                  <a:pt x="3370717" y="4083092"/>
                  <a:pt x="3332152" y="4109414"/>
                  <a:pt x="3291808" y="4133185"/>
                </a:cubicBezTo>
                <a:cubicBezTo>
                  <a:pt x="3251368" y="4157005"/>
                  <a:pt x="3208812" y="4178370"/>
                  <a:pt x="3166063" y="4200650"/>
                </a:cubicBezTo>
                <a:cubicBezTo>
                  <a:pt x="3155581" y="4206183"/>
                  <a:pt x="3145050" y="4211717"/>
                  <a:pt x="3134567" y="4217444"/>
                </a:cubicBezTo>
                <a:cubicBezTo>
                  <a:pt x="3169622" y="4197762"/>
                  <a:pt x="3204725" y="4178899"/>
                  <a:pt x="3239106" y="4159459"/>
                </a:cubicBezTo>
                <a:cubicBezTo>
                  <a:pt x="3281085" y="4135639"/>
                  <a:pt x="3322439" y="4111531"/>
                  <a:pt x="3359994" y="4082611"/>
                </a:cubicBezTo>
                <a:cubicBezTo>
                  <a:pt x="3369274" y="4075248"/>
                  <a:pt x="3378314" y="4067597"/>
                  <a:pt x="3386681" y="4059273"/>
                </a:cubicBezTo>
                <a:cubicBezTo>
                  <a:pt x="3395048" y="4050900"/>
                  <a:pt x="3402501" y="4041613"/>
                  <a:pt x="3408705" y="4031555"/>
                </a:cubicBezTo>
                <a:cubicBezTo>
                  <a:pt x="3410099" y="4028909"/>
                  <a:pt x="3411734" y="4026406"/>
                  <a:pt x="3412936" y="4023712"/>
                </a:cubicBezTo>
                <a:cubicBezTo>
                  <a:pt x="3413994" y="4020873"/>
                  <a:pt x="3415436" y="4018274"/>
                  <a:pt x="3416158" y="4015291"/>
                </a:cubicBezTo>
                <a:cubicBezTo>
                  <a:pt x="3418033" y="4009516"/>
                  <a:pt x="3418370" y="4003261"/>
                  <a:pt x="3417745" y="3997294"/>
                </a:cubicBezTo>
                <a:cubicBezTo>
                  <a:pt x="3415966" y="3985360"/>
                  <a:pt x="3411253" y="3974822"/>
                  <a:pt x="3412503" y="3963706"/>
                </a:cubicBezTo>
                <a:cubicBezTo>
                  <a:pt x="3413369" y="3952686"/>
                  <a:pt x="3417889" y="3942148"/>
                  <a:pt x="3423130" y="3932235"/>
                </a:cubicBezTo>
                <a:cubicBezTo>
                  <a:pt x="3428901" y="3922611"/>
                  <a:pt x="3435200" y="3913228"/>
                  <a:pt x="3442605" y="3904759"/>
                </a:cubicBezTo>
                <a:cubicBezTo>
                  <a:pt x="3457079" y="3887532"/>
                  <a:pt x="3473572" y="3872181"/>
                  <a:pt x="3490499" y="3857649"/>
                </a:cubicBezTo>
                <a:cubicBezTo>
                  <a:pt x="3507473" y="3843117"/>
                  <a:pt x="3524928" y="3829402"/>
                  <a:pt x="3542287" y="3815784"/>
                </a:cubicBezTo>
                <a:cubicBezTo>
                  <a:pt x="3559598" y="3802070"/>
                  <a:pt x="3577005" y="3788645"/>
                  <a:pt x="3593162" y="3773824"/>
                </a:cubicBezTo>
                <a:cubicBezTo>
                  <a:pt x="3625043" y="3743845"/>
                  <a:pt x="3653846" y="3711893"/>
                  <a:pt x="3683900" y="3682059"/>
                </a:cubicBezTo>
                <a:cubicBezTo>
                  <a:pt x="3698854" y="3667093"/>
                  <a:pt x="3714001" y="3652465"/>
                  <a:pt x="3729821" y="3638943"/>
                </a:cubicBezTo>
                <a:cubicBezTo>
                  <a:pt x="3737708" y="3632110"/>
                  <a:pt x="3745930" y="3625854"/>
                  <a:pt x="3754297" y="3619887"/>
                </a:cubicBezTo>
                <a:cubicBezTo>
                  <a:pt x="3762856" y="3614305"/>
                  <a:pt x="3771848" y="3609301"/>
                  <a:pt x="3781225" y="3605259"/>
                </a:cubicBezTo>
                <a:lnTo>
                  <a:pt x="3788246" y="3602275"/>
                </a:lnTo>
                <a:lnTo>
                  <a:pt x="3795459" y="3599917"/>
                </a:lnTo>
                <a:cubicBezTo>
                  <a:pt x="3797815" y="3599051"/>
                  <a:pt x="3800315" y="3598522"/>
                  <a:pt x="3802768" y="3597993"/>
                </a:cubicBezTo>
                <a:cubicBezTo>
                  <a:pt x="3805220" y="3597463"/>
                  <a:pt x="3807672" y="3596790"/>
                  <a:pt x="3810173" y="3596597"/>
                </a:cubicBezTo>
                <a:cubicBezTo>
                  <a:pt x="3820079" y="3595057"/>
                  <a:pt x="3830129" y="3595683"/>
                  <a:pt x="3840227" y="3596597"/>
                </a:cubicBezTo>
                <a:cubicBezTo>
                  <a:pt x="3850324" y="3597463"/>
                  <a:pt x="3860952" y="3597608"/>
                  <a:pt x="3870905" y="3594576"/>
                </a:cubicBezTo>
                <a:cubicBezTo>
                  <a:pt x="3873454" y="3594047"/>
                  <a:pt x="3875810" y="3592988"/>
                  <a:pt x="3878214" y="3592026"/>
                </a:cubicBezTo>
                <a:cubicBezTo>
                  <a:pt x="3880619" y="3591112"/>
                  <a:pt x="3882975" y="3590149"/>
                  <a:pt x="3885187" y="3588850"/>
                </a:cubicBezTo>
                <a:cubicBezTo>
                  <a:pt x="3887447" y="3587647"/>
                  <a:pt x="3889707" y="3586444"/>
                  <a:pt x="3891919" y="3585193"/>
                </a:cubicBezTo>
                <a:lnTo>
                  <a:pt x="3898266" y="3581006"/>
                </a:lnTo>
                <a:cubicBezTo>
                  <a:pt x="3906777" y="3575424"/>
                  <a:pt x="3914086" y="3568255"/>
                  <a:pt x="3920914" y="3560988"/>
                </a:cubicBezTo>
                <a:cubicBezTo>
                  <a:pt x="3927647" y="3553578"/>
                  <a:pt x="3934042" y="3546023"/>
                  <a:pt x="3940101" y="3538179"/>
                </a:cubicBezTo>
                <a:cubicBezTo>
                  <a:pt x="3952266" y="3522588"/>
                  <a:pt x="3963471" y="3506516"/>
                  <a:pt x="3974242" y="3490348"/>
                </a:cubicBezTo>
                <a:cubicBezTo>
                  <a:pt x="3995784" y="3458011"/>
                  <a:pt x="4015548" y="3425289"/>
                  <a:pt x="4034397" y="3392760"/>
                </a:cubicBezTo>
                <a:cubicBezTo>
                  <a:pt x="4043533" y="3376929"/>
                  <a:pt x="4052477" y="3361097"/>
                  <a:pt x="4061181" y="3345362"/>
                </a:cubicBezTo>
                <a:cubicBezTo>
                  <a:pt x="4056372" y="3354120"/>
                  <a:pt x="4051564" y="3362926"/>
                  <a:pt x="4046707" y="3371732"/>
                </a:cubicBezTo>
                <a:close/>
                <a:moveTo>
                  <a:pt x="4449330" y="2513605"/>
                </a:moveTo>
                <a:cubicBezTo>
                  <a:pt x="4449618" y="2493924"/>
                  <a:pt x="4449907" y="2473569"/>
                  <a:pt x="4449859" y="2452588"/>
                </a:cubicBezTo>
                <a:cubicBezTo>
                  <a:pt x="4449859" y="2442098"/>
                  <a:pt x="4449714" y="2431416"/>
                  <a:pt x="4449378" y="2420540"/>
                </a:cubicBezTo>
                <a:cubicBezTo>
                  <a:pt x="4449282" y="2417846"/>
                  <a:pt x="4449137" y="2415103"/>
                  <a:pt x="4449041" y="2412360"/>
                </a:cubicBezTo>
                <a:lnTo>
                  <a:pt x="4448753" y="2407885"/>
                </a:lnTo>
                <a:cubicBezTo>
                  <a:pt x="4448609" y="2406297"/>
                  <a:pt x="4448512" y="2404661"/>
                  <a:pt x="4448320" y="2403121"/>
                </a:cubicBezTo>
                <a:cubicBezTo>
                  <a:pt x="4447983" y="2399945"/>
                  <a:pt x="4447454" y="2397154"/>
                  <a:pt x="4446637" y="2394796"/>
                </a:cubicBezTo>
                <a:cubicBezTo>
                  <a:pt x="4446348" y="2394219"/>
                  <a:pt x="4446156" y="2393641"/>
                  <a:pt x="4445723" y="2393112"/>
                </a:cubicBezTo>
                <a:cubicBezTo>
                  <a:pt x="4445242" y="2392486"/>
                  <a:pt x="4444329" y="2392823"/>
                  <a:pt x="4443896" y="2393256"/>
                </a:cubicBezTo>
                <a:cubicBezTo>
                  <a:pt x="4442934" y="2394122"/>
                  <a:pt x="4442261" y="2395229"/>
                  <a:pt x="4441588" y="2396384"/>
                </a:cubicBezTo>
                <a:cubicBezTo>
                  <a:pt x="4438943" y="2400956"/>
                  <a:pt x="4436587" y="2408703"/>
                  <a:pt x="4435048" y="2413515"/>
                </a:cubicBezTo>
                <a:cubicBezTo>
                  <a:pt x="4433365" y="2418952"/>
                  <a:pt x="4431730" y="2424438"/>
                  <a:pt x="4430143" y="2429924"/>
                </a:cubicBezTo>
                <a:cubicBezTo>
                  <a:pt x="4426874" y="2440943"/>
                  <a:pt x="4424085" y="2452252"/>
                  <a:pt x="4419372" y="2463079"/>
                </a:cubicBezTo>
                <a:cubicBezTo>
                  <a:pt x="4415189" y="2474098"/>
                  <a:pt x="4409851" y="2484781"/>
                  <a:pt x="4404177" y="2495464"/>
                </a:cubicBezTo>
                <a:cubicBezTo>
                  <a:pt x="4398166" y="2505954"/>
                  <a:pt x="4391771" y="2516444"/>
                  <a:pt x="4384654" y="2526645"/>
                </a:cubicBezTo>
                <a:cubicBezTo>
                  <a:pt x="4370613" y="2547193"/>
                  <a:pt x="4354745" y="2567355"/>
                  <a:pt x="4340896" y="2589779"/>
                </a:cubicBezTo>
                <a:cubicBezTo>
                  <a:pt x="4333780" y="2600847"/>
                  <a:pt x="4327528" y="2612636"/>
                  <a:pt x="4321470" y="2624714"/>
                </a:cubicBezTo>
                <a:cubicBezTo>
                  <a:pt x="4315747" y="2636937"/>
                  <a:pt x="4310362" y="2649496"/>
                  <a:pt x="4305842" y="2662537"/>
                </a:cubicBezTo>
                <a:cubicBezTo>
                  <a:pt x="4296850" y="2688666"/>
                  <a:pt x="4289829" y="2715998"/>
                  <a:pt x="4282664" y="2743908"/>
                </a:cubicBezTo>
                <a:cubicBezTo>
                  <a:pt x="4275788" y="2771914"/>
                  <a:pt x="4268719" y="2800497"/>
                  <a:pt x="4261555" y="2829706"/>
                </a:cubicBezTo>
                <a:cubicBezTo>
                  <a:pt x="4254294" y="2858915"/>
                  <a:pt x="4246744" y="2888701"/>
                  <a:pt x="4238041" y="2918777"/>
                </a:cubicBezTo>
                <a:cubicBezTo>
                  <a:pt x="4229289" y="2948852"/>
                  <a:pt x="4219816" y="2979408"/>
                  <a:pt x="4209429" y="3010301"/>
                </a:cubicBezTo>
                <a:cubicBezTo>
                  <a:pt x="4188560" y="3072039"/>
                  <a:pt x="4164084" y="3135269"/>
                  <a:pt x="4133646" y="3198499"/>
                </a:cubicBezTo>
                <a:cubicBezTo>
                  <a:pt x="4103112" y="3261681"/>
                  <a:pt x="4068971" y="3325921"/>
                  <a:pt x="4031416" y="3390932"/>
                </a:cubicBezTo>
                <a:cubicBezTo>
                  <a:pt x="4012566" y="3423413"/>
                  <a:pt x="3992803" y="3456086"/>
                  <a:pt x="3971309" y="3488279"/>
                </a:cubicBezTo>
                <a:cubicBezTo>
                  <a:pt x="3960537" y="3504351"/>
                  <a:pt x="3949333" y="3520375"/>
                  <a:pt x="3937264" y="3535869"/>
                </a:cubicBezTo>
                <a:cubicBezTo>
                  <a:pt x="3931253" y="3543665"/>
                  <a:pt x="3924906" y="3551123"/>
                  <a:pt x="3918270" y="3558438"/>
                </a:cubicBezTo>
                <a:cubicBezTo>
                  <a:pt x="3911538" y="3565608"/>
                  <a:pt x="3904469" y="3572489"/>
                  <a:pt x="3896247" y="3577926"/>
                </a:cubicBezTo>
                <a:lnTo>
                  <a:pt x="3890092" y="3582017"/>
                </a:lnTo>
                <a:cubicBezTo>
                  <a:pt x="3887976" y="3583268"/>
                  <a:pt x="3885764" y="3584375"/>
                  <a:pt x="3883600" y="3585529"/>
                </a:cubicBezTo>
                <a:cubicBezTo>
                  <a:pt x="3881484" y="3586781"/>
                  <a:pt x="3879176" y="3587695"/>
                  <a:pt x="3876916" y="3588609"/>
                </a:cubicBezTo>
                <a:cubicBezTo>
                  <a:pt x="3874656" y="3589524"/>
                  <a:pt x="3872396" y="3590534"/>
                  <a:pt x="3869992" y="3591015"/>
                </a:cubicBezTo>
                <a:cubicBezTo>
                  <a:pt x="3860567" y="3593854"/>
                  <a:pt x="3850613" y="3593758"/>
                  <a:pt x="3840563" y="3592892"/>
                </a:cubicBezTo>
                <a:cubicBezTo>
                  <a:pt x="3830513" y="3592026"/>
                  <a:pt x="3820030" y="3591304"/>
                  <a:pt x="3809692" y="3592892"/>
                </a:cubicBezTo>
                <a:cubicBezTo>
                  <a:pt x="3807095" y="3593084"/>
                  <a:pt x="3804547" y="3593806"/>
                  <a:pt x="3801998" y="3594336"/>
                </a:cubicBezTo>
                <a:cubicBezTo>
                  <a:pt x="3799450" y="3594865"/>
                  <a:pt x="3796901" y="3595442"/>
                  <a:pt x="3794449" y="3596308"/>
                </a:cubicBezTo>
                <a:lnTo>
                  <a:pt x="3786996" y="3598714"/>
                </a:lnTo>
                <a:lnTo>
                  <a:pt x="3779783" y="3601746"/>
                </a:lnTo>
                <a:cubicBezTo>
                  <a:pt x="3770214" y="3605884"/>
                  <a:pt x="3761077" y="3610937"/>
                  <a:pt x="3752278" y="3616663"/>
                </a:cubicBezTo>
                <a:cubicBezTo>
                  <a:pt x="3743718" y="3622678"/>
                  <a:pt x="3735400" y="3629078"/>
                  <a:pt x="3727465" y="3635911"/>
                </a:cubicBezTo>
                <a:cubicBezTo>
                  <a:pt x="3711501" y="3649529"/>
                  <a:pt x="3696306" y="3664206"/>
                  <a:pt x="3681303" y="3679171"/>
                </a:cubicBezTo>
                <a:cubicBezTo>
                  <a:pt x="3651201" y="3709054"/>
                  <a:pt x="3622302" y="3741054"/>
                  <a:pt x="3590613" y="3770744"/>
                </a:cubicBezTo>
                <a:cubicBezTo>
                  <a:pt x="3574601" y="3785373"/>
                  <a:pt x="3557242" y="3798798"/>
                  <a:pt x="3539931" y="3812464"/>
                </a:cubicBezTo>
                <a:cubicBezTo>
                  <a:pt x="3522572" y="3826082"/>
                  <a:pt x="3505020" y="3839844"/>
                  <a:pt x="3487950" y="3854425"/>
                </a:cubicBezTo>
                <a:cubicBezTo>
                  <a:pt x="3470928" y="3869006"/>
                  <a:pt x="3454290" y="3884452"/>
                  <a:pt x="3439527" y="3901968"/>
                </a:cubicBezTo>
                <a:cubicBezTo>
                  <a:pt x="3431978" y="3910581"/>
                  <a:pt x="3425535" y="3920157"/>
                  <a:pt x="3419572" y="3930070"/>
                </a:cubicBezTo>
                <a:cubicBezTo>
                  <a:pt x="3414186" y="3940271"/>
                  <a:pt x="3409378" y="3951243"/>
                  <a:pt x="3408416" y="3963225"/>
                </a:cubicBezTo>
                <a:cubicBezTo>
                  <a:pt x="3407983" y="3969191"/>
                  <a:pt x="3408560" y="3975255"/>
                  <a:pt x="3409955" y="3980933"/>
                </a:cubicBezTo>
                <a:cubicBezTo>
                  <a:pt x="3411205" y="3986659"/>
                  <a:pt x="3412984" y="3992145"/>
                  <a:pt x="3413657" y="3997631"/>
                </a:cubicBezTo>
                <a:cubicBezTo>
                  <a:pt x="3415052" y="4008650"/>
                  <a:pt x="3411157" y="4019573"/>
                  <a:pt x="3405146" y="4029246"/>
                </a:cubicBezTo>
                <a:cubicBezTo>
                  <a:pt x="3399136" y="4038966"/>
                  <a:pt x="3391923" y="4047964"/>
                  <a:pt x="3383700" y="4056145"/>
                </a:cubicBezTo>
                <a:cubicBezTo>
                  <a:pt x="3375477" y="4064325"/>
                  <a:pt x="3366533" y="4071832"/>
                  <a:pt x="3357397" y="4079146"/>
                </a:cubicBezTo>
                <a:cubicBezTo>
                  <a:pt x="3320227" y="4107778"/>
                  <a:pt x="3278921" y="4131790"/>
                  <a:pt x="3236990" y="4155513"/>
                </a:cubicBezTo>
                <a:cubicBezTo>
                  <a:pt x="3195011" y="4179188"/>
                  <a:pt x="3151782" y="4201997"/>
                  <a:pt x="3108937" y="4226683"/>
                </a:cubicBezTo>
                <a:cubicBezTo>
                  <a:pt x="3087539" y="4239098"/>
                  <a:pt x="3066141" y="4251897"/>
                  <a:pt x="3045849" y="4266767"/>
                </a:cubicBezTo>
                <a:cubicBezTo>
                  <a:pt x="3035751" y="4274273"/>
                  <a:pt x="3025845" y="4282213"/>
                  <a:pt x="3017526" y="4292270"/>
                </a:cubicBezTo>
                <a:cubicBezTo>
                  <a:pt x="3015555" y="4294869"/>
                  <a:pt x="3013631" y="4297564"/>
                  <a:pt x="3012189" y="4300691"/>
                </a:cubicBezTo>
                <a:cubicBezTo>
                  <a:pt x="3010650" y="4303675"/>
                  <a:pt x="3009785" y="4307428"/>
                  <a:pt x="3010362" y="4311182"/>
                </a:cubicBezTo>
                <a:cubicBezTo>
                  <a:pt x="3010987" y="4314983"/>
                  <a:pt x="3013391" y="4318207"/>
                  <a:pt x="3016036" y="4320373"/>
                </a:cubicBezTo>
                <a:cubicBezTo>
                  <a:pt x="3018728" y="4322634"/>
                  <a:pt x="3021614" y="4324222"/>
                  <a:pt x="3024547" y="4325666"/>
                </a:cubicBezTo>
                <a:cubicBezTo>
                  <a:pt x="3027480" y="4327109"/>
                  <a:pt x="3030414" y="4328312"/>
                  <a:pt x="3033250" y="4329612"/>
                </a:cubicBezTo>
                <a:cubicBezTo>
                  <a:pt x="3035991" y="4330863"/>
                  <a:pt x="3038925" y="4332306"/>
                  <a:pt x="3040656" y="4333990"/>
                </a:cubicBezTo>
                <a:cubicBezTo>
                  <a:pt x="3044262" y="4336878"/>
                  <a:pt x="3038251" y="4341786"/>
                  <a:pt x="3033539" y="4345203"/>
                </a:cubicBezTo>
                <a:cubicBezTo>
                  <a:pt x="3029644" y="4347897"/>
                  <a:pt x="3025461" y="4350351"/>
                  <a:pt x="3021229" y="4352661"/>
                </a:cubicBezTo>
                <a:cubicBezTo>
                  <a:pt x="3017526" y="4354394"/>
                  <a:pt x="3013872" y="4356174"/>
                  <a:pt x="3010121" y="4357810"/>
                </a:cubicBezTo>
                <a:cubicBezTo>
                  <a:pt x="3010843" y="4357329"/>
                  <a:pt x="3011564" y="4356896"/>
                  <a:pt x="3012237" y="4356366"/>
                </a:cubicBezTo>
                <a:cubicBezTo>
                  <a:pt x="3013824" y="4355212"/>
                  <a:pt x="3015363" y="4353960"/>
                  <a:pt x="3016853" y="4352517"/>
                </a:cubicBezTo>
                <a:cubicBezTo>
                  <a:pt x="3018296" y="4351121"/>
                  <a:pt x="3019738" y="4349341"/>
                  <a:pt x="3020700" y="4346791"/>
                </a:cubicBezTo>
                <a:cubicBezTo>
                  <a:pt x="3021662" y="4344192"/>
                  <a:pt x="3020604" y="4341161"/>
                  <a:pt x="3018536" y="4339428"/>
                </a:cubicBezTo>
                <a:cubicBezTo>
                  <a:pt x="3016757" y="4337744"/>
                  <a:pt x="3014882" y="4336782"/>
                  <a:pt x="3013054" y="4335964"/>
                </a:cubicBezTo>
                <a:cubicBezTo>
                  <a:pt x="3005745" y="4332740"/>
                  <a:pt x="2998388" y="4331007"/>
                  <a:pt x="2991704" y="4327928"/>
                </a:cubicBezTo>
                <a:cubicBezTo>
                  <a:pt x="2985068" y="4325088"/>
                  <a:pt x="2979010" y="4320276"/>
                  <a:pt x="2980789" y="4313732"/>
                </a:cubicBezTo>
                <a:cubicBezTo>
                  <a:pt x="2982424" y="4307284"/>
                  <a:pt x="2987569" y="4301365"/>
                  <a:pt x="2992762" y="4296120"/>
                </a:cubicBezTo>
                <a:cubicBezTo>
                  <a:pt x="3003485" y="4285582"/>
                  <a:pt x="3015843" y="4276535"/>
                  <a:pt x="3028586" y="4268018"/>
                </a:cubicBezTo>
                <a:cubicBezTo>
                  <a:pt x="3041329" y="4259549"/>
                  <a:pt x="3054552" y="4251657"/>
                  <a:pt x="3068016" y="4244054"/>
                </a:cubicBezTo>
                <a:cubicBezTo>
                  <a:pt x="3094945" y="4228800"/>
                  <a:pt x="3122594" y="4214508"/>
                  <a:pt x="3150436" y="4200072"/>
                </a:cubicBezTo>
                <a:cubicBezTo>
                  <a:pt x="3178277" y="4185636"/>
                  <a:pt x="3206311" y="4171104"/>
                  <a:pt x="3234057" y="4155561"/>
                </a:cubicBezTo>
                <a:cubicBezTo>
                  <a:pt x="3261754" y="4140018"/>
                  <a:pt x="3289356" y="4123657"/>
                  <a:pt x="3315322" y="4104409"/>
                </a:cubicBezTo>
                <a:cubicBezTo>
                  <a:pt x="3328257" y="4094785"/>
                  <a:pt x="3340856" y="4084487"/>
                  <a:pt x="3352252" y="4072698"/>
                </a:cubicBezTo>
                <a:cubicBezTo>
                  <a:pt x="3357878" y="4066779"/>
                  <a:pt x="3363312" y="4060572"/>
                  <a:pt x="3367976" y="4053739"/>
                </a:cubicBezTo>
                <a:cubicBezTo>
                  <a:pt x="3372640" y="4047146"/>
                  <a:pt x="3377545" y="4039639"/>
                  <a:pt x="3378074" y="4030400"/>
                </a:cubicBezTo>
                <a:cubicBezTo>
                  <a:pt x="3378314" y="4025829"/>
                  <a:pt x="3376727" y="4021065"/>
                  <a:pt x="3374179" y="4017408"/>
                </a:cubicBezTo>
                <a:cubicBezTo>
                  <a:pt x="3371630" y="4013703"/>
                  <a:pt x="3368360" y="4010815"/>
                  <a:pt x="3365091" y="4008217"/>
                </a:cubicBezTo>
                <a:cubicBezTo>
                  <a:pt x="3358551" y="4003068"/>
                  <a:pt x="3351530" y="3998882"/>
                  <a:pt x="3346000" y="3993396"/>
                </a:cubicBezTo>
                <a:cubicBezTo>
                  <a:pt x="3340374" y="3988055"/>
                  <a:pt x="3336912" y="3981125"/>
                  <a:pt x="3337105" y="3973522"/>
                </a:cubicBezTo>
                <a:cubicBezTo>
                  <a:pt x="3337441" y="3965967"/>
                  <a:pt x="3340278" y="3958413"/>
                  <a:pt x="3344029" y="3951387"/>
                </a:cubicBezTo>
                <a:cubicBezTo>
                  <a:pt x="3351675" y="3937384"/>
                  <a:pt x="3363167" y="3925499"/>
                  <a:pt x="3375140" y="3914431"/>
                </a:cubicBezTo>
                <a:cubicBezTo>
                  <a:pt x="3387210" y="3903363"/>
                  <a:pt x="3400145" y="3893162"/>
                  <a:pt x="3413513" y="3883345"/>
                </a:cubicBezTo>
                <a:cubicBezTo>
                  <a:pt x="3440104" y="3863616"/>
                  <a:pt x="3467994" y="3845234"/>
                  <a:pt x="3495403" y="3825793"/>
                </a:cubicBezTo>
                <a:cubicBezTo>
                  <a:pt x="3522716" y="3806305"/>
                  <a:pt x="3550173" y="3786046"/>
                  <a:pt x="3574360" y="3761938"/>
                </a:cubicBezTo>
                <a:cubicBezTo>
                  <a:pt x="3598836" y="3738215"/>
                  <a:pt x="3621580" y="3712711"/>
                  <a:pt x="3644565" y="3687256"/>
                </a:cubicBezTo>
                <a:cubicBezTo>
                  <a:pt x="3667551" y="3661848"/>
                  <a:pt x="3690728" y="3636296"/>
                  <a:pt x="3715925" y="3612814"/>
                </a:cubicBezTo>
                <a:cubicBezTo>
                  <a:pt x="3728667" y="3601265"/>
                  <a:pt x="3741651" y="3589812"/>
                  <a:pt x="3756028" y="3580285"/>
                </a:cubicBezTo>
                <a:cubicBezTo>
                  <a:pt x="3770310" y="3570757"/>
                  <a:pt x="3785697" y="3562721"/>
                  <a:pt x="3802046" y="3557427"/>
                </a:cubicBezTo>
                <a:cubicBezTo>
                  <a:pt x="3810173" y="3554636"/>
                  <a:pt x="3818636" y="3553048"/>
                  <a:pt x="3827147" y="3551894"/>
                </a:cubicBezTo>
                <a:cubicBezTo>
                  <a:pt x="3835707" y="3550883"/>
                  <a:pt x="3844362" y="3550691"/>
                  <a:pt x="3853162" y="3550450"/>
                </a:cubicBezTo>
                <a:cubicBezTo>
                  <a:pt x="3870617" y="3550402"/>
                  <a:pt x="3889611" y="3548044"/>
                  <a:pt x="3905479" y="3538853"/>
                </a:cubicBezTo>
                <a:cubicBezTo>
                  <a:pt x="3921492" y="3530239"/>
                  <a:pt x="3935148" y="3518113"/>
                  <a:pt x="3947362" y="3505025"/>
                </a:cubicBezTo>
                <a:cubicBezTo>
                  <a:pt x="3959624" y="3491888"/>
                  <a:pt x="3970587" y="3477692"/>
                  <a:pt x="3981022" y="3463112"/>
                </a:cubicBezTo>
                <a:cubicBezTo>
                  <a:pt x="4001843" y="3433855"/>
                  <a:pt x="4020356" y="3403010"/>
                  <a:pt x="4038677" y="3371876"/>
                </a:cubicBezTo>
                <a:cubicBezTo>
                  <a:pt x="4056901" y="3340790"/>
                  <a:pt x="4075270" y="3309416"/>
                  <a:pt x="4092533" y="3277320"/>
                </a:cubicBezTo>
                <a:cubicBezTo>
                  <a:pt x="4127347" y="3213224"/>
                  <a:pt x="4158603" y="3146289"/>
                  <a:pt x="4184569" y="3076515"/>
                </a:cubicBezTo>
                <a:cubicBezTo>
                  <a:pt x="4197601" y="3041675"/>
                  <a:pt x="4209382" y="3006211"/>
                  <a:pt x="4220201" y="2970265"/>
                </a:cubicBezTo>
                <a:cubicBezTo>
                  <a:pt x="4230924" y="2934319"/>
                  <a:pt x="4241166" y="2898037"/>
                  <a:pt x="4250014" y="2861177"/>
                </a:cubicBezTo>
                <a:cubicBezTo>
                  <a:pt x="4258814" y="2824365"/>
                  <a:pt x="4266700" y="2787168"/>
                  <a:pt x="4274682" y="2749827"/>
                </a:cubicBezTo>
                <a:cubicBezTo>
                  <a:pt x="4278673" y="2731156"/>
                  <a:pt x="4282712" y="2712485"/>
                  <a:pt x="4287040" y="2693863"/>
                </a:cubicBezTo>
                <a:cubicBezTo>
                  <a:pt x="4291416" y="2675240"/>
                  <a:pt x="4295936" y="2656618"/>
                  <a:pt x="4301802" y="2638477"/>
                </a:cubicBezTo>
                <a:cubicBezTo>
                  <a:pt x="4308150" y="2620528"/>
                  <a:pt x="4315363" y="2602820"/>
                  <a:pt x="4325461" y="2586507"/>
                </a:cubicBezTo>
                <a:cubicBezTo>
                  <a:pt x="4335174" y="2570050"/>
                  <a:pt x="4346618" y="2554507"/>
                  <a:pt x="4358448" y="2539157"/>
                </a:cubicBezTo>
                <a:cubicBezTo>
                  <a:pt x="4370277" y="2523758"/>
                  <a:pt x="4382009" y="2508023"/>
                  <a:pt x="4392204" y="2491133"/>
                </a:cubicBezTo>
                <a:cubicBezTo>
                  <a:pt x="4402590" y="2474339"/>
                  <a:pt x="4410188" y="2455909"/>
                  <a:pt x="4416679" y="2437238"/>
                </a:cubicBezTo>
                <a:cubicBezTo>
                  <a:pt x="4428605" y="2399319"/>
                  <a:pt x="4432451" y="2359524"/>
                  <a:pt x="4433365" y="2319873"/>
                </a:cubicBezTo>
                <a:cubicBezTo>
                  <a:pt x="4433846" y="2280174"/>
                  <a:pt x="4430240" y="2240090"/>
                  <a:pt x="4420815" y="2201016"/>
                </a:cubicBezTo>
                <a:cubicBezTo>
                  <a:pt x="4416006" y="2181528"/>
                  <a:pt x="4409803" y="2162183"/>
                  <a:pt x="4400619" y="2143994"/>
                </a:cubicBezTo>
                <a:cubicBezTo>
                  <a:pt x="4396003" y="2134899"/>
                  <a:pt x="4390713" y="2126093"/>
                  <a:pt x="4383885" y="2118201"/>
                </a:cubicBezTo>
                <a:cubicBezTo>
                  <a:pt x="4377153" y="2110406"/>
                  <a:pt x="4368738" y="2103140"/>
                  <a:pt x="4357967" y="2100253"/>
                </a:cubicBezTo>
                <a:cubicBezTo>
                  <a:pt x="4352725" y="2098857"/>
                  <a:pt x="4346811" y="2098520"/>
                  <a:pt x="4341618" y="2100060"/>
                </a:cubicBezTo>
                <a:cubicBezTo>
                  <a:pt x="4340319" y="2100349"/>
                  <a:pt x="4338925" y="2100541"/>
                  <a:pt x="4337675" y="2100974"/>
                </a:cubicBezTo>
                <a:lnTo>
                  <a:pt x="4333924" y="2102466"/>
                </a:lnTo>
                <a:cubicBezTo>
                  <a:pt x="4332673" y="2102995"/>
                  <a:pt x="4331375" y="2103429"/>
                  <a:pt x="4330221" y="2104054"/>
                </a:cubicBezTo>
                <a:lnTo>
                  <a:pt x="4326807" y="2106075"/>
                </a:lnTo>
                <a:cubicBezTo>
                  <a:pt x="4317719" y="2111513"/>
                  <a:pt x="4310217" y="2118731"/>
                  <a:pt x="4303149" y="2126141"/>
                </a:cubicBezTo>
                <a:cubicBezTo>
                  <a:pt x="4289300" y="2141155"/>
                  <a:pt x="4277038" y="2157227"/>
                  <a:pt x="4263767" y="2172385"/>
                </a:cubicBezTo>
                <a:cubicBezTo>
                  <a:pt x="4250591" y="2187543"/>
                  <a:pt x="4236454" y="2202027"/>
                  <a:pt x="4220538" y="2214153"/>
                </a:cubicBezTo>
                <a:cubicBezTo>
                  <a:pt x="4204669" y="2226327"/>
                  <a:pt x="4186300" y="2234700"/>
                  <a:pt x="4167883" y="2243843"/>
                </a:cubicBezTo>
                <a:cubicBezTo>
                  <a:pt x="4158747" y="2248511"/>
                  <a:pt x="4149466" y="2253515"/>
                  <a:pt x="4141340" y="2260541"/>
                </a:cubicBezTo>
                <a:cubicBezTo>
                  <a:pt x="4137349" y="2264054"/>
                  <a:pt x="4133790" y="2267663"/>
                  <a:pt x="4130040" y="2271224"/>
                </a:cubicBezTo>
                <a:lnTo>
                  <a:pt x="4119365" y="2282436"/>
                </a:lnTo>
                <a:cubicBezTo>
                  <a:pt x="4105420" y="2297690"/>
                  <a:pt x="4092533" y="2313810"/>
                  <a:pt x="4080079" y="2330315"/>
                </a:cubicBezTo>
                <a:cubicBezTo>
                  <a:pt x="4030839" y="2396625"/>
                  <a:pt x="3987562" y="2467602"/>
                  <a:pt x="3938754" y="2535355"/>
                </a:cubicBezTo>
                <a:cubicBezTo>
                  <a:pt x="3914327" y="2569183"/>
                  <a:pt x="3888841" y="2602483"/>
                  <a:pt x="3860567" y="2633520"/>
                </a:cubicBezTo>
                <a:cubicBezTo>
                  <a:pt x="3846478" y="2649015"/>
                  <a:pt x="3831715" y="2664028"/>
                  <a:pt x="3815943" y="2677887"/>
                </a:cubicBezTo>
                <a:cubicBezTo>
                  <a:pt x="3800219" y="2691746"/>
                  <a:pt x="3783534" y="2704834"/>
                  <a:pt x="3765838" y="2715806"/>
                </a:cubicBezTo>
                <a:cubicBezTo>
                  <a:pt x="3748046" y="2726536"/>
                  <a:pt x="3727802" y="2732985"/>
                  <a:pt x="3707365" y="2737941"/>
                </a:cubicBezTo>
                <a:cubicBezTo>
                  <a:pt x="3686833" y="2742849"/>
                  <a:pt x="3665771" y="2745785"/>
                  <a:pt x="3644614" y="2748142"/>
                </a:cubicBezTo>
                <a:cubicBezTo>
                  <a:pt x="3602250" y="2752714"/>
                  <a:pt x="3559309" y="2754639"/>
                  <a:pt x="3516321" y="2758392"/>
                </a:cubicBezTo>
                <a:cubicBezTo>
                  <a:pt x="3473380" y="2762194"/>
                  <a:pt x="3429958" y="2767439"/>
                  <a:pt x="3387883" y="2779854"/>
                </a:cubicBezTo>
                <a:cubicBezTo>
                  <a:pt x="3366918" y="2786157"/>
                  <a:pt x="3346337" y="2794434"/>
                  <a:pt x="3327247" y="2805646"/>
                </a:cubicBezTo>
                <a:cubicBezTo>
                  <a:pt x="3307580" y="2816521"/>
                  <a:pt x="3292048" y="2833460"/>
                  <a:pt x="3278873" y="2851120"/>
                </a:cubicBezTo>
                <a:cubicBezTo>
                  <a:pt x="3265697" y="2868972"/>
                  <a:pt x="3254734" y="2888268"/>
                  <a:pt x="3244972" y="2908046"/>
                </a:cubicBezTo>
                <a:cubicBezTo>
                  <a:pt x="3235211" y="2927871"/>
                  <a:pt x="3226604" y="2948274"/>
                  <a:pt x="3218669" y="2968918"/>
                </a:cubicBezTo>
                <a:cubicBezTo>
                  <a:pt x="3202801" y="3010253"/>
                  <a:pt x="3189770" y="3052647"/>
                  <a:pt x="3177941" y="3095522"/>
                </a:cubicBezTo>
                <a:cubicBezTo>
                  <a:pt x="3154523" y="3181320"/>
                  <a:pt x="3136202" y="3268995"/>
                  <a:pt x="3119613" y="3357536"/>
                </a:cubicBezTo>
                <a:cubicBezTo>
                  <a:pt x="3103263" y="3446126"/>
                  <a:pt x="3088309" y="3535629"/>
                  <a:pt x="3077489" y="3626383"/>
                </a:cubicBezTo>
                <a:cubicBezTo>
                  <a:pt x="3072200" y="3671761"/>
                  <a:pt x="3067584" y="3717427"/>
                  <a:pt x="3065756" y="3763478"/>
                </a:cubicBezTo>
                <a:cubicBezTo>
                  <a:pt x="3064843" y="3786527"/>
                  <a:pt x="3064651" y="3809625"/>
                  <a:pt x="3066189" y="3832867"/>
                </a:cubicBezTo>
                <a:cubicBezTo>
                  <a:pt x="3066766" y="3838690"/>
                  <a:pt x="3067055" y="3844464"/>
                  <a:pt x="3067920" y="3850287"/>
                </a:cubicBezTo>
                <a:lnTo>
                  <a:pt x="3069363" y="3858996"/>
                </a:lnTo>
                <a:lnTo>
                  <a:pt x="3070084" y="3863375"/>
                </a:lnTo>
                <a:cubicBezTo>
                  <a:pt x="3070421" y="3864819"/>
                  <a:pt x="3070854" y="3866263"/>
                  <a:pt x="3071238" y="3867706"/>
                </a:cubicBezTo>
                <a:lnTo>
                  <a:pt x="3073643" y="3876368"/>
                </a:lnTo>
                <a:cubicBezTo>
                  <a:pt x="3074749" y="3879303"/>
                  <a:pt x="3076047" y="3882094"/>
                  <a:pt x="3077538" y="3884789"/>
                </a:cubicBezTo>
                <a:cubicBezTo>
                  <a:pt x="3080519" y="3890082"/>
                  <a:pt x="3084029" y="3894942"/>
                  <a:pt x="3087684" y="3899562"/>
                </a:cubicBezTo>
                <a:cubicBezTo>
                  <a:pt x="3102350" y="3917847"/>
                  <a:pt x="3119565" y="3933631"/>
                  <a:pt x="3130720" y="3953168"/>
                </a:cubicBezTo>
                <a:cubicBezTo>
                  <a:pt x="3136154" y="3962840"/>
                  <a:pt x="3139568" y="3973619"/>
                  <a:pt x="3138318" y="3984205"/>
                </a:cubicBezTo>
                <a:cubicBezTo>
                  <a:pt x="3137741" y="3989498"/>
                  <a:pt x="3136010" y="3994647"/>
                  <a:pt x="3133557" y="3999459"/>
                </a:cubicBezTo>
                <a:lnTo>
                  <a:pt x="3131586" y="4003020"/>
                </a:lnTo>
                <a:lnTo>
                  <a:pt x="3129134" y="4006437"/>
                </a:lnTo>
                <a:cubicBezTo>
                  <a:pt x="3127499" y="4008698"/>
                  <a:pt x="3125960" y="4011008"/>
                  <a:pt x="3124181" y="4013221"/>
                </a:cubicBezTo>
                <a:cubicBezTo>
                  <a:pt x="3109514" y="4030304"/>
                  <a:pt x="3089896" y="4043008"/>
                  <a:pt x="3069411" y="4053306"/>
                </a:cubicBezTo>
                <a:cubicBezTo>
                  <a:pt x="3048782" y="4063603"/>
                  <a:pt x="3026903" y="4071591"/>
                  <a:pt x="3004736" y="4078569"/>
                </a:cubicBezTo>
                <a:cubicBezTo>
                  <a:pt x="2960256" y="4092331"/>
                  <a:pt x="2914334" y="4102099"/>
                  <a:pt x="2868076" y="4110617"/>
                </a:cubicBezTo>
                <a:cubicBezTo>
                  <a:pt x="2821817" y="4119182"/>
                  <a:pt x="2775126" y="4126352"/>
                  <a:pt x="2728290" y="4134003"/>
                </a:cubicBezTo>
                <a:cubicBezTo>
                  <a:pt x="2704873" y="4137853"/>
                  <a:pt x="2681455" y="4141798"/>
                  <a:pt x="2658037" y="4146322"/>
                </a:cubicBezTo>
                <a:cubicBezTo>
                  <a:pt x="2634667" y="4150941"/>
                  <a:pt x="2611201" y="4155802"/>
                  <a:pt x="2588168" y="4163020"/>
                </a:cubicBezTo>
                <a:lnTo>
                  <a:pt x="2579561" y="4165811"/>
                </a:lnTo>
                <a:cubicBezTo>
                  <a:pt x="2576676" y="4166725"/>
                  <a:pt x="2573887" y="4168072"/>
                  <a:pt x="2571050" y="4169179"/>
                </a:cubicBezTo>
                <a:lnTo>
                  <a:pt x="2562586" y="4172692"/>
                </a:lnTo>
                <a:cubicBezTo>
                  <a:pt x="2559797" y="4173943"/>
                  <a:pt x="2557153" y="4175531"/>
                  <a:pt x="2554460" y="4176926"/>
                </a:cubicBezTo>
                <a:cubicBezTo>
                  <a:pt x="2551767" y="4178370"/>
                  <a:pt x="2549026" y="4179765"/>
                  <a:pt x="2546382" y="4181305"/>
                </a:cubicBezTo>
                <a:lnTo>
                  <a:pt x="2538736" y="4186358"/>
                </a:lnTo>
                <a:cubicBezTo>
                  <a:pt x="2533495" y="4189534"/>
                  <a:pt x="2528926" y="4193624"/>
                  <a:pt x="2524118" y="4197426"/>
                </a:cubicBezTo>
                <a:cubicBezTo>
                  <a:pt x="2505220" y="4213065"/>
                  <a:pt x="2490458" y="4232842"/>
                  <a:pt x="2477138" y="4253004"/>
                </a:cubicBezTo>
                <a:cubicBezTo>
                  <a:pt x="2463866" y="4273263"/>
                  <a:pt x="2452374" y="4294436"/>
                  <a:pt x="2438862" y="4314021"/>
                </a:cubicBezTo>
                <a:cubicBezTo>
                  <a:pt x="2431985" y="4323789"/>
                  <a:pt x="2424580" y="4332740"/>
                  <a:pt x="2416309" y="4341545"/>
                </a:cubicBezTo>
                <a:cubicBezTo>
                  <a:pt x="2408183" y="4350351"/>
                  <a:pt x="2399816" y="4358965"/>
                  <a:pt x="2391161" y="4367290"/>
                </a:cubicBezTo>
                <a:cubicBezTo>
                  <a:pt x="2373946" y="4383987"/>
                  <a:pt x="2355481" y="4399434"/>
                  <a:pt x="2335573" y="4412619"/>
                </a:cubicBezTo>
                <a:cubicBezTo>
                  <a:pt x="2325572" y="4419115"/>
                  <a:pt x="2315137" y="4424938"/>
                  <a:pt x="2304221" y="4429702"/>
                </a:cubicBezTo>
                <a:cubicBezTo>
                  <a:pt x="2293402" y="4434514"/>
                  <a:pt x="2281910" y="4437978"/>
                  <a:pt x="2270321" y="4441106"/>
                </a:cubicBezTo>
                <a:cubicBezTo>
                  <a:pt x="2223678" y="4453232"/>
                  <a:pt x="2175159" y="4458670"/>
                  <a:pt x="2126592" y="4460162"/>
                </a:cubicBezTo>
                <a:cubicBezTo>
                  <a:pt x="2102309" y="4460835"/>
                  <a:pt x="2077930" y="4460354"/>
                  <a:pt x="2053598" y="4458718"/>
                </a:cubicBezTo>
                <a:cubicBezTo>
                  <a:pt x="2044270" y="4458189"/>
                  <a:pt x="2034989" y="4457275"/>
                  <a:pt x="2025756" y="4456119"/>
                </a:cubicBezTo>
                <a:cubicBezTo>
                  <a:pt x="2027680" y="4456312"/>
                  <a:pt x="2029603" y="4456553"/>
                  <a:pt x="2031527" y="4456745"/>
                </a:cubicBezTo>
                <a:cubicBezTo>
                  <a:pt x="2076391" y="4460499"/>
                  <a:pt x="2121784" y="4460595"/>
                  <a:pt x="2166744" y="4454147"/>
                </a:cubicBezTo>
                <a:cubicBezTo>
                  <a:pt x="2172370" y="4453617"/>
                  <a:pt x="2177948" y="4452270"/>
                  <a:pt x="2183526" y="4451307"/>
                </a:cubicBezTo>
                <a:lnTo>
                  <a:pt x="2200260" y="4448083"/>
                </a:lnTo>
                <a:lnTo>
                  <a:pt x="2216753" y="4443753"/>
                </a:lnTo>
                <a:lnTo>
                  <a:pt x="2225024" y="4441587"/>
                </a:lnTo>
                <a:lnTo>
                  <a:pt x="2233151" y="4438893"/>
                </a:lnTo>
                <a:lnTo>
                  <a:pt x="2249356" y="4433455"/>
                </a:lnTo>
                <a:lnTo>
                  <a:pt x="2265176" y="4426863"/>
                </a:lnTo>
                <a:cubicBezTo>
                  <a:pt x="2270513" y="4424793"/>
                  <a:pt x="2275610" y="4422195"/>
                  <a:pt x="2280707" y="4419645"/>
                </a:cubicBezTo>
                <a:cubicBezTo>
                  <a:pt x="2285757" y="4416998"/>
                  <a:pt x="2291046" y="4414736"/>
                  <a:pt x="2295903" y="4411705"/>
                </a:cubicBezTo>
                <a:cubicBezTo>
                  <a:pt x="2316002" y="4400733"/>
                  <a:pt x="2334515" y="4387019"/>
                  <a:pt x="2351826" y="4372054"/>
                </a:cubicBezTo>
                <a:lnTo>
                  <a:pt x="2358318" y="4366424"/>
                </a:lnTo>
                <a:lnTo>
                  <a:pt x="2364521" y="4360457"/>
                </a:lnTo>
                <a:cubicBezTo>
                  <a:pt x="2368656" y="4356511"/>
                  <a:pt x="2372792" y="4352517"/>
                  <a:pt x="2376639" y="4348282"/>
                </a:cubicBezTo>
                <a:cubicBezTo>
                  <a:pt x="2380582" y="4344096"/>
                  <a:pt x="2384573" y="4340005"/>
                  <a:pt x="2388227" y="4335627"/>
                </a:cubicBezTo>
                <a:cubicBezTo>
                  <a:pt x="2391978" y="4331296"/>
                  <a:pt x="2395825" y="4327157"/>
                  <a:pt x="2399383" y="4322249"/>
                </a:cubicBezTo>
                <a:cubicBezTo>
                  <a:pt x="2406308" y="4312625"/>
                  <a:pt x="2411453" y="4302183"/>
                  <a:pt x="2416213" y="4291693"/>
                </a:cubicBezTo>
                <a:cubicBezTo>
                  <a:pt x="2420878" y="4281203"/>
                  <a:pt x="2425061" y="4270568"/>
                  <a:pt x="2429293" y="4260030"/>
                </a:cubicBezTo>
                <a:cubicBezTo>
                  <a:pt x="2437708" y="4238953"/>
                  <a:pt x="2446219" y="4217973"/>
                  <a:pt x="2457952" y="4199013"/>
                </a:cubicBezTo>
                <a:cubicBezTo>
                  <a:pt x="2463818" y="4189582"/>
                  <a:pt x="2470598" y="4180728"/>
                  <a:pt x="2478436" y="4173125"/>
                </a:cubicBezTo>
                <a:cubicBezTo>
                  <a:pt x="2486419" y="4165666"/>
                  <a:pt x="2495411" y="4159362"/>
                  <a:pt x="2505557" y="4155368"/>
                </a:cubicBezTo>
                <a:cubicBezTo>
                  <a:pt x="2526185" y="4146803"/>
                  <a:pt x="2548449" y="4141895"/>
                  <a:pt x="2570665" y="4137564"/>
                </a:cubicBezTo>
                <a:cubicBezTo>
                  <a:pt x="2592977" y="4133281"/>
                  <a:pt x="2615577" y="4130298"/>
                  <a:pt x="2638273" y="4127699"/>
                </a:cubicBezTo>
                <a:cubicBezTo>
                  <a:pt x="2660970" y="4125053"/>
                  <a:pt x="2683763" y="4123032"/>
                  <a:pt x="2706604" y="4120963"/>
                </a:cubicBezTo>
                <a:cubicBezTo>
                  <a:pt x="2752285" y="4116728"/>
                  <a:pt x="2798255" y="4113841"/>
                  <a:pt x="2844129" y="4105756"/>
                </a:cubicBezTo>
                <a:cubicBezTo>
                  <a:pt x="2867018" y="4101329"/>
                  <a:pt x="2889474" y="4095651"/>
                  <a:pt x="2911690" y="4088481"/>
                </a:cubicBezTo>
                <a:cubicBezTo>
                  <a:pt x="2933809" y="4081167"/>
                  <a:pt x="2955736" y="4072409"/>
                  <a:pt x="2975836" y="4059850"/>
                </a:cubicBezTo>
                <a:cubicBezTo>
                  <a:pt x="2985934" y="4053690"/>
                  <a:pt x="2995359" y="4046184"/>
                  <a:pt x="3003678" y="4037474"/>
                </a:cubicBezTo>
                <a:cubicBezTo>
                  <a:pt x="3011948" y="4028764"/>
                  <a:pt x="3018921" y="4018515"/>
                  <a:pt x="3023489" y="4007206"/>
                </a:cubicBezTo>
                <a:cubicBezTo>
                  <a:pt x="3028153" y="3995898"/>
                  <a:pt x="3030125" y="3983676"/>
                  <a:pt x="3030414" y="3971694"/>
                </a:cubicBezTo>
                <a:cubicBezTo>
                  <a:pt x="3030702" y="3959664"/>
                  <a:pt x="3029307" y="3947778"/>
                  <a:pt x="3027192" y="3936133"/>
                </a:cubicBezTo>
                <a:cubicBezTo>
                  <a:pt x="3022864" y="3912891"/>
                  <a:pt x="3016036" y="3890660"/>
                  <a:pt x="3011083" y="3868043"/>
                </a:cubicBezTo>
                <a:cubicBezTo>
                  <a:pt x="3005938" y="3845427"/>
                  <a:pt x="3001851" y="3822618"/>
                  <a:pt x="2999446" y="3799616"/>
                </a:cubicBezTo>
                <a:cubicBezTo>
                  <a:pt x="2997042" y="3776615"/>
                  <a:pt x="2996272" y="3753421"/>
                  <a:pt x="2997571" y="3730323"/>
                </a:cubicBezTo>
                <a:cubicBezTo>
                  <a:pt x="2998629" y="3707273"/>
                  <a:pt x="3002475" y="3684224"/>
                  <a:pt x="3005601" y="3660982"/>
                </a:cubicBezTo>
                <a:cubicBezTo>
                  <a:pt x="3012189" y="3614594"/>
                  <a:pt x="3019209" y="3568206"/>
                  <a:pt x="3026566" y="3521722"/>
                </a:cubicBezTo>
                <a:cubicBezTo>
                  <a:pt x="3041329" y="3428802"/>
                  <a:pt x="3057438" y="3335786"/>
                  <a:pt x="3075133" y="3242673"/>
                </a:cubicBezTo>
                <a:cubicBezTo>
                  <a:pt x="3093021" y="3149609"/>
                  <a:pt x="3111390" y="3056160"/>
                  <a:pt x="3135337" y="2963865"/>
                </a:cubicBezTo>
                <a:cubicBezTo>
                  <a:pt x="3147454" y="2917766"/>
                  <a:pt x="3160918" y="2871908"/>
                  <a:pt x="3178518" y="2827589"/>
                </a:cubicBezTo>
                <a:cubicBezTo>
                  <a:pt x="3187317" y="2805502"/>
                  <a:pt x="3197415" y="2783848"/>
                  <a:pt x="3209822" y="2763734"/>
                </a:cubicBezTo>
                <a:cubicBezTo>
                  <a:pt x="3216025" y="2753724"/>
                  <a:pt x="3223045" y="2744245"/>
                  <a:pt x="3231027" y="2735824"/>
                </a:cubicBezTo>
                <a:lnTo>
                  <a:pt x="3234009" y="2732696"/>
                </a:lnTo>
                <a:lnTo>
                  <a:pt x="3237230" y="2729809"/>
                </a:lnTo>
                <a:lnTo>
                  <a:pt x="3240452" y="2726921"/>
                </a:lnTo>
                <a:lnTo>
                  <a:pt x="3243914" y="2724419"/>
                </a:lnTo>
                <a:cubicBezTo>
                  <a:pt x="3245068" y="2723601"/>
                  <a:pt x="3246175" y="2722687"/>
                  <a:pt x="3247377" y="2721917"/>
                </a:cubicBezTo>
                <a:lnTo>
                  <a:pt x="3251175" y="2719655"/>
                </a:lnTo>
                <a:lnTo>
                  <a:pt x="3258773" y="2715084"/>
                </a:lnTo>
                <a:cubicBezTo>
                  <a:pt x="3279209" y="2703343"/>
                  <a:pt x="3301425" y="2694537"/>
                  <a:pt x="3324603" y="2689725"/>
                </a:cubicBezTo>
                <a:cubicBezTo>
                  <a:pt x="3347732" y="2684816"/>
                  <a:pt x="3371582" y="2683373"/>
                  <a:pt x="3395433" y="2684143"/>
                </a:cubicBezTo>
                <a:cubicBezTo>
                  <a:pt x="3443230" y="2685827"/>
                  <a:pt x="3490643" y="2695980"/>
                  <a:pt x="3538969" y="2701803"/>
                </a:cubicBezTo>
                <a:cubicBezTo>
                  <a:pt x="3563156" y="2704690"/>
                  <a:pt x="3587632" y="2706519"/>
                  <a:pt x="3612252" y="2705652"/>
                </a:cubicBezTo>
                <a:cubicBezTo>
                  <a:pt x="3636824" y="2704786"/>
                  <a:pt x="3661492" y="2700744"/>
                  <a:pt x="3685054" y="2693093"/>
                </a:cubicBezTo>
                <a:cubicBezTo>
                  <a:pt x="3687987" y="2692131"/>
                  <a:pt x="3690968" y="2691216"/>
                  <a:pt x="3693853" y="2690158"/>
                </a:cubicBezTo>
                <a:lnTo>
                  <a:pt x="3702461" y="2686693"/>
                </a:lnTo>
                <a:cubicBezTo>
                  <a:pt x="3708279" y="2684528"/>
                  <a:pt x="3713809" y="2681688"/>
                  <a:pt x="3719387" y="2678994"/>
                </a:cubicBezTo>
                <a:cubicBezTo>
                  <a:pt x="3725061" y="2676443"/>
                  <a:pt x="3730302" y="2673123"/>
                  <a:pt x="3735688" y="2670043"/>
                </a:cubicBezTo>
                <a:cubicBezTo>
                  <a:pt x="3741074" y="2667156"/>
                  <a:pt x="3746459" y="2663306"/>
                  <a:pt x="3751268" y="2659409"/>
                </a:cubicBezTo>
                <a:cubicBezTo>
                  <a:pt x="3770502" y="2643529"/>
                  <a:pt x="3787092" y="2625388"/>
                  <a:pt x="3803297" y="2606958"/>
                </a:cubicBezTo>
                <a:cubicBezTo>
                  <a:pt x="3835370" y="2569761"/>
                  <a:pt x="3864462" y="2529966"/>
                  <a:pt x="3889515" y="2487427"/>
                </a:cubicBezTo>
                <a:cubicBezTo>
                  <a:pt x="3902017" y="2466158"/>
                  <a:pt x="3913269" y="2444071"/>
                  <a:pt x="3922646" y="2421070"/>
                </a:cubicBezTo>
                <a:cubicBezTo>
                  <a:pt x="3927214" y="2409521"/>
                  <a:pt x="3931445" y="2397780"/>
                  <a:pt x="3934523" y="2385653"/>
                </a:cubicBezTo>
                <a:cubicBezTo>
                  <a:pt x="3937744" y="2373575"/>
                  <a:pt x="3940149" y="2361160"/>
                  <a:pt x="3940726" y="2348456"/>
                </a:cubicBezTo>
                <a:cubicBezTo>
                  <a:pt x="3941351" y="2335801"/>
                  <a:pt x="3940630" y="2322905"/>
                  <a:pt x="3936446" y="2310249"/>
                </a:cubicBezTo>
                <a:cubicBezTo>
                  <a:pt x="3932070" y="2297738"/>
                  <a:pt x="3923703" y="2286863"/>
                  <a:pt x="3913750" y="2278634"/>
                </a:cubicBezTo>
                <a:cubicBezTo>
                  <a:pt x="3903748" y="2270357"/>
                  <a:pt x="3892400" y="2264294"/>
                  <a:pt x="3880763" y="2259434"/>
                </a:cubicBezTo>
                <a:cubicBezTo>
                  <a:pt x="3869126" y="2254526"/>
                  <a:pt x="3857057" y="2251013"/>
                  <a:pt x="3844987" y="2247837"/>
                </a:cubicBezTo>
                <a:cubicBezTo>
                  <a:pt x="3832917" y="2244709"/>
                  <a:pt x="3820800" y="2242111"/>
                  <a:pt x="3808730" y="2239561"/>
                </a:cubicBezTo>
                <a:cubicBezTo>
                  <a:pt x="3796757" y="2236866"/>
                  <a:pt x="3784447" y="2234652"/>
                  <a:pt x="3772233" y="2232246"/>
                </a:cubicBezTo>
                <a:cubicBezTo>
                  <a:pt x="3747661" y="2228252"/>
                  <a:pt x="3722945" y="2225076"/>
                  <a:pt x="3698037" y="2224018"/>
                </a:cubicBezTo>
                <a:cubicBezTo>
                  <a:pt x="3673177" y="2222478"/>
                  <a:pt x="3648172" y="2223007"/>
                  <a:pt x="3623263" y="2224306"/>
                </a:cubicBezTo>
                <a:cubicBezTo>
                  <a:pt x="3610809" y="2225413"/>
                  <a:pt x="3598355" y="2226039"/>
                  <a:pt x="3585949" y="2227867"/>
                </a:cubicBezTo>
                <a:cubicBezTo>
                  <a:pt x="3579746" y="2228685"/>
                  <a:pt x="3573543" y="2229359"/>
                  <a:pt x="3567388" y="2230321"/>
                </a:cubicBezTo>
                <a:lnTo>
                  <a:pt x="3548923" y="2233546"/>
                </a:lnTo>
                <a:cubicBezTo>
                  <a:pt x="3542720" y="2234508"/>
                  <a:pt x="3536661" y="2235952"/>
                  <a:pt x="3530554" y="2237299"/>
                </a:cubicBezTo>
                <a:cubicBezTo>
                  <a:pt x="3524447" y="2238742"/>
                  <a:pt x="3518292" y="2239945"/>
                  <a:pt x="3512233" y="2241533"/>
                </a:cubicBezTo>
                <a:cubicBezTo>
                  <a:pt x="3500164" y="2244950"/>
                  <a:pt x="3487998" y="2247982"/>
                  <a:pt x="3476169" y="2252264"/>
                </a:cubicBezTo>
                <a:cubicBezTo>
                  <a:pt x="3452270" y="2259963"/>
                  <a:pt x="3429093" y="2270069"/>
                  <a:pt x="3406877" y="2281906"/>
                </a:cubicBezTo>
                <a:cubicBezTo>
                  <a:pt x="3401395" y="2284986"/>
                  <a:pt x="3395769" y="2287921"/>
                  <a:pt x="3390384" y="2291145"/>
                </a:cubicBezTo>
                <a:lnTo>
                  <a:pt x="3374467" y="2301443"/>
                </a:lnTo>
                <a:cubicBezTo>
                  <a:pt x="3363792" y="2308372"/>
                  <a:pt x="3354031" y="2316986"/>
                  <a:pt x="3345183" y="2326032"/>
                </a:cubicBezTo>
                <a:cubicBezTo>
                  <a:pt x="3327391" y="2344222"/>
                  <a:pt x="3312485" y="2364673"/>
                  <a:pt x="3298155" y="2385317"/>
                </a:cubicBezTo>
                <a:cubicBezTo>
                  <a:pt x="3269688" y="2426652"/>
                  <a:pt x="3244203" y="2469912"/>
                  <a:pt x="3213091" y="2508745"/>
                </a:cubicBezTo>
                <a:cubicBezTo>
                  <a:pt x="3197608" y="2528089"/>
                  <a:pt x="3180393" y="2546230"/>
                  <a:pt x="3160534" y="2560570"/>
                </a:cubicBezTo>
                <a:cubicBezTo>
                  <a:pt x="3150484" y="2567644"/>
                  <a:pt x="3140145" y="2573803"/>
                  <a:pt x="3128364" y="2577893"/>
                </a:cubicBezTo>
                <a:lnTo>
                  <a:pt x="3111101" y="2584678"/>
                </a:lnTo>
                <a:lnTo>
                  <a:pt x="3093214" y="2589923"/>
                </a:lnTo>
                <a:cubicBezTo>
                  <a:pt x="3045320" y="2603445"/>
                  <a:pt x="2994974" y="2608065"/>
                  <a:pt x="2944821" y="2612107"/>
                </a:cubicBezTo>
                <a:cubicBezTo>
                  <a:pt x="2894571" y="2616005"/>
                  <a:pt x="2843985" y="2618459"/>
                  <a:pt x="2793446" y="2623704"/>
                </a:cubicBezTo>
                <a:cubicBezTo>
                  <a:pt x="2780800" y="2624762"/>
                  <a:pt x="2768201" y="2626783"/>
                  <a:pt x="2755555" y="2628323"/>
                </a:cubicBezTo>
                <a:cubicBezTo>
                  <a:pt x="2742956" y="2630056"/>
                  <a:pt x="2730406" y="2632510"/>
                  <a:pt x="2717808" y="2634531"/>
                </a:cubicBezTo>
                <a:cubicBezTo>
                  <a:pt x="2692851" y="2639968"/>
                  <a:pt x="2667750" y="2645791"/>
                  <a:pt x="2643852" y="2655511"/>
                </a:cubicBezTo>
                <a:cubicBezTo>
                  <a:pt x="2637889" y="2657965"/>
                  <a:pt x="2631782" y="2660083"/>
                  <a:pt x="2625964" y="2662777"/>
                </a:cubicBezTo>
                <a:lnTo>
                  <a:pt x="2608653" y="2671295"/>
                </a:lnTo>
                <a:cubicBezTo>
                  <a:pt x="2602786" y="2673989"/>
                  <a:pt x="2597401" y="2677502"/>
                  <a:pt x="2591775" y="2680534"/>
                </a:cubicBezTo>
                <a:cubicBezTo>
                  <a:pt x="2586245" y="2683758"/>
                  <a:pt x="2580522" y="2686741"/>
                  <a:pt x="2575185" y="2690254"/>
                </a:cubicBezTo>
                <a:cubicBezTo>
                  <a:pt x="2564317" y="2697087"/>
                  <a:pt x="2553450" y="2703872"/>
                  <a:pt x="2543015" y="2711282"/>
                </a:cubicBezTo>
                <a:cubicBezTo>
                  <a:pt x="2532341" y="2718404"/>
                  <a:pt x="2522098" y="2726055"/>
                  <a:pt x="2511808" y="2733706"/>
                </a:cubicBezTo>
                <a:cubicBezTo>
                  <a:pt x="2470791" y="2764359"/>
                  <a:pt x="2432082" y="2797995"/>
                  <a:pt x="2394190" y="2832497"/>
                </a:cubicBezTo>
                <a:cubicBezTo>
                  <a:pt x="2356346" y="2867047"/>
                  <a:pt x="2319513" y="2902801"/>
                  <a:pt x="2283016" y="2938891"/>
                </a:cubicBezTo>
                <a:cubicBezTo>
                  <a:pt x="2264743" y="2956888"/>
                  <a:pt x="2246663" y="2975221"/>
                  <a:pt x="2228198" y="2992930"/>
                </a:cubicBezTo>
                <a:cubicBezTo>
                  <a:pt x="2209781" y="3010734"/>
                  <a:pt x="2190739" y="3027913"/>
                  <a:pt x="2171505" y="3044900"/>
                </a:cubicBezTo>
                <a:cubicBezTo>
                  <a:pt x="2132844" y="3078728"/>
                  <a:pt x="2092884" y="3111209"/>
                  <a:pt x="2052829" y="3143738"/>
                </a:cubicBezTo>
                <a:cubicBezTo>
                  <a:pt x="2032825" y="3160051"/>
                  <a:pt x="2012773" y="3176364"/>
                  <a:pt x="1993010" y="3193158"/>
                </a:cubicBezTo>
                <a:cubicBezTo>
                  <a:pt x="1973391" y="3210096"/>
                  <a:pt x="1953772" y="3227227"/>
                  <a:pt x="1936221" y="3247052"/>
                </a:cubicBezTo>
                <a:cubicBezTo>
                  <a:pt x="1933913" y="3249410"/>
                  <a:pt x="1931989" y="3252153"/>
                  <a:pt x="1929921" y="3254800"/>
                </a:cubicBezTo>
                <a:cubicBezTo>
                  <a:pt x="1927950" y="3257494"/>
                  <a:pt x="1925738" y="3260093"/>
                  <a:pt x="1923959" y="3262836"/>
                </a:cubicBezTo>
                <a:cubicBezTo>
                  <a:pt x="1920304" y="3268321"/>
                  <a:pt x="1916842" y="3273903"/>
                  <a:pt x="1913572" y="3279581"/>
                </a:cubicBezTo>
                <a:cubicBezTo>
                  <a:pt x="1906984" y="3290938"/>
                  <a:pt x="1901022" y="3302679"/>
                  <a:pt x="1895636" y="3314661"/>
                </a:cubicBezTo>
                <a:cubicBezTo>
                  <a:pt x="1884913" y="3338625"/>
                  <a:pt x="1876354" y="3363551"/>
                  <a:pt x="1870295" y="3389151"/>
                </a:cubicBezTo>
                <a:cubicBezTo>
                  <a:pt x="1864332" y="3414751"/>
                  <a:pt x="1860726" y="3441169"/>
                  <a:pt x="1861976" y="3467780"/>
                </a:cubicBezTo>
                <a:cubicBezTo>
                  <a:pt x="1862601" y="3481061"/>
                  <a:pt x="1864477" y="3494438"/>
                  <a:pt x="1868275" y="3507382"/>
                </a:cubicBezTo>
                <a:cubicBezTo>
                  <a:pt x="1872266" y="3520230"/>
                  <a:pt x="1877844" y="3532982"/>
                  <a:pt x="1886740" y="3543665"/>
                </a:cubicBezTo>
                <a:cubicBezTo>
                  <a:pt x="1895396" y="3554348"/>
                  <a:pt x="1905927" y="3562913"/>
                  <a:pt x="1916938" y="3570420"/>
                </a:cubicBezTo>
                <a:cubicBezTo>
                  <a:pt x="1927950" y="3577926"/>
                  <a:pt x="1939539" y="3584423"/>
                  <a:pt x="1951368" y="3590293"/>
                </a:cubicBezTo>
                <a:cubicBezTo>
                  <a:pt x="1975026" y="3601986"/>
                  <a:pt x="1999646" y="3611418"/>
                  <a:pt x="2024362" y="3620080"/>
                </a:cubicBezTo>
                <a:cubicBezTo>
                  <a:pt x="2049126" y="3628741"/>
                  <a:pt x="2074227" y="3636393"/>
                  <a:pt x="2098943" y="3644525"/>
                </a:cubicBezTo>
                <a:cubicBezTo>
                  <a:pt x="2105098" y="3646594"/>
                  <a:pt x="2111253" y="3648663"/>
                  <a:pt x="2117264" y="3650925"/>
                </a:cubicBezTo>
                <a:lnTo>
                  <a:pt x="2135729" y="3657806"/>
                </a:lnTo>
                <a:lnTo>
                  <a:pt x="2172707" y="3671135"/>
                </a:lnTo>
                <a:cubicBezTo>
                  <a:pt x="2197279" y="3680038"/>
                  <a:pt x="2221466" y="3689662"/>
                  <a:pt x="2244066" y="3702028"/>
                </a:cubicBezTo>
                <a:cubicBezTo>
                  <a:pt x="2266378" y="3714732"/>
                  <a:pt x="2287247" y="3730419"/>
                  <a:pt x="2302490" y="3750967"/>
                </a:cubicBezTo>
                <a:cubicBezTo>
                  <a:pt x="2304366" y="3753565"/>
                  <a:pt x="2306482" y="3755971"/>
                  <a:pt x="2308116" y="3758666"/>
                </a:cubicBezTo>
                <a:lnTo>
                  <a:pt x="2313165" y="3766798"/>
                </a:lnTo>
                <a:cubicBezTo>
                  <a:pt x="2316676" y="3772140"/>
                  <a:pt x="2318936" y="3777818"/>
                  <a:pt x="2321292" y="3783785"/>
                </a:cubicBezTo>
                <a:cubicBezTo>
                  <a:pt x="2325716" y="3795766"/>
                  <a:pt x="2328890" y="3808374"/>
                  <a:pt x="2331582" y="3821078"/>
                </a:cubicBezTo>
                <a:cubicBezTo>
                  <a:pt x="2336727" y="3846581"/>
                  <a:pt x="2339709" y="3872615"/>
                  <a:pt x="2341055" y="3898696"/>
                </a:cubicBezTo>
                <a:cubicBezTo>
                  <a:pt x="2342353" y="3924825"/>
                  <a:pt x="2341969" y="3951050"/>
                  <a:pt x="2339372" y="3976987"/>
                </a:cubicBezTo>
                <a:cubicBezTo>
                  <a:pt x="2336487" y="4002828"/>
                  <a:pt x="2331775" y="4028812"/>
                  <a:pt x="2321052" y="4052103"/>
                </a:cubicBezTo>
                <a:cubicBezTo>
                  <a:pt x="2315714" y="4063603"/>
                  <a:pt x="2308693" y="4074382"/>
                  <a:pt x="2299269" y="4082081"/>
                </a:cubicBezTo>
                <a:cubicBezTo>
                  <a:pt x="2298163" y="4083140"/>
                  <a:pt x="2296912" y="4084006"/>
                  <a:pt x="2295614" y="4084728"/>
                </a:cubicBezTo>
                <a:lnTo>
                  <a:pt x="2291815" y="4087134"/>
                </a:lnTo>
                <a:cubicBezTo>
                  <a:pt x="2289171" y="4088433"/>
                  <a:pt x="2286382" y="4089588"/>
                  <a:pt x="2283593" y="4090599"/>
                </a:cubicBezTo>
                <a:lnTo>
                  <a:pt x="2279217" y="4091561"/>
                </a:lnTo>
                <a:cubicBezTo>
                  <a:pt x="2277774" y="4091898"/>
                  <a:pt x="2276332" y="4092283"/>
                  <a:pt x="2274697" y="4092283"/>
                </a:cubicBezTo>
                <a:lnTo>
                  <a:pt x="2265224" y="4092957"/>
                </a:lnTo>
                <a:cubicBezTo>
                  <a:pt x="2252625" y="4093053"/>
                  <a:pt x="2239786" y="4091850"/>
                  <a:pt x="2227573" y="4088000"/>
                </a:cubicBezTo>
                <a:cubicBezTo>
                  <a:pt x="2215311" y="4084439"/>
                  <a:pt x="2203337" y="4079435"/>
                  <a:pt x="2192085" y="4073035"/>
                </a:cubicBezTo>
                <a:cubicBezTo>
                  <a:pt x="2169293" y="4060620"/>
                  <a:pt x="2149000" y="4043826"/>
                  <a:pt x="2129333" y="4026262"/>
                </a:cubicBezTo>
                <a:cubicBezTo>
                  <a:pt x="2124429" y="4021883"/>
                  <a:pt x="2119380" y="4017312"/>
                  <a:pt x="2113994" y="4013077"/>
                </a:cubicBezTo>
                <a:lnTo>
                  <a:pt x="2098318" y="4000806"/>
                </a:lnTo>
                <a:cubicBezTo>
                  <a:pt x="2087835" y="3992626"/>
                  <a:pt x="2077160" y="3984542"/>
                  <a:pt x="2066245" y="3976794"/>
                </a:cubicBezTo>
                <a:cubicBezTo>
                  <a:pt x="2044414" y="3961252"/>
                  <a:pt x="2021140" y="3947345"/>
                  <a:pt x="1996280" y="3936710"/>
                </a:cubicBezTo>
                <a:cubicBezTo>
                  <a:pt x="1971564" y="3925931"/>
                  <a:pt x="1944780" y="3919098"/>
                  <a:pt x="1918381" y="3915056"/>
                </a:cubicBezTo>
                <a:cubicBezTo>
                  <a:pt x="1865390" y="3906202"/>
                  <a:pt x="1810909" y="3905144"/>
                  <a:pt x="1757486" y="3912025"/>
                </a:cubicBezTo>
                <a:cubicBezTo>
                  <a:pt x="1730750" y="3915297"/>
                  <a:pt x="1704351" y="3920494"/>
                  <a:pt x="1678144" y="3925835"/>
                </a:cubicBezTo>
                <a:cubicBezTo>
                  <a:pt x="1651937" y="3931177"/>
                  <a:pt x="1625827" y="3936614"/>
                  <a:pt x="1599524" y="3939261"/>
                </a:cubicBezTo>
                <a:cubicBezTo>
                  <a:pt x="1573269" y="3941763"/>
                  <a:pt x="1546726" y="3941041"/>
                  <a:pt x="1521192" y="3934930"/>
                </a:cubicBezTo>
                <a:cubicBezTo>
                  <a:pt x="1508497" y="3931802"/>
                  <a:pt x="1495803" y="3927905"/>
                  <a:pt x="1484022" y="3922419"/>
                </a:cubicBezTo>
                <a:lnTo>
                  <a:pt x="1479502" y="3920494"/>
                </a:lnTo>
                <a:lnTo>
                  <a:pt x="1475222" y="3918136"/>
                </a:lnTo>
                <a:lnTo>
                  <a:pt x="1466711" y="3913420"/>
                </a:lnTo>
                <a:cubicBezTo>
                  <a:pt x="1463922" y="3911736"/>
                  <a:pt x="1461421" y="3909715"/>
                  <a:pt x="1458728" y="3907886"/>
                </a:cubicBezTo>
                <a:cubicBezTo>
                  <a:pt x="1456084" y="3906058"/>
                  <a:pt x="1453391" y="3904181"/>
                  <a:pt x="1451083" y="3901920"/>
                </a:cubicBezTo>
                <a:lnTo>
                  <a:pt x="1443870" y="3895472"/>
                </a:lnTo>
                <a:lnTo>
                  <a:pt x="1437426" y="3888254"/>
                </a:lnTo>
                <a:cubicBezTo>
                  <a:pt x="1435166" y="3885944"/>
                  <a:pt x="1433387" y="3883249"/>
                  <a:pt x="1431512" y="3880602"/>
                </a:cubicBezTo>
                <a:cubicBezTo>
                  <a:pt x="1429685" y="3877908"/>
                  <a:pt x="1427617" y="3875453"/>
                  <a:pt x="1426126" y="3872566"/>
                </a:cubicBezTo>
                <a:lnTo>
                  <a:pt x="1421318" y="3864097"/>
                </a:lnTo>
                <a:lnTo>
                  <a:pt x="1417279" y="3855195"/>
                </a:lnTo>
                <a:cubicBezTo>
                  <a:pt x="1415836" y="3852259"/>
                  <a:pt x="1414826" y="3849132"/>
                  <a:pt x="1413720" y="3846052"/>
                </a:cubicBezTo>
                <a:cubicBezTo>
                  <a:pt x="1412662" y="3842972"/>
                  <a:pt x="1411412" y="3839941"/>
                  <a:pt x="1410643" y="3836717"/>
                </a:cubicBezTo>
                <a:cubicBezTo>
                  <a:pt x="1403141" y="3811502"/>
                  <a:pt x="1400352" y="3784843"/>
                  <a:pt x="1398044" y="3758088"/>
                </a:cubicBezTo>
                <a:cubicBezTo>
                  <a:pt x="1395688" y="3731334"/>
                  <a:pt x="1394245" y="3704242"/>
                  <a:pt x="1389581" y="3677246"/>
                </a:cubicBezTo>
                <a:cubicBezTo>
                  <a:pt x="1387465" y="3663725"/>
                  <a:pt x="1384147" y="3650347"/>
                  <a:pt x="1379916" y="3637162"/>
                </a:cubicBezTo>
                <a:cubicBezTo>
                  <a:pt x="1375684" y="3623977"/>
                  <a:pt x="1369529" y="3611370"/>
                  <a:pt x="1362268" y="3599436"/>
                </a:cubicBezTo>
                <a:cubicBezTo>
                  <a:pt x="1358229" y="3593710"/>
                  <a:pt x="1354478" y="3587791"/>
                  <a:pt x="1349622" y="3582691"/>
                </a:cubicBezTo>
                <a:cubicBezTo>
                  <a:pt x="1345246" y="3577157"/>
                  <a:pt x="1339957" y="3572585"/>
                  <a:pt x="1334860" y="3567821"/>
                </a:cubicBezTo>
                <a:cubicBezTo>
                  <a:pt x="1332359" y="3565367"/>
                  <a:pt x="1329330" y="3563539"/>
                  <a:pt x="1326637" y="3561373"/>
                </a:cubicBezTo>
                <a:cubicBezTo>
                  <a:pt x="1323800" y="3559352"/>
                  <a:pt x="1321203" y="3556946"/>
                  <a:pt x="1318126" y="3555310"/>
                </a:cubicBezTo>
                <a:cubicBezTo>
                  <a:pt x="1312115" y="3551845"/>
                  <a:pt x="1306345" y="3547803"/>
                  <a:pt x="1299949" y="3545108"/>
                </a:cubicBezTo>
                <a:lnTo>
                  <a:pt x="1290524" y="3540633"/>
                </a:lnTo>
                <a:cubicBezTo>
                  <a:pt x="1287399" y="3539142"/>
                  <a:pt x="1283889" y="3538179"/>
                  <a:pt x="1280571" y="3536928"/>
                </a:cubicBezTo>
                <a:cubicBezTo>
                  <a:pt x="1273839" y="3534811"/>
                  <a:pt x="1266914" y="3533271"/>
                  <a:pt x="1259990" y="3532309"/>
                </a:cubicBezTo>
                <a:cubicBezTo>
                  <a:pt x="1246093" y="3530384"/>
                  <a:pt x="1232196" y="3530384"/>
                  <a:pt x="1218492" y="3531202"/>
                </a:cubicBezTo>
                <a:cubicBezTo>
                  <a:pt x="1191035" y="3532886"/>
                  <a:pt x="1164251" y="3537794"/>
                  <a:pt x="1137515" y="3541163"/>
                </a:cubicBezTo>
                <a:cubicBezTo>
                  <a:pt x="1110828" y="3544483"/>
                  <a:pt x="1083948" y="3546793"/>
                  <a:pt x="1057741" y="3543136"/>
                </a:cubicBezTo>
                <a:cubicBezTo>
                  <a:pt x="1031678" y="3539527"/>
                  <a:pt x="1006529" y="3529325"/>
                  <a:pt x="987199" y="3511472"/>
                </a:cubicBezTo>
                <a:cubicBezTo>
                  <a:pt x="982102" y="3507334"/>
                  <a:pt x="977870" y="3502282"/>
                  <a:pt x="973350" y="3497470"/>
                </a:cubicBezTo>
                <a:cubicBezTo>
                  <a:pt x="971235" y="3494919"/>
                  <a:pt x="969263" y="3492273"/>
                  <a:pt x="967243" y="3489674"/>
                </a:cubicBezTo>
                <a:lnTo>
                  <a:pt x="964214" y="3485776"/>
                </a:lnTo>
                <a:cubicBezTo>
                  <a:pt x="963252" y="3484429"/>
                  <a:pt x="962387" y="3482985"/>
                  <a:pt x="961473" y="3481638"/>
                </a:cubicBezTo>
                <a:lnTo>
                  <a:pt x="956039" y="3473313"/>
                </a:lnTo>
                <a:cubicBezTo>
                  <a:pt x="954308" y="3470474"/>
                  <a:pt x="952818" y="3467491"/>
                  <a:pt x="951183" y="3464603"/>
                </a:cubicBezTo>
                <a:cubicBezTo>
                  <a:pt x="949644" y="3461668"/>
                  <a:pt x="947865" y="3458829"/>
                  <a:pt x="946518" y="3455750"/>
                </a:cubicBezTo>
                <a:lnTo>
                  <a:pt x="942335" y="3446655"/>
                </a:lnTo>
                <a:cubicBezTo>
                  <a:pt x="931516" y="3422354"/>
                  <a:pt x="924784" y="3396129"/>
                  <a:pt x="925938" y="3369711"/>
                </a:cubicBezTo>
                <a:cubicBezTo>
                  <a:pt x="927428" y="3343341"/>
                  <a:pt x="936180" y="3317789"/>
                  <a:pt x="949067" y="3294210"/>
                </a:cubicBezTo>
                <a:cubicBezTo>
                  <a:pt x="955270" y="3282276"/>
                  <a:pt x="962387" y="3270727"/>
                  <a:pt x="969263" y="3258793"/>
                </a:cubicBezTo>
                <a:cubicBezTo>
                  <a:pt x="976043" y="3246860"/>
                  <a:pt x="982967" y="3234733"/>
                  <a:pt x="987584" y="3221019"/>
                </a:cubicBezTo>
                <a:cubicBezTo>
                  <a:pt x="995854" y="3194409"/>
                  <a:pt x="1001192" y="3167558"/>
                  <a:pt x="1006866" y="3140707"/>
                </a:cubicBezTo>
                <a:cubicBezTo>
                  <a:pt x="1017974" y="3087053"/>
                  <a:pt x="1028649" y="3033399"/>
                  <a:pt x="1042979" y="2980611"/>
                </a:cubicBezTo>
                <a:cubicBezTo>
                  <a:pt x="1050143" y="2954241"/>
                  <a:pt x="1058174" y="2928112"/>
                  <a:pt x="1067791" y="2902608"/>
                </a:cubicBezTo>
                <a:cubicBezTo>
                  <a:pt x="1077408" y="2877152"/>
                  <a:pt x="1088708" y="2852226"/>
                  <a:pt x="1102990" y="2829273"/>
                </a:cubicBezTo>
                <a:cubicBezTo>
                  <a:pt x="1117319" y="2806560"/>
                  <a:pt x="1135063" y="2785339"/>
                  <a:pt x="1158000" y="2772251"/>
                </a:cubicBezTo>
                <a:cubicBezTo>
                  <a:pt x="1169396" y="2765706"/>
                  <a:pt x="1181995" y="2761424"/>
                  <a:pt x="1194978" y="2760028"/>
                </a:cubicBezTo>
                <a:cubicBezTo>
                  <a:pt x="1198200" y="2759547"/>
                  <a:pt x="1201517" y="2759547"/>
                  <a:pt x="1204739" y="2759354"/>
                </a:cubicBezTo>
                <a:lnTo>
                  <a:pt x="1214789" y="2759739"/>
                </a:lnTo>
                <a:lnTo>
                  <a:pt x="1224887" y="2760172"/>
                </a:lnTo>
                <a:lnTo>
                  <a:pt x="1234937" y="2761472"/>
                </a:lnTo>
                <a:cubicBezTo>
                  <a:pt x="1261673" y="2764937"/>
                  <a:pt x="1287735" y="2773261"/>
                  <a:pt x="1312499" y="2784473"/>
                </a:cubicBezTo>
                <a:cubicBezTo>
                  <a:pt x="1337312" y="2795685"/>
                  <a:pt x="1360874" y="2809784"/>
                  <a:pt x="1383570" y="2825135"/>
                </a:cubicBezTo>
                <a:cubicBezTo>
                  <a:pt x="1429011" y="2855980"/>
                  <a:pt x="1471087" y="2891925"/>
                  <a:pt x="1514220" y="2926764"/>
                </a:cubicBezTo>
                <a:cubicBezTo>
                  <a:pt x="1535810" y="2944184"/>
                  <a:pt x="1557641" y="2961459"/>
                  <a:pt x="1580434" y="2977531"/>
                </a:cubicBezTo>
                <a:cubicBezTo>
                  <a:pt x="1603226" y="2993603"/>
                  <a:pt x="1627029" y="3008617"/>
                  <a:pt x="1652514" y="3020695"/>
                </a:cubicBezTo>
                <a:cubicBezTo>
                  <a:pt x="1677952" y="3032725"/>
                  <a:pt x="1705265" y="3041724"/>
                  <a:pt x="1733635" y="3044707"/>
                </a:cubicBezTo>
                <a:lnTo>
                  <a:pt x="1738925" y="3045333"/>
                </a:lnTo>
                <a:lnTo>
                  <a:pt x="1744262" y="3045477"/>
                </a:lnTo>
                <a:lnTo>
                  <a:pt x="1754985" y="3045766"/>
                </a:lnTo>
                <a:cubicBezTo>
                  <a:pt x="1762102" y="3045766"/>
                  <a:pt x="1769267" y="3044900"/>
                  <a:pt x="1776383" y="3044515"/>
                </a:cubicBezTo>
                <a:cubicBezTo>
                  <a:pt x="1790905" y="3042638"/>
                  <a:pt x="1804946" y="3037730"/>
                  <a:pt x="1817497" y="3030560"/>
                </a:cubicBezTo>
                <a:cubicBezTo>
                  <a:pt x="1842934" y="3016220"/>
                  <a:pt x="1862024" y="2993796"/>
                  <a:pt x="1877796" y="2970458"/>
                </a:cubicBezTo>
                <a:cubicBezTo>
                  <a:pt x="1893568" y="2946879"/>
                  <a:pt x="1905975" y="2921471"/>
                  <a:pt x="1917179" y="2895679"/>
                </a:cubicBezTo>
                <a:cubicBezTo>
                  <a:pt x="1939154" y="2843902"/>
                  <a:pt x="1955647" y="2790200"/>
                  <a:pt x="1971131" y="2736401"/>
                </a:cubicBezTo>
                <a:cubicBezTo>
                  <a:pt x="1986518" y="2682507"/>
                  <a:pt x="2000511" y="2628275"/>
                  <a:pt x="2015610" y="2574332"/>
                </a:cubicBezTo>
                <a:cubicBezTo>
                  <a:pt x="2046241" y="2465966"/>
                  <a:pt x="2064369" y="2354568"/>
                  <a:pt x="2082834" y="2243506"/>
                </a:cubicBezTo>
                <a:cubicBezTo>
                  <a:pt x="2092163" y="2187976"/>
                  <a:pt x="2101444" y="2132397"/>
                  <a:pt x="2113706" y="2077444"/>
                </a:cubicBezTo>
                <a:cubicBezTo>
                  <a:pt x="2125823" y="2022539"/>
                  <a:pt x="2140874" y="1968066"/>
                  <a:pt x="2163234" y="1916626"/>
                </a:cubicBezTo>
                <a:cubicBezTo>
                  <a:pt x="2174342" y="1890882"/>
                  <a:pt x="2187998" y="1866341"/>
                  <a:pt x="2203866" y="1843435"/>
                </a:cubicBezTo>
                <a:lnTo>
                  <a:pt x="2209973" y="1834918"/>
                </a:lnTo>
                <a:lnTo>
                  <a:pt x="2213003" y="1830683"/>
                </a:lnTo>
                <a:lnTo>
                  <a:pt x="2216321" y="1826641"/>
                </a:lnTo>
                <a:cubicBezTo>
                  <a:pt x="2220841" y="1821300"/>
                  <a:pt x="2225216" y="1815911"/>
                  <a:pt x="2229785" y="1810665"/>
                </a:cubicBezTo>
                <a:lnTo>
                  <a:pt x="2244451" y="1795796"/>
                </a:lnTo>
                <a:cubicBezTo>
                  <a:pt x="2249404" y="1790888"/>
                  <a:pt x="2254934" y="1786702"/>
                  <a:pt x="2260175" y="1782082"/>
                </a:cubicBezTo>
                <a:cubicBezTo>
                  <a:pt x="2281765" y="1764566"/>
                  <a:pt x="2305856" y="1750178"/>
                  <a:pt x="2331630" y="1739351"/>
                </a:cubicBezTo>
                <a:cubicBezTo>
                  <a:pt x="2338122" y="1736801"/>
                  <a:pt x="2344758" y="1734587"/>
                  <a:pt x="2351297" y="1732181"/>
                </a:cubicBezTo>
                <a:cubicBezTo>
                  <a:pt x="2357789" y="1729583"/>
                  <a:pt x="2364569" y="1727899"/>
                  <a:pt x="2371349" y="1726118"/>
                </a:cubicBezTo>
                <a:cubicBezTo>
                  <a:pt x="2384861" y="1722317"/>
                  <a:pt x="2398325" y="1719141"/>
                  <a:pt x="2412270" y="1717938"/>
                </a:cubicBezTo>
                <a:cubicBezTo>
                  <a:pt x="2439968" y="1714858"/>
                  <a:pt x="2468242" y="1715628"/>
                  <a:pt x="2496324" y="1718130"/>
                </a:cubicBezTo>
                <a:cubicBezTo>
                  <a:pt x="2524406" y="1720633"/>
                  <a:pt x="2552440" y="1724819"/>
                  <a:pt x="2580378" y="1729727"/>
                </a:cubicBezTo>
                <a:cubicBezTo>
                  <a:pt x="2636254" y="1739592"/>
                  <a:pt x="2691793" y="1752296"/>
                  <a:pt x="2747717" y="1763748"/>
                </a:cubicBezTo>
                <a:cubicBezTo>
                  <a:pt x="2775703" y="1769475"/>
                  <a:pt x="2803785" y="1774912"/>
                  <a:pt x="2832107" y="1779387"/>
                </a:cubicBezTo>
                <a:cubicBezTo>
                  <a:pt x="2860430" y="1783814"/>
                  <a:pt x="2888993" y="1787327"/>
                  <a:pt x="2917893" y="1788290"/>
                </a:cubicBezTo>
                <a:cubicBezTo>
                  <a:pt x="2946696" y="1789300"/>
                  <a:pt x="2976221" y="1787664"/>
                  <a:pt x="3004495" y="1778569"/>
                </a:cubicBezTo>
                <a:cubicBezTo>
                  <a:pt x="3008054" y="1777511"/>
                  <a:pt x="3011420" y="1775875"/>
                  <a:pt x="3014882" y="1774527"/>
                </a:cubicBezTo>
                <a:cubicBezTo>
                  <a:pt x="3016613" y="1773805"/>
                  <a:pt x="3018344" y="1773132"/>
                  <a:pt x="3020027" y="1772362"/>
                </a:cubicBezTo>
                <a:lnTo>
                  <a:pt x="3025028" y="1769667"/>
                </a:lnTo>
                <a:cubicBezTo>
                  <a:pt x="3028442" y="1767983"/>
                  <a:pt x="3031423" y="1765673"/>
                  <a:pt x="3034597" y="1763700"/>
                </a:cubicBezTo>
                <a:cubicBezTo>
                  <a:pt x="3037530" y="1761390"/>
                  <a:pt x="3040656" y="1759273"/>
                  <a:pt x="3043396" y="1756723"/>
                </a:cubicBezTo>
                <a:cubicBezTo>
                  <a:pt x="3054697" y="1746906"/>
                  <a:pt x="3064121" y="1735261"/>
                  <a:pt x="3071959" y="1722846"/>
                </a:cubicBezTo>
                <a:cubicBezTo>
                  <a:pt x="3087587" y="1697824"/>
                  <a:pt x="3097782" y="1670251"/>
                  <a:pt x="3105475" y="1642293"/>
                </a:cubicBezTo>
                <a:cubicBezTo>
                  <a:pt x="3113073" y="1614287"/>
                  <a:pt x="3118026" y="1585704"/>
                  <a:pt x="3121488" y="1556976"/>
                </a:cubicBezTo>
                <a:cubicBezTo>
                  <a:pt x="3128268" y="1499520"/>
                  <a:pt x="3128989" y="1441584"/>
                  <a:pt x="3126104" y="1383888"/>
                </a:cubicBezTo>
                <a:cubicBezTo>
                  <a:pt x="3123075" y="1326192"/>
                  <a:pt x="3116391" y="1268592"/>
                  <a:pt x="3105187" y="1211714"/>
                </a:cubicBezTo>
                <a:cubicBezTo>
                  <a:pt x="3099609" y="1183275"/>
                  <a:pt x="3092733" y="1155028"/>
                  <a:pt x="3084125" y="1127263"/>
                </a:cubicBezTo>
                <a:cubicBezTo>
                  <a:pt x="3075326" y="1099546"/>
                  <a:pt x="3065179" y="1071973"/>
                  <a:pt x="3049744" y="1046565"/>
                </a:cubicBezTo>
                <a:cubicBezTo>
                  <a:pt x="3033779" y="1021447"/>
                  <a:pt x="3012814" y="1000081"/>
                  <a:pt x="2989541" y="982229"/>
                </a:cubicBezTo>
                <a:cubicBezTo>
                  <a:pt x="2966267" y="964328"/>
                  <a:pt x="2940877" y="949555"/>
                  <a:pt x="2914911" y="936322"/>
                </a:cubicBezTo>
                <a:cubicBezTo>
                  <a:pt x="2862882" y="909952"/>
                  <a:pt x="2808401" y="889597"/>
                  <a:pt x="2754209" y="869050"/>
                </a:cubicBezTo>
                <a:cubicBezTo>
                  <a:pt x="2727040" y="858849"/>
                  <a:pt x="2699968" y="848599"/>
                  <a:pt x="2673136" y="837820"/>
                </a:cubicBezTo>
                <a:cubicBezTo>
                  <a:pt x="2646400" y="826752"/>
                  <a:pt x="2619761" y="815396"/>
                  <a:pt x="2593361" y="803366"/>
                </a:cubicBezTo>
                <a:cubicBezTo>
                  <a:pt x="2540371" y="779787"/>
                  <a:pt x="2488053" y="753850"/>
                  <a:pt x="2432226" y="735372"/>
                </a:cubicBezTo>
                <a:cubicBezTo>
                  <a:pt x="2404336" y="726278"/>
                  <a:pt x="2375292" y="719493"/>
                  <a:pt x="2345575" y="717857"/>
                </a:cubicBezTo>
                <a:cubicBezTo>
                  <a:pt x="2330765" y="717039"/>
                  <a:pt x="2315810" y="717423"/>
                  <a:pt x="2301048" y="719252"/>
                </a:cubicBezTo>
                <a:lnTo>
                  <a:pt x="2279024" y="722620"/>
                </a:lnTo>
                <a:lnTo>
                  <a:pt x="2257434" y="728010"/>
                </a:lnTo>
                <a:cubicBezTo>
                  <a:pt x="2228919" y="736287"/>
                  <a:pt x="2201799" y="748605"/>
                  <a:pt x="2176217" y="763330"/>
                </a:cubicBezTo>
                <a:cubicBezTo>
                  <a:pt x="2150539" y="777959"/>
                  <a:pt x="2126640" y="795234"/>
                  <a:pt x="2103463" y="813231"/>
                </a:cubicBezTo>
                <a:cubicBezTo>
                  <a:pt x="2056964" y="849080"/>
                  <a:pt x="2014312" y="889453"/>
                  <a:pt x="1966947" y="922945"/>
                </a:cubicBezTo>
                <a:cubicBezTo>
                  <a:pt x="1943001" y="939594"/>
                  <a:pt x="1918669" y="956148"/>
                  <a:pt x="1894915" y="973423"/>
                </a:cubicBezTo>
                <a:cubicBezTo>
                  <a:pt x="1871161" y="990698"/>
                  <a:pt x="1847743" y="1008502"/>
                  <a:pt x="1824854" y="1027029"/>
                </a:cubicBezTo>
                <a:cubicBezTo>
                  <a:pt x="1801965" y="1045507"/>
                  <a:pt x="1779798" y="1065044"/>
                  <a:pt x="1758495" y="1085447"/>
                </a:cubicBezTo>
                <a:cubicBezTo>
                  <a:pt x="1737193" y="1105898"/>
                  <a:pt x="1716805" y="1127407"/>
                  <a:pt x="1698292" y="1150601"/>
                </a:cubicBezTo>
                <a:cubicBezTo>
                  <a:pt x="1679731" y="1173747"/>
                  <a:pt x="1662901" y="1198336"/>
                  <a:pt x="1648908" y="1224754"/>
                </a:cubicBezTo>
                <a:cubicBezTo>
                  <a:pt x="1645302" y="1231347"/>
                  <a:pt x="1642368" y="1238228"/>
                  <a:pt x="1639243" y="1245013"/>
                </a:cubicBezTo>
                <a:cubicBezTo>
                  <a:pt x="1636502" y="1251942"/>
                  <a:pt x="1633472" y="1258823"/>
                  <a:pt x="1631164" y="1265897"/>
                </a:cubicBezTo>
                <a:cubicBezTo>
                  <a:pt x="1626115" y="1279948"/>
                  <a:pt x="1622124" y="1294384"/>
                  <a:pt x="1618806" y="1308868"/>
                </a:cubicBezTo>
                <a:cubicBezTo>
                  <a:pt x="1605534" y="1367094"/>
                  <a:pt x="1603130" y="1426474"/>
                  <a:pt x="1598802" y="1485181"/>
                </a:cubicBezTo>
                <a:cubicBezTo>
                  <a:pt x="1594763" y="1543935"/>
                  <a:pt x="1588897" y="1602546"/>
                  <a:pt x="1576250" y="1659953"/>
                </a:cubicBezTo>
                <a:cubicBezTo>
                  <a:pt x="1569903" y="1688633"/>
                  <a:pt x="1561969" y="1716927"/>
                  <a:pt x="1552352" y="1744645"/>
                </a:cubicBezTo>
                <a:cubicBezTo>
                  <a:pt x="1543311" y="1772506"/>
                  <a:pt x="1529847" y="1798251"/>
                  <a:pt x="1513691" y="1822792"/>
                </a:cubicBezTo>
                <a:cubicBezTo>
                  <a:pt x="1505708" y="1835062"/>
                  <a:pt x="1497149" y="1846996"/>
                  <a:pt x="1488109" y="1858497"/>
                </a:cubicBezTo>
                <a:cubicBezTo>
                  <a:pt x="1479165" y="1870094"/>
                  <a:pt x="1469644" y="1881306"/>
                  <a:pt x="1459834" y="1892229"/>
                </a:cubicBezTo>
                <a:cubicBezTo>
                  <a:pt x="1440119" y="1914028"/>
                  <a:pt x="1419010" y="1934527"/>
                  <a:pt x="1396313" y="1953149"/>
                </a:cubicBezTo>
                <a:cubicBezTo>
                  <a:pt x="1373713" y="1971868"/>
                  <a:pt x="1349477" y="1988614"/>
                  <a:pt x="1323704" y="2002376"/>
                </a:cubicBezTo>
                <a:cubicBezTo>
                  <a:pt x="1297929" y="2015850"/>
                  <a:pt x="1270232" y="2026533"/>
                  <a:pt x="1241621" y="2029323"/>
                </a:cubicBezTo>
                <a:cubicBezTo>
                  <a:pt x="1227388" y="2030719"/>
                  <a:pt x="1212962" y="2030142"/>
                  <a:pt x="1199161" y="2026869"/>
                </a:cubicBezTo>
                <a:cubicBezTo>
                  <a:pt x="1192718" y="2025137"/>
                  <a:pt x="1186563" y="2022105"/>
                  <a:pt x="1180937" y="2018256"/>
                </a:cubicBezTo>
                <a:cubicBezTo>
                  <a:pt x="1175359" y="2014214"/>
                  <a:pt x="1170358" y="2009305"/>
                  <a:pt x="1165742" y="2003916"/>
                </a:cubicBezTo>
                <a:cubicBezTo>
                  <a:pt x="1156653" y="1992993"/>
                  <a:pt x="1149441" y="1980337"/>
                  <a:pt x="1143238" y="1967200"/>
                </a:cubicBezTo>
                <a:cubicBezTo>
                  <a:pt x="1137034" y="1954015"/>
                  <a:pt x="1131937" y="1940205"/>
                  <a:pt x="1127417" y="1926250"/>
                </a:cubicBezTo>
                <a:cubicBezTo>
                  <a:pt x="1118377" y="1898244"/>
                  <a:pt x="1111741" y="1869324"/>
                  <a:pt x="1105971" y="1840259"/>
                </a:cubicBezTo>
                <a:cubicBezTo>
                  <a:pt x="1100153" y="1811195"/>
                  <a:pt x="1095633" y="1781793"/>
                  <a:pt x="1090103" y="1752392"/>
                </a:cubicBezTo>
                <a:cubicBezTo>
                  <a:pt x="1084669" y="1723087"/>
                  <a:pt x="1079331" y="1693685"/>
                  <a:pt x="1072744" y="1664428"/>
                </a:cubicBezTo>
                <a:cubicBezTo>
                  <a:pt x="1066060" y="1635219"/>
                  <a:pt x="1058703" y="1605962"/>
                  <a:pt x="1047114" y="1577812"/>
                </a:cubicBezTo>
                <a:cubicBezTo>
                  <a:pt x="1041536" y="1563713"/>
                  <a:pt x="1034323" y="1550047"/>
                  <a:pt x="1025523" y="1537343"/>
                </a:cubicBezTo>
                <a:cubicBezTo>
                  <a:pt x="1016724" y="1524735"/>
                  <a:pt x="1005183" y="1513090"/>
                  <a:pt x="991334" y="1505535"/>
                </a:cubicBezTo>
                <a:cubicBezTo>
                  <a:pt x="977630" y="1497788"/>
                  <a:pt x="962435" y="1493313"/>
                  <a:pt x="947288" y="1490907"/>
                </a:cubicBezTo>
                <a:cubicBezTo>
                  <a:pt x="932093" y="1488453"/>
                  <a:pt x="916849" y="1487779"/>
                  <a:pt x="901847" y="1487731"/>
                </a:cubicBezTo>
                <a:cubicBezTo>
                  <a:pt x="871745" y="1487587"/>
                  <a:pt x="841980" y="1489078"/>
                  <a:pt x="812551" y="1486769"/>
                </a:cubicBezTo>
                <a:cubicBezTo>
                  <a:pt x="805194" y="1486384"/>
                  <a:pt x="797885" y="1485325"/>
                  <a:pt x="790576" y="1484507"/>
                </a:cubicBezTo>
                <a:cubicBezTo>
                  <a:pt x="786922" y="1484026"/>
                  <a:pt x="783315" y="1483304"/>
                  <a:pt x="779709" y="1482727"/>
                </a:cubicBezTo>
                <a:cubicBezTo>
                  <a:pt x="776102" y="1482101"/>
                  <a:pt x="772400" y="1481524"/>
                  <a:pt x="769226" y="1480657"/>
                </a:cubicBezTo>
                <a:cubicBezTo>
                  <a:pt x="756050" y="1476856"/>
                  <a:pt x="744077" y="1468291"/>
                  <a:pt x="732585" y="1459100"/>
                </a:cubicBezTo>
                <a:cubicBezTo>
                  <a:pt x="721044" y="1449909"/>
                  <a:pt x="709792" y="1439755"/>
                  <a:pt x="696761" y="1431238"/>
                </a:cubicBezTo>
                <a:cubicBezTo>
                  <a:pt x="690269" y="1427003"/>
                  <a:pt x="683249" y="1423202"/>
                  <a:pt x="675699" y="1420507"/>
                </a:cubicBezTo>
                <a:cubicBezTo>
                  <a:pt x="668150" y="1417764"/>
                  <a:pt x="659927" y="1416369"/>
                  <a:pt x="651752" y="1416610"/>
                </a:cubicBezTo>
                <a:cubicBezTo>
                  <a:pt x="643626" y="1416802"/>
                  <a:pt x="635451" y="1418630"/>
                  <a:pt x="628190" y="1421566"/>
                </a:cubicBezTo>
                <a:cubicBezTo>
                  <a:pt x="620785" y="1424164"/>
                  <a:pt x="613813" y="1427725"/>
                  <a:pt x="607033" y="1431575"/>
                </a:cubicBezTo>
                <a:cubicBezTo>
                  <a:pt x="593520" y="1439418"/>
                  <a:pt x="581643" y="1449524"/>
                  <a:pt x="570920" y="1460399"/>
                </a:cubicBezTo>
                <a:cubicBezTo>
                  <a:pt x="549378" y="1482294"/>
                  <a:pt x="532067" y="1507268"/>
                  <a:pt x="514948" y="1531905"/>
                </a:cubicBezTo>
                <a:cubicBezTo>
                  <a:pt x="506389" y="1544272"/>
                  <a:pt x="497974" y="1556639"/>
                  <a:pt x="489222" y="1568717"/>
                </a:cubicBezTo>
                <a:cubicBezTo>
                  <a:pt x="484846" y="1574877"/>
                  <a:pt x="480567" y="1580603"/>
                  <a:pt x="475758" y="1586377"/>
                </a:cubicBezTo>
                <a:lnTo>
                  <a:pt x="461525" y="1603845"/>
                </a:lnTo>
                <a:cubicBezTo>
                  <a:pt x="452052" y="1615586"/>
                  <a:pt x="442819" y="1627568"/>
                  <a:pt x="433972" y="1639839"/>
                </a:cubicBezTo>
                <a:cubicBezTo>
                  <a:pt x="425220" y="1652206"/>
                  <a:pt x="416709" y="1664813"/>
                  <a:pt x="409063" y="1677998"/>
                </a:cubicBezTo>
                <a:cubicBezTo>
                  <a:pt x="401514" y="1691231"/>
                  <a:pt x="394253" y="1704705"/>
                  <a:pt x="388819" y="1719189"/>
                </a:cubicBezTo>
                <a:cubicBezTo>
                  <a:pt x="387377" y="1722750"/>
                  <a:pt x="385934" y="1726359"/>
                  <a:pt x="384924" y="1730112"/>
                </a:cubicBezTo>
                <a:cubicBezTo>
                  <a:pt x="383818" y="1733818"/>
                  <a:pt x="382568" y="1737523"/>
                  <a:pt x="381654" y="1741276"/>
                </a:cubicBezTo>
                <a:lnTo>
                  <a:pt x="379394" y="1752777"/>
                </a:lnTo>
                <a:cubicBezTo>
                  <a:pt x="378529" y="1756578"/>
                  <a:pt x="378673" y="1760621"/>
                  <a:pt x="378240" y="1764566"/>
                </a:cubicBezTo>
                <a:cubicBezTo>
                  <a:pt x="377471" y="1772362"/>
                  <a:pt x="378096" y="1780639"/>
                  <a:pt x="380452" y="1788723"/>
                </a:cubicBezTo>
                <a:cubicBezTo>
                  <a:pt x="382712" y="1796807"/>
                  <a:pt x="387617" y="1804314"/>
                  <a:pt x="393628" y="1809992"/>
                </a:cubicBezTo>
                <a:cubicBezTo>
                  <a:pt x="399687" y="1815718"/>
                  <a:pt x="406611" y="1819905"/>
                  <a:pt x="413343" y="1823514"/>
                </a:cubicBezTo>
                <a:cubicBezTo>
                  <a:pt x="420123" y="1827171"/>
                  <a:pt x="426855" y="1830395"/>
                  <a:pt x="433250" y="1833956"/>
                </a:cubicBezTo>
                <a:cubicBezTo>
                  <a:pt x="446041" y="1840981"/>
                  <a:pt x="457341" y="1849835"/>
                  <a:pt x="464891" y="1861721"/>
                </a:cubicBezTo>
                <a:cubicBezTo>
                  <a:pt x="472585" y="1873510"/>
                  <a:pt x="476480" y="1887610"/>
                  <a:pt x="478451" y="1901998"/>
                </a:cubicBezTo>
                <a:cubicBezTo>
                  <a:pt x="478884" y="1905607"/>
                  <a:pt x="479172" y="1909264"/>
                  <a:pt x="479509" y="1912873"/>
                </a:cubicBezTo>
                <a:cubicBezTo>
                  <a:pt x="479605" y="1916530"/>
                  <a:pt x="479846" y="1920187"/>
                  <a:pt x="479894" y="1923892"/>
                </a:cubicBezTo>
                <a:lnTo>
                  <a:pt x="479269" y="1946172"/>
                </a:lnTo>
                <a:cubicBezTo>
                  <a:pt x="479269" y="1953630"/>
                  <a:pt x="478211" y="1960993"/>
                  <a:pt x="477537" y="1968403"/>
                </a:cubicBezTo>
                <a:cubicBezTo>
                  <a:pt x="476816" y="1975814"/>
                  <a:pt x="476191" y="1983224"/>
                  <a:pt x="474748" y="1990539"/>
                </a:cubicBezTo>
                <a:cubicBezTo>
                  <a:pt x="470469" y="2020036"/>
                  <a:pt x="462535" y="2048956"/>
                  <a:pt x="453302" y="2077492"/>
                </a:cubicBezTo>
                <a:cubicBezTo>
                  <a:pt x="444118" y="2106075"/>
                  <a:pt x="433395" y="2134225"/>
                  <a:pt x="423056" y="2162664"/>
                </a:cubicBezTo>
                <a:cubicBezTo>
                  <a:pt x="412718" y="2191103"/>
                  <a:pt x="402908" y="2219927"/>
                  <a:pt x="395263" y="2249473"/>
                </a:cubicBezTo>
                <a:cubicBezTo>
                  <a:pt x="387328" y="2278923"/>
                  <a:pt x="382664" y="2309383"/>
                  <a:pt x="380789" y="2339891"/>
                </a:cubicBezTo>
                <a:cubicBezTo>
                  <a:pt x="378721" y="2370495"/>
                  <a:pt x="380356" y="2401052"/>
                  <a:pt x="383674" y="2431416"/>
                </a:cubicBezTo>
                <a:cubicBezTo>
                  <a:pt x="387088" y="2461779"/>
                  <a:pt x="392954" y="2491855"/>
                  <a:pt x="401033" y="2521352"/>
                </a:cubicBezTo>
                <a:cubicBezTo>
                  <a:pt x="409063" y="2550850"/>
                  <a:pt x="419450" y="2579626"/>
                  <a:pt x="430990" y="2607824"/>
                </a:cubicBezTo>
                <a:cubicBezTo>
                  <a:pt x="442579" y="2636022"/>
                  <a:pt x="455418" y="2663595"/>
                  <a:pt x="468497" y="2691024"/>
                </a:cubicBezTo>
                <a:cubicBezTo>
                  <a:pt x="481625" y="2718308"/>
                  <a:pt x="494223" y="2745977"/>
                  <a:pt x="508024" y="2773165"/>
                </a:cubicBezTo>
                <a:cubicBezTo>
                  <a:pt x="535385" y="2827493"/>
                  <a:pt x="564380" y="2880858"/>
                  <a:pt x="589818" y="2935859"/>
                </a:cubicBezTo>
                <a:cubicBezTo>
                  <a:pt x="602512" y="2963336"/>
                  <a:pt x="614486" y="2991197"/>
                  <a:pt x="624632" y="3019637"/>
                </a:cubicBezTo>
                <a:cubicBezTo>
                  <a:pt x="634682" y="3048027"/>
                  <a:pt x="642953" y="3077236"/>
                  <a:pt x="646078" y="3106878"/>
                </a:cubicBezTo>
                <a:lnTo>
                  <a:pt x="646848" y="3117946"/>
                </a:lnTo>
                <a:cubicBezTo>
                  <a:pt x="646944" y="3121603"/>
                  <a:pt x="646848" y="3125260"/>
                  <a:pt x="646848" y="3128917"/>
                </a:cubicBezTo>
                <a:cubicBezTo>
                  <a:pt x="646655" y="3132526"/>
                  <a:pt x="646174" y="3136135"/>
                  <a:pt x="645838" y="3139696"/>
                </a:cubicBezTo>
                <a:lnTo>
                  <a:pt x="644732" y="3144893"/>
                </a:lnTo>
                <a:cubicBezTo>
                  <a:pt x="644395" y="3146625"/>
                  <a:pt x="644059" y="3148358"/>
                  <a:pt x="643385" y="3149994"/>
                </a:cubicBezTo>
                <a:cubicBezTo>
                  <a:pt x="639346" y="3163371"/>
                  <a:pt x="629633" y="3173813"/>
                  <a:pt x="616025" y="3177615"/>
                </a:cubicBezTo>
                <a:cubicBezTo>
                  <a:pt x="609389" y="3179732"/>
                  <a:pt x="602272" y="3180887"/>
                  <a:pt x="594963" y="3181128"/>
                </a:cubicBezTo>
                <a:cubicBezTo>
                  <a:pt x="587702" y="3181561"/>
                  <a:pt x="580249" y="3181272"/>
                  <a:pt x="572795" y="3180695"/>
                </a:cubicBezTo>
                <a:cubicBezTo>
                  <a:pt x="557889" y="3179588"/>
                  <a:pt x="542886" y="3177374"/>
                  <a:pt x="527787" y="3175257"/>
                </a:cubicBezTo>
                <a:cubicBezTo>
                  <a:pt x="512640" y="3173188"/>
                  <a:pt x="497397" y="3171119"/>
                  <a:pt x="481769" y="3170493"/>
                </a:cubicBezTo>
                <a:cubicBezTo>
                  <a:pt x="466237" y="3170156"/>
                  <a:pt x="449936" y="3170685"/>
                  <a:pt x="434549" y="3177374"/>
                </a:cubicBezTo>
                <a:cubicBezTo>
                  <a:pt x="426663" y="3180743"/>
                  <a:pt x="419979" y="3186517"/>
                  <a:pt x="414737" y="3192821"/>
                </a:cubicBezTo>
                <a:cubicBezTo>
                  <a:pt x="409352" y="3199173"/>
                  <a:pt x="405745" y="3206583"/>
                  <a:pt x="402524" y="3214042"/>
                </a:cubicBezTo>
                <a:cubicBezTo>
                  <a:pt x="396753" y="3229200"/>
                  <a:pt x="394926" y="3245368"/>
                  <a:pt x="395503" y="3261152"/>
                </a:cubicBezTo>
                <a:cubicBezTo>
                  <a:pt x="395551" y="3262595"/>
                  <a:pt x="395743" y="3263991"/>
                  <a:pt x="395840" y="3265434"/>
                </a:cubicBezTo>
                <a:cubicBezTo>
                  <a:pt x="395215" y="3259708"/>
                  <a:pt x="394686" y="3253934"/>
                  <a:pt x="394445" y="3248207"/>
                </a:cubicBezTo>
                <a:cubicBezTo>
                  <a:pt x="394157" y="3237958"/>
                  <a:pt x="394541" y="3227660"/>
                  <a:pt x="395840" y="3217555"/>
                </a:cubicBezTo>
                <a:cubicBezTo>
                  <a:pt x="397282" y="3207498"/>
                  <a:pt x="399542" y="3197537"/>
                  <a:pt x="403197" y="3188249"/>
                </a:cubicBezTo>
                <a:cubicBezTo>
                  <a:pt x="406803" y="3179010"/>
                  <a:pt x="411948" y="3170301"/>
                  <a:pt x="418969" y="3164141"/>
                </a:cubicBezTo>
                <a:lnTo>
                  <a:pt x="421614" y="3161880"/>
                </a:lnTo>
                <a:cubicBezTo>
                  <a:pt x="422479" y="3161110"/>
                  <a:pt x="423537" y="3160677"/>
                  <a:pt x="424499" y="3160051"/>
                </a:cubicBezTo>
                <a:cubicBezTo>
                  <a:pt x="425509" y="3159522"/>
                  <a:pt x="426374" y="3158752"/>
                  <a:pt x="427432" y="3158415"/>
                </a:cubicBezTo>
                <a:lnTo>
                  <a:pt x="430558" y="3157260"/>
                </a:lnTo>
                <a:cubicBezTo>
                  <a:pt x="434885" y="3155768"/>
                  <a:pt x="440031" y="3154999"/>
                  <a:pt x="444887" y="3154373"/>
                </a:cubicBezTo>
                <a:cubicBezTo>
                  <a:pt x="464891" y="3152400"/>
                  <a:pt x="485664" y="3155335"/>
                  <a:pt x="506389" y="3158223"/>
                </a:cubicBezTo>
                <a:cubicBezTo>
                  <a:pt x="527162" y="3161014"/>
                  <a:pt x="548224" y="3164815"/>
                  <a:pt x="570343" y="3163179"/>
                </a:cubicBezTo>
                <a:cubicBezTo>
                  <a:pt x="581259" y="3162264"/>
                  <a:pt x="592991" y="3159329"/>
                  <a:pt x="602512" y="3151871"/>
                </a:cubicBezTo>
                <a:cubicBezTo>
                  <a:pt x="611985" y="3144316"/>
                  <a:pt x="617611" y="3133008"/>
                  <a:pt x="619775" y="3122036"/>
                </a:cubicBezTo>
                <a:cubicBezTo>
                  <a:pt x="622180" y="3111017"/>
                  <a:pt x="622324" y="3099853"/>
                  <a:pt x="621506" y="3089266"/>
                </a:cubicBezTo>
                <a:cubicBezTo>
                  <a:pt x="620737" y="3078632"/>
                  <a:pt x="620304" y="3067901"/>
                  <a:pt x="618381" y="3057411"/>
                </a:cubicBezTo>
                <a:cubicBezTo>
                  <a:pt x="612322" y="3015209"/>
                  <a:pt x="599579" y="2974355"/>
                  <a:pt x="583471" y="2935330"/>
                </a:cubicBezTo>
                <a:cubicBezTo>
                  <a:pt x="567362" y="2896256"/>
                  <a:pt x="548272" y="2858626"/>
                  <a:pt x="528605" y="2821526"/>
                </a:cubicBezTo>
                <a:cubicBezTo>
                  <a:pt x="508986" y="2784425"/>
                  <a:pt x="488357" y="2747950"/>
                  <a:pt x="470950" y="2710176"/>
                </a:cubicBezTo>
                <a:cubicBezTo>
                  <a:pt x="453446" y="2672113"/>
                  <a:pt x="435751" y="2634290"/>
                  <a:pt x="420652" y="2595505"/>
                </a:cubicBezTo>
                <a:cubicBezTo>
                  <a:pt x="405409" y="2556769"/>
                  <a:pt x="393195" y="2516973"/>
                  <a:pt x="384780" y="2476408"/>
                </a:cubicBezTo>
                <a:cubicBezTo>
                  <a:pt x="376317" y="2435843"/>
                  <a:pt x="372278" y="2394411"/>
                  <a:pt x="372758" y="2353028"/>
                </a:cubicBezTo>
                <a:cubicBezTo>
                  <a:pt x="373191" y="2332288"/>
                  <a:pt x="373864" y="2311741"/>
                  <a:pt x="377519" y="2291482"/>
                </a:cubicBezTo>
                <a:cubicBezTo>
                  <a:pt x="380548" y="2271127"/>
                  <a:pt x="386078" y="2251206"/>
                  <a:pt x="391993" y="2231428"/>
                </a:cubicBezTo>
                <a:cubicBezTo>
                  <a:pt x="404351" y="2191922"/>
                  <a:pt x="420652" y="2153570"/>
                  <a:pt x="433972" y="2113774"/>
                </a:cubicBezTo>
                <a:cubicBezTo>
                  <a:pt x="440896" y="2093997"/>
                  <a:pt x="446330" y="2073594"/>
                  <a:pt x="451090" y="2053095"/>
                </a:cubicBezTo>
                <a:cubicBezTo>
                  <a:pt x="454985" y="2032403"/>
                  <a:pt x="458447" y="2011471"/>
                  <a:pt x="458832" y="1990298"/>
                </a:cubicBezTo>
                <a:cubicBezTo>
                  <a:pt x="458976" y="1985005"/>
                  <a:pt x="459361" y="1979712"/>
                  <a:pt x="459265" y="1974467"/>
                </a:cubicBezTo>
                <a:lnTo>
                  <a:pt x="458544" y="1958635"/>
                </a:lnTo>
                <a:cubicBezTo>
                  <a:pt x="458303" y="1948193"/>
                  <a:pt x="457149" y="1937173"/>
                  <a:pt x="453975" y="1926587"/>
                </a:cubicBezTo>
                <a:cubicBezTo>
                  <a:pt x="450850" y="1916001"/>
                  <a:pt x="445079" y="1905655"/>
                  <a:pt x="436568" y="1897859"/>
                </a:cubicBezTo>
                <a:cubicBezTo>
                  <a:pt x="432433" y="1893865"/>
                  <a:pt x="427528" y="1890882"/>
                  <a:pt x="422623" y="1888187"/>
                </a:cubicBezTo>
                <a:cubicBezTo>
                  <a:pt x="417574" y="1885781"/>
                  <a:pt x="412381" y="1883760"/>
                  <a:pt x="407092" y="1882364"/>
                </a:cubicBezTo>
                <a:cubicBezTo>
                  <a:pt x="385982" y="1876590"/>
                  <a:pt x="364680" y="1876975"/>
                  <a:pt x="344917" y="1873703"/>
                </a:cubicBezTo>
                <a:cubicBezTo>
                  <a:pt x="340012" y="1872885"/>
                  <a:pt x="335155" y="1871826"/>
                  <a:pt x="330731" y="1870190"/>
                </a:cubicBezTo>
                <a:cubicBezTo>
                  <a:pt x="326211" y="1868698"/>
                  <a:pt x="322220" y="1866437"/>
                  <a:pt x="318902" y="1863646"/>
                </a:cubicBezTo>
                <a:cubicBezTo>
                  <a:pt x="312074" y="1858112"/>
                  <a:pt x="309189" y="1849162"/>
                  <a:pt x="308660" y="1839634"/>
                </a:cubicBezTo>
                <a:cubicBezTo>
                  <a:pt x="308083" y="1830106"/>
                  <a:pt x="309622" y="1820145"/>
                  <a:pt x="312122" y="1810521"/>
                </a:cubicBezTo>
                <a:cubicBezTo>
                  <a:pt x="314671" y="1800849"/>
                  <a:pt x="318229" y="1791369"/>
                  <a:pt x="322316" y="1782082"/>
                </a:cubicBezTo>
                <a:cubicBezTo>
                  <a:pt x="330683" y="1763556"/>
                  <a:pt x="341070" y="1745799"/>
                  <a:pt x="352274" y="1728572"/>
                </a:cubicBezTo>
                <a:cubicBezTo>
                  <a:pt x="374826" y="1694167"/>
                  <a:pt x="400600" y="1661830"/>
                  <a:pt x="426615" y="1629637"/>
                </a:cubicBezTo>
                <a:cubicBezTo>
                  <a:pt x="439598" y="1613517"/>
                  <a:pt x="452821" y="1597589"/>
                  <a:pt x="465276" y="1580699"/>
                </a:cubicBezTo>
                <a:cubicBezTo>
                  <a:pt x="477586" y="1563953"/>
                  <a:pt x="489415" y="1546871"/>
                  <a:pt x="501099" y="1529788"/>
                </a:cubicBezTo>
                <a:cubicBezTo>
                  <a:pt x="524469" y="1495623"/>
                  <a:pt x="547358" y="1461217"/>
                  <a:pt x="572315" y="1428543"/>
                </a:cubicBezTo>
                <a:cubicBezTo>
                  <a:pt x="584769" y="1412231"/>
                  <a:pt x="597752" y="1396351"/>
                  <a:pt x="611841" y="1381626"/>
                </a:cubicBezTo>
                <a:cubicBezTo>
                  <a:pt x="625882" y="1366949"/>
                  <a:pt x="641173" y="1353331"/>
                  <a:pt x="658436" y="1343707"/>
                </a:cubicBezTo>
                <a:cubicBezTo>
                  <a:pt x="667044" y="1339040"/>
                  <a:pt x="676276" y="1335286"/>
                  <a:pt x="685460" y="1334276"/>
                </a:cubicBezTo>
                <a:cubicBezTo>
                  <a:pt x="694693" y="1333362"/>
                  <a:pt x="703925" y="1335383"/>
                  <a:pt x="712292" y="1339906"/>
                </a:cubicBezTo>
                <a:cubicBezTo>
                  <a:pt x="720707" y="1344333"/>
                  <a:pt x="728305" y="1350829"/>
                  <a:pt x="735566" y="1357759"/>
                </a:cubicBezTo>
                <a:cubicBezTo>
                  <a:pt x="742827" y="1364736"/>
                  <a:pt x="749703" y="1372339"/>
                  <a:pt x="756868" y="1379846"/>
                </a:cubicBezTo>
                <a:cubicBezTo>
                  <a:pt x="764033" y="1387352"/>
                  <a:pt x="771438" y="1394859"/>
                  <a:pt x="779709" y="1401596"/>
                </a:cubicBezTo>
                <a:cubicBezTo>
                  <a:pt x="787979" y="1408333"/>
                  <a:pt x="797164" y="1414396"/>
                  <a:pt x="807502" y="1418342"/>
                </a:cubicBezTo>
                <a:cubicBezTo>
                  <a:pt x="810051" y="1419352"/>
                  <a:pt x="812792" y="1420170"/>
                  <a:pt x="815340" y="1420892"/>
                </a:cubicBezTo>
                <a:lnTo>
                  <a:pt x="822938" y="1422769"/>
                </a:lnTo>
                <a:lnTo>
                  <a:pt x="838133" y="1426474"/>
                </a:lnTo>
                <a:cubicBezTo>
                  <a:pt x="848375" y="1428351"/>
                  <a:pt x="858521" y="1430661"/>
                  <a:pt x="868812" y="1432008"/>
                </a:cubicBezTo>
                <a:cubicBezTo>
                  <a:pt x="889344" y="1435328"/>
                  <a:pt x="909973" y="1437109"/>
                  <a:pt x="930506" y="1438793"/>
                </a:cubicBezTo>
                <a:cubicBezTo>
                  <a:pt x="951038" y="1440525"/>
                  <a:pt x="971523" y="1441728"/>
                  <a:pt x="991527" y="1444712"/>
                </a:cubicBezTo>
                <a:cubicBezTo>
                  <a:pt x="1011482" y="1447695"/>
                  <a:pt x="1031149" y="1452507"/>
                  <a:pt x="1048508" y="1461842"/>
                </a:cubicBezTo>
                <a:cubicBezTo>
                  <a:pt x="1065916" y="1471033"/>
                  <a:pt x="1080293" y="1485277"/>
                  <a:pt x="1091305" y="1501542"/>
                </a:cubicBezTo>
                <a:cubicBezTo>
                  <a:pt x="1102124" y="1518143"/>
                  <a:pt x="1109626" y="1537102"/>
                  <a:pt x="1115925" y="1556302"/>
                </a:cubicBezTo>
                <a:cubicBezTo>
                  <a:pt x="1122176" y="1575598"/>
                  <a:pt x="1127129" y="1595376"/>
                  <a:pt x="1131601" y="1615298"/>
                </a:cubicBezTo>
                <a:cubicBezTo>
                  <a:pt x="1140545" y="1655189"/>
                  <a:pt x="1147565" y="1695658"/>
                  <a:pt x="1157230" y="1735742"/>
                </a:cubicBezTo>
                <a:cubicBezTo>
                  <a:pt x="1162087" y="1755760"/>
                  <a:pt x="1167521" y="1775730"/>
                  <a:pt x="1174638" y="1795267"/>
                </a:cubicBezTo>
                <a:cubicBezTo>
                  <a:pt x="1181802" y="1814756"/>
                  <a:pt x="1190554" y="1833956"/>
                  <a:pt x="1203056" y="1851183"/>
                </a:cubicBezTo>
                <a:cubicBezTo>
                  <a:pt x="1205941" y="1855658"/>
                  <a:pt x="1209788" y="1859411"/>
                  <a:pt x="1213154" y="1863549"/>
                </a:cubicBezTo>
                <a:cubicBezTo>
                  <a:pt x="1214885" y="1865571"/>
                  <a:pt x="1217001" y="1867255"/>
                  <a:pt x="1218925" y="1869131"/>
                </a:cubicBezTo>
                <a:cubicBezTo>
                  <a:pt x="1220944" y="1870912"/>
                  <a:pt x="1222723" y="1872933"/>
                  <a:pt x="1224983" y="1874473"/>
                </a:cubicBezTo>
                <a:cubicBezTo>
                  <a:pt x="1229407" y="1877552"/>
                  <a:pt x="1233543" y="1881065"/>
                  <a:pt x="1238496" y="1883375"/>
                </a:cubicBezTo>
                <a:cubicBezTo>
                  <a:pt x="1240900" y="1884626"/>
                  <a:pt x="1243256" y="1885973"/>
                  <a:pt x="1245708" y="1887128"/>
                </a:cubicBezTo>
                <a:lnTo>
                  <a:pt x="1253354" y="1889919"/>
                </a:lnTo>
                <a:lnTo>
                  <a:pt x="1257153" y="1891315"/>
                </a:lnTo>
                <a:cubicBezTo>
                  <a:pt x="1258451" y="1891700"/>
                  <a:pt x="1259797" y="1891892"/>
                  <a:pt x="1261096" y="1892229"/>
                </a:cubicBezTo>
                <a:lnTo>
                  <a:pt x="1269030" y="1893913"/>
                </a:lnTo>
                <a:cubicBezTo>
                  <a:pt x="1274319" y="1894780"/>
                  <a:pt x="1279705" y="1894876"/>
                  <a:pt x="1285043" y="1895357"/>
                </a:cubicBezTo>
                <a:lnTo>
                  <a:pt x="1300622" y="1894972"/>
                </a:lnTo>
                <a:lnTo>
                  <a:pt x="1308412" y="1894731"/>
                </a:lnTo>
                <a:lnTo>
                  <a:pt x="1316202" y="1893913"/>
                </a:lnTo>
                <a:cubicBezTo>
                  <a:pt x="1336975" y="1892277"/>
                  <a:pt x="1357652" y="1887369"/>
                  <a:pt x="1377079" y="1879381"/>
                </a:cubicBezTo>
                <a:cubicBezTo>
                  <a:pt x="1396505" y="1871393"/>
                  <a:pt x="1414586" y="1859700"/>
                  <a:pt x="1429637" y="1844975"/>
                </a:cubicBezTo>
                <a:cubicBezTo>
                  <a:pt x="1444832" y="1830298"/>
                  <a:pt x="1456901" y="1812783"/>
                  <a:pt x="1466374" y="1794256"/>
                </a:cubicBezTo>
                <a:cubicBezTo>
                  <a:pt x="1475943" y="1775730"/>
                  <a:pt x="1483156" y="1756193"/>
                  <a:pt x="1488974" y="1736368"/>
                </a:cubicBezTo>
                <a:cubicBezTo>
                  <a:pt x="1494889" y="1716542"/>
                  <a:pt x="1499024" y="1696380"/>
                  <a:pt x="1502679" y="1676218"/>
                </a:cubicBezTo>
                <a:cubicBezTo>
                  <a:pt x="1506333" y="1656007"/>
                  <a:pt x="1509074" y="1635749"/>
                  <a:pt x="1511575" y="1615442"/>
                </a:cubicBezTo>
                <a:cubicBezTo>
                  <a:pt x="1516576" y="1574877"/>
                  <a:pt x="1520182" y="1534311"/>
                  <a:pt x="1525327" y="1494083"/>
                </a:cubicBezTo>
                <a:cubicBezTo>
                  <a:pt x="1527828" y="1473969"/>
                  <a:pt x="1530809" y="1453951"/>
                  <a:pt x="1534608" y="1434125"/>
                </a:cubicBezTo>
                <a:cubicBezTo>
                  <a:pt x="1536387" y="1424164"/>
                  <a:pt x="1538647" y="1414396"/>
                  <a:pt x="1540907" y="1404579"/>
                </a:cubicBezTo>
                <a:lnTo>
                  <a:pt x="1549034" y="1375515"/>
                </a:lnTo>
                <a:cubicBezTo>
                  <a:pt x="1560959" y="1337067"/>
                  <a:pt x="1576875" y="1299918"/>
                  <a:pt x="1595773" y="1264357"/>
                </a:cubicBezTo>
                <a:lnTo>
                  <a:pt x="1610487" y="1237987"/>
                </a:lnTo>
                <a:lnTo>
                  <a:pt x="1626500" y="1212339"/>
                </a:lnTo>
                <a:cubicBezTo>
                  <a:pt x="1631741" y="1203726"/>
                  <a:pt x="1637800" y="1195690"/>
                  <a:pt x="1643426" y="1187317"/>
                </a:cubicBezTo>
                <a:cubicBezTo>
                  <a:pt x="1646311" y="1183179"/>
                  <a:pt x="1649052" y="1178944"/>
                  <a:pt x="1652082" y="1174950"/>
                </a:cubicBezTo>
                <a:lnTo>
                  <a:pt x="1661170" y="1162872"/>
                </a:lnTo>
                <a:cubicBezTo>
                  <a:pt x="1685453" y="1130728"/>
                  <a:pt x="1711612" y="1099979"/>
                  <a:pt x="1739742" y="1071203"/>
                </a:cubicBezTo>
                <a:cubicBezTo>
                  <a:pt x="1767824" y="1042379"/>
                  <a:pt x="1797493" y="1015047"/>
                  <a:pt x="1828556" y="989543"/>
                </a:cubicBezTo>
                <a:lnTo>
                  <a:pt x="1840193" y="979967"/>
                </a:lnTo>
                <a:lnTo>
                  <a:pt x="1852119" y="970728"/>
                </a:lnTo>
                <a:cubicBezTo>
                  <a:pt x="1860053" y="964521"/>
                  <a:pt x="1867987" y="958409"/>
                  <a:pt x="1876161" y="952635"/>
                </a:cubicBezTo>
                <a:cubicBezTo>
                  <a:pt x="1892463" y="940942"/>
                  <a:pt x="1909196" y="929682"/>
                  <a:pt x="1925882" y="918373"/>
                </a:cubicBezTo>
                <a:cubicBezTo>
                  <a:pt x="1959302" y="895805"/>
                  <a:pt x="1992818" y="873140"/>
                  <a:pt x="2025083" y="848647"/>
                </a:cubicBezTo>
                <a:cubicBezTo>
                  <a:pt x="2057253" y="824154"/>
                  <a:pt x="2088557" y="797977"/>
                  <a:pt x="2115533" y="767228"/>
                </a:cubicBezTo>
                <a:cubicBezTo>
                  <a:pt x="2128949" y="751829"/>
                  <a:pt x="2141259" y="735228"/>
                  <a:pt x="2150780" y="716894"/>
                </a:cubicBezTo>
                <a:cubicBezTo>
                  <a:pt x="2153376" y="712419"/>
                  <a:pt x="2155107" y="707463"/>
                  <a:pt x="2157319" y="702795"/>
                </a:cubicBezTo>
                <a:cubicBezTo>
                  <a:pt x="2159339" y="698031"/>
                  <a:pt x="2160781" y="692978"/>
                  <a:pt x="2162513" y="688070"/>
                </a:cubicBezTo>
                <a:cubicBezTo>
                  <a:pt x="2163667" y="682969"/>
                  <a:pt x="2165109" y="677917"/>
                  <a:pt x="2165878" y="672720"/>
                </a:cubicBezTo>
                <a:cubicBezTo>
                  <a:pt x="2166359" y="667475"/>
                  <a:pt x="2167513" y="662326"/>
                  <a:pt x="2167273" y="657033"/>
                </a:cubicBezTo>
                <a:lnTo>
                  <a:pt x="2167273" y="649141"/>
                </a:lnTo>
                <a:cubicBezTo>
                  <a:pt x="2167273" y="646494"/>
                  <a:pt x="2166744" y="643896"/>
                  <a:pt x="2166504" y="641297"/>
                </a:cubicBezTo>
                <a:cubicBezTo>
                  <a:pt x="2166119" y="638699"/>
                  <a:pt x="2166023" y="636052"/>
                  <a:pt x="2165398" y="633454"/>
                </a:cubicBezTo>
                <a:lnTo>
                  <a:pt x="2163522" y="625803"/>
                </a:lnTo>
                <a:cubicBezTo>
                  <a:pt x="2162513" y="620606"/>
                  <a:pt x="2160253" y="615842"/>
                  <a:pt x="2158473" y="610885"/>
                </a:cubicBezTo>
                <a:cubicBezTo>
                  <a:pt x="2156838" y="605977"/>
                  <a:pt x="2153761" y="600876"/>
                  <a:pt x="2150539" y="596642"/>
                </a:cubicBezTo>
                <a:cubicBezTo>
                  <a:pt x="2144000" y="587836"/>
                  <a:pt x="2135536" y="581195"/>
                  <a:pt x="2126833" y="575469"/>
                </a:cubicBezTo>
                <a:cubicBezTo>
                  <a:pt x="2118033" y="569839"/>
                  <a:pt x="2108705" y="565316"/>
                  <a:pt x="2099232" y="561370"/>
                </a:cubicBezTo>
                <a:cubicBezTo>
                  <a:pt x="2080238" y="553526"/>
                  <a:pt x="2060571" y="548137"/>
                  <a:pt x="2040759" y="543806"/>
                </a:cubicBezTo>
                <a:cubicBezTo>
                  <a:pt x="2020948" y="539523"/>
                  <a:pt x="2000944" y="536444"/>
                  <a:pt x="1980940" y="534086"/>
                </a:cubicBezTo>
                <a:cubicBezTo>
                  <a:pt x="1940837" y="529466"/>
                  <a:pt x="1900589" y="527830"/>
                  <a:pt x="1860389" y="528215"/>
                </a:cubicBezTo>
                <a:cubicBezTo>
                  <a:pt x="1820190" y="528648"/>
                  <a:pt x="1780038" y="531198"/>
                  <a:pt x="1740127" y="536299"/>
                </a:cubicBezTo>
                <a:cubicBezTo>
                  <a:pt x="1720171" y="538850"/>
                  <a:pt x="1700312" y="542122"/>
                  <a:pt x="1680644" y="546356"/>
                </a:cubicBezTo>
                <a:cubicBezTo>
                  <a:pt x="1660977" y="550639"/>
                  <a:pt x="1641407" y="555740"/>
                  <a:pt x="1622364" y="563150"/>
                </a:cubicBezTo>
                <a:cubicBezTo>
                  <a:pt x="1603467" y="570609"/>
                  <a:pt x="1585435" y="579655"/>
                  <a:pt x="1567787" y="589135"/>
                </a:cubicBezTo>
                <a:cubicBezTo>
                  <a:pt x="1550140" y="598615"/>
                  <a:pt x="1532829" y="608672"/>
                  <a:pt x="1515614" y="618825"/>
                </a:cubicBezTo>
                <a:cubicBezTo>
                  <a:pt x="1481281" y="639228"/>
                  <a:pt x="1447525" y="660353"/>
                  <a:pt x="1413528" y="681045"/>
                </a:cubicBezTo>
                <a:cubicBezTo>
                  <a:pt x="1379579" y="701736"/>
                  <a:pt x="1345486" y="722091"/>
                  <a:pt x="1310528" y="740569"/>
                </a:cubicBezTo>
                <a:cubicBezTo>
                  <a:pt x="1293025" y="749760"/>
                  <a:pt x="1275329" y="758470"/>
                  <a:pt x="1257201" y="765977"/>
                </a:cubicBezTo>
                <a:cubicBezTo>
                  <a:pt x="1239121" y="773387"/>
                  <a:pt x="1220463" y="779932"/>
                  <a:pt x="1201614" y="782530"/>
                </a:cubicBezTo>
                <a:cubicBezTo>
                  <a:pt x="1192237" y="783829"/>
                  <a:pt x="1182716" y="783829"/>
                  <a:pt x="1174109" y="781616"/>
                </a:cubicBezTo>
                <a:cubicBezTo>
                  <a:pt x="1169829" y="780509"/>
                  <a:pt x="1165886" y="778584"/>
                  <a:pt x="1162376" y="776130"/>
                </a:cubicBezTo>
                <a:cubicBezTo>
                  <a:pt x="1158962" y="773724"/>
                  <a:pt x="1155788" y="770404"/>
                  <a:pt x="1153864" y="766843"/>
                </a:cubicBezTo>
                <a:cubicBezTo>
                  <a:pt x="1149537" y="759865"/>
                  <a:pt x="1149633" y="750530"/>
                  <a:pt x="1151364" y="741580"/>
                </a:cubicBezTo>
                <a:cubicBezTo>
                  <a:pt x="1153143" y="732533"/>
                  <a:pt x="1156701" y="723535"/>
                  <a:pt x="1160789" y="714777"/>
                </a:cubicBezTo>
                <a:cubicBezTo>
                  <a:pt x="1169060" y="697309"/>
                  <a:pt x="1179590" y="680660"/>
                  <a:pt x="1190506" y="664251"/>
                </a:cubicBezTo>
                <a:cubicBezTo>
                  <a:pt x="1201421" y="647842"/>
                  <a:pt x="1212914" y="631770"/>
                  <a:pt x="1224118" y="615361"/>
                </a:cubicBezTo>
                <a:cubicBezTo>
                  <a:pt x="1235274" y="598952"/>
                  <a:pt x="1246526" y="582446"/>
                  <a:pt x="1255566" y="564161"/>
                </a:cubicBezTo>
                <a:cubicBezTo>
                  <a:pt x="1259990" y="555018"/>
                  <a:pt x="1263741" y="544816"/>
                  <a:pt x="1264558" y="534134"/>
                </a:cubicBezTo>
                <a:cubicBezTo>
                  <a:pt x="1265616" y="523451"/>
                  <a:pt x="1263548" y="512287"/>
                  <a:pt x="1259028" y="502663"/>
                </a:cubicBezTo>
                <a:cubicBezTo>
                  <a:pt x="1250084" y="483319"/>
                  <a:pt x="1233591" y="469942"/>
                  <a:pt x="1228253" y="453051"/>
                </a:cubicBezTo>
                <a:cubicBezTo>
                  <a:pt x="1225608" y="444775"/>
                  <a:pt x="1226474" y="435921"/>
                  <a:pt x="1229840" y="427500"/>
                </a:cubicBezTo>
                <a:cubicBezTo>
                  <a:pt x="1233062" y="419078"/>
                  <a:pt x="1238592" y="411091"/>
                  <a:pt x="1244266" y="403488"/>
                </a:cubicBezTo>
                <a:cubicBezTo>
                  <a:pt x="1255999" y="388330"/>
                  <a:pt x="1270232" y="374856"/>
                  <a:pt x="1284754" y="361767"/>
                </a:cubicBezTo>
                <a:lnTo>
                  <a:pt x="1329137" y="322742"/>
                </a:lnTo>
                <a:cubicBezTo>
                  <a:pt x="1336494" y="316101"/>
                  <a:pt x="1343852" y="309461"/>
                  <a:pt x="1350920" y="302387"/>
                </a:cubicBezTo>
                <a:cubicBezTo>
                  <a:pt x="1358085" y="295410"/>
                  <a:pt x="1364769" y="287951"/>
                  <a:pt x="1371405" y="280829"/>
                </a:cubicBezTo>
                <a:lnTo>
                  <a:pt x="1411989" y="238002"/>
                </a:lnTo>
                <a:cubicBezTo>
                  <a:pt x="1425549" y="223711"/>
                  <a:pt x="1439110" y="209419"/>
                  <a:pt x="1452141" y="194454"/>
                </a:cubicBezTo>
                <a:cubicBezTo>
                  <a:pt x="1458632" y="186899"/>
                  <a:pt x="1465076" y="179392"/>
                  <a:pt x="1470750" y="170682"/>
                </a:cubicBezTo>
                <a:cubicBezTo>
                  <a:pt x="1472193" y="168228"/>
                  <a:pt x="1473347" y="166833"/>
                  <a:pt x="1475126" y="161924"/>
                </a:cubicBezTo>
                <a:cubicBezTo>
                  <a:pt x="1475751" y="159663"/>
                  <a:pt x="1475895" y="157449"/>
                  <a:pt x="1475270" y="155524"/>
                </a:cubicBezTo>
                <a:cubicBezTo>
                  <a:pt x="1474885" y="154369"/>
                  <a:pt x="1474116" y="153311"/>
                  <a:pt x="1473250" y="152445"/>
                </a:cubicBezTo>
                <a:cubicBezTo>
                  <a:pt x="1477626" y="151097"/>
                  <a:pt x="1482002" y="149798"/>
                  <a:pt x="1486378" y="148499"/>
                </a:cubicBezTo>
                <a:cubicBezTo>
                  <a:pt x="1491186" y="147103"/>
                  <a:pt x="1496043" y="145804"/>
                  <a:pt x="1500804" y="144601"/>
                </a:cubicBezTo>
                <a:lnTo>
                  <a:pt x="1505853" y="143494"/>
                </a:lnTo>
                <a:lnTo>
                  <a:pt x="1506045" y="143591"/>
                </a:lnTo>
                <a:lnTo>
                  <a:pt x="1506045" y="143735"/>
                </a:lnTo>
                <a:cubicBezTo>
                  <a:pt x="1506045" y="143735"/>
                  <a:pt x="1505372" y="144842"/>
                  <a:pt x="1505372" y="144842"/>
                </a:cubicBezTo>
                <a:cubicBezTo>
                  <a:pt x="1504218" y="146815"/>
                  <a:pt x="1502823" y="148788"/>
                  <a:pt x="1501429" y="150760"/>
                </a:cubicBezTo>
                <a:cubicBezTo>
                  <a:pt x="1498592" y="154706"/>
                  <a:pt x="1495466" y="158604"/>
                  <a:pt x="1492292" y="162454"/>
                </a:cubicBezTo>
                <a:cubicBezTo>
                  <a:pt x="1485945" y="170153"/>
                  <a:pt x="1479261" y="177708"/>
                  <a:pt x="1472529" y="185166"/>
                </a:cubicBezTo>
                <a:cubicBezTo>
                  <a:pt x="1445505" y="215049"/>
                  <a:pt x="1417279" y="244017"/>
                  <a:pt x="1389966" y="273900"/>
                </a:cubicBezTo>
                <a:cubicBezTo>
                  <a:pt x="1383138" y="281359"/>
                  <a:pt x="1376357" y="289058"/>
                  <a:pt x="1369818" y="296709"/>
                </a:cubicBezTo>
                <a:cubicBezTo>
                  <a:pt x="1363422" y="304264"/>
                  <a:pt x="1356402" y="311337"/>
                  <a:pt x="1349333" y="318315"/>
                </a:cubicBezTo>
                <a:cubicBezTo>
                  <a:pt x="1335052" y="332270"/>
                  <a:pt x="1319712" y="345262"/>
                  <a:pt x="1304854" y="359121"/>
                </a:cubicBezTo>
                <a:cubicBezTo>
                  <a:pt x="1297449" y="366098"/>
                  <a:pt x="1290091" y="373220"/>
                  <a:pt x="1283408" y="381256"/>
                </a:cubicBezTo>
                <a:cubicBezTo>
                  <a:pt x="1280090" y="385298"/>
                  <a:pt x="1276868" y="389485"/>
                  <a:pt x="1274175" y="394248"/>
                </a:cubicBezTo>
                <a:cubicBezTo>
                  <a:pt x="1272733" y="396606"/>
                  <a:pt x="1271530" y="398964"/>
                  <a:pt x="1270473" y="401370"/>
                </a:cubicBezTo>
                <a:cubicBezTo>
                  <a:pt x="1269270" y="403728"/>
                  <a:pt x="1268357" y="406230"/>
                  <a:pt x="1267347" y="408733"/>
                </a:cubicBezTo>
                <a:cubicBezTo>
                  <a:pt x="1265568" y="413785"/>
                  <a:pt x="1264029" y="419127"/>
                  <a:pt x="1263644" y="424853"/>
                </a:cubicBezTo>
                <a:cubicBezTo>
                  <a:pt x="1263212" y="430579"/>
                  <a:pt x="1264318" y="436835"/>
                  <a:pt x="1267058" y="442128"/>
                </a:cubicBezTo>
                <a:cubicBezTo>
                  <a:pt x="1269751" y="447469"/>
                  <a:pt x="1273646" y="451704"/>
                  <a:pt x="1277493" y="455313"/>
                </a:cubicBezTo>
                <a:cubicBezTo>
                  <a:pt x="1281340" y="458922"/>
                  <a:pt x="1285283" y="462098"/>
                  <a:pt x="1288793" y="465370"/>
                </a:cubicBezTo>
                <a:cubicBezTo>
                  <a:pt x="1295958" y="471818"/>
                  <a:pt x="1301344" y="479084"/>
                  <a:pt x="1303363" y="487794"/>
                </a:cubicBezTo>
                <a:cubicBezTo>
                  <a:pt x="1305575" y="496456"/>
                  <a:pt x="1304613" y="506032"/>
                  <a:pt x="1302594" y="515319"/>
                </a:cubicBezTo>
                <a:cubicBezTo>
                  <a:pt x="1300526" y="524317"/>
                  <a:pt x="1296391" y="533364"/>
                  <a:pt x="1292015" y="542170"/>
                </a:cubicBezTo>
                <a:cubicBezTo>
                  <a:pt x="1287591" y="550976"/>
                  <a:pt x="1282734" y="559686"/>
                  <a:pt x="1277734" y="568347"/>
                </a:cubicBezTo>
                <a:cubicBezTo>
                  <a:pt x="1267732" y="585622"/>
                  <a:pt x="1257153" y="602705"/>
                  <a:pt x="1246959" y="620125"/>
                </a:cubicBezTo>
                <a:cubicBezTo>
                  <a:pt x="1236861" y="637544"/>
                  <a:pt x="1226763" y="655108"/>
                  <a:pt x="1219021" y="674308"/>
                </a:cubicBezTo>
                <a:cubicBezTo>
                  <a:pt x="1215462" y="683980"/>
                  <a:pt x="1211664" y="693989"/>
                  <a:pt x="1212625" y="705971"/>
                </a:cubicBezTo>
                <a:cubicBezTo>
                  <a:pt x="1213010" y="708954"/>
                  <a:pt x="1213731" y="712082"/>
                  <a:pt x="1215414" y="715017"/>
                </a:cubicBezTo>
                <a:cubicBezTo>
                  <a:pt x="1216953" y="717905"/>
                  <a:pt x="1219453" y="720503"/>
                  <a:pt x="1222242" y="722187"/>
                </a:cubicBezTo>
                <a:cubicBezTo>
                  <a:pt x="1227580" y="725460"/>
                  <a:pt x="1232773" y="726807"/>
                  <a:pt x="1238207" y="727866"/>
                </a:cubicBezTo>
                <a:cubicBezTo>
                  <a:pt x="1249026" y="729694"/>
                  <a:pt x="1259605" y="728732"/>
                  <a:pt x="1269847" y="727096"/>
                </a:cubicBezTo>
                <a:cubicBezTo>
                  <a:pt x="1280042" y="725315"/>
                  <a:pt x="1289947" y="722572"/>
                  <a:pt x="1299613" y="719445"/>
                </a:cubicBezTo>
                <a:cubicBezTo>
                  <a:pt x="1318943" y="713093"/>
                  <a:pt x="1337504" y="705057"/>
                  <a:pt x="1355729" y="696491"/>
                </a:cubicBezTo>
                <a:cubicBezTo>
                  <a:pt x="1373953" y="687926"/>
                  <a:pt x="1391793" y="678687"/>
                  <a:pt x="1409441" y="669255"/>
                </a:cubicBezTo>
                <a:cubicBezTo>
                  <a:pt x="1444784" y="650296"/>
                  <a:pt x="1479405" y="630374"/>
                  <a:pt x="1514123" y="610741"/>
                </a:cubicBezTo>
                <a:cubicBezTo>
                  <a:pt x="1548841" y="591156"/>
                  <a:pt x="1583607" y="571668"/>
                  <a:pt x="1619191" y="554296"/>
                </a:cubicBezTo>
                <a:cubicBezTo>
                  <a:pt x="1636983" y="545635"/>
                  <a:pt x="1655015" y="537502"/>
                  <a:pt x="1673480" y="530765"/>
                </a:cubicBezTo>
                <a:cubicBezTo>
                  <a:pt x="1682760" y="527445"/>
                  <a:pt x="1691897" y="524462"/>
                  <a:pt x="1701562" y="522200"/>
                </a:cubicBezTo>
                <a:cubicBezTo>
                  <a:pt x="1711035" y="519650"/>
                  <a:pt x="1720700" y="517629"/>
                  <a:pt x="1730365" y="515608"/>
                </a:cubicBezTo>
                <a:cubicBezTo>
                  <a:pt x="1807976" y="500305"/>
                  <a:pt x="1887510" y="497899"/>
                  <a:pt x="1966467" y="487746"/>
                </a:cubicBezTo>
                <a:cubicBezTo>
                  <a:pt x="1986230" y="485196"/>
                  <a:pt x="2006041" y="481442"/>
                  <a:pt x="2025276" y="476726"/>
                </a:cubicBezTo>
                <a:cubicBezTo>
                  <a:pt x="2034989" y="474513"/>
                  <a:pt x="2044702" y="472396"/>
                  <a:pt x="2054271" y="469605"/>
                </a:cubicBezTo>
                <a:cubicBezTo>
                  <a:pt x="2063840" y="466862"/>
                  <a:pt x="2073554" y="464552"/>
                  <a:pt x="2083027" y="461472"/>
                </a:cubicBezTo>
                <a:cubicBezTo>
                  <a:pt x="2121063" y="449875"/>
                  <a:pt x="2158521" y="435054"/>
                  <a:pt x="2192662" y="413930"/>
                </a:cubicBezTo>
                <a:cubicBezTo>
                  <a:pt x="2201077" y="408492"/>
                  <a:pt x="2209685" y="403295"/>
                  <a:pt x="2217475" y="396895"/>
                </a:cubicBezTo>
                <a:cubicBezTo>
                  <a:pt x="2221418" y="393767"/>
                  <a:pt x="2225601" y="390976"/>
                  <a:pt x="2229304" y="387560"/>
                </a:cubicBezTo>
                <a:lnTo>
                  <a:pt x="2240508" y="377455"/>
                </a:lnTo>
                <a:cubicBezTo>
                  <a:pt x="2254885" y="363452"/>
                  <a:pt x="2268253" y="348197"/>
                  <a:pt x="2278928" y="331115"/>
                </a:cubicBezTo>
                <a:lnTo>
                  <a:pt x="2283112" y="324859"/>
                </a:lnTo>
                <a:lnTo>
                  <a:pt x="2286814" y="318315"/>
                </a:lnTo>
                <a:cubicBezTo>
                  <a:pt x="2289219" y="313936"/>
                  <a:pt x="2291863" y="309653"/>
                  <a:pt x="2294075" y="305178"/>
                </a:cubicBezTo>
                <a:cubicBezTo>
                  <a:pt x="2298451" y="296180"/>
                  <a:pt x="2302923" y="287229"/>
                  <a:pt x="2306578" y="277942"/>
                </a:cubicBezTo>
                <a:cubicBezTo>
                  <a:pt x="2310617" y="268799"/>
                  <a:pt x="2313742" y="259368"/>
                  <a:pt x="2317253" y="250080"/>
                </a:cubicBezTo>
                <a:cubicBezTo>
                  <a:pt x="2320475" y="240890"/>
                  <a:pt x="2324033" y="231602"/>
                  <a:pt x="2326822" y="221834"/>
                </a:cubicBezTo>
                <a:cubicBezTo>
                  <a:pt x="2329515" y="212066"/>
                  <a:pt x="2331678" y="201816"/>
                  <a:pt x="2330957" y="190989"/>
                </a:cubicBezTo>
                <a:cubicBezTo>
                  <a:pt x="2330572" y="185599"/>
                  <a:pt x="2329370" y="180114"/>
                  <a:pt x="2326966" y="175013"/>
                </a:cubicBezTo>
                <a:cubicBezTo>
                  <a:pt x="2324610" y="169912"/>
                  <a:pt x="2321099" y="165293"/>
                  <a:pt x="2316964" y="161636"/>
                </a:cubicBezTo>
                <a:cubicBezTo>
                  <a:pt x="2308597" y="154273"/>
                  <a:pt x="2298451" y="150376"/>
                  <a:pt x="2288497" y="147921"/>
                </a:cubicBezTo>
                <a:cubicBezTo>
                  <a:pt x="2278496" y="145515"/>
                  <a:pt x="2268397" y="144312"/>
                  <a:pt x="2258348" y="144072"/>
                </a:cubicBezTo>
                <a:lnTo>
                  <a:pt x="2243297" y="143831"/>
                </a:lnTo>
                <a:cubicBezTo>
                  <a:pt x="2238248" y="143976"/>
                  <a:pt x="2233247" y="144553"/>
                  <a:pt x="2228198" y="144890"/>
                </a:cubicBezTo>
                <a:cubicBezTo>
                  <a:pt x="2223149" y="145034"/>
                  <a:pt x="2218196" y="146333"/>
                  <a:pt x="2213195" y="147200"/>
                </a:cubicBezTo>
                <a:cubicBezTo>
                  <a:pt x="2210695" y="147729"/>
                  <a:pt x="2208194" y="147970"/>
                  <a:pt x="2205742" y="148739"/>
                </a:cubicBezTo>
                <a:lnTo>
                  <a:pt x="2198433" y="150953"/>
                </a:lnTo>
                <a:cubicBezTo>
                  <a:pt x="2178910" y="156920"/>
                  <a:pt x="2161262" y="167699"/>
                  <a:pt x="2145538" y="179777"/>
                </a:cubicBezTo>
                <a:cubicBezTo>
                  <a:pt x="2129718" y="191855"/>
                  <a:pt x="2115100" y="204655"/>
                  <a:pt x="2099135" y="215434"/>
                </a:cubicBezTo>
                <a:cubicBezTo>
                  <a:pt x="2083315" y="226357"/>
                  <a:pt x="2066100" y="234971"/>
                  <a:pt x="2048020" y="241178"/>
                </a:cubicBezTo>
                <a:cubicBezTo>
                  <a:pt x="2039124" y="244547"/>
                  <a:pt x="2029651" y="247049"/>
                  <a:pt x="2020323" y="249696"/>
                </a:cubicBezTo>
                <a:cubicBezTo>
                  <a:pt x="2010946" y="252294"/>
                  <a:pt x="2001521" y="254748"/>
                  <a:pt x="1992048" y="257106"/>
                </a:cubicBezTo>
                <a:cubicBezTo>
                  <a:pt x="1973151" y="261822"/>
                  <a:pt x="1954157" y="266249"/>
                  <a:pt x="1935115" y="270435"/>
                </a:cubicBezTo>
                <a:cubicBezTo>
                  <a:pt x="1858947" y="286989"/>
                  <a:pt x="1782250" y="300992"/>
                  <a:pt x="1705168" y="309942"/>
                </a:cubicBezTo>
                <a:cubicBezTo>
                  <a:pt x="1685886" y="312107"/>
                  <a:pt x="1666603" y="313888"/>
                  <a:pt x="1647369" y="314898"/>
                </a:cubicBezTo>
                <a:cubicBezTo>
                  <a:pt x="1628135" y="315813"/>
                  <a:pt x="1608756" y="316294"/>
                  <a:pt x="1590051" y="314080"/>
                </a:cubicBezTo>
                <a:cubicBezTo>
                  <a:pt x="1585386" y="313503"/>
                  <a:pt x="1580770" y="312733"/>
                  <a:pt x="1576443" y="311578"/>
                </a:cubicBezTo>
                <a:cubicBezTo>
                  <a:pt x="1572115" y="310423"/>
                  <a:pt x="1567931" y="308787"/>
                  <a:pt x="1565046" y="306574"/>
                </a:cubicBezTo>
                <a:cubicBezTo>
                  <a:pt x="1562209" y="304264"/>
                  <a:pt x="1561440" y="302195"/>
                  <a:pt x="1562353" y="298971"/>
                </a:cubicBezTo>
                <a:cubicBezTo>
                  <a:pt x="1563267" y="295698"/>
                  <a:pt x="1565864" y="291993"/>
                  <a:pt x="1568941" y="288769"/>
                </a:cubicBezTo>
                <a:cubicBezTo>
                  <a:pt x="1574952" y="282080"/>
                  <a:pt x="1582598" y="276258"/>
                  <a:pt x="1590291" y="270724"/>
                </a:cubicBezTo>
                <a:cubicBezTo>
                  <a:pt x="1598033" y="265190"/>
                  <a:pt x="1606160" y="260041"/>
                  <a:pt x="1614382" y="255085"/>
                </a:cubicBezTo>
                <a:cubicBezTo>
                  <a:pt x="1647369" y="235308"/>
                  <a:pt x="1682087" y="218129"/>
                  <a:pt x="1716709" y="200950"/>
                </a:cubicBezTo>
                <a:cubicBezTo>
                  <a:pt x="1734020" y="192384"/>
                  <a:pt x="1751571" y="183963"/>
                  <a:pt x="1768593" y="174436"/>
                </a:cubicBezTo>
                <a:cubicBezTo>
                  <a:pt x="1785616" y="165052"/>
                  <a:pt x="1802254" y="155139"/>
                  <a:pt x="1818987" y="145563"/>
                </a:cubicBezTo>
                <a:cubicBezTo>
                  <a:pt x="1852359" y="126364"/>
                  <a:pt x="1886404" y="108703"/>
                  <a:pt x="1922276" y="95230"/>
                </a:cubicBezTo>
                <a:cubicBezTo>
                  <a:pt x="1940164" y="88349"/>
                  <a:pt x="1958340" y="82045"/>
                  <a:pt x="1976516" y="75693"/>
                </a:cubicBezTo>
                <a:cubicBezTo>
                  <a:pt x="1985605" y="72517"/>
                  <a:pt x="1994693" y="69293"/>
                  <a:pt x="2003781" y="65877"/>
                </a:cubicBezTo>
                <a:cubicBezTo>
                  <a:pt x="2012869" y="62508"/>
                  <a:pt x="2022054" y="58514"/>
                  <a:pt x="2030709" y="53846"/>
                </a:cubicBezTo>
                <a:cubicBezTo>
                  <a:pt x="2039413" y="49227"/>
                  <a:pt x="2047732" y="43645"/>
                  <a:pt x="2055570" y="38111"/>
                </a:cubicBezTo>
                <a:cubicBezTo>
                  <a:pt x="2063408" y="32481"/>
                  <a:pt x="2070957" y="27717"/>
                  <a:pt x="2079468" y="24686"/>
                </a:cubicBezTo>
                <a:cubicBezTo>
                  <a:pt x="2087499" y="21847"/>
                  <a:pt x="2096250" y="20355"/>
                  <a:pt x="2105146" y="18959"/>
                </a:cubicBezTo>
                <a:cubicBezTo>
                  <a:pt x="2098462" y="22857"/>
                  <a:pt x="2092596" y="27765"/>
                  <a:pt x="2087114" y="32289"/>
                </a:cubicBezTo>
                <a:cubicBezTo>
                  <a:pt x="2081151" y="37293"/>
                  <a:pt x="2075141" y="41913"/>
                  <a:pt x="2068649" y="45907"/>
                </a:cubicBezTo>
                <a:cubicBezTo>
                  <a:pt x="2055858" y="53991"/>
                  <a:pt x="2041192" y="59477"/>
                  <a:pt x="2026718" y="65540"/>
                </a:cubicBezTo>
                <a:lnTo>
                  <a:pt x="1982960" y="82911"/>
                </a:lnTo>
                <a:cubicBezTo>
                  <a:pt x="1953724" y="94412"/>
                  <a:pt x="1924440" y="105720"/>
                  <a:pt x="1895444" y="118183"/>
                </a:cubicBezTo>
                <a:cubicBezTo>
                  <a:pt x="1888183" y="121311"/>
                  <a:pt x="1881018" y="124535"/>
                  <a:pt x="1873805" y="128000"/>
                </a:cubicBezTo>
                <a:cubicBezTo>
                  <a:pt x="1866592" y="131561"/>
                  <a:pt x="1859668" y="135314"/>
                  <a:pt x="1852792" y="139115"/>
                </a:cubicBezTo>
                <a:cubicBezTo>
                  <a:pt x="1839039" y="146718"/>
                  <a:pt x="1825383" y="154418"/>
                  <a:pt x="1811775" y="162261"/>
                </a:cubicBezTo>
                <a:cubicBezTo>
                  <a:pt x="1784606" y="177948"/>
                  <a:pt x="1757630" y="193924"/>
                  <a:pt x="1731231" y="210959"/>
                </a:cubicBezTo>
                <a:cubicBezTo>
                  <a:pt x="1718055" y="219524"/>
                  <a:pt x="1704976" y="228282"/>
                  <a:pt x="1692474" y="238099"/>
                </a:cubicBezTo>
                <a:cubicBezTo>
                  <a:pt x="1689348" y="240553"/>
                  <a:pt x="1686271" y="243151"/>
                  <a:pt x="1683241" y="245894"/>
                </a:cubicBezTo>
                <a:cubicBezTo>
                  <a:pt x="1680260" y="248733"/>
                  <a:pt x="1677279" y="251476"/>
                  <a:pt x="1674586" y="255614"/>
                </a:cubicBezTo>
                <a:cubicBezTo>
                  <a:pt x="1673961" y="256577"/>
                  <a:pt x="1673239" y="257876"/>
                  <a:pt x="1672662" y="259849"/>
                </a:cubicBezTo>
                <a:cubicBezTo>
                  <a:pt x="1672278" y="261629"/>
                  <a:pt x="1672037" y="263554"/>
                  <a:pt x="1672903" y="265238"/>
                </a:cubicBezTo>
                <a:cubicBezTo>
                  <a:pt x="1673528" y="266874"/>
                  <a:pt x="1674874" y="268607"/>
                  <a:pt x="1675884" y="269521"/>
                </a:cubicBezTo>
                <a:cubicBezTo>
                  <a:pt x="1676894" y="270532"/>
                  <a:pt x="1677952" y="271205"/>
                  <a:pt x="1678962" y="271927"/>
                </a:cubicBezTo>
                <a:cubicBezTo>
                  <a:pt x="1683193" y="274477"/>
                  <a:pt x="1687377" y="275632"/>
                  <a:pt x="1691512" y="276547"/>
                </a:cubicBezTo>
                <a:cubicBezTo>
                  <a:pt x="1707909" y="279723"/>
                  <a:pt x="1723729" y="278904"/>
                  <a:pt x="1739453" y="278135"/>
                </a:cubicBezTo>
                <a:cubicBezTo>
                  <a:pt x="1755177" y="277172"/>
                  <a:pt x="1770757" y="275392"/>
                  <a:pt x="1786289" y="273323"/>
                </a:cubicBezTo>
                <a:cubicBezTo>
                  <a:pt x="1817304" y="269136"/>
                  <a:pt x="1848079" y="263602"/>
                  <a:pt x="1878614" y="257395"/>
                </a:cubicBezTo>
                <a:cubicBezTo>
                  <a:pt x="1909148" y="251139"/>
                  <a:pt x="1939539" y="244210"/>
                  <a:pt x="1969688" y="236029"/>
                </a:cubicBezTo>
                <a:cubicBezTo>
                  <a:pt x="1999934" y="227897"/>
                  <a:pt x="2029555" y="216637"/>
                  <a:pt x="2057156" y="201768"/>
                </a:cubicBezTo>
                <a:cubicBezTo>
                  <a:pt x="2071053" y="194502"/>
                  <a:pt x="2084325" y="186177"/>
                  <a:pt x="2097452" y="177804"/>
                </a:cubicBezTo>
                <a:cubicBezTo>
                  <a:pt x="2110484" y="169335"/>
                  <a:pt x="2123323" y="160769"/>
                  <a:pt x="2136450" y="153022"/>
                </a:cubicBezTo>
                <a:cubicBezTo>
                  <a:pt x="2149674" y="145419"/>
                  <a:pt x="2163330" y="138875"/>
                  <a:pt x="2177563" y="134015"/>
                </a:cubicBezTo>
                <a:cubicBezTo>
                  <a:pt x="2181170" y="132908"/>
                  <a:pt x="2184824" y="131945"/>
                  <a:pt x="2188431" y="130935"/>
                </a:cubicBezTo>
                <a:lnTo>
                  <a:pt x="2193864" y="129395"/>
                </a:lnTo>
                <a:lnTo>
                  <a:pt x="2199442" y="128336"/>
                </a:lnTo>
                <a:lnTo>
                  <a:pt x="2210550" y="126267"/>
                </a:lnTo>
                <a:cubicBezTo>
                  <a:pt x="2214301" y="125738"/>
                  <a:pt x="2218100" y="125449"/>
                  <a:pt x="2221850" y="125064"/>
                </a:cubicBezTo>
                <a:cubicBezTo>
                  <a:pt x="2251904" y="122514"/>
                  <a:pt x="2283064" y="123476"/>
                  <a:pt x="2312492" y="129443"/>
                </a:cubicBezTo>
                <a:cubicBezTo>
                  <a:pt x="2327110" y="132667"/>
                  <a:pt x="2341632" y="137239"/>
                  <a:pt x="2353413" y="145612"/>
                </a:cubicBezTo>
                <a:cubicBezTo>
                  <a:pt x="2359280" y="149750"/>
                  <a:pt x="2364521" y="154706"/>
                  <a:pt x="2368416" y="160577"/>
                </a:cubicBezTo>
                <a:cubicBezTo>
                  <a:pt x="2372311" y="166448"/>
                  <a:pt x="2374956" y="173136"/>
                  <a:pt x="2376446" y="180162"/>
                </a:cubicBezTo>
                <a:cubicBezTo>
                  <a:pt x="2379476" y="194309"/>
                  <a:pt x="2378418" y="209467"/>
                  <a:pt x="2376398" y="224432"/>
                </a:cubicBezTo>
                <a:cubicBezTo>
                  <a:pt x="2374379" y="239494"/>
                  <a:pt x="2371301" y="254556"/>
                  <a:pt x="2369570" y="270195"/>
                </a:cubicBezTo>
                <a:cubicBezTo>
                  <a:pt x="2366204" y="301665"/>
                  <a:pt x="2370291" y="332558"/>
                  <a:pt x="2371349" y="362970"/>
                </a:cubicBezTo>
                <a:cubicBezTo>
                  <a:pt x="2371974" y="378176"/>
                  <a:pt x="2371878" y="393334"/>
                  <a:pt x="2370387" y="408251"/>
                </a:cubicBezTo>
                <a:cubicBezTo>
                  <a:pt x="2368945" y="423217"/>
                  <a:pt x="2365339" y="437701"/>
                  <a:pt x="2361011" y="452281"/>
                </a:cubicBezTo>
                <a:cubicBezTo>
                  <a:pt x="2352548" y="481346"/>
                  <a:pt x="2340911" y="510507"/>
                  <a:pt x="2338939" y="542362"/>
                </a:cubicBezTo>
                <a:cubicBezTo>
                  <a:pt x="2338074" y="558194"/>
                  <a:pt x="2340622" y="574603"/>
                  <a:pt x="2347162" y="589280"/>
                </a:cubicBezTo>
                <a:cubicBezTo>
                  <a:pt x="2353606" y="604004"/>
                  <a:pt x="2363415" y="616612"/>
                  <a:pt x="2373850" y="628161"/>
                </a:cubicBezTo>
                <a:cubicBezTo>
                  <a:pt x="2395152" y="651066"/>
                  <a:pt x="2420349" y="669255"/>
                  <a:pt x="2446123" y="685809"/>
                </a:cubicBezTo>
                <a:cubicBezTo>
                  <a:pt x="2472041" y="702266"/>
                  <a:pt x="2498921" y="716894"/>
                  <a:pt x="2526137" y="730705"/>
                </a:cubicBezTo>
                <a:cubicBezTo>
                  <a:pt x="2553354" y="744467"/>
                  <a:pt x="2580955" y="757363"/>
                  <a:pt x="2608556" y="770067"/>
                </a:cubicBezTo>
                <a:cubicBezTo>
                  <a:pt x="2636110" y="782626"/>
                  <a:pt x="2663663" y="795715"/>
                  <a:pt x="2691986" y="806879"/>
                </a:cubicBezTo>
                <a:cubicBezTo>
                  <a:pt x="2748438" y="829447"/>
                  <a:pt x="2805756" y="848743"/>
                  <a:pt x="2861584" y="871312"/>
                </a:cubicBezTo>
                <a:cubicBezTo>
                  <a:pt x="2917219" y="893880"/>
                  <a:pt x="2972085" y="919432"/>
                  <a:pt x="3019594" y="955378"/>
                </a:cubicBezTo>
                <a:cubicBezTo>
                  <a:pt x="3043204" y="973375"/>
                  <a:pt x="3064698" y="994163"/>
                  <a:pt x="3081961" y="1018030"/>
                </a:cubicBezTo>
                <a:cubicBezTo>
                  <a:pt x="3098936" y="1042138"/>
                  <a:pt x="3111727" y="1068989"/>
                  <a:pt x="3121680" y="1096947"/>
                </a:cubicBezTo>
                <a:cubicBezTo>
                  <a:pt x="3141155" y="1153103"/>
                  <a:pt x="3151397" y="1212195"/>
                  <a:pt x="3158610" y="1271190"/>
                </a:cubicBezTo>
                <a:cubicBezTo>
                  <a:pt x="3162168" y="1300736"/>
                  <a:pt x="3164669" y="1330426"/>
                  <a:pt x="3166929" y="1360068"/>
                </a:cubicBezTo>
                <a:cubicBezTo>
                  <a:pt x="3168949" y="1389758"/>
                  <a:pt x="3170584" y="1419449"/>
                  <a:pt x="3171834" y="1449139"/>
                </a:cubicBezTo>
                <a:cubicBezTo>
                  <a:pt x="3174863" y="1508471"/>
                  <a:pt x="3175296" y="1567755"/>
                  <a:pt x="3166063" y="1625884"/>
                </a:cubicBezTo>
                <a:cubicBezTo>
                  <a:pt x="3161399" y="1654852"/>
                  <a:pt x="3154475" y="1683484"/>
                  <a:pt x="3143511" y="1710479"/>
                </a:cubicBezTo>
                <a:cubicBezTo>
                  <a:pt x="3132644" y="1737427"/>
                  <a:pt x="3117737" y="1762834"/>
                  <a:pt x="3097830" y="1783766"/>
                </a:cubicBezTo>
                <a:cubicBezTo>
                  <a:pt x="3078066" y="1804747"/>
                  <a:pt x="3053206" y="1820578"/>
                  <a:pt x="3026182" y="1830395"/>
                </a:cubicBezTo>
                <a:lnTo>
                  <a:pt x="3021133" y="1832271"/>
                </a:lnTo>
                <a:lnTo>
                  <a:pt x="3015940" y="1833763"/>
                </a:lnTo>
                <a:lnTo>
                  <a:pt x="3005601" y="1836698"/>
                </a:lnTo>
                <a:lnTo>
                  <a:pt x="2995022" y="1838768"/>
                </a:lnTo>
                <a:lnTo>
                  <a:pt x="2989733" y="1839778"/>
                </a:lnTo>
                <a:lnTo>
                  <a:pt x="2984347" y="1840404"/>
                </a:lnTo>
                <a:lnTo>
                  <a:pt x="2973624" y="1841655"/>
                </a:lnTo>
                <a:cubicBezTo>
                  <a:pt x="2970017" y="1841944"/>
                  <a:pt x="2966411" y="1842040"/>
                  <a:pt x="2962805" y="1842232"/>
                </a:cubicBezTo>
                <a:cubicBezTo>
                  <a:pt x="2955592" y="1842762"/>
                  <a:pt x="2948331" y="1842473"/>
                  <a:pt x="2941118" y="1842425"/>
                </a:cubicBezTo>
                <a:cubicBezTo>
                  <a:pt x="2912122" y="1841799"/>
                  <a:pt x="2883223" y="1837372"/>
                  <a:pt x="2854564" y="1831983"/>
                </a:cubicBezTo>
                <a:cubicBezTo>
                  <a:pt x="2825904" y="1826497"/>
                  <a:pt x="2797438" y="1819760"/>
                  <a:pt x="2769067" y="1812879"/>
                </a:cubicBezTo>
                <a:cubicBezTo>
                  <a:pt x="2712278" y="1799117"/>
                  <a:pt x="2655440" y="1784584"/>
                  <a:pt x="2597352" y="1776211"/>
                </a:cubicBezTo>
                <a:cubicBezTo>
                  <a:pt x="2539505" y="1767935"/>
                  <a:pt x="2479638" y="1765866"/>
                  <a:pt x="2422272" y="1780205"/>
                </a:cubicBezTo>
                <a:lnTo>
                  <a:pt x="2411549" y="1782900"/>
                </a:lnTo>
                <a:lnTo>
                  <a:pt x="2401066" y="1786317"/>
                </a:lnTo>
                <a:lnTo>
                  <a:pt x="2390584" y="1789781"/>
                </a:lnTo>
                <a:lnTo>
                  <a:pt x="2380341" y="1793968"/>
                </a:lnTo>
                <a:cubicBezTo>
                  <a:pt x="2366541" y="1799117"/>
                  <a:pt x="2353509" y="1806479"/>
                  <a:pt x="2341055" y="1814371"/>
                </a:cubicBezTo>
                <a:cubicBezTo>
                  <a:pt x="2328649" y="1822455"/>
                  <a:pt x="2317349" y="1832079"/>
                  <a:pt x="2306722" y="1842377"/>
                </a:cubicBezTo>
                <a:cubicBezTo>
                  <a:pt x="2296383" y="1852915"/>
                  <a:pt x="2286959" y="1864271"/>
                  <a:pt x="2278496" y="1876301"/>
                </a:cubicBezTo>
                <a:cubicBezTo>
                  <a:pt x="2261762" y="1900458"/>
                  <a:pt x="2248634" y="1926828"/>
                  <a:pt x="2237959" y="1953871"/>
                </a:cubicBezTo>
                <a:cubicBezTo>
                  <a:pt x="2227284" y="1980963"/>
                  <a:pt x="2218773" y="2008728"/>
                  <a:pt x="2211320" y="2036638"/>
                </a:cubicBezTo>
                <a:cubicBezTo>
                  <a:pt x="2196509" y="2092553"/>
                  <a:pt x="2185738" y="2149143"/>
                  <a:pt x="2174823" y="2205443"/>
                </a:cubicBezTo>
                <a:cubicBezTo>
                  <a:pt x="2169341" y="2233594"/>
                  <a:pt x="2163859" y="2261696"/>
                  <a:pt x="2158425" y="2289750"/>
                </a:cubicBezTo>
                <a:lnTo>
                  <a:pt x="2149866" y="2331759"/>
                </a:lnTo>
                <a:lnTo>
                  <a:pt x="2145394" y="2352643"/>
                </a:lnTo>
                <a:cubicBezTo>
                  <a:pt x="2143855" y="2359476"/>
                  <a:pt x="2142028" y="2366357"/>
                  <a:pt x="2140153" y="2373190"/>
                </a:cubicBezTo>
                <a:cubicBezTo>
                  <a:pt x="2124717" y="2427999"/>
                  <a:pt x="2107599" y="2482471"/>
                  <a:pt x="2092596" y="2537376"/>
                </a:cubicBezTo>
                <a:cubicBezTo>
                  <a:pt x="2077449" y="2592233"/>
                  <a:pt x="2063552" y="2647427"/>
                  <a:pt x="2053213" y="2703295"/>
                </a:cubicBezTo>
                <a:cubicBezTo>
                  <a:pt x="2048068" y="2731252"/>
                  <a:pt x="2043837" y="2759354"/>
                  <a:pt x="2041480" y="2787745"/>
                </a:cubicBezTo>
                <a:cubicBezTo>
                  <a:pt x="2039269" y="2816088"/>
                  <a:pt x="2038403" y="2844768"/>
                  <a:pt x="2043163" y="2873255"/>
                </a:cubicBezTo>
                <a:cubicBezTo>
                  <a:pt x="2045616" y="2887450"/>
                  <a:pt x="2049607" y="2901646"/>
                  <a:pt x="2056820" y="2914638"/>
                </a:cubicBezTo>
                <a:cubicBezTo>
                  <a:pt x="2064081" y="2927486"/>
                  <a:pt x="2075718" y="2938891"/>
                  <a:pt x="2090240" y="2943751"/>
                </a:cubicBezTo>
                <a:cubicBezTo>
                  <a:pt x="2104569" y="2949044"/>
                  <a:pt x="2119908" y="2948418"/>
                  <a:pt x="2134094" y="2945916"/>
                </a:cubicBezTo>
                <a:cubicBezTo>
                  <a:pt x="2148375" y="2943270"/>
                  <a:pt x="2162032" y="2938650"/>
                  <a:pt x="2175111" y="2932972"/>
                </a:cubicBezTo>
                <a:cubicBezTo>
                  <a:pt x="2188094" y="2927198"/>
                  <a:pt x="2200933" y="2920942"/>
                  <a:pt x="2212955" y="2913628"/>
                </a:cubicBezTo>
                <a:lnTo>
                  <a:pt x="2231227" y="2902945"/>
                </a:lnTo>
                <a:cubicBezTo>
                  <a:pt x="2237238" y="2899240"/>
                  <a:pt x="2243008" y="2895198"/>
                  <a:pt x="2248923" y="2891348"/>
                </a:cubicBezTo>
                <a:cubicBezTo>
                  <a:pt x="2272292" y="2875613"/>
                  <a:pt x="2294604" y="2858145"/>
                  <a:pt x="2315089" y="2838897"/>
                </a:cubicBezTo>
                <a:cubicBezTo>
                  <a:pt x="2356346" y="2800738"/>
                  <a:pt x="2392411" y="2758055"/>
                  <a:pt x="2435592" y="2723553"/>
                </a:cubicBezTo>
                <a:cubicBezTo>
                  <a:pt x="2446026" y="2714555"/>
                  <a:pt x="2457423" y="2706711"/>
                  <a:pt x="2468387" y="2698338"/>
                </a:cubicBezTo>
                <a:lnTo>
                  <a:pt x="2485553" y="2686789"/>
                </a:lnTo>
                <a:lnTo>
                  <a:pt x="2494112" y="2681015"/>
                </a:lnTo>
                <a:cubicBezTo>
                  <a:pt x="2496997" y="2679138"/>
                  <a:pt x="2499979" y="2677406"/>
                  <a:pt x="2502912" y="2675626"/>
                </a:cubicBezTo>
                <a:cubicBezTo>
                  <a:pt x="2514741" y="2668552"/>
                  <a:pt x="2526378" y="2661237"/>
                  <a:pt x="2538640" y="2654934"/>
                </a:cubicBezTo>
                <a:lnTo>
                  <a:pt x="2556816" y="2645117"/>
                </a:lnTo>
                <a:cubicBezTo>
                  <a:pt x="2562875" y="2641893"/>
                  <a:pt x="2569222" y="2639199"/>
                  <a:pt x="2575377" y="2636167"/>
                </a:cubicBezTo>
                <a:cubicBezTo>
                  <a:pt x="2625050" y="2612732"/>
                  <a:pt x="2677704" y="2596083"/>
                  <a:pt x="2730839" y="2582561"/>
                </a:cubicBezTo>
                <a:cubicBezTo>
                  <a:pt x="2784070" y="2569087"/>
                  <a:pt x="2837926" y="2558453"/>
                  <a:pt x="2891542" y="2546904"/>
                </a:cubicBezTo>
                <a:cubicBezTo>
                  <a:pt x="2945109" y="2535307"/>
                  <a:pt x="2998821" y="2523085"/>
                  <a:pt x="3050032" y="2502778"/>
                </a:cubicBezTo>
                <a:cubicBezTo>
                  <a:pt x="3053206" y="2501527"/>
                  <a:pt x="3056476" y="2500372"/>
                  <a:pt x="3059649" y="2498976"/>
                </a:cubicBezTo>
                <a:lnTo>
                  <a:pt x="3069026" y="2494597"/>
                </a:lnTo>
                <a:lnTo>
                  <a:pt x="3078403" y="2490218"/>
                </a:lnTo>
                <a:cubicBezTo>
                  <a:pt x="3081528" y="2488727"/>
                  <a:pt x="3084702" y="2487427"/>
                  <a:pt x="3087635" y="2485503"/>
                </a:cubicBezTo>
                <a:cubicBezTo>
                  <a:pt x="3093598" y="2481894"/>
                  <a:pt x="3099849" y="2478622"/>
                  <a:pt x="3105283" y="2474339"/>
                </a:cubicBezTo>
                <a:cubicBezTo>
                  <a:pt x="3110909" y="2470297"/>
                  <a:pt x="3116583" y="2466303"/>
                  <a:pt x="3121777" y="2461779"/>
                </a:cubicBezTo>
                <a:cubicBezTo>
                  <a:pt x="3143079" y="2444312"/>
                  <a:pt x="3162313" y="2424823"/>
                  <a:pt x="3181211" y="2405286"/>
                </a:cubicBezTo>
                <a:cubicBezTo>
                  <a:pt x="3200060" y="2385653"/>
                  <a:pt x="3218525" y="2365876"/>
                  <a:pt x="3237471" y="2346580"/>
                </a:cubicBezTo>
                <a:cubicBezTo>
                  <a:pt x="3256321" y="2327235"/>
                  <a:pt x="3275699" y="2308469"/>
                  <a:pt x="3296184" y="2291194"/>
                </a:cubicBezTo>
                <a:cubicBezTo>
                  <a:pt x="3316716" y="2274015"/>
                  <a:pt x="3338066" y="2257654"/>
                  <a:pt x="3361532" y="2245190"/>
                </a:cubicBezTo>
                <a:cubicBezTo>
                  <a:pt x="3384902" y="2232535"/>
                  <a:pt x="3409907" y="2223055"/>
                  <a:pt x="3435488" y="2215693"/>
                </a:cubicBezTo>
                <a:cubicBezTo>
                  <a:pt x="3486748" y="2200968"/>
                  <a:pt x="3540171" y="2195386"/>
                  <a:pt x="3593306" y="2192355"/>
                </a:cubicBezTo>
                <a:cubicBezTo>
                  <a:pt x="3646537" y="2189660"/>
                  <a:pt x="3699864" y="2190141"/>
                  <a:pt x="3753047" y="2190478"/>
                </a:cubicBezTo>
                <a:cubicBezTo>
                  <a:pt x="3806230" y="2190719"/>
                  <a:pt x="3859509" y="2191296"/>
                  <a:pt x="3912596" y="2186099"/>
                </a:cubicBezTo>
                <a:cubicBezTo>
                  <a:pt x="3939091" y="2183356"/>
                  <a:pt x="3965586" y="2179122"/>
                  <a:pt x="3991168" y="2170701"/>
                </a:cubicBezTo>
                <a:cubicBezTo>
                  <a:pt x="3997659" y="2168920"/>
                  <a:pt x="4003766" y="2165937"/>
                  <a:pt x="4010018" y="2163483"/>
                </a:cubicBezTo>
                <a:cubicBezTo>
                  <a:pt x="4013143" y="2162280"/>
                  <a:pt x="4016076" y="2160451"/>
                  <a:pt x="4019106" y="2158959"/>
                </a:cubicBezTo>
                <a:cubicBezTo>
                  <a:pt x="4022039" y="2157323"/>
                  <a:pt x="4025213" y="2156024"/>
                  <a:pt x="4028002" y="2154051"/>
                </a:cubicBezTo>
                <a:cubicBezTo>
                  <a:pt x="4033628" y="2150250"/>
                  <a:pt x="4039494" y="2146737"/>
                  <a:pt x="4044447" y="2141973"/>
                </a:cubicBezTo>
                <a:cubicBezTo>
                  <a:pt x="4046947" y="2139663"/>
                  <a:pt x="4049833" y="2137690"/>
                  <a:pt x="4051996" y="2135044"/>
                </a:cubicBezTo>
                <a:lnTo>
                  <a:pt x="4058825" y="2127392"/>
                </a:lnTo>
                <a:cubicBezTo>
                  <a:pt x="4061037" y="2124794"/>
                  <a:pt x="4062816" y="2121859"/>
                  <a:pt x="4064787" y="2119116"/>
                </a:cubicBezTo>
                <a:lnTo>
                  <a:pt x="4067721" y="2114929"/>
                </a:lnTo>
                <a:cubicBezTo>
                  <a:pt x="4068586" y="2113486"/>
                  <a:pt x="4069403" y="2111994"/>
                  <a:pt x="4070221" y="2110502"/>
                </a:cubicBezTo>
                <a:lnTo>
                  <a:pt x="4075126" y="2101648"/>
                </a:lnTo>
                <a:lnTo>
                  <a:pt x="4079261" y="2092457"/>
                </a:lnTo>
                <a:cubicBezTo>
                  <a:pt x="4080704" y="2089425"/>
                  <a:pt x="4081954" y="2086298"/>
                  <a:pt x="4083060" y="2083170"/>
                </a:cubicBezTo>
                <a:lnTo>
                  <a:pt x="4086522" y="2073738"/>
                </a:lnTo>
                <a:cubicBezTo>
                  <a:pt x="4088446" y="2067338"/>
                  <a:pt x="4090609" y="2061035"/>
                  <a:pt x="4092244" y="2054587"/>
                </a:cubicBezTo>
                <a:cubicBezTo>
                  <a:pt x="4099073" y="2028890"/>
                  <a:pt x="4103496" y="2002857"/>
                  <a:pt x="4107536" y="1976921"/>
                </a:cubicBezTo>
                <a:cubicBezTo>
                  <a:pt x="4111575" y="1950984"/>
                  <a:pt x="4115037" y="1925047"/>
                  <a:pt x="4119557" y="1899399"/>
                </a:cubicBezTo>
                <a:cubicBezTo>
                  <a:pt x="4124173" y="1873799"/>
                  <a:pt x="4129463" y="1848151"/>
                  <a:pt x="4134704" y="1822647"/>
                </a:cubicBezTo>
                <a:cubicBezTo>
                  <a:pt x="4145235" y="1771592"/>
                  <a:pt x="4156487" y="1720825"/>
                  <a:pt x="4167402" y="1670106"/>
                </a:cubicBezTo>
                <a:lnTo>
                  <a:pt x="4171442" y="1651051"/>
                </a:lnTo>
                <a:cubicBezTo>
                  <a:pt x="4172067" y="1647731"/>
                  <a:pt x="4172836" y="1645132"/>
                  <a:pt x="4173846" y="1642197"/>
                </a:cubicBezTo>
                <a:cubicBezTo>
                  <a:pt x="4174904" y="1639261"/>
                  <a:pt x="4176058" y="1636374"/>
                  <a:pt x="4177356" y="1633391"/>
                </a:cubicBezTo>
                <a:cubicBezTo>
                  <a:pt x="4182405" y="1621601"/>
                  <a:pt x="4187935" y="1609764"/>
                  <a:pt x="4192551" y="1597493"/>
                </a:cubicBezTo>
                <a:cubicBezTo>
                  <a:pt x="4197168" y="1585222"/>
                  <a:pt x="4201111" y="1572519"/>
                  <a:pt x="4203082" y="1559334"/>
                </a:cubicBezTo>
                <a:cubicBezTo>
                  <a:pt x="4205054" y="1546197"/>
                  <a:pt x="4204957" y="1532338"/>
                  <a:pt x="4200967" y="1519202"/>
                </a:cubicBezTo>
                <a:cubicBezTo>
                  <a:pt x="4196831" y="1506209"/>
                  <a:pt x="4189666" y="1493987"/>
                  <a:pt x="4178270" y="1485469"/>
                </a:cubicBezTo>
                <a:cubicBezTo>
                  <a:pt x="4172403" y="1481620"/>
                  <a:pt x="4165864" y="1478540"/>
                  <a:pt x="4159132" y="1477337"/>
                </a:cubicBezTo>
                <a:cubicBezTo>
                  <a:pt x="4152448" y="1475893"/>
                  <a:pt x="4145764" y="1475412"/>
                  <a:pt x="4139320" y="1475075"/>
                </a:cubicBezTo>
                <a:cubicBezTo>
                  <a:pt x="4126385" y="1474498"/>
                  <a:pt x="4113931" y="1473872"/>
                  <a:pt x="4102438" y="1469830"/>
                </a:cubicBezTo>
                <a:cubicBezTo>
                  <a:pt x="4099505" y="1469060"/>
                  <a:pt x="4096861" y="1467472"/>
                  <a:pt x="4094071" y="1466318"/>
                </a:cubicBezTo>
                <a:cubicBezTo>
                  <a:pt x="4091331" y="1465018"/>
                  <a:pt x="4088878" y="1463190"/>
                  <a:pt x="4086282" y="1461698"/>
                </a:cubicBezTo>
                <a:cubicBezTo>
                  <a:pt x="4081329" y="1457897"/>
                  <a:pt x="4076520" y="1453854"/>
                  <a:pt x="4071616" y="1449957"/>
                </a:cubicBezTo>
                <a:cubicBezTo>
                  <a:pt x="4052814" y="1433163"/>
                  <a:pt x="4036753" y="1413337"/>
                  <a:pt x="4021751" y="1392886"/>
                </a:cubicBezTo>
                <a:cubicBezTo>
                  <a:pt x="4014538" y="1382444"/>
                  <a:pt x="4007180" y="1372050"/>
                  <a:pt x="4000593" y="1361175"/>
                </a:cubicBezTo>
                <a:cubicBezTo>
                  <a:pt x="3993668" y="1350540"/>
                  <a:pt x="3987369" y="1339473"/>
                  <a:pt x="3980974" y="1328501"/>
                </a:cubicBezTo>
                <a:cubicBezTo>
                  <a:pt x="3955777" y="1284327"/>
                  <a:pt x="3933946" y="1238420"/>
                  <a:pt x="3913461" y="1192081"/>
                </a:cubicBezTo>
                <a:cubicBezTo>
                  <a:pt x="3892929" y="1145741"/>
                  <a:pt x="3874416" y="1098728"/>
                  <a:pt x="3856383" y="1051618"/>
                </a:cubicBezTo>
                <a:cubicBezTo>
                  <a:pt x="3838351" y="1004508"/>
                  <a:pt x="3820319" y="957399"/>
                  <a:pt x="3799787" y="911444"/>
                </a:cubicBezTo>
                <a:cubicBezTo>
                  <a:pt x="3779206" y="865585"/>
                  <a:pt x="3756173" y="820545"/>
                  <a:pt x="3727033" y="779499"/>
                </a:cubicBezTo>
                <a:cubicBezTo>
                  <a:pt x="3712318" y="759096"/>
                  <a:pt x="3696210" y="739607"/>
                  <a:pt x="3677745" y="722428"/>
                </a:cubicBezTo>
                <a:cubicBezTo>
                  <a:pt x="3668656" y="713718"/>
                  <a:pt x="3658703" y="705923"/>
                  <a:pt x="3648508" y="698512"/>
                </a:cubicBezTo>
                <a:cubicBezTo>
                  <a:pt x="3638170" y="691294"/>
                  <a:pt x="3627302" y="684846"/>
                  <a:pt x="3615954" y="679264"/>
                </a:cubicBezTo>
                <a:cubicBezTo>
                  <a:pt x="3604510" y="673779"/>
                  <a:pt x="3592056" y="669496"/>
                  <a:pt x="3579024" y="668678"/>
                </a:cubicBezTo>
                <a:cubicBezTo>
                  <a:pt x="3566041" y="667764"/>
                  <a:pt x="3553058" y="670121"/>
                  <a:pt x="3541085" y="673634"/>
                </a:cubicBezTo>
                <a:cubicBezTo>
                  <a:pt x="3529015" y="677099"/>
                  <a:pt x="3517523" y="681045"/>
                  <a:pt x="3505694" y="683066"/>
                </a:cubicBezTo>
                <a:cubicBezTo>
                  <a:pt x="3502760" y="683595"/>
                  <a:pt x="3499827" y="683884"/>
                  <a:pt x="3496846" y="684269"/>
                </a:cubicBezTo>
                <a:lnTo>
                  <a:pt x="3487613" y="685183"/>
                </a:lnTo>
                <a:lnTo>
                  <a:pt x="3469244" y="686915"/>
                </a:lnTo>
                <a:cubicBezTo>
                  <a:pt x="3457031" y="687926"/>
                  <a:pt x="3444865" y="688600"/>
                  <a:pt x="3432747" y="688359"/>
                </a:cubicBezTo>
                <a:cubicBezTo>
                  <a:pt x="3420582" y="688166"/>
                  <a:pt x="3408512" y="687156"/>
                  <a:pt x="3396491" y="685568"/>
                </a:cubicBezTo>
                <a:cubicBezTo>
                  <a:pt x="3372496" y="682055"/>
                  <a:pt x="3348886" y="675896"/>
                  <a:pt x="3325949" y="667860"/>
                </a:cubicBezTo>
                <a:cubicBezTo>
                  <a:pt x="3280027" y="651836"/>
                  <a:pt x="3237471" y="627728"/>
                  <a:pt x="3196406" y="601887"/>
                </a:cubicBezTo>
                <a:cubicBezTo>
                  <a:pt x="3155581" y="575613"/>
                  <a:pt x="3116150" y="547367"/>
                  <a:pt x="3078163" y="517484"/>
                </a:cubicBezTo>
                <a:cubicBezTo>
                  <a:pt x="3059072" y="502663"/>
                  <a:pt x="3040463" y="487313"/>
                  <a:pt x="3022094" y="471770"/>
                </a:cubicBezTo>
                <a:cubicBezTo>
                  <a:pt x="3003774" y="456131"/>
                  <a:pt x="2985549" y="440396"/>
                  <a:pt x="2968575" y="423506"/>
                </a:cubicBezTo>
                <a:cubicBezTo>
                  <a:pt x="2933905" y="390447"/>
                  <a:pt x="2902024" y="354597"/>
                  <a:pt x="2874664" y="315668"/>
                </a:cubicBezTo>
                <a:cubicBezTo>
                  <a:pt x="2867980" y="305852"/>
                  <a:pt x="2861007" y="296180"/>
                  <a:pt x="2854948" y="285978"/>
                </a:cubicBezTo>
                <a:lnTo>
                  <a:pt x="2845572" y="270820"/>
                </a:lnTo>
                <a:lnTo>
                  <a:pt x="2836724" y="255374"/>
                </a:lnTo>
                <a:cubicBezTo>
                  <a:pt x="2825039" y="234682"/>
                  <a:pt x="2814316" y="213509"/>
                  <a:pt x="2803497" y="192288"/>
                </a:cubicBezTo>
                <a:cubicBezTo>
                  <a:pt x="2792581" y="171163"/>
                  <a:pt x="2781425" y="149942"/>
                  <a:pt x="2767721" y="130213"/>
                </a:cubicBezTo>
                <a:cubicBezTo>
                  <a:pt x="2753920" y="110436"/>
                  <a:pt x="2737234" y="92968"/>
                  <a:pt x="2717615" y="78532"/>
                </a:cubicBezTo>
                <a:cubicBezTo>
                  <a:pt x="2715451" y="77089"/>
                  <a:pt x="2713239" y="75741"/>
                  <a:pt x="2711027" y="74394"/>
                </a:cubicBezTo>
                <a:cubicBezTo>
                  <a:pt x="2721270" y="79254"/>
                  <a:pt x="2731079" y="84643"/>
                  <a:pt x="2740023" y="91236"/>
                </a:cubicBezTo>
                <a:cubicBezTo>
                  <a:pt x="2754689" y="102303"/>
                  <a:pt x="2767432" y="115585"/>
                  <a:pt x="2778588" y="130213"/>
                </a:cubicBezTo>
                <a:cubicBezTo>
                  <a:pt x="2800179" y="160096"/>
                  <a:pt x="2815422" y="194261"/>
                  <a:pt x="2832444" y="227368"/>
                </a:cubicBezTo>
                <a:cubicBezTo>
                  <a:pt x="2849274" y="260571"/>
                  <a:pt x="2867883" y="293052"/>
                  <a:pt x="2889714" y="323223"/>
                </a:cubicBezTo>
                <a:cubicBezTo>
                  <a:pt x="2911449" y="353443"/>
                  <a:pt x="2935877" y="381449"/>
                  <a:pt x="2961987" y="407578"/>
                </a:cubicBezTo>
                <a:cubicBezTo>
                  <a:pt x="2988290" y="433515"/>
                  <a:pt x="3016228" y="457575"/>
                  <a:pt x="3045128" y="480143"/>
                </a:cubicBezTo>
                <a:cubicBezTo>
                  <a:pt x="3103071" y="525135"/>
                  <a:pt x="3165102" y="564401"/>
                  <a:pt x="3230835" y="595343"/>
                </a:cubicBezTo>
                <a:cubicBezTo>
                  <a:pt x="3247280" y="603042"/>
                  <a:pt x="3264014" y="610067"/>
                  <a:pt x="3280941" y="616612"/>
                </a:cubicBezTo>
                <a:cubicBezTo>
                  <a:pt x="3297915" y="622915"/>
                  <a:pt x="3315081" y="628690"/>
                  <a:pt x="3332536" y="633598"/>
                </a:cubicBezTo>
                <a:cubicBezTo>
                  <a:pt x="3349992" y="638362"/>
                  <a:pt x="3367687" y="642308"/>
                  <a:pt x="3385527" y="645147"/>
                </a:cubicBezTo>
                <a:cubicBezTo>
                  <a:pt x="3403415" y="647794"/>
                  <a:pt x="3421447" y="649333"/>
                  <a:pt x="3439576" y="649333"/>
                </a:cubicBezTo>
                <a:cubicBezTo>
                  <a:pt x="3444096" y="649237"/>
                  <a:pt x="3448616" y="649237"/>
                  <a:pt x="3453136" y="649045"/>
                </a:cubicBezTo>
                <a:lnTo>
                  <a:pt x="3466648" y="648034"/>
                </a:lnTo>
                <a:cubicBezTo>
                  <a:pt x="3471168" y="647601"/>
                  <a:pt x="3475640" y="646831"/>
                  <a:pt x="3480112" y="646254"/>
                </a:cubicBezTo>
                <a:lnTo>
                  <a:pt x="3483478" y="645773"/>
                </a:lnTo>
                <a:cubicBezTo>
                  <a:pt x="3484680" y="645484"/>
                  <a:pt x="3485930" y="645099"/>
                  <a:pt x="3487132" y="644762"/>
                </a:cubicBezTo>
                <a:cubicBezTo>
                  <a:pt x="3489681" y="644233"/>
                  <a:pt x="3491701" y="642837"/>
                  <a:pt x="3493961" y="641875"/>
                </a:cubicBezTo>
                <a:cubicBezTo>
                  <a:pt x="3502376" y="637015"/>
                  <a:pt x="3508723" y="630470"/>
                  <a:pt x="3515311" y="624600"/>
                </a:cubicBezTo>
                <a:cubicBezTo>
                  <a:pt x="3521802" y="618633"/>
                  <a:pt x="3528390" y="612955"/>
                  <a:pt x="3535795" y="609201"/>
                </a:cubicBezTo>
                <a:cubicBezTo>
                  <a:pt x="3543152" y="605400"/>
                  <a:pt x="3551327" y="604004"/>
                  <a:pt x="3559357" y="605640"/>
                </a:cubicBezTo>
                <a:cubicBezTo>
                  <a:pt x="3563397" y="606170"/>
                  <a:pt x="3567243" y="607950"/>
                  <a:pt x="3571090" y="609490"/>
                </a:cubicBezTo>
                <a:lnTo>
                  <a:pt x="3582246" y="615794"/>
                </a:lnTo>
                <a:cubicBezTo>
                  <a:pt x="3589315" y="620894"/>
                  <a:pt x="3596480" y="625755"/>
                  <a:pt x="3603115" y="631577"/>
                </a:cubicBezTo>
                <a:cubicBezTo>
                  <a:pt x="3609992" y="637015"/>
                  <a:pt x="3616387" y="643030"/>
                  <a:pt x="3622879" y="648900"/>
                </a:cubicBezTo>
                <a:cubicBezTo>
                  <a:pt x="3648653" y="672816"/>
                  <a:pt x="3672551" y="698657"/>
                  <a:pt x="3695584" y="725075"/>
                </a:cubicBezTo>
                <a:cubicBezTo>
                  <a:pt x="3718570" y="751541"/>
                  <a:pt x="3740593" y="778729"/>
                  <a:pt x="3761318" y="806686"/>
                </a:cubicBezTo>
                <a:cubicBezTo>
                  <a:pt x="3771704" y="820641"/>
                  <a:pt x="3781658" y="834933"/>
                  <a:pt x="3791083" y="849417"/>
                </a:cubicBezTo>
                <a:cubicBezTo>
                  <a:pt x="3800460" y="863998"/>
                  <a:pt x="3808538" y="879011"/>
                  <a:pt x="3815703" y="894843"/>
                </a:cubicBezTo>
                <a:cubicBezTo>
                  <a:pt x="3830032" y="926313"/>
                  <a:pt x="3842391" y="958602"/>
                  <a:pt x="3853835" y="991131"/>
                </a:cubicBezTo>
                <a:cubicBezTo>
                  <a:pt x="3876820" y="1056141"/>
                  <a:pt x="3896439" y="1122018"/>
                  <a:pt x="3921780" y="1185633"/>
                </a:cubicBezTo>
                <a:cubicBezTo>
                  <a:pt x="3934427" y="1217392"/>
                  <a:pt x="3948612" y="1248622"/>
                  <a:pt x="3965971" y="1278023"/>
                </a:cubicBezTo>
                <a:cubicBezTo>
                  <a:pt x="3974530" y="1292796"/>
                  <a:pt x="3984196" y="1306895"/>
                  <a:pt x="3994726" y="1320321"/>
                </a:cubicBezTo>
                <a:cubicBezTo>
                  <a:pt x="4005209" y="1333795"/>
                  <a:pt x="4016846" y="1346354"/>
                  <a:pt x="4029733" y="1357566"/>
                </a:cubicBezTo>
                <a:lnTo>
                  <a:pt x="4034493" y="1361801"/>
                </a:lnTo>
                <a:lnTo>
                  <a:pt x="4039542" y="1365746"/>
                </a:lnTo>
                <a:cubicBezTo>
                  <a:pt x="4042956" y="1368297"/>
                  <a:pt x="4046130" y="1371136"/>
                  <a:pt x="4049785" y="1373446"/>
                </a:cubicBezTo>
                <a:lnTo>
                  <a:pt x="4060411" y="1380567"/>
                </a:lnTo>
                <a:cubicBezTo>
                  <a:pt x="4064114" y="1382781"/>
                  <a:pt x="4067865" y="1384898"/>
                  <a:pt x="4071808" y="1386775"/>
                </a:cubicBezTo>
                <a:cubicBezTo>
                  <a:pt x="4079646" y="1390528"/>
                  <a:pt x="4088301" y="1393079"/>
                  <a:pt x="4097341" y="1393319"/>
                </a:cubicBezTo>
                <a:cubicBezTo>
                  <a:pt x="4106381" y="1393464"/>
                  <a:pt x="4115422" y="1390625"/>
                  <a:pt x="4122875" y="1386149"/>
                </a:cubicBezTo>
                <a:cubicBezTo>
                  <a:pt x="4130472" y="1381770"/>
                  <a:pt x="4136916" y="1376140"/>
                  <a:pt x="4143696" y="1372291"/>
                </a:cubicBezTo>
                <a:cubicBezTo>
                  <a:pt x="4147062" y="1370414"/>
                  <a:pt x="4150572" y="1368970"/>
                  <a:pt x="4154035" y="1368874"/>
                </a:cubicBezTo>
                <a:cubicBezTo>
                  <a:pt x="4157497" y="1368730"/>
                  <a:pt x="4160959" y="1369740"/>
                  <a:pt x="4164277" y="1371569"/>
                </a:cubicBezTo>
                <a:cubicBezTo>
                  <a:pt x="4170913" y="1375226"/>
                  <a:pt x="4176394" y="1381434"/>
                  <a:pt x="4181684" y="1387497"/>
                </a:cubicBezTo>
                <a:cubicBezTo>
                  <a:pt x="4186781" y="1393849"/>
                  <a:pt x="4191590" y="1400489"/>
                  <a:pt x="4196014" y="1407467"/>
                </a:cubicBezTo>
                <a:cubicBezTo>
                  <a:pt x="4213757" y="1435232"/>
                  <a:pt x="4227750" y="1465307"/>
                  <a:pt x="4239531" y="1495911"/>
                </a:cubicBezTo>
                <a:cubicBezTo>
                  <a:pt x="4245398" y="1511262"/>
                  <a:pt x="4250399" y="1526901"/>
                  <a:pt x="4254726" y="1542636"/>
                </a:cubicBezTo>
                <a:cubicBezTo>
                  <a:pt x="4259054" y="1558371"/>
                  <a:pt x="4262468" y="1574444"/>
                  <a:pt x="4263863" y="1590420"/>
                </a:cubicBezTo>
                <a:cubicBezTo>
                  <a:pt x="4265113" y="1606299"/>
                  <a:pt x="4264103" y="1622852"/>
                  <a:pt x="4255880" y="1636037"/>
                </a:cubicBezTo>
                <a:cubicBezTo>
                  <a:pt x="4251889" y="1642630"/>
                  <a:pt x="4246360" y="1648260"/>
                  <a:pt x="4240301" y="1653553"/>
                </a:cubicBezTo>
                <a:cubicBezTo>
                  <a:pt x="4234290" y="1658846"/>
                  <a:pt x="4227702" y="1663995"/>
                  <a:pt x="4222028" y="1670443"/>
                </a:cubicBezTo>
                <a:cubicBezTo>
                  <a:pt x="4220682" y="1672127"/>
                  <a:pt x="4219287" y="1673764"/>
                  <a:pt x="4218037" y="1675496"/>
                </a:cubicBezTo>
                <a:lnTo>
                  <a:pt x="4214575" y="1680982"/>
                </a:lnTo>
                <a:lnTo>
                  <a:pt x="4209141" y="1692194"/>
                </a:lnTo>
                <a:cubicBezTo>
                  <a:pt x="4206016" y="1699797"/>
                  <a:pt x="4202794" y="1707351"/>
                  <a:pt x="4200101" y="1715051"/>
                </a:cubicBezTo>
                <a:cubicBezTo>
                  <a:pt x="4194427" y="1730401"/>
                  <a:pt x="4189618" y="1745944"/>
                  <a:pt x="4185050" y="1761583"/>
                </a:cubicBezTo>
                <a:cubicBezTo>
                  <a:pt x="4176106" y="1792861"/>
                  <a:pt x="4168941" y="1824476"/>
                  <a:pt x="4163363" y="1856283"/>
                </a:cubicBezTo>
                <a:cubicBezTo>
                  <a:pt x="4162113" y="1864271"/>
                  <a:pt x="4160526" y="1872163"/>
                  <a:pt x="4159517" y="1880199"/>
                </a:cubicBezTo>
                <a:lnTo>
                  <a:pt x="4156391" y="1904163"/>
                </a:lnTo>
                <a:cubicBezTo>
                  <a:pt x="4154900" y="1920187"/>
                  <a:pt x="4153169" y="1936211"/>
                  <a:pt x="4152784" y="1952283"/>
                </a:cubicBezTo>
                <a:cubicBezTo>
                  <a:pt x="4151630" y="1984331"/>
                  <a:pt x="4152063" y="2016572"/>
                  <a:pt x="4157593" y="2048187"/>
                </a:cubicBezTo>
                <a:lnTo>
                  <a:pt x="4158458" y="2054105"/>
                </a:lnTo>
                <a:lnTo>
                  <a:pt x="4159805" y="2059976"/>
                </a:lnTo>
                <a:lnTo>
                  <a:pt x="4162450" y="2071669"/>
                </a:lnTo>
                <a:cubicBezTo>
                  <a:pt x="4163411" y="2075567"/>
                  <a:pt x="4164037" y="2079513"/>
                  <a:pt x="4165287" y="2083314"/>
                </a:cubicBezTo>
                <a:cubicBezTo>
                  <a:pt x="4166489" y="2087164"/>
                  <a:pt x="4167643" y="2091014"/>
                  <a:pt x="4168941" y="2094767"/>
                </a:cubicBezTo>
                <a:cubicBezTo>
                  <a:pt x="4170432" y="2098520"/>
                  <a:pt x="4171778" y="2102322"/>
                  <a:pt x="4173365" y="2106027"/>
                </a:cubicBezTo>
                <a:cubicBezTo>
                  <a:pt x="4175192" y="2109636"/>
                  <a:pt x="4176635" y="2113438"/>
                  <a:pt x="4178847" y="2116902"/>
                </a:cubicBezTo>
                <a:cubicBezTo>
                  <a:pt x="4182742" y="2124024"/>
                  <a:pt x="4187935" y="2130665"/>
                  <a:pt x="4194331" y="2136102"/>
                </a:cubicBezTo>
                <a:cubicBezTo>
                  <a:pt x="4200726" y="2141540"/>
                  <a:pt x="4209237" y="2145004"/>
                  <a:pt x="4217797" y="2145149"/>
                </a:cubicBezTo>
                <a:cubicBezTo>
                  <a:pt x="4226356" y="2145389"/>
                  <a:pt x="4234579" y="2142983"/>
                  <a:pt x="4241935" y="2139567"/>
                </a:cubicBezTo>
                <a:cubicBezTo>
                  <a:pt x="4256698" y="2132541"/>
                  <a:pt x="4269104" y="2122292"/>
                  <a:pt x="4280693" y="2111561"/>
                </a:cubicBezTo>
                <a:cubicBezTo>
                  <a:pt x="4292281" y="2100830"/>
                  <a:pt x="4302908" y="2089233"/>
                  <a:pt x="4313728" y="2078117"/>
                </a:cubicBezTo>
                <a:cubicBezTo>
                  <a:pt x="4316420" y="2075374"/>
                  <a:pt x="4319161" y="2072632"/>
                  <a:pt x="4321998" y="2070177"/>
                </a:cubicBezTo>
                <a:cubicBezTo>
                  <a:pt x="4323393" y="2068926"/>
                  <a:pt x="4324835" y="2067771"/>
                  <a:pt x="4326230" y="2066857"/>
                </a:cubicBezTo>
                <a:cubicBezTo>
                  <a:pt x="4327432" y="2065991"/>
                  <a:pt x="4329259" y="2065365"/>
                  <a:pt x="4330894" y="2064692"/>
                </a:cubicBezTo>
                <a:cubicBezTo>
                  <a:pt x="4337626" y="2062093"/>
                  <a:pt x="4344983" y="2061997"/>
                  <a:pt x="4351715" y="2064259"/>
                </a:cubicBezTo>
                <a:cubicBezTo>
                  <a:pt x="4358544" y="2066424"/>
                  <a:pt x="4364554" y="2070947"/>
                  <a:pt x="4369892" y="2076096"/>
                </a:cubicBezTo>
                <a:cubicBezTo>
                  <a:pt x="4375230" y="2081341"/>
                  <a:pt x="4379846" y="2087356"/>
                  <a:pt x="4383981" y="2093660"/>
                </a:cubicBezTo>
                <a:cubicBezTo>
                  <a:pt x="4392252" y="2106364"/>
                  <a:pt x="4398791" y="2120319"/>
                  <a:pt x="4404514" y="2134466"/>
                </a:cubicBezTo>
                <a:cubicBezTo>
                  <a:pt x="4415814" y="2162905"/>
                  <a:pt x="4423796" y="2192595"/>
                  <a:pt x="4429855" y="2222430"/>
                </a:cubicBezTo>
                <a:cubicBezTo>
                  <a:pt x="4432644" y="2237299"/>
                  <a:pt x="4434808" y="2252505"/>
                  <a:pt x="4437212" y="2267566"/>
                </a:cubicBezTo>
                <a:cubicBezTo>
                  <a:pt x="4438414" y="2275121"/>
                  <a:pt x="4439616" y="2282676"/>
                  <a:pt x="4441011" y="2290183"/>
                </a:cubicBezTo>
                <a:lnTo>
                  <a:pt x="4442550" y="2297978"/>
                </a:lnTo>
                <a:cubicBezTo>
                  <a:pt x="4442886" y="2299374"/>
                  <a:pt x="4443175" y="2300866"/>
                  <a:pt x="4443559" y="2302117"/>
                </a:cubicBezTo>
                <a:cubicBezTo>
                  <a:pt x="4443896" y="2303512"/>
                  <a:pt x="4444281" y="2304667"/>
                  <a:pt x="4444714" y="2305678"/>
                </a:cubicBezTo>
                <a:cubicBezTo>
                  <a:pt x="4445579" y="2307699"/>
                  <a:pt x="4446541" y="2308661"/>
                  <a:pt x="4447454" y="2309864"/>
                </a:cubicBezTo>
                <a:lnTo>
                  <a:pt x="4448320" y="2310634"/>
                </a:lnTo>
                <a:lnTo>
                  <a:pt x="4449811" y="2310634"/>
                </a:lnTo>
                <a:cubicBezTo>
                  <a:pt x="4450724" y="2310345"/>
                  <a:pt x="4451253" y="2309768"/>
                  <a:pt x="4451782" y="2309190"/>
                </a:cubicBezTo>
                <a:cubicBezTo>
                  <a:pt x="4452840" y="2308036"/>
                  <a:pt x="4453802" y="2306448"/>
                  <a:pt x="4454667" y="2304234"/>
                </a:cubicBezTo>
                <a:cubicBezTo>
                  <a:pt x="4455533" y="2302021"/>
                  <a:pt x="4456206" y="2299229"/>
                  <a:pt x="4456831" y="2296342"/>
                </a:cubicBezTo>
                <a:lnTo>
                  <a:pt x="4457649" y="2292060"/>
                </a:lnTo>
                <a:lnTo>
                  <a:pt x="4458178" y="2289028"/>
                </a:lnTo>
                <a:lnTo>
                  <a:pt x="4459043" y="2283350"/>
                </a:lnTo>
                <a:cubicBezTo>
                  <a:pt x="4460101" y="2275795"/>
                  <a:pt x="4460967" y="2268192"/>
                  <a:pt x="4461688" y="2260637"/>
                </a:cubicBezTo>
                <a:cubicBezTo>
                  <a:pt x="4463178" y="2245527"/>
                  <a:pt x="4464332" y="2230418"/>
                  <a:pt x="4465294" y="2215308"/>
                </a:cubicBezTo>
                <a:cubicBezTo>
                  <a:pt x="4466304" y="2200246"/>
                  <a:pt x="4466881" y="2185040"/>
                  <a:pt x="4467025" y="2170027"/>
                </a:cubicBezTo>
                <a:cubicBezTo>
                  <a:pt x="4467170" y="2158478"/>
                  <a:pt x="4467170" y="2146929"/>
                  <a:pt x="4467073" y="2135380"/>
                </a:cubicBezTo>
                <a:cubicBezTo>
                  <a:pt x="4468516" y="2194857"/>
                  <a:pt x="4467170" y="2252649"/>
                  <a:pt x="4464813" y="2308324"/>
                </a:cubicBezTo>
                <a:cubicBezTo>
                  <a:pt x="4463130" y="2339554"/>
                  <a:pt x="4461303" y="2369100"/>
                  <a:pt x="4459860" y="2396817"/>
                </a:cubicBezTo>
                <a:cubicBezTo>
                  <a:pt x="4458370" y="2423331"/>
                  <a:pt x="4457264" y="2448209"/>
                  <a:pt x="4456302" y="2471451"/>
                </a:cubicBezTo>
                <a:cubicBezTo>
                  <a:pt x="4454379" y="2503403"/>
                  <a:pt x="4452263" y="2534489"/>
                  <a:pt x="4450340" y="2564468"/>
                </a:cubicBezTo>
                <a:cubicBezTo>
                  <a:pt x="4449474" y="2578134"/>
                  <a:pt x="4448609" y="2591511"/>
                  <a:pt x="4447839" y="2604696"/>
                </a:cubicBezTo>
                <a:cubicBezTo>
                  <a:pt x="4449041" y="2575824"/>
                  <a:pt x="4449186" y="2545172"/>
                  <a:pt x="4449618" y="2512642"/>
                </a:cubicBezTo>
                <a:close/>
                <a:moveTo>
                  <a:pt x="4441396" y="2694440"/>
                </a:moveTo>
                <a:cubicBezTo>
                  <a:pt x="4440722" y="2701129"/>
                  <a:pt x="4440241" y="2706134"/>
                  <a:pt x="4440194" y="2709502"/>
                </a:cubicBezTo>
                <a:lnTo>
                  <a:pt x="4440194" y="2710705"/>
                </a:lnTo>
                <a:cubicBezTo>
                  <a:pt x="4440194" y="2710705"/>
                  <a:pt x="4440241" y="2710705"/>
                  <a:pt x="4440241" y="2710705"/>
                </a:cubicBezTo>
                <a:cubicBezTo>
                  <a:pt x="4436106" y="2729616"/>
                  <a:pt x="4431009" y="2753051"/>
                  <a:pt x="4424758" y="2780768"/>
                </a:cubicBezTo>
                <a:cubicBezTo>
                  <a:pt x="4425046" y="2778988"/>
                  <a:pt x="4425335" y="2777207"/>
                  <a:pt x="4425671" y="2775427"/>
                </a:cubicBezTo>
                <a:cubicBezTo>
                  <a:pt x="4426729" y="2769412"/>
                  <a:pt x="4427787" y="2763252"/>
                  <a:pt x="4428941" y="2756900"/>
                </a:cubicBezTo>
                <a:cubicBezTo>
                  <a:pt x="4431153" y="2744197"/>
                  <a:pt x="4433461" y="2730819"/>
                  <a:pt x="4435914" y="2716768"/>
                </a:cubicBezTo>
                <a:cubicBezTo>
                  <a:pt x="4438222" y="2702669"/>
                  <a:pt x="4440866" y="2687944"/>
                  <a:pt x="4442646" y="2672401"/>
                </a:cubicBezTo>
                <a:cubicBezTo>
                  <a:pt x="4443944" y="2661045"/>
                  <a:pt x="4445002" y="2649255"/>
                  <a:pt x="4445916" y="2637081"/>
                </a:cubicBezTo>
                <a:cubicBezTo>
                  <a:pt x="4445771" y="2640065"/>
                  <a:pt x="4445627" y="2643048"/>
                  <a:pt x="4445531" y="2645983"/>
                </a:cubicBezTo>
                <a:cubicBezTo>
                  <a:pt x="4445483" y="2648630"/>
                  <a:pt x="4445387" y="2651229"/>
                  <a:pt x="4445339" y="2653827"/>
                </a:cubicBezTo>
                <a:lnTo>
                  <a:pt x="4445339" y="2657821"/>
                </a:lnTo>
                <a:cubicBezTo>
                  <a:pt x="4445339" y="2657821"/>
                  <a:pt x="4445339" y="2658062"/>
                  <a:pt x="4445339" y="2658158"/>
                </a:cubicBezTo>
                <a:cubicBezTo>
                  <a:pt x="4443704" y="2673267"/>
                  <a:pt x="4442405" y="2685394"/>
                  <a:pt x="4441443" y="2694440"/>
                </a:cubicBezTo>
                <a:close/>
                <a:moveTo>
                  <a:pt x="4455196" y="2613839"/>
                </a:moveTo>
                <a:cubicBezTo>
                  <a:pt x="4456110" y="2599884"/>
                  <a:pt x="4457071" y="2585785"/>
                  <a:pt x="4458081" y="2571301"/>
                </a:cubicBezTo>
                <a:cubicBezTo>
                  <a:pt x="4457889" y="2576690"/>
                  <a:pt x="4457793" y="2581599"/>
                  <a:pt x="4457745" y="2585785"/>
                </a:cubicBezTo>
                <a:cubicBezTo>
                  <a:pt x="4457697" y="2590549"/>
                  <a:pt x="4457745" y="2594495"/>
                  <a:pt x="4457841" y="2597671"/>
                </a:cubicBezTo>
                <a:cubicBezTo>
                  <a:pt x="4456975" y="2603012"/>
                  <a:pt x="4456110" y="2608353"/>
                  <a:pt x="4455196" y="2613791"/>
                </a:cubicBezTo>
                <a:close/>
              </a:path>
            </a:pathLst>
          </a:custGeom>
          <a:solidFill>
            <a:srgbClr val="29C8C1"/>
          </a:solidFill>
          <a:ln w="0" cap="flat">
            <a:noFill/>
            <a:prstDash val="solid"/>
            <a:miter/>
          </a:ln>
        </p:spPr>
        <p:txBody>
          <a:bodyPr rtlCol="0" anchor="ctr"/>
          <a:lstStyle/>
          <a:p>
            <a:pPr rtl="0"/>
            <a:endParaRPr lang="en-AU" dirty="0"/>
          </a:p>
        </p:txBody>
      </p:sp>
      <p:sp>
        <p:nvSpPr>
          <p:cNvPr id="36" name="Freeform: Shape 35">
            <a:extLst>
              <a:ext uri="{FF2B5EF4-FFF2-40B4-BE49-F238E27FC236}">
                <a16:creationId xmlns:a16="http://schemas.microsoft.com/office/drawing/2014/main" id="{25CF0FF7-B8AA-8F1C-A2EB-60E31680544B}"/>
              </a:ext>
            </a:extLst>
          </p:cNvPr>
          <p:cNvSpPr/>
          <p:nvPr/>
        </p:nvSpPr>
        <p:spPr>
          <a:xfrm>
            <a:off x="5928132" y="2124800"/>
            <a:ext cx="254388" cy="503998"/>
          </a:xfrm>
          <a:custGeom>
            <a:avLst/>
            <a:gdLst>
              <a:gd name="connsiteX0" fmla="*/ 1521 w 254388"/>
              <a:gd name="connsiteY0" fmla="*/ 491788 h 503998"/>
              <a:gd name="connsiteX1" fmla="*/ 3108 w 254388"/>
              <a:gd name="connsiteY1" fmla="*/ 496119 h 503998"/>
              <a:gd name="connsiteX2" fmla="*/ 11571 w 254388"/>
              <a:gd name="connsiteY2" fmla="*/ 503577 h 503998"/>
              <a:gd name="connsiteX3" fmla="*/ 21188 w 254388"/>
              <a:gd name="connsiteY3" fmla="*/ 503385 h 503998"/>
              <a:gd name="connsiteX4" fmla="*/ 29123 w 254388"/>
              <a:gd name="connsiteY4" fmla="*/ 501123 h 503998"/>
              <a:gd name="connsiteX5" fmla="*/ 36336 w 254388"/>
              <a:gd name="connsiteY5" fmla="*/ 497755 h 503998"/>
              <a:gd name="connsiteX6" fmla="*/ 43068 w 254388"/>
              <a:gd name="connsiteY6" fmla="*/ 493761 h 503998"/>
              <a:gd name="connsiteX7" fmla="*/ 66630 w 254388"/>
              <a:gd name="connsiteY7" fmla="*/ 474320 h 503998"/>
              <a:gd name="connsiteX8" fmla="*/ 105387 w 254388"/>
              <a:gd name="connsiteY8" fmla="*/ 429088 h 503998"/>
              <a:gd name="connsiteX9" fmla="*/ 137797 w 254388"/>
              <a:gd name="connsiteY9" fmla="*/ 381593 h 503998"/>
              <a:gd name="connsiteX10" fmla="*/ 190354 w 254388"/>
              <a:gd name="connsiteY10" fmla="*/ 286748 h 503998"/>
              <a:gd name="connsiteX11" fmla="*/ 228775 w 254388"/>
              <a:gd name="connsiteY11" fmla="*/ 196426 h 503998"/>
              <a:gd name="connsiteX12" fmla="*/ 242143 w 254388"/>
              <a:gd name="connsiteY12" fmla="*/ 153840 h 503998"/>
              <a:gd name="connsiteX13" fmla="*/ 250510 w 254388"/>
              <a:gd name="connsiteY13" fmla="*/ 113467 h 503998"/>
              <a:gd name="connsiteX14" fmla="*/ 252962 w 254388"/>
              <a:gd name="connsiteY14" fmla="*/ 42586 h 503998"/>
              <a:gd name="connsiteX15" fmla="*/ 244643 w 254388"/>
              <a:gd name="connsiteY15" fmla="*/ 14099 h 503998"/>
              <a:gd name="connsiteX16" fmla="*/ 235699 w 254388"/>
              <a:gd name="connsiteY16" fmla="*/ 3801 h 503998"/>
              <a:gd name="connsiteX17" fmla="*/ 223726 w 254388"/>
              <a:gd name="connsiteY17" fmla="*/ 0 h 503998"/>
              <a:gd name="connsiteX18" fmla="*/ 204588 w 254388"/>
              <a:gd name="connsiteY18" fmla="*/ 6159 h 503998"/>
              <a:gd name="connsiteX19" fmla="*/ 193047 w 254388"/>
              <a:gd name="connsiteY19" fmla="*/ 14725 h 503998"/>
              <a:gd name="connsiteX20" fmla="*/ 184873 w 254388"/>
              <a:gd name="connsiteY20" fmla="*/ 23194 h 503998"/>
              <a:gd name="connsiteX21" fmla="*/ 194394 w 254388"/>
              <a:gd name="connsiteY21" fmla="*/ 16409 h 503998"/>
              <a:gd name="connsiteX22" fmla="*/ 206175 w 254388"/>
              <a:gd name="connsiteY22" fmla="*/ 8950 h 503998"/>
              <a:gd name="connsiteX23" fmla="*/ 223630 w 254388"/>
              <a:gd name="connsiteY23" fmla="*/ 4186 h 503998"/>
              <a:gd name="connsiteX24" fmla="*/ 240267 w 254388"/>
              <a:gd name="connsiteY24" fmla="*/ 16601 h 503998"/>
              <a:gd name="connsiteX25" fmla="*/ 247144 w 254388"/>
              <a:gd name="connsiteY25" fmla="*/ 43308 h 503998"/>
              <a:gd name="connsiteX26" fmla="*/ 243153 w 254388"/>
              <a:gd name="connsiteY26" fmla="*/ 112312 h 503998"/>
              <a:gd name="connsiteX27" fmla="*/ 234257 w 254388"/>
              <a:gd name="connsiteY27" fmla="*/ 151771 h 503998"/>
              <a:gd name="connsiteX28" fmla="*/ 220552 w 254388"/>
              <a:gd name="connsiteY28" fmla="*/ 193443 h 503998"/>
              <a:gd name="connsiteX29" fmla="*/ 181651 w 254388"/>
              <a:gd name="connsiteY29" fmla="*/ 282465 h 503998"/>
              <a:gd name="connsiteX30" fmla="*/ 129045 w 254388"/>
              <a:gd name="connsiteY30" fmla="*/ 376059 h 503998"/>
              <a:gd name="connsiteX31" fmla="*/ 96972 w 254388"/>
              <a:gd name="connsiteY31" fmla="*/ 422736 h 503998"/>
              <a:gd name="connsiteX32" fmla="*/ 59272 w 254388"/>
              <a:gd name="connsiteY32" fmla="*/ 466669 h 503998"/>
              <a:gd name="connsiteX33" fmla="*/ 37297 w 254388"/>
              <a:gd name="connsiteY33" fmla="*/ 484859 h 503998"/>
              <a:gd name="connsiteX34" fmla="*/ 31383 w 254388"/>
              <a:gd name="connsiteY34" fmla="*/ 488371 h 503998"/>
              <a:gd name="connsiteX35" fmla="*/ 25372 w 254388"/>
              <a:gd name="connsiteY35" fmla="*/ 491211 h 503998"/>
              <a:gd name="connsiteX36" fmla="*/ 19313 w 254388"/>
              <a:gd name="connsiteY36" fmla="*/ 492943 h 503998"/>
              <a:gd name="connsiteX37" fmla="*/ 14553 w 254388"/>
              <a:gd name="connsiteY37" fmla="*/ 493376 h 503998"/>
              <a:gd name="connsiteX38" fmla="*/ 12677 w 254388"/>
              <a:gd name="connsiteY38" fmla="*/ 491355 h 503998"/>
              <a:gd name="connsiteX39" fmla="*/ 11187 w 254388"/>
              <a:gd name="connsiteY39" fmla="*/ 486014 h 503998"/>
              <a:gd name="connsiteX40" fmla="*/ 10754 w 254388"/>
              <a:gd name="connsiteY40" fmla="*/ 472829 h 503998"/>
              <a:gd name="connsiteX41" fmla="*/ 14312 w 254388"/>
              <a:gd name="connsiteY41" fmla="*/ 445448 h 503998"/>
              <a:gd name="connsiteX42" fmla="*/ 42442 w 254388"/>
              <a:gd name="connsiteY42" fmla="*/ 341990 h 503998"/>
              <a:gd name="connsiteX43" fmla="*/ 106926 w 254388"/>
              <a:gd name="connsiteY43" fmla="*/ 171452 h 503998"/>
              <a:gd name="connsiteX44" fmla="*/ 160205 w 254388"/>
              <a:gd name="connsiteY44" fmla="*/ 60776 h 503998"/>
              <a:gd name="connsiteX45" fmla="*/ 177996 w 254388"/>
              <a:gd name="connsiteY45" fmla="*/ 32625 h 503998"/>
              <a:gd name="connsiteX46" fmla="*/ 184969 w 254388"/>
              <a:gd name="connsiteY46" fmla="*/ 23290 h 503998"/>
              <a:gd name="connsiteX47" fmla="*/ 176313 w 254388"/>
              <a:gd name="connsiteY47" fmla="*/ 31278 h 503998"/>
              <a:gd name="connsiteX48" fmla="*/ 156646 w 254388"/>
              <a:gd name="connsiteY48" fmla="*/ 58610 h 503998"/>
              <a:gd name="connsiteX49" fmla="*/ 100049 w 254388"/>
              <a:gd name="connsiteY49" fmla="*/ 168421 h 503998"/>
              <a:gd name="connsiteX50" fmla="*/ 33114 w 254388"/>
              <a:gd name="connsiteY50" fmla="*/ 338910 h 503998"/>
              <a:gd name="connsiteX51" fmla="*/ 4022 w 254388"/>
              <a:gd name="connsiteY51" fmla="*/ 443524 h 503998"/>
              <a:gd name="connsiteX52" fmla="*/ 175 w 254388"/>
              <a:gd name="connsiteY52" fmla="*/ 472251 h 503998"/>
              <a:gd name="connsiteX53" fmla="*/ 704 w 254388"/>
              <a:gd name="connsiteY53" fmla="*/ 487650 h 503998"/>
              <a:gd name="connsiteX54" fmla="*/ 1569 w 254388"/>
              <a:gd name="connsiteY54" fmla="*/ 491788 h 50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4388" h="503998">
                <a:moveTo>
                  <a:pt x="1521" y="491788"/>
                </a:moveTo>
                <a:cubicBezTo>
                  <a:pt x="1810" y="493135"/>
                  <a:pt x="2483" y="494675"/>
                  <a:pt x="3108" y="496119"/>
                </a:cubicBezTo>
                <a:cubicBezTo>
                  <a:pt x="4551" y="499006"/>
                  <a:pt x="7292" y="502374"/>
                  <a:pt x="11571" y="503577"/>
                </a:cubicBezTo>
                <a:cubicBezTo>
                  <a:pt x="16043" y="504540"/>
                  <a:pt x="18207" y="503577"/>
                  <a:pt x="21188" y="503385"/>
                </a:cubicBezTo>
                <a:cubicBezTo>
                  <a:pt x="23929" y="502856"/>
                  <a:pt x="26526" y="501941"/>
                  <a:pt x="29123" y="501123"/>
                </a:cubicBezTo>
                <a:cubicBezTo>
                  <a:pt x="31527" y="500017"/>
                  <a:pt x="34027" y="499006"/>
                  <a:pt x="36336" y="497755"/>
                </a:cubicBezTo>
                <a:cubicBezTo>
                  <a:pt x="38547" y="496456"/>
                  <a:pt x="40904" y="495205"/>
                  <a:pt x="43068" y="493761"/>
                </a:cubicBezTo>
                <a:cubicBezTo>
                  <a:pt x="51771" y="488131"/>
                  <a:pt x="59321" y="481346"/>
                  <a:pt x="66630" y="474320"/>
                </a:cubicBezTo>
                <a:cubicBezTo>
                  <a:pt x="81152" y="460125"/>
                  <a:pt x="93750" y="444727"/>
                  <a:pt x="105387" y="429088"/>
                </a:cubicBezTo>
                <a:cubicBezTo>
                  <a:pt x="117072" y="413448"/>
                  <a:pt x="127795" y="397521"/>
                  <a:pt x="137797" y="381593"/>
                </a:cubicBezTo>
                <a:cubicBezTo>
                  <a:pt x="157848" y="349737"/>
                  <a:pt x="175255" y="317834"/>
                  <a:pt x="190354" y="286748"/>
                </a:cubicBezTo>
                <a:cubicBezTo>
                  <a:pt x="205550" y="255711"/>
                  <a:pt x="218340" y="225395"/>
                  <a:pt x="228775" y="196426"/>
                </a:cubicBezTo>
                <a:cubicBezTo>
                  <a:pt x="233872" y="181894"/>
                  <a:pt x="238488" y="167747"/>
                  <a:pt x="242143" y="153840"/>
                </a:cubicBezTo>
                <a:cubicBezTo>
                  <a:pt x="245749" y="139982"/>
                  <a:pt x="248538" y="126460"/>
                  <a:pt x="250510" y="113467"/>
                </a:cubicBezTo>
                <a:cubicBezTo>
                  <a:pt x="254453" y="87482"/>
                  <a:pt x="255607" y="63519"/>
                  <a:pt x="252962" y="42586"/>
                </a:cubicBezTo>
                <a:cubicBezTo>
                  <a:pt x="251568" y="32144"/>
                  <a:pt x="249308" y="22328"/>
                  <a:pt x="244643" y="14099"/>
                </a:cubicBezTo>
                <a:cubicBezTo>
                  <a:pt x="242479" y="9961"/>
                  <a:pt x="239306" y="6352"/>
                  <a:pt x="235699" y="3801"/>
                </a:cubicBezTo>
                <a:cubicBezTo>
                  <a:pt x="232093" y="1010"/>
                  <a:pt x="227621" y="192"/>
                  <a:pt x="223726" y="0"/>
                </a:cubicBezTo>
                <a:cubicBezTo>
                  <a:pt x="215744" y="192"/>
                  <a:pt x="209444" y="3224"/>
                  <a:pt x="204588" y="6159"/>
                </a:cubicBezTo>
                <a:cubicBezTo>
                  <a:pt x="199683" y="9143"/>
                  <a:pt x="195932" y="12126"/>
                  <a:pt x="193047" y="14725"/>
                </a:cubicBezTo>
                <a:cubicBezTo>
                  <a:pt x="187277" y="19874"/>
                  <a:pt x="184680" y="23001"/>
                  <a:pt x="184873" y="23194"/>
                </a:cubicBezTo>
                <a:cubicBezTo>
                  <a:pt x="185161" y="23531"/>
                  <a:pt x="188287" y="20932"/>
                  <a:pt x="194394" y="16409"/>
                </a:cubicBezTo>
                <a:cubicBezTo>
                  <a:pt x="197471" y="14147"/>
                  <a:pt x="201318" y="11501"/>
                  <a:pt x="206175" y="8950"/>
                </a:cubicBezTo>
                <a:cubicBezTo>
                  <a:pt x="210935" y="6400"/>
                  <a:pt x="216994" y="3994"/>
                  <a:pt x="223630" y="4186"/>
                </a:cubicBezTo>
                <a:cubicBezTo>
                  <a:pt x="230266" y="4427"/>
                  <a:pt x="236613" y="9047"/>
                  <a:pt x="240267" y="16601"/>
                </a:cubicBezTo>
                <a:cubicBezTo>
                  <a:pt x="244162" y="23964"/>
                  <a:pt x="246086" y="33299"/>
                  <a:pt x="247144" y="43308"/>
                </a:cubicBezTo>
                <a:cubicBezTo>
                  <a:pt x="249163" y="63471"/>
                  <a:pt x="247480" y="86905"/>
                  <a:pt x="243153" y="112312"/>
                </a:cubicBezTo>
                <a:cubicBezTo>
                  <a:pt x="240989" y="125016"/>
                  <a:pt x="238007" y="138201"/>
                  <a:pt x="234257" y="151771"/>
                </a:cubicBezTo>
                <a:cubicBezTo>
                  <a:pt x="230506" y="165293"/>
                  <a:pt x="225746" y="179200"/>
                  <a:pt x="220552" y="193443"/>
                </a:cubicBezTo>
                <a:cubicBezTo>
                  <a:pt x="209877" y="221930"/>
                  <a:pt x="196894" y="251813"/>
                  <a:pt x="181651" y="282465"/>
                </a:cubicBezTo>
                <a:cubicBezTo>
                  <a:pt x="166408" y="313118"/>
                  <a:pt x="149001" y="344637"/>
                  <a:pt x="129045" y="376059"/>
                </a:cubicBezTo>
                <a:cubicBezTo>
                  <a:pt x="119043" y="391746"/>
                  <a:pt x="108464" y="407433"/>
                  <a:pt x="96972" y="422736"/>
                </a:cubicBezTo>
                <a:cubicBezTo>
                  <a:pt x="85479" y="438038"/>
                  <a:pt x="73169" y="453099"/>
                  <a:pt x="59272" y="466669"/>
                </a:cubicBezTo>
                <a:cubicBezTo>
                  <a:pt x="52300" y="473358"/>
                  <a:pt x="45087" y="479806"/>
                  <a:pt x="37297" y="484859"/>
                </a:cubicBezTo>
                <a:cubicBezTo>
                  <a:pt x="35374" y="486110"/>
                  <a:pt x="33354" y="487168"/>
                  <a:pt x="31383" y="488371"/>
                </a:cubicBezTo>
                <a:cubicBezTo>
                  <a:pt x="29411" y="489430"/>
                  <a:pt x="27343" y="490248"/>
                  <a:pt x="25372" y="491211"/>
                </a:cubicBezTo>
                <a:cubicBezTo>
                  <a:pt x="23352" y="491836"/>
                  <a:pt x="21285" y="492558"/>
                  <a:pt x="19313" y="492943"/>
                </a:cubicBezTo>
                <a:cubicBezTo>
                  <a:pt x="17486" y="493135"/>
                  <a:pt x="14841" y="493569"/>
                  <a:pt x="14553" y="493376"/>
                </a:cubicBezTo>
                <a:cubicBezTo>
                  <a:pt x="14024" y="493232"/>
                  <a:pt x="13447" y="492654"/>
                  <a:pt x="12677" y="491355"/>
                </a:cubicBezTo>
                <a:cubicBezTo>
                  <a:pt x="12052" y="489960"/>
                  <a:pt x="11427" y="488083"/>
                  <a:pt x="11187" y="486014"/>
                </a:cubicBezTo>
                <a:cubicBezTo>
                  <a:pt x="10562" y="481923"/>
                  <a:pt x="10465" y="477352"/>
                  <a:pt x="10754" y="472829"/>
                </a:cubicBezTo>
                <a:cubicBezTo>
                  <a:pt x="11235" y="463734"/>
                  <a:pt x="12677" y="454543"/>
                  <a:pt x="14312" y="445448"/>
                </a:cubicBezTo>
                <a:cubicBezTo>
                  <a:pt x="21285" y="409166"/>
                  <a:pt x="31960" y="374615"/>
                  <a:pt x="42442" y="341990"/>
                </a:cubicBezTo>
                <a:cubicBezTo>
                  <a:pt x="63841" y="276787"/>
                  <a:pt x="86585" y="219187"/>
                  <a:pt x="106926" y="171452"/>
                </a:cubicBezTo>
                <a:cubicBezTo>
                  <a:pt x="127362" y="123717"/>
                  <a:pt x="145827" y="85943"/>
                  <a:pt x="160205" y="60776"/>
                </a:cubicBezTo>
                <a:cubicBezTo>
                  <a:pt x="167369" y="48168"/>
                  <a:pt x="173476" y="38737"/>
                  <a:pt x="177996" y="32625"/>
                </a:cubicBezTo>
                <a:cubicBezTo>
                  <a:pt x="182468" y="26466"/>
                  <a:pt x="185257" y="23579"/>
                  <a:pt x="184969" y="23290"/>
                </a:cubicBezTo>
                <a:cubicBezTo>
                  <a:pt x="184776" y="23050"/>
                  <a:pt x="181410" y="25456"/>
                  <a:pt x="176313" y="31278"/>
                </a:cubicBezTo>
                <a:cubicBezTo>
                  <a:pt x="171168" y="37053"/>
                  <a:pt x="164436" y="46243"/>
                  <a:pt x="156646" y="58610"/>
                </a:cubicBezTo>
                <a:cubicBezTo>
                  <a:pt x="141066" y="83344"/>
                  <a:pt x="121495" y="120878"/>
                  <a:pt x="100049" y="168421"/>
                </a:cubicBezTo>
                <a:cubicBezTo>
                  <a:pt x="78699" y="216011"/>
                  <a:pt x="55137" y="273515"/>
                  <a:pt x="33114" y="338910"/>
                </a:cubicBezTo>
                <a:cubicBezTo>
                  <a:pt x="22294" y="371680"/>
                  <a:pt x="11379" y="406278"/>
                  <a:pt x="4022" y="443524"/>
                </a:cubicBezTo>
                <a:cubicBezTo>
                  <a:pt x="2291" y="452859"/>
                  <a:pt x="752" y="462338"/>
                  <a:pt x="175" y="472251"/>
                </a:cubicBezTo>
                <a:cubicBezTo>
                  <a:pt x="-114" y="477208"/>
                  <a:pt x="-114" y="482308"/>
                  <a:pt x="704" y="487650"/>
                </a:cubicBezTo>
                <a:cubicBezTo>
                  <a:pt x="848" y="488997"/>
                  <a:pt x="1185" y="490344"/>
                  <a:pt x="1569" y="491788"/>
                </a:cubicBezTo>
                <a:close/>
              </a:path>
            </a:pathLst>
          </a:custGeom>
          <a:solidFill>
            <a:srgbClr val="29C8C1"/>
          </a:solidFill>
          <a:ln w="0" cap="flat">
            <a:noFill/>
            <a:prstDash val="solid"/>
            <a:miter/>
          </a:ln>
        </p:spPr>
        <p:txBody>
          <a:bodyPr rtlCol="0" anchor="ctr"/>
          <a:lstStyle/>
          <a:p>
            <a:pPr rtl="0"/>
            <a:endParaRPr lang="en-AU" dirty="0"/>
          </a:p>
        </p:txBody>
      </p:sp>
      <p:sp>
        <p:nvSpPr>
          <p:cNvPr id="37" name="Freeform: Shape 36">
            <a:extLst>
              <a:ext uri="{FF2B5EF4-FFF2-40B4-BE49-F238E27FC236}">
                <a16:creationId xmlns:a16="http://schemas.microsoft.com/office/drawing/2014/main" id="{693D7B49-1E1D-697A-DF88-4F1A5D27D0A4}"/>
              </a:ext>
            </a:extLst>
          </p:cNvPr>
          <p:cNvSpPr/>
          <p:nvPr/>
        </p:nvSpPr>
        <p:spPr>
          <a:xfrm>
            <a:off x="5882094" y="2057249"/>
            <a:ext cx="346700" cy="652477"/>
          </a:xfrm>
          <a:custGeom>
            <a:avLst/>
            <a:gdLst>
              <a:gd name="connsiteX0" fmla="*/ 1012 w 346700"/>
              <a:gd name="connsiteY0" fmla="*/ 639411 h 652477"/>
              <a:gd name="connsiteX1" fmla="*/ 6013 w 346700"/>
              <a:gd name="connsiteY1" fmla="*/ 650094 h 652477"/>
              <a:gd name="connsiteX2" fmla="*/ 9763 w 346700"/>
              <a:gd name="connsiteY2" fmla="*/ 651537 h 652477"/>
              <a:gd name="connsiteX3" fmla="*/ 6734 w 346700"/>
              <a:gd name="connsiteY3" fmla="*/ 649275 h 652477"/>
              <a:gd name="connsiteX4" fmla="*/ 3080 w 346700"/>
              <a:gd name="connsiteY4" fmla="*/ 639122 h 652477"/>
              <a:gd name="connsiteX5" fmla="*/ 7792 w 346700"/>
              <a:gd name="connsiteY5" fmla="*/ 595862 h 652477"/>
              <a:gd name="connsiteX6" fmla="*/ 56070 w 346700"/>
              <a:gd name="connsiteY6" fmla="*/ 441300 h 652477"/>
              <a:gd name="connsiteX7" fmla="*/ 147770 w 346700"/>
              <a:gd name="connsiteY7" fmla="*/ 218937 h 652477"/>
              <a:gd name="connsiteX8" fmla="*/ 211147 w 346700"/>
              <a:gd name="connsiteY8" fmla="*/ 92092 h 652477"/>
              <a:gd name="connsiteX9" fmla="*/ 230333 w 346700"/>
              <a:gd name="connsiteY9" fmla="*/ 60525 h 652477"/>
              <a:gd name="connsiteX10" fmla="*/ 241104 w 346700"/>
              <a:gd name="connsiteY10" fmla="*/ 45608 h 652477"/>
              <a:gd name="connsiteX11" fmla="*/ 247019 w 346700"/>
              <a:gd name="connsiteY11" fmla="*/ 38871 h 652477"/>
              <a:gd name="connsiteX12" fmla="*/ 253366 w 346700"/>
              <a:gd name="connsiteY12" fmla="*/ 34059 h 652477"/>
              <a:gd name="connsiteX13" fmla="*/ 262310 w 346700"/>
              <a:gd name="connsiteY13" fmla="*/ 28622 h 652477"/>
              <a:gd name="connsiteX14" fmla="*/ 269715 w 346700"/>
              <a:gd name="connsiteY14" fmla="*/ 23040 h 652477"/>
              <a:gd name="connsiteX15" fmla="*/ 285536 w 346700"/>
              <a:gd name="connsiteY15" fmla="*/ 14186 h 652477"/>
              <a:gd name="connsiteX16" fmla="*/ 316839 w 346700"/>
              <a:gd name="connsiteY16" fmla="*/ 16303 h 652477"/>
              <a:gd name="connsiteX17" fmla="*/ 332612 w 346700"/>
              <a:gd name="connsiteY17" fmla="*/ 47388 h 652477"/>
              <a:gd name="connsiteX18" fmla="*/ 336122 w 346700"/>
              <a:gd name="connsiteY18" fmla="*/ 84441 h 652477"/>
              <a:gd name="connsiteX19" fmla="*/ 327370 w 346700"/>
              <a:gd name="connsiteY19" fmla="*/ 157969 h 652477"/>
              <a:gd name="connsiteX20" fmla="*/ 281256 w 346700"/>
              <a:gd name="connsiteY20" fmla="*/ 291069 h 652477"/>
              <a:gd name="connsiteX21" fmla="*/ 222255 w 346700"/>
              <a:gd name="connsiteY21" fmla="*/ 404969 h 652477"/>
              <a:gd name="connsiteX22" fmla="*/ 163734 w 346700"/>
              <a:gd name="connsiteY22" fmla="*/ 500295 h 652477"/>
              <a:gd name="connsiteX23" fmla="*/ 108820 w 346700"/>
              <a:gd name="connsiteY23" fmla="*/ 574160 h 652477"/>
              <a:gd name="connsiteX24" fmla="*/ 60205 w 346700"/>
              <a:gd name="connsiteY24" fmla="*/ 623772 h 652477"/>
              <a:gd name="connsiteX25" fmla="*/ 24382 w 346700"/>
              <a:gd name="connsiteY25" fmla="*/ 648457 h 652477"/>
              <a:gd name="connsiteX26" fmla="*/ 9715 w 346700"/>
              <a:gd name="connsiteY26" fmla="*/ 651489 h 652477"/>
              <a:gd name="connsiteX27" fmla="*/ 13610 w 346700"/>
              <a:gd name="connsiteY27" fmla="*/ 652403 h 652477"/>
              <a:gd name="connsiteX28" fmla="*/ 25151 w 346700"/>
              <a:gd name="connsiteY28" fmla="*/ 650478 h 652477"/>
              <a:gd name="connsiteX29" fmla="*/ 62850 w 346700"/>
              <a:gd name="connsiteY29" fmla="*/ 626948 h 652477"/>
              <a:gd name="connsiteX30" fmla="*/ 113244 w 346700"/>
              <a:gd name="connsiteY30" fmla="*/ 578106 h 652477"/>
              <a:gd name="connsiteX31" fmla="*/ 169937 w 346700"/>
              <a:gd name="connsiteY31" fmla="*/ 504530 h 652477"/>
              <a:gd name="connsiteX32" fmla="*/ 229852 w 346700"/>
              <a:gd name="connsiteY32" fmla="*/ 409397 h 652477"/>
              <a:gd name="connsiteX33" fmla="*/ 290104 w 346700"/>
              <a:gd name="connsiteY33" fmla="*/ 295207 h 652477"/>
              <a:gd name="connsiteX34" fmla="*/ 337516 w 346700"/>
              <a:gd name="connsiteY34" fmla="*/ 160182 h 652477"/>
              <a:gd name="connsiteX35" fmla="*/ 346701 w 346700"/>
              <a:gd name="connsiteY35" fmla="*/ 84489 h 652477"/>
              <a:gd name="connsiteX36" fmla="*/ 342950 w 346700"/>
              <a:gd name="connsiteY36" fmla="*/ 45079 h 652477"/>
              <a:gd name="connsiteX37" fmla="*/ 336555 w 346700"/>
              <a:gd name="connsiteY37" fmla="*/ 25542 h 652477"/>
              <a:gd name="connsiteX38" fmla="*/ 323620 w 346700"/>
              <a:gd name="connsiteY38" fmla="*/ 8122 h 652477"/>
              <a:gd name="connsiteX39" fmla="*/ 302558 w 346700"/>
              <a:gd name="connsiteY39" fmla="*/ 38 h 652477"/>
              <a:gd name="connsiteX40" fmla="*/ 281448 w 346700"/>
              <a:gd name="connsiteY40" fmla="*/ 4369 h 652477"/>
              <a:gd name="connsiteX41" fmla="*/ 263608 w 346700"/>
              <a:gd name="connsiteY41" fmla="*/ 14330 h 652477"/>
              <a:gd name="connsiteX42" fmla="*/ 255674 w 346700"/>
              <a:gd name="connsiteY42" fmla="*/ 20297 h 652477"/>
              <a:gd name="connsiteX43" fmla="*/ 248269 w 346700"/>
              <a:gd name="connsiteY43" fmla="*/ 24724 h 652477"/>
              <a:gd name="connsiteX44" fmla="*/ 239469 w 346700"/>
              <a:gd name="connsiteY44" fmla="*/ 31364 h 652477"/>
              <a:gd name="connsiteX45" fmla="*/ 232834 w 346700"/>
              <a:gd name="connsiteY45" fmla="*/ 38919 h 652477"/>
              <a:gd name="connsiteX46" fmla="*/ 221485 w 346700"/>
              <a:gd name="connsiteY46" fmla="*/ 54606 h 652477"/>
              <a:gd name="connsiteX47" fmla="*/ 201962 w 346700"/>
              <a:gd name="connsiteY47" fmla="*/ 86847 h 652477"/>
              <a:gd name="connsiteX48" fmla="*/ 138730 w 346700"/>
              <a:gd name="connsiteY48" fmla="*/ 214750 h 652477"/>
              <a:gd name="connsiteX49" fmla="*/ 48857 w 346700"/>
              <a:gd name="connsiteY49" fmla="*/ 438605 h 652477"/>
              <a:gd name="connsiteX50" fmla="*/ 3608 w 346700"/>
              <a:gd name="connsiteY50" fmla="*/ 594948 h 652477"/>
              <a:gd name="connsiteX51" fmla="*/ 820 w 346700"/>
              <a:gd name="connsiteY51" fmla="*/ 639363 h 65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46700" h="652477">
                <a:moveTo>
                  <a:pt x="1012" y="639411"/>
                </a:moveTo>
                <a:cubicBezTo>
                  <a:pt x="1877" y="644512"/>
                  <a:pt x="3849" y="648313"/>
                  <a:pt x="6013" y="650094"/>
                </a:cubicBezTo>
                <a:cubicBezTo>
                  <a:pt x="8225" y="651826"/>
                  <a:pt x="9812" y="651633"/>
                  <a:pt x="9763" y="651537"/>
                </a:cubicBezTo>
                <a:cubicBezTo>
                  <a:pt x="9860" y="651297"/>
                  <a:pt x="8417" y="651056"/>
                  <a:pt x="6734" y="649275"/>
                </a:cubicBezTo>
                <a:cubicBezTo>
                  <a:pt x="5051" y="647495"/>
                  <a:pt x="3608" y="643982"/>
                  <a:pt x="3080" y="639122"/>
                </a:cubicBezTo>
                <a:cubicBezTo>
                  <a:pt x="2022" y="629306"/>
                  <a:pt x="3849" y="614485"/>
                  <a:pt x="7792" y="595862"/>
                </a:cubicBezTo>
                <a:cubicBezTo>
                  <a:pt x="15774" y="558521"/>
                  <a:pt x="32460" y="505589"/>
                  <a:pt x="56070" y="441300"/>
                </a:cubicBezTo>
                <a:cubicBezTo>
                  <a:pt x="79776" y="377060"/>
                  <a:pt x="110215" y="301319"/>
                  <a:pt x="147770" y="218937"/>
                </a:cubicBezTo>
                <a:cubicBezTo>
                  <a:pt x="166667" y="177842"/>
                  <a:pt x="187104" y="134871"/>
                  <a:pt x="211147" y="92092"/>
                </a:cubicBezTo>
                <a:cubicBezTo>
                  <a:pt x="217206" y="81458"/>
                  <a:pt x="223505" y="70823"/>
                  <a:pt x="230333" y="60525"/>
                </a:cubicBezTo>
                <a:cubicBezTo>
                  <a:pt x="233747" y="55376"/>
                  <a:pt x="237306" y="50372"/>
                  <a:pt x="241104" y="45608"/>
                </a:cubicBezTo>
                <a:cubicBezTo>
                  <a:pt x="243028" y="43250"/>
                  <a:pt x="244951" y="40940"/>
                  <a:pt x="247019" y="38871"/>
                </a:cubicBezTo>
                <a:cubicBezTo>
                  <a:pt x="249087" y="36754"/>
                  <a:pt x="250770" y="35503"/>
                  <a:pt x="253366" y="34059"/>
                </a:cubicBezTo>
                <a:cubicBezTo>
                  <a:pt x="255867" y="32712"/>
                  <a:pt x="259281" y="31076"/>
                  <a:pt x="262310" y="28622"/>
                </a:cubicBezTo>
                <a:lnTo>
                  <a:pt x="269715" y="23040"/>
                </a:lnTo>
                <a:cubicBezTo>
                  <a:pt x="274812" y="19671"/>
                  <a:pt x="280006" y="16351"/>
                  <a:pt x="285536" y="14186"/>
                </a:cubicBezTo>
                <a:cubicBezTo>
                  <a:pt x="296403" y="9229"/>
                  <a:pt x="308521" y="9085"/>
                  <a:pt x="316839" y="16303"/>
                </a:cubicBezTo>
                <a:cubicBezTo>
                  <a:pt x="325351" y="23425"/>
                  <a:pt x="329967" y="35503"/>
                  <a:pt x="332612" y="47388"/>
                </a:cubicBezTo>
                <a:cubicBezTo>
                  <a:pt x="335304" y="59419"/>
                  <a:pt x="336170" y="71978"/>
                  <a:pt x="336122" y="84441"/>
                </a:cubicBezTo>
                <a:cubicBezTo>
                  <a:pt x="335881" y="109415"/>
                  <a:pt x="332515" y="134101"/>
                  <a:pt x="327370" y="157969"/>
                </a:cubicBezTo>
                <a:cubicBezTo>
                  <a:pt x="317272" y="205848"/>
                  <a:pt x="300298" y="250119"/>
                  <a:pt x="281256" y="291069"/>
                </a:cubicBezTo>
                <a:cubicBezTo>
                  <a:pt x="262454" y="332115"/>
                  <a:pt x="242114" y="370034"/>
                  <a:pt x="222255" y="404969"/>
                </a:cubicBezTo>
                <a:cubicBezTo>
                  <a:pt x="202347" y="439905"/>
                  <a:pt x="182680" y="471856"/>
                  <a:pt x="163734" y="500295"/>
                </a:cubicBezTo>
                <a:cubicBezTo>
                  <a:pt x="144644" y="528686"/>
                  <a:pt x="126756" y="553853"/>
                  <a:pt x="108820" y="574160"/>
                </a:cubicBezTo>
                <a:cubicBezTo>
                  <a:pt x="91028" y="594611"/>
                  <a:pt x="74535" y="611212"/>
                  <a:pt x="60205" y="623772"/>
                </a:cubicBezTo>
                <a:cubicBezTo>
                  <a:pt x="45876" y="636331"/>
                  <a:pt x="33566" y="644704"/>
                  <a:pt x="24382" y="648457"/>
                </a:cubicBezTo>
                <a:cubicBezTo>
                  <a:pt x="15197" y="652500"/>
                  <a:pt x="9763" y="650960"/>
                  <a:pt x="9715" y="651489"/>
                </a:cubicBezTo>
                <a:cubicBezTo>
                  <a:pt x="9715" y="651585"/>
                  <a:pt x="10966" y="652211"/>
                  <a:pt x="13610" y="652403"/>
                </a:cubicBezTo>
                <a:cubicBezTo>
                  <a:pt x="16255" y="652692"/>
                  <a:pt x="20294" y="652163"/>
                  <a:pt x="25151" y="650478"/>
                </a:cubicBezTo>
                <a:cubicBezTo>
                  <a:pt x="34960" y="647206"/>
                  <a:pt x="47944" y="639170"/>
                  <a:pt x="62850" y="626948"/>
                </a:cubicBezTo>
                <a:cubicBezTo>
                  <a:pt x="77805" y="614725"/>
                  <a:pt x="94875" y="598413"/>
                  <a:pt x="113244" y="578106"/>
                </a:cubicBezTo>
                <a:cubicBezTo>
                  <a:pt x="131853" y="557943"/>
                  <a:pt x="150414" y="532777"/>
                  <a:pt x="169937" y="504530"/>
                </a:cubicBezTo>
                <a:cubicBezTo>
                  <a:pt x="189412" y="476187"/>
                  <a:pt x="209512" y="444332"/>
                  <a:pt x="229852" y="409397"/>
                </a:cubicBezTo>
                <a:cubicBezTo>
                  <a:pt x="250144" y="374413"/>
                  <a:pt x="270869" y="336494"/>
                  <a:pt x="290104" y="295207"/>
                </a:cubicBezTo>
                <a:cubicBezTo>
                  <a:pt x="309530" y="254113"/>
                  <a:pt x="327034" y="208976"/>
                  <a:pt x="337516" y="160182"/>
                </a:cubicBezTo>
                <a:cubicBezTo>
                  <a:pt x="342854" y="135833"/>
                  <a:pt x="346412" y="110522"/>
                  <a:pt x="346701" y="84489"/>
                </a:cubicBezTo>
                <a:cubicBezTo>
                  <a:pt x="346701" y="71497"/>
                  <a:pt x="345883" y="58264"/>
                  <a:pt x="342950" y="45079"/>
                </a:cubicBezTo>
                <a:cubicBezTo>
                  <a:pt x="341652" y="38486"/>
                  <a:pt x="339344" y="31942"/>
                  <a:pt x="336555" y="25542"/>
                </a:cubicBezTo>
                <a:cubicBezTo>
                  <a:pt x="333573" y="19190"/>
                  <a:pt x="329438" y="12983"/>
                  <a:pt x="323620" y="8122"/>
                </a:cubicBezTo>
                <a:cubicBezTo>
                  <a:pt x="317849" y="3214"/>
                  <a:pt x="310107" y="279"/>
                  <a:pt x="302558" y="38"/>
                </a:cubicBezTo>
                <a:cubicBezTo>
                  <a:pt x="294960" y="-299"/>
                  <a:pt x="287796" y="1626"/>
                  <a:pt x="281448" y="4369"/>
                </a:cubicBezTo>
                <a:cubicBezTo>
                  <a:pt x="274909" y="6968"/>
                  <a:pt x="269235" y="10625"/>
                  <a:pt x="263608" y="14330"/>
                </a:cubicBezTo>
                <a:lnTo>
                  <a:pt x="255674" y="20297"/>
                </a:lnTo>
                <a:cubicBezTo>
                  <a:pt x="253703" y="21885"/>
                  <a:pt x="251347" y="23040"/>
                  <a:pt x="248269" y="24724"/>
                </a:cubicBezTo>
                <a:cubicBezTo>
                  <a:pt x="245240" y="26312"/>
                  <a:pt x="241778" y="28910"/>
                  <a:pt x="239469" y="31364"/>
                </a:cubicBezTo>
                <a:cubicBezTo>
                  <a:pt x="237065" y="33819"/>
                  <a:pt x="234901" y="36321"/>
                  <a:pt x="232834" y="38919"/>
                </a:cubicBezTo>
                <a:cubicBezTo>
                  <a:pt x="228746" y="44068"/>
                  <a:pt x="225044" y="49313"/>
                  <a:pt x="221485" y="54606"/>
                </a:cubicBezTo>
                <a:cubicBezTo>
                  <a:pt x="214465" y="65241"/>
                  <a:pt x="208069" y="76020"/>
                  <a:pt x="201962" y="86847"/>
                </a:cubicBezTo>
                <a:cubicBezTo>
                  <a:pt x="177775" y="130203"/>
                  <a:pt x="157483" y="173367"/>
                  <a:pt x="138730" y="214750"/>
                </a:cubicBezTo>
                <a:cubicBezTo>
                  <a:pt x="101559" y="297661"/>
                  <a:pt x="71746" y="373836"/>
                  <a:pt x="48857" y="438605"/>
                </a:cubicBezTo>
                <a:cubicBezTo>
                  <a:pt x="26113" y="503423"/>
                  <a:pt x="10437" y="556933"/>
                  <a:pt x="3608" y="594948"/>
                </a:cubicBezTo>
                <a:cubicBezTo>
                  <a:pt x="242" y="613907"/>
                  <a:pt x="-960" y="629065"/>
                  <a:pt x="820" y="639363"/>
                </a:cubicBezTo>
                <a:close/>
              </a:path>
            </a:pathLst>
          </a:custGeom>
          <a:solidFill>
            <a:srgbClr val="29C8C1"/>
          </a:solidFill>
          <a:ln w="0" cap="flat">
            <a:noFill/>
            <a:prstDash val="solid"/>
            <a:miter/>
          </a:ln>
        </p:spPr>
        <p:txBody>
          <a:bodyPr rtlCol="0" anchor="ctr"/>
          <a:lstStyle/>
          <a:p>
            <a:pPr rtl="0"/>
            <a:endParaRPr lang="en-AU" dirty="0"/>
          </a:p>
        </p:txBody>
      </p:sp>
      <p:sp>
        <p:nvSpPr>
          <p:cNvPr id="38" name="Freeform: Shape 37">
            <a:extLst>
              <a:ext uri="{FF2B5EF4-FFF2-40B4-BE49-F238E27FC236}">
                <a16:creationId xmlns:a16="http://schemas.microsoft.com/office/drawing/2014/main" id="{ABE76DE3-1B46-DADA-CFEC-2F69400E87BF}"/>
              </a:ext>
            </a:extLst>
          </p:cNvPr>
          <p:cNvSpPr/>
          <p:nvPr/>
        </p:nvSpPr>
        <p:spPr>
          <a:xfrm>
            <a:off x="9542632" y="2239057"/>
            <a:ext cx="31169" cy="48211"/>
          </a:xfrm>
          <a:custGeom>
            <a:avLst/>
            <a:gdLst>
              <a:gd name="connsiteX0" fmla="*/ 25338 w 31169"/>
              <a:gd name="connsiteY0" fmla="*/ 18074 h 48211"/>
              <a:gd name="connsiteX1" fmla="*/ 20674 w 31169"/>
              <a:gd name="connsiteY1" fmla="*/ 9219 h 48211"/>
              <a:gd name="connsiteX2" fmla="*/ 19087 w 31169"/>
              <a:gd name="connsiteY2" fmla="*/ 6910 h 48211"/>
              <a:gd name="connsiteX3" fmla="*/ 15865 w 31169"/>
              <a:gd name="connsiteY3" fmla="*/ 3349 h 48211"/>
              <a:gd name="connsiteX4" fmla="*/ 8268 w 31169"/>
              <a:gd name="connsiteY4" fmla="*/ 28 h 48211"/>
              <a:gd name="connsiteX5" fmla="*/ 45 w 31169"/>
              <a:gd name="connsiteY5" fmla="*/ 13213 h 48211"/>
              <a:gd name="connsiteX6" fmla="*/ 910 w 31169"/>
              <a:gd name="connsiteY6" fmla="*/ 19036 h 48211"/>
              <a:gd name="connsiteX7" fmla="*/ 2401 w 31169"/>
              <a:gd name="connsiteY7" fmla="*/ 23896 h 48211"/>
              <a:gd name="connsiteX8" fmla="*/ 11153 w 31169"/>
              <a:gd name="connsiteY8" fmla="*/ 38717 h 48211"/>
              <a:gd name="connsiteX9" fmla="*/ 24905 w 31169"/>
              <a:gd name="connsiteY9" fmla="*/ 46176 h 48211"/>
              <a:gd name="connsiteX10" fmla="*/ 17212 w 31169"/>
              <a:gd name="connsiteY10" fmla="*/ 34242 h 48211"/>
              <a:gd name="connsiteX11" fmla="*/ 11778 w 31169"/>
              <a:gd name="connsiteY11" fmla="*/ 20913 h 48211"/>
              <a:gd name="connsiteX12" fmla="*/ 10912 w 31169"/>
              <a:gd name="connsiteY12" fmla="*/ 16967 h 48211"/>
              <a:gd name="connsiteX13" fmla="*/ 10672 w 31169"/>
              <a:gd name="connsiteY13" fmla="*/ 14994 h 48211"/>
              <a:gd name="connsiteX14" fmla="*/ 10672 w 31169"/>
              <a:gd name="connsiteY14" fmla="*/ 14031 h 48211"/>
              <a:gd name="connsiteX15" fmla="*/ 10576 w 31169"/>
              <a:gd name="connsiteY15" fmla="*/ 13406 h 48211"/>
              <a:gd name="connsiteX16" fmla="*/ 10672 w 31169"/>
              <a:gd name="connsiteY16" fmla="*/ 13406 h 48211"/>
              <a:gd name="connsiteX17" fmla="*/ 10672 w 31169"/>
              <a:gd name="connsiteY17" fmla="*/ 13406 h 48211"/>
              <a:gd name="connsiteX18" fmla="*/ 10720 w 31169"/>
              <a:gd name="connsiteY18" fmla="*/ 13406 h 48211"/>
              <a:gd name="connsiteX19" fmla="*/ 11970 w 31169"/>
              <a:gd name="connsiteY19" fmla="*/ 15138 h 48211"/>
              <a:gd name="connsiteX20" fmla="*/ 16538 w 31169"/>
              <a:gd name="connsiteY20" fmla="*/ 22549 h 48211"/>
              <a:gd name="connsiteX21" fmla="*/ 23174 w 31169"/>
              <a:gd name="connsiteY21" fmla="*/ 36119 h 48211"/>
              <a:gd name="connsiteX22" fmla="*/ 26155 w 31169"/>
              <a:gd name="connsiteY22" fmla="*/ 44780 h 48211"/>
              <a:gd name="connsiteX23" fmla="*/ 26252 w 31169"/>
              <a:gd name="connsiteY23" fmla="*/ 44973 h 48211"/>
              <a:gd name="connsiteX24" fmla="*/ 26444 w 31169"/>
              <a:gd name="connsiteY24" fmla="*/ 45069 h 48211"/>
              <a:gd name="connsiteX25" fmla="*/ 26588 w 31169"/>
              <a:gd name="connsiteY25" fmla="*/ 45213 h 48211"/>
              <a:gd name="connsiteX26" fmla="*/ 26204 w 31169"/>
              <a:gd name="connsiteY26" fmla="*/ 45598 h 48211"/>
              <a:gd name="connsiteX27" fmla="*/ 24953 w 31169"/>
              <a:gd name="connsiteY27" fmla="*/ 46272 h 48211"/>
              <a:gd name="connsiteX28" fmla="*/ 25578 w 31169"/>
              <a:gd name="connsiteY28" fmla="*/ 47667 h 48211"/>
              <a:gd name="connsiteX29" fmla="*/ 27502 w 31169"/>
              <a:gd name="connsiteY29" fmla="*/ 48197 h 48211"/>
              <a:gd name="connsiteX30" fmla="*/ 29041 w 31169"/>
              <a:gd name="connsiteY30" fmla="*/ 47523 h 48211"/>
              <a:gd name="connsiteX31" fmla="*/ 30098 w 31169"/>
              <a:gd name="connsiteY31" fmla="*/ 46224 h 48211"/>
              <a:gd name="connsiteX32" fmla="*/ 30435 w 31169"/>
              <a:gd name="connsiteY32" fmla="*/ 33953 h 48211"/>
              <a:gd name="connsiteX33" fmla="*/ 25386 w 31169"/>
              <a:gd name="connsiteY33" fmla="*/ 18170 h 4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1169" h="48211">
                <a:moveTo>
                  <a:pt x="25338" y="18074"/>
                </a:moveTo>
                <a:cubicBezTo>
                  <a:pt x="24088" y="15186"/>
                  <a:pt x="22597" y="12251"/>
                  <a:pt x="20674" y="9219"/>
                </a:cubicBezTo>
                <a:cubicBezTo>
                  <a:pt x="20193" y="8450"/>
                  <a:pt x="19664" y="7728"/>
                  <a:pt x="19087" y="6910"/>
                </a:cubicBezTo>
                <a:cubicBezTo>
                  <a:pt x="18077" y="5803"/>
                  <a:pt x="17067" y="4311"/>
                  <a:pt x="15865" y="3349"/>
                </a:cubicBezTo>
                <a:cubicBezTo>
                  <a:pt x="13557" y="1087"/>
                  <a:pt x="10912" y="-212"/>
                  <a:pt x="8268" y="28"/>
                </a:cubicBezTo>
                <a:cubicBezTo>
                  <a:pt x="2305" y="510"/>
                  <a:pt x="-388" y="6717"/>
                  <a:pt x="45" y="13213"/>
                </a:cubicBezTo>
                <a:cubicBezTo>
                  <a:pt x="237" y="15812"/>
                  <a:pt x="526" y="17159"/>
                  <a:pt x="910" y="19036"/>
                </a:cubicBezTo>
                <a:cubicBezTo>
                  <a:pt x="1343" y="20720"/>
                  <a:pt x="1824" y="22404"/>
                  <a:pt x="2401" y="23896"/>
                </a:cubicBezTo>
                <a:cubicBezTo>
                  <a:pt x="4613" y="30104"/>
                  <a:pt x="7883" y="35012"/>
                  <a:pt x="11153" y="38717"/>
                </a:cubicBezTo>
                <a:cubicBezTo>
                  <a:pt x="17837" y="46224"/>
                  <a:pt x="24473" y="47427"/>
                  <a:pt x="24905" y="46176"/>
                </a:cubicBezTo>
                <a:cubicBezTo>
                  <a:pt x="25627" y="44732"/>
                  <a:pt x="21251" y="41508"/>
                  <a:pt x="17212" y="34242"/>
                </a:cubicBezTo>
                <a:cubicBezTo>
                  <a:pt x="15192" y="30633"/>
                  <a:pt x="13076" y="26110"/>
                  <a:pt x="11778" y="20913"/>
                </a:cubicBezTo>
                <a:cubicBezTo>
                  <a:pt x="11393" y="19613"/>
                  <a:pt x="11153" y="18314"/>
                  <a:pt x="10912" y="16967"/>
                </a:cubicBezTo>
                <a:lnTo>
                  <a:pt x="10672" y="14994"/>
                </a:lnTo>
                <a:lnTo>
                  <a:pt x="10672" y="14031"/>
                </a:lnTo>
                <a:cubicBezTo>
                  <a:pt x="10672" y="14031"/>
                  <a:pt x="10576" y="13406"/>
                  <a:pt x="10576" y="13406"/>
                </a:cubicBezTo>
                <a:lnTo>
                  <a:pt x="10672" y="13406"/>
                </a:lnTo>
                <a:cubicBezTo>
                  <a:pt x="10672" y="13406"/>
                  <a:pt x="10672" y="13406"/>
                  <a:pt x="10672" y="13406"/>
                </a:cubicBezTo>
                <a:lnTo>
                  <a:pt x="10720" y="13406"/>
                </a:lnTo>
                <a:cubicBezTo>
                  <a:pt x="11105" y="13983"/>
                  <a:pt x="11586" y="14513"/>
                  <a:pt x="11970" y="15138"/>
                </a:cubicBezTo>
                <a:cubicBezTo>
                  <a:pt x="13653" y="17496"/>
                  <a:pt x="15144" y="20046"/>
                  <a:pt x="16538" y="22549"/>
                </a:cubicBezTo>
                <a:cubicBezTo>
                  <a:pt x="19279" y="27505"/>
                  <a:pt x="21491" y="32221"/>
                  <a:pt x="23174" y="36119"/>
                </a:cubicBezTo>
                <a:cubicBezTo>
                  <a:pt x="24857" y="39968"/>
                  <a:pt x="25963" y="43529"/>
                  <a:pt x="26155" y="44780"/>
                </a:cubicBezTo>
                <a:lnTo>
                  <a:pt x="26252" y="44973"/>
                </a:lnTo>
                <a:lnTo>
                  <a:pt x="26444" y="45069"/>
                </a:lnTo>
                <a:cubicBezTo>
                  <a:pt x="26444" y="45069"/>
                  <a:pt x="26540" y="45213"/>
                  <a:pt x="26588" y="45213"/>
                </a:cubicBezTo>
                <a:lnTo>
                  <a:pt x="26204" y="45598"/>
                </a:lnTo>
                <a:cubicBezTo>
                  <a:pt x="25627" y="45743"/>
                  <a:pt x="25146" y="45935"/>
                  <a:pt x="24953" y="46272"/>
                </a:cubicBezTo>
                <a:cubicBezTo>
                  <a:pt x="24761" y="46609"/>
                  <a:pt x="24953" y="47042"/>
                  <a:pt x="25578" y="47667"/>
                </a:cubicBezTo>
                <a:cubicBezTo>
                  <a:pt x="25963" y="47908"/>
                  <a:pt x="26540" y="48293"/>
                  <a:pt x="27502" y="48197"/>
                </a:cubicBezTo>
                <a:cubicBezTo>
                  <a:pt x="28031" y="48101"/>
                  <a:pt x="28608" y="47956"/>
                  <a:pt x="29041" y="47523"/>
                </a:cubicBezTo>
                <a:cubicBezTo>
                  <a:pt x="29570" y="47138"/>
                  <a:pt x="29906" y="46657"/>
                  <a:pt x="30098" y="46224"/>
                </a:cubicBezTo>
                <a:cubicBezTo>
                  <a:pt x="31734" y="42567"/>
                  <a:pt x="31205" y="38717"/>
                  <a:pt x="30435" y="33953"/>
                </a:cubicBezTo>
                <a:cubicBezTo>
                  <a:pt x="29521" y="29286"/>
                  <a:pt x="27887" y="23896"/>
                  <a:pt x="25386" y="18170"/>
                </a:cubicBezTo>
                <a:close/>
              </a:path>
            </a:pathLst>
          </a:custGeom>
          <a:solidFill>
            <a:srgbClr val="29C8C1"/>
          </a:solidFill>
          <a:ln w="0" cap="flat">
            <a:noFill/>
            <a:prstDash val="solid"/>
            <a:miter/>
          </a:ln>
        </p:spPr>
        <p:txBody>
          <a:bodyPr rtlCol="0" anchor="ctr"/>
          <a:lstStyle/>
          <a:p>
            <a:pPr rtl="0"/>
            <a:endParaRPr lang="en-AU" dirty="0"/>
          </a:p>
        </p:txBody>
      </p:sp>
      <p:sp>
        <p:nvSpPr>
          <p:cNvPr id="39" name="Freeform: Shape 38">
            <a:extLst>
              <a:ext uri="{FF2B5EF4-FFF2-40B4-BE49-F238E27FC236}">
                <a16:creationId xmlns:a16="http://schemas.microsoft.com/office/drawing/2014/main" id="{D50D3C4C-6553-690C-09A4-52656C410EC9}"/>
              </a:ext>
            </a:extLst>
          </p:cNvPr>
          <p:cNvSpPr/>
          <p:nvPr/>
        </p:nvSpPr>
        <p:spPr>
          <a:xfrm>
            <a:off x="9478712" y="2114128"/>
            <a:ext cx="149801" cy="279188"/>
          </a:xfrm>
          <a:custGeom>
            <a:avLst/>
            <a:gdLst>
              <a:gd name="connsiteX0" fmla="*/ 10734 w 149801"/>
              <a:gd name="connsiteY0" fmla="*/ 89204 h 279188"/>
              <a:gd name="connsiteX1" fmla="*/ 47567 w 149801"/>
              <a:gd name="connsiteY1" fmla="*/ 184145 h 279188"/>
              <a:gd name="connsiteX2" fmla="*/ 84786 w 149801"/>
              <a:gd name="connsiteY2" fmla="*/ 241841 h 279188"/>
              <a:gd name="connsiteX3" fmla="*/ 103587 w 149801"/>
              <a:gd name="connsiteY3" fmla="*/ 258635 h 279188"/>
              <a:gd name="connsiteX4" fmla="*/ 88008 w 149801"/>
              <a:gd name="connsiteY4" fmla="*/ 239243 h 279188"/>
              <a:gd name="connsiteX5" fmla="*/ 54299 w 149801"/>
              <a:gd name="connsiteY5" fmla="*/ 180825 h 279188"/>
              <a:gd name="connsiteX6" fmla="*/ 20207 w 149801"/>
              <a:gd name="connsiteY6" fmla="*/ 86654 h 279188"/>
              <a:gd name="connsiteX7" fmla="*/ 10445 w 149801"/>
              <a:gd name="connsiteY7" fmla="*/ 29150 h 279188"/>
              <a:gd name="connsiteX8" fmla="*/ 11792 w 149801"/>
              <a:gd name="connsiteY8" fmla="*/ 15195 h 279188"/>
              <a:gd name="connsiteX9" fmla="*/ 13956 w 149801"/>
              <a:gd name="connsiteY9" fmla="*/ 11057 h 279188"/>
              <a:gd name="connsiteX10" fmla="*/ 16696 w 149801"/>
              <a:gd name="connsiteY10" fmla="*/ 10913 h 279188"/>
              <a:gd name="connsiteX11" fmla="*/ 27997 w 149801"/>
              <a:gd name="connsiteY11" fmla="*/ 18516 h 279188"/>
              <a:gd name="connsiteX12" fmla="*/ 38671 w 149801"/>
              <a:gd name="connsiteY12" fmla="*/ 29968 h 279188"/>
              <a:gd name="connsiteX13" fmla="*/ 73774 w 149801"/>
              <a:gd name="connsiteY13" fmla="*/ 82419 h 279188"/>
              <a:gd name="connsiteX14" fmla="*/ 101279 w 149801"/>
              <a:gd name="connsiteY14" fmla="*/ 134966 h 279188"/>
              <a:gd name="connsiteX15" fmla="*/ 137969 w 149801"/>
              <a:gd name="connsiteY15" fmla="*/ 228223 h 279188"/>
              <a:gd name="connsiteX16" fmla="*/ 142393 w 149801"/>
              <a:gd name="connsiteY16" fmla="*/ 247856 h 279188"/>
              <a:gd name="connsiteX17" fmla="*/ 143210 w 149801"/>
              <a:gd name="connsiteY17" fmla="*/ 265131 h 279188"/>
              <a:gd name="connsiteX18" fmla="*/ 141046 w 149801"/>
              <a:gd name="connsiteY18" fmla="*/ 271580 h 279188"/>
              <a:gd name="connsiteX19" fmla="*/ 136478 w 149801"/>
              <a:gd name="connsiteY19" fmla="*/ 274178 h 279188"/>
              <a:gd name="connsiteX20" fmla="*/ 124937 w 149801"/>
              <a:gd name="connsiteY20" fmla="*/ 271291 h 279188"/>
              <a:gd name="connsiteX21" fmla="*/ 109309 w 149801"/>
              <a:gd name="connsiteY21" fmla="*/ 261955 h 279188"/>
              <a:gd name="connsiteX22" fmla="*/ 103635 w 149801"/>
              <a:gd name="connsiteY22" fmla="*/ 258683 h 279188"/>
              <a:gd name="connsiteX23" fmla="*/ 107963 w 149801"/>
              <a:gd name="connsiteY23" fmla="*/ 263640 h 279188"/>
              <a:gd name="connsiteX24" fmla="*/ 123014 w 149801"/>
              <a:gd name="connsiteY24" fmla="*/ 274948 h 279188"/>
              <a:gd name="connsiteX25" fmla="*/ 136911 w 149801"/>
              <a:gd name="connsiteY25" fmla="*/ 279183 h 279188"/>
              <a:gd name="connsiteX26" fmla="*/ 145422 w 149801"/>
              <a:gd name="connsiteY26" fmla="*/ 274900 h 279188"/>
              <a:gd name="connsiteX27" fmla="*/ 149077 w 149801"/>
              <a:gd name="connsiteY27" fmla="*/ 266046 h 279188"/>
              <a:gd name="connsiteX28" fmla="*/ 149077 w 149801"/>
              <a:gd name="connsiteY28" fmla="*/ 246846 h 279188"/>
              <a:gd name="connsiteX29" fmla="*/ 145230 w 149801"/>
              <a:gd name="connsiteY29" fmla="*/ 226250 h 279188"/>
              <a:gd name="connsiteX30" fmla="*/ 110127 w 149801"/>
              <a:gd name="connsiteY30" fmla="*/ 130684 h 279188"/>
              <a:gd name="connsiteX31" fmla="*/ 82766 w 149801"/>
              <a:gd name="connsiteY31" fmla="*/ 77174 h 279188"/>
              <a:gd name="connsiteX32" fmla="*/ 46798 w 149801"/>
              <a:gd name="connsiteY32" fmla="*/ 23087 h 279188"/>
              <a:gd name="connsiteX33" fmla="*/ 35161 w 149801"/>
              <a:gd name="connsiteY33" fmla="*/ 10624 h 279188"/>
              <a:gd name="connsiteX34" fmla="*/ 19630 w 149801"/>
              <a:gd name="connsiteY34" fmla="*/ 663 h 279188"/>
              <a:gd name="connsiteX35" fmla="*/ 16792 w 149801"/>
              <a:gd name="connsiteY35" fmla="*/ 86 h 279188"/>
              <a:gd name="connsiteX36" fmla="*/ 13571 w 149801"/>
              <a:gd name="connsiteY36" fmla="*/ 86 h 279188"/>
              <a:gd name="connsiteX37" fmla="*/ 7272 w 149801"/>
              <a:gd name="connsiteY37" fmla="*/ 2780 h 279188"/>
              <a:gd name="connsiteX38" fmla="*/ 1693 w 149801"/>
              <a:gd name="connsiteY38" fmla="*/ 12164 h 279188"/>
              <a:gd name="connsiteX39" fmla="*/ 11 w 149801"/>
              <a:gd name="connsiteY39" fmla="*/ 29294 h 279188"/>
              <a:gd name="connsiteX40" fmla="*/ 3857 w 149801"/>
              <a:gd name="connsiteY40" fmla="*/ 60380 h 279188"/>
              <a:gd name="connsiteX41" fmla="*/ 10734 w 149801"/>
              <a:gd name="connsiteY41" fmla="*/ 89156 h 27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801" h="279188">
                <a:moveTo>
                  <a:pt x="10734" y="89204"/>
                </a:moveTo>
                <a:cubicBezTo>
                  <a:pt x="21168" y="126257"/>
                  <a:pt x="34440" y="158257"/>
                  <a:pt x="47567" y="184145"/>
                </a:cubicBezTo>
                <a:cubicBezTo>
                  <a:pt x="60695" y="210034"/>
                  <a:pt x="74063" y="229619"/>
                  <a:pt x="84786" y="241841"/>
                </a:cubicBezTo>
                <a:cubicBezTo>
                  <a:pt x="95509" y="254160"/>
                  <a:pt x="103251" y="259116"/>
                  <a:pt x="103587" y="258635"/>
                </a:cubicBezTo>
                <a:cubicBezTo>
                  <a:pt x="104165" y="257961"/>
                  <a:pt x="97481" y="252043"/>
                  <a:pt x="88008" y="239243"/>
                </a:cubicBezTo>
                <a:cubicBezTo>
                  <a:pt x="78487" y="226491"/>
                  <a:pt x="66369" y="206714"/>
                  <a:pt x="54299" y="180825"/>
                </a:cubicBezTo>
                <a:cubicBezTo>
                  <a:pt x="42278" y="154936"/>
                  <a:pt x="29872" y="123081"/>
                  <a:pt x="20207" y="86654"/>
                </a:cubicBezTo>
                <a:cubicBezTo>
                  <a:pt x="15590" y="68512"/>
                  <a:pt x="11070" y="48928"/>
                  <a:pt x="10445" y="29150"/>
                </a:cubicBezTo>
                <a:cubicBezTo>
                  <a:pt x="10397" y="24290"/>
                  <a:pt x="10589" y="19285"/>
                  <a:pt x="11792" y="15195"/>
                </a:cubicBezTo>
                <a:cubicBezTo>
                  <a:pt x="12369" y="13222"/>
                  <a:pt x="13282" y="11538"/>
                  <a:pt x="13956" y="11057"/>
                </a:cubicBezTo>
                <a:cubicBezTo>
                  <a:pt x="14533" y="10720"/>
                  <a:pt x="14965" y="10431"/>
                  <a:pt x="16696" y="10913"/>
                </a:cubicBezTo>
                <a:cubicBezTo>
                  <a:pt x="20110" y="12019"/>
                  <a:pt x="24342" y="15099"/>
                  <a:pt x="27997" y="18516"/>
                </a:cubicBezTo>
                <a:cubicBezTo>
                  <a:pt x="31747" y="21932"/>
                  <a:pt x="35258" y="25878"/>
                  <a:pt x="38671" y="29968"/>
                </a:cubicBezTo>
                <a:cubicBezTo>
                  <a:pt x="52232" y="46473"/>
                  <a:pt x="63484" y="64711"/>
                  <a:pt x="73774" y="82419"/>
                </a:cubicBezTo>
                <a:cubicBezTo>
                  <a:pt x="84017" y="100224"/>
                  <a:pt x="93105" y="117884"/>
                  <a:pt x="101279" y="134966"/>
                </a:cubicBezTo>
                <a:cubicBezTo>
                  <a:pt x="117532" y="169084"/>
                  <a:pt x="130323" y="200843"/>
                  <a:pt x="137969" y="228223"/>
                </a:cubicBezTo>
                <a:cubicBezTo>
                  <a:pt x="139844" y="235056"/>
                  <a:pt x="141383" y="241649"/>
                  <a:pt x="142393" y="247856"/>
                </a:cubicBezTo>
                <a:cubicBezTo>
                  <a:pt x="143402" y="254064"/>
                  <a:pt x="143883" y="260031"/>
                  <a:pt x="143210" y="265131"/>
                </a:cubicBezTo>
                <a:cubicBezTo>
                  <a:pt x="142874" y="267634"/>
                  <a:pt x="142200" y="270040"/>
                  <a:pt x="141046" y="271580"/>
                </a:cubicBezTo>
                <a:cubicBezTo>
                  <a:pt x="139940" y="273167"/>
                  <a:pt x="138402" y="273937"/>
                  <a:pt x="136478" y="274178"/>
                </a:cubicBezTo>
                <a:cubicBezTo>
                  <a:pt x="132583" y="274563"/>
                  <a:pt x="128352" y="272927"/>
                  <a:pt x="124937" y="271291"/>
                </a:cubicBezTo>
                <a:cubicBezTo>
                  <a:pt x="117917" y="267922"/>
                  <a:pt x="112868" y="264217"/>
                  <a:pt x="109309" y="261955"/>
                </a:cubicBezTo>
                <a:cubicBezTo>
                  <a:pt x="105847" y="259549"/>
                  <a:pt x="103876" y="258395"/>
                  <a:pt x="103635" y="258683"/>
                </a:cubicBezTo>
                <a:cubicBezTo>
                  <a:pt x="103395" y="258972"/>
                  <a:pt x="104886" y="260656"/>
                  <a:pt x="107963" y="263640"/>
                </a:cubicBezTo>
                <a:cubicBezTo>
                  <a:pt x="111185" y="266479"/>
                  <a:pt x="115801" y="270761"/>
                  <a:pt x="123014" y="274948"/>
                </a:cubicBezTo>
                <a:cubicBezTo>
                  <a:pt x="126669" y="276921"/>
                  <a:pt x="130900" y="279327"/>
                  <a:pt x="136911" y="279183"/>
                </a:cubicBezTo>
                <a:cubicBezTo>
                  <a:pt x="139844" y="279086"/>
                  <a:pt x="143354" y="277595"/>
                  <a:pt x="145422" y="274900"/>
                </a:cubicBezTo>
                <a:cubicBezTo>
                  <a:pt x="147586" y="272253"/>
                  <a:pt x="148451" y="269125"/>
                  <a:pt x="149077" y="266046"/>
                </a:cubicBezTo>
                <a:cubicBezTo>
                  <a:pt x="150182" y="259838"/>
                  <a:pt x="149894" y="253438"/>
                  <a:pt x="149077" y="246846"/>
                </a:cubicBezTo>
                <a:cubicBezTo>
                  <a:pt x="148307" y="240205"/>
                  <a:pt x="146961" y="233372"/>
                  <a:pt x="145230" y="226250"/>
                </a:cubicBezTo>
                <a:cubicBezTo>
                  <a:pt x="138305" y="197859"/>
                  <a:pt x="126092" y="165475"/>
                  <a:pt x="110127" y="130684"/>
                </a:cubicBezTo>
                <a:cubicBezTo>
                  <a:pt x="102097" y="113312"/>
                  <a:pt x="93056" y="95315"/>
                  <a:pt x="82766" y="77174"/>
                </a:cubicBezTo>
                <a:cubicBezTo>
                  <a:pt x="72380" y="59033"/>
                  <a:pt x="61128" y="40555"/>
                  <a:pt x="46798" y="23087"/>
                </a:cubicBezTo>
                <a:cubicBezTo>
                  <a:pt x="43192" y="18756"/>
                  <a:pt x="39393" y="14522"/>
                  <a:pt x="35161" y="10624"/>
                </a:cubicBezTo>
                <a:cubicBezTo>
                  <a:pt x="30834" y="6774"/>
                  <a:pt x="26410" y="2973"/>
                  <a:pt x="19630" y="663"/>
                </a:cubicBezTo>
                <a:cubicBezTo>
                  <a:pt x="18716" y="422"/>
                  <a:pt x="17754" y="230"/>
                  <a:pt x="16792" y="86"/>
                </a:cubicBezTo>
                <a:cubicBezTo>
                  <a:pt x="15735" y="86"/>
                  <a:pt x="14725" y="-107"/>
                  <a:pt x="13571" y="86"/>
                </a:cubicBezTo>
                <a:cubicBezTo>
                  <a:pt x="11311" y="278"/>
                  <a:pt x="9003" y="1385"/>
                  <a:pt x="7272" y="2780"/>
                </a:cubicBezTo>
                <a:cubicBezTo>
                  <a:pt x="3809" y="5764"/>
                  <a:pt x="2607" y="9180"/>
                  <a:pt x="1693" y="12164"/>
                </a:cubicBezTo>
                <a:cubicBezTo>
                  <a:pt x="11" y="18275"/>
                  <a:pt x="-38" y="23809"/>
                  <a:pt x="11" y="29294"/>
                </a:cubicBezTo>
                <a:cubicBezTo>
                  <a:pt x="299" y="40170"/>
                  <a:pt x="1934" y="50419"/>
                  <a:pt x="3857" y="60380"/>
                </a:cubicBezTo>
                <a:cubicBezTo>
                  <a:pt x="5781" y="70341"/>
                  <a:pt x="8185" y="79917"/>
                  <a:pt x="10734" y="89156"/>
                </a:cubicBezTo>
                <a:close/>
              </a:path>
            </a:pathLst>
          </a:custGeom>
          <a:solidFill>
            <a:srgbClr val="29C8C1"/>
          </a:solidFill>
          <a:ln w="0" cap="flat">
            <a:noFill/>
            <a:prstDash val="solid"/>
            <a:miter/>
          </a:ln>
        </p:spPr>
        <p:txBody>
          <a:bodyPr rtlCol="0" anchor="ctr"/>
          <a:lstStyle/>
          <a:p>
            <a:pPr rtl="0"/>
            <a:endParaRPr lang="en-AU" dirty="0"/>
          </a:p>
        </p:txBody>
      </p:sp>
      <p:sp>
        <p:nvSpPr>
          <p:cNvPr id="40" name="Freeform: Shape 39">
            <a:extLst>
              <a:ext uri="{FF2B5EF4-FFF2-40B4-BE49-F238E27FC236}">
                <a16:creationId xmlns:a16="http://schemas.microsoft.com/office/drawing/2014/main" id="{F25BE25A-9A5F-760F-70B5-72A1DD395279}"/>
              </a:ext>
            </a:extLst>
          </p:cNvPr>
          <p:cNvSpPr/>
          <p:nvPr/>
        </p:nvSpPr>
        <p:spPr>
          <a:xfrm>
            <a:off x="6705710" y="2047655"/>
            <a:ext cx="377906" cy="243774"/>
          </a:xfrm>
          <a:custGeom>
            <a:avLst/>
            <a:gdLst>
              <a:gd name="connsiteX0" fmla="*/ 298757 w 377906"/>
              <a:gd name="connsiteY0" fmla="*/ 159672 h 243774"/>
              <a:gd name="connsiteX1" fmla="*/ 350642 w 377906"/>
              <a:gd name="connsiteY1" fmla="*/ 98078 h 243774"/>
              <a:gd name="connsiteX2" fmla="*/ 369011 w 377906"/>
              <a:gd name="connsiteY2" fmla="*/ 66174 h 243774"/>
              <a:gd name="connsiteX3" fmla="*/ 377906 w 377906"/>
              <a:gd name="connsiteY3" fmla="*/ 32538 h 243774"/>
              <a:gd name="connsiteX4" fmla="*/ 377666 w 377906"/>
              <a:gd name="connsiteY4" fmla="*/ 28159 h 243774"/>
              <a:gd name="connsiteX5" fmla="*/ 376800 w 377906"/>
              <a:gd name="connsiteY5" fmla="*/ 23828 h 243774"/>
              <a:gd name="connsiteX6" fmla="*/ 373194 w 377906"/>
              <a:gd name="connsiteY6" fmla="*/ 15937 h 243774"/>
              <a:gd name="connsiteX7" fmla="*/ 361798 w 377906"/>
              <a:gd name="connsiteY7" fmla="*/ 4292 h 243774"/>
              <a:gd name="connsiteX8" fmla="*/ 333427 w 377906"/>
              <a:gd name="connsiteY8" fmla="*/ 731 h 243774"/>
              <a:gd name="connsiteX9" fmla="*/ 310105 w 377906"/>
              <a:gd name="connsiteY9" fmla="*/ 5928 h 243774"/>
              <a:gd name="connsiteX10" fmla="*/ 291112 w 377906"/>
              <a:gd name="connsiteY10" fmla="*/ 11654 h 243774"/>
              <a:gd name="connsiteX11" fmla="*/ 256057 w 377906"/>
              <a:gd name="connsiteY11" fmla="*/ 23251 h 243774"/>
              <a:gd name="connsiteX12" fmla="*/ 265578 w 377906"/>
              <a:gd name="connsiteY12" fmla="*/ 21952 h 243774"/>
              <a:gd name="connsiteX13" fmla="*/ 292266 w 377906"/>
              <a:gd name="connsiteY13" fmla="*/ 15648 h 243774"/>
              <a:gd name="connsiteX14" fmla="*/ 311404 w 377906"/>
              <a:gd name="connsiteY14" fmla="*/ 10836 h 243774"/>
              <a:gd name="connsiteX15" fmla="*/ 334100 w 377906"/>
              <a:gd name="connsiteY15" fmla="*/ 6601 h 243774"/>
              <a:gd name="connsiteX16" fmla="*/ 358335 w 377906"/>
              <a:gd name="connsiteY16" fmla="*/ 10114 h 243774"/>
              <a:gd name="connsiteX17" fmla="*/ 367039 w 377906"/>
              <a:gd name="connsiteY17" fmla="*/ 19594 h 243774"/>
              <a:gd name="connsiteX18" fmla="*/ 370357 w 377906"/>
              <a:gd name="connsiteY18" fmla="*/ 32538 h 243774"/>
              <a:gd name="connsiteX19" fmla="*/ 361557 w 377906"/>
              <a:gd name="connsiteY19" fmla="*/ 62661 h 243774"/>
              <a:gd name="connsiteX20" fmla="*/ 343333 w 377906"/>
              <a:gd name="connsiteY20" fmla="*/ 93025 h 243774"/>
              <a:gd name="connsiteX21" fmla="*/ 291881 w 377906"/>
              <a:gd name="connsiteY21" fmla="*/ 152598 h 243774"/>
              <a:gd name="connsiteX22" fmla="*/ 259856 w 377906"/>
              <a:gd name="connsiteY22" fmla="*/ 180604 h 243774"/>
              <a:gd name="connsiteX23" fmla="*/ 222830 w 377906"/>
              <a:gd name="connsiteY23" fmla="*/ 203846 h 243774"/>
              <a:gd name="connsiteX24" fmla="*/ 133919 w 377906"/>
              <a:gd name="connsiteY24" fmla="*/ 230168 h 243774"/>
              <a:gd name="connsiteX25" fmla="*/ 87035 w 377906"/>
              <a:gd name="connsiteY25" fmla="*/ 232862 h 243774"/>
              <a:gd name="connsiteX26" fmla="*/ 64291 w 377906"/>
              <a:gd name="connsiteY26" fmla="*/ 230697 h 243774"/>
              <a:gd name="connsiteX27" fmla="*/ 42748 w 377906"/>
              <a:gd name="connsiteY27" fmla="*/ 225500 h 243774"/>
              <a:gd name="connsiteX28" fmla="*/ 11973 w 377906"/>
              <a:gd name="connsiteY28" fmla="*/ 201199 h 243774"/>
              <a:gd name="connsiteX29" fmla="*/ 10675 w 377906"/>
              <a:gd name="connsiteY29" fmla="*/ 196772 h 243774"/>
              <a:gd name="connsiteX30" fmla="*/ 10146 w 377906"/>
              <a:gd name="connsiteY30" fmla="*/ 192153 h 243774"/>
              <a:gd name="connsiteX31" fmla="*/ 10338 w 377906"/>
              <a:gd name="connsiteY31" fmla="*/ 187485 h 243774"/>
              <a:gd name="connsiteX32" fmla="*/ 11204 w 377906"/>
              <a:gd name="connsiteY32" fmla="*/ 182529 h 243774"/>
              <a:gd name="connsiteX33" fmla="*/ 13704 w 377906"/>
              <a:gd name="connsiteY33" fmla="*/ 172808 h 243774"/>
              <a:gd name="connsiteX34" fmla="*/ 17503 w 377906"/>
              <a:gd name="connsiteY34" fmla="*/ 163569 h 243774"/>
              <a:gd name="connsiteX35" fmla="*/ 40296 w 377906"/>
              <a:gd name="connsiteY35" fmla="*/ 131569 h 243774"/>
              <a:gd name="connsiteX36" fmla="*/ 69003 w 377906"/>
              <a:gd name="connsiteY36" fmla="*/ 106884 h 243774"/>
              <a:gd name="connsiteX37" fmla="*/ 128149 w 377906"/>
              <a:gd name="connsiteY37" fmla="*/ 72045 h 243774"/>
              <a:gd name="connsiteX38" fmla="*/ 221099 w 377906"/>
              <a:gd name="connsiteY38" fmla="*/ 34944 h 243774"/>
              <a:gd name="connsiteX39" fmla="*/ 256105 w 377906"/>
              <a:gd name="connsiteY39" fmla="*/ 23299 h 243774"/>
              <a:gd name="connsiteX40" fmla="*/ 246584 w 377906"/>
              <a:gd name="connsiteY40" fmla="*/ 24550 h 243774"/>
              <a:gd name="connsiteX41" fmla="*/ 219896 w 377906"/>
              <a:gd name="connsiteY41" fmla="*/ 30950 h 243774"/>
              <a:gd name="connsiteX42" fmla="*/ 124927 w 377906"/>
              <a:gd name="connsiteY42" fmla="*/ 65212 h 243774"/>
              <a:gd name="connsiteX43" fmla="*/ 63858 w 377906"/>
              <a:gd name="connsiteY43" fmla="*/ 99666 h 243774"/>
              <a:gd name="connsiteX44" fmla="*/ 33564 w 377906"/>
              <a:gd name="connsiteY44" fmla="*/ 124977 h 243774"/>
              <a:gd name="connsiteX45" fmla="*/ 8655 w 377906"/>
              <a:gd name="connsiteY45" fmla="*/ 159335 h 243774"/>
              <a:gd name="connsiteX46" fmla="*/ 4328 w 377906"/>
              <a:gd name="connsiteY46" fmla="*/ 169633 h 243774"/>
              <a:gd name="connsiteX47" fmla="*/ 1394 w 377906"/>
              <a:gd name="connsiteY47" fmla="*/ 180652 h 243774"/>
              <a:gd name="connsiteX48" fmla="*/ 337 w 377906"/>
              <a:gd name="connsiteY48" fmla="*/ 186330 h 243774"/>
              <a:gd name="connsiteX49" fmla="*/ 0 w 377906"/>
              <a:gd name="connsiteY49" fmla="*/ 192490 h 243774"/>
              <a:gd name="connsiteX50" fmla="*/ 673 w 377906"/>
              <a:gd name="connsiteY50" fmla="*/ 198745 h 243774"/>
              <a:gd name="connsiteX51" fmla="*/ 2404 w 377906"/>
              <a:gd name="connsiteY51" fmla="*/ 204856 h 243774"/>
              <a:gd name="connsiteX52" fmla="*/ 17792 w 377906"/>
              <a:gd name="connsiteY52" fmla="*/ 224393 h 243774"/>
              <a:gd name="connsiteX53" fmla="*/ 39286 w 377906"/>
              <a:gd name="connsiteY53" fmla="*/ 235461 h 243774"/>
              <a:gd name="connsiteX54" fmla="*/ 62608 w 377906"/>
              <a:gd name="connsiteY54" fmla="*/ 241235 h 243774"/>
              <a:gd name="connsiteX55" fmla="*/ 86603 w 377906"/>
              <a:gd name="connsiteY55" fmla="*/ 243593 h 243774"/>
              <a:gd name="connsiteX56" fmla="*/ 135410 w 377906"/>
              <a:gd name="connsiteY56" fmla="*/ 240850 h 243774"/>
              <a:gd name="connsiteX57" fmla="*/ 227205 w 377906"/>
              <a:gd name="connsiteY57" fmla="*/ 213470 h 243774"/>
              <a:gd name="connsiteX58" fmla="*/ 266059 w 377906"/>
              <a:gd name="connsiteY58" fmla="*/ 188784 h 243774"/>
              <a:gd name="connsiteX59" fmla="*/ 298709 w 377906"/>
              <a:gd name="connsiteY59" fmla="*/ 159768 h 24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77906" h="243774">
                <a:moveTo>
                  <a:pt x="298757" y="159672"/>
                </a:moveTo>
                <a:cubicBezTo>
                  <a:pt x="318905" y="139654"/>
                  <a:pt x="336408" y="119010"/>
                  <a:pt x="350642" y="98078"/>
                </a:cubicBezTo>
                <a:cubicBezTo>
                  <a:pt x="357758" y="87588"/>
                  <a:pt x="364010" y="77001"/>
                  <a:pt x="369011" y="66174"/>
                </a:cubicBezTo>
                <a:cubicBezTo>
                  <a:pt x="373963" y="55395"/>
                  <a:pt x="377810" y="44231"/>
                  <a:pt x="377906" y="32538"/>
                </a:cubicBezTo>
                <a:cubicBezTo>
                  <a:pt x="377810" y="31046"/>
                  <a:pt x="377810" y="29603"/>
                  <a:pt x="377666" y="28159"/>
                </a:cubicBezTo>
                <a:cubicBezTo>
                  <a:pt x="377378" y="26716"/>
                  <a:pt x="377089" y="25272"/>
                  <a:pt x="376800" y="23828"/>
                </a:cubicBezTo>
                <a:cubicBezTo>
                  <a:pt x="375887" y="20941"/>
                  <a:pt x="374733" y="18150"/>
                  <a:pt x="373194" y="15937"/>
                </a:cubicBezTo>
                <a:cubicBezTo>
                  <a:pt x="370597" y="11077"/>
                  <a:pt x="366270" y="7227"/>
                  <a:pt x="361798" y="4292"/>
                </a:cubicBezTo>
                <a:cubicBezTo>
                  <a:pt x="352084" y="-905"/>
                  <a:pt x="341890" y="-376"/>
                  <a:pt x="333427" y="731"/>
                </a:cubicBezTo>
                <a:cubicBezTo>
                  <a:pt x="324820" y="1934"/>
                  <a:pt x="317126" y="3955"/>
                  <a:pt x="310105" y="5928"/>
                </a:cubicBezTo>
                <a:cubicBezTo>
                  <a:pt x="303085" y="7901"/>
                  <a:pt x="296786" y="9874"/>
                  <a:pt x="291112" y="11654"/>
                </a:cubicBezTo>
                <a:cubicBezTo>
                  <a:pt x="268511" y="18872"/>
                  <a:pt x="255913" y="22481"/>
                  <a:pt x="256057" y="23251"/>
                </a:cubicBezTo>
                <a:cubicBezTo>
                  <a:pt x="256153" y="23588"/>
                  <a:pt x="259423" y="23155"/>
                  <a:pt x="265578" y="21952"/>
                </a:cubicBezTo>
                <a:cubicBezTo>
                  <a:pt x="271733" y="20749"/>
                  <a:pt x="280725" y="18583"/>
                  <a:pt x="292266" y="15648"/>
                </a:cubicBezTo>
                <a:cubicBezTo>
                  <a:pt x="298036" y="14204"/>
                  <a:pt x="304383" y="12472"/>
                  <a:pt x="311404" y="10836"/>
                </a:cubicBezTo>
                <a:cubicBezTo>
                  <a:pt x="318376" y="9152"/>
                  <a:pt x="325974" y="7468"/>
                  <a:pt x="334100" y="6601"/>
                </a:cubicBezTo>
                <a:cubicBezTo>
                  <a:pt x="342131" y="5783"/>
                  <a:pt x="351075" y="5928"/>
                  <a:pt x="358335" y="10114"/>
                </a:cubicBezTo>
                <a:cubicBezTo>
                  <a:pt x="361653" y="12568"/>
                  <a:pt x="364971" y="15407"/>
                  <a:pt x="367039" y="19594"/>
                </a:cubicBezTo>
                <a:cubicBezTo>
                  <a:pt x="369540" y="23492"/>
                  <a:pt x="370501" y="27582"/>
                  <a:pt x="370357" y="32538"/>
                </a:cubicBezTo>
                <a:cubicBezTo>
                  <a:pt x="370068" y="42162"/>
                  <a:pt x="366462" y="52556"/>
                  <a:pt x="361557" y="62661"/>
                </a:cubicBezTo>
                <a:cubicBezTo>
                  <a:pt x="356604" y="72815"/>
                  <a:pt x="350401" y="82920"/>
                  <a:pt x="343333" y="93025"/>
                </a:cubicBezTo>
                <a:cubicBezTo>
                  <a:pt x="329195" y="113188"/>
                  <a:pt x="311740" y="133254"/>
                  <a:pt x="291881" y="152598"/>
                </a:cubicBezTo>
                <a:cubicBezTo>
                  <a:pt x="281927" y="162270"/>
                  <a:pt x="271300" y="171750"/>
                  <a:pt x="259856" y="180604"/>
                </a:cubicBezTo>
                <a:cubicBezTo>
                  <a:pt x="248411" y="189410"/>
                  <a:pt x="236294" y="197831"/>
                  <a:pt x="222830" y="203846"/>
                </a:cubicBezTo>
                <a:cubicBezTo>
                  <a:pt x="195565" y="216405"/>
                  <a:pt x="165463" y="225692"/>
                  <a:pt x="133919" y="230168"/>
                </a:cubicBezTo>
                <a:cubicBezTo>
                  <a:pt x="118147" y="232429"/>
                  <a:pt x="102423" y="233440"/>
                  <a:pt x="87035" y="232862"/>
                </a:cubicBezTo>
                <a:cubicBezTo>
                  <a:pt x="79342" y="232622"/>
                  <a:pt x="71744" y="231948"/>
                  <a:pt x="64291" y="230697"/>
                </a:cubicBezTo>
                <a:cubicBezTo>
                  <a:pt x="56886" y="229542"/>
                  <a:pt x="49576" y="227906"/>
                  <a:pt x="42748" y="225500"/>
                </a:cubicBezTo>
                <a:cubicBezTo>
                  <a:pt x="29188" y="220880"/>
                  <a:pt x="16445" y="212941"/>
                  <a:pt x="11973" y="201199"/>
                </a:cubicBezTo>
                <a:cubicBezTo>
                  <a:pt x="11300" y="199804"/>
                  <a:pt x="11156" y="198216"/>
                  <a:pt x="10675" y="196772"/>
                </a:cubicBezTo>
                <a:cubicBezTo>
                  <a:pt x="10387" y="195281"/>
                  <a:pt x="10338" y="193693"/>
                  <a:pt x="10146" y="192153"/>
                </a:cubicBezTo>
                <a:lnTo>
                  <a:pt x="10338" y="187485"/>
                </a:lnTo>
                <a:lnTo>
                  <a:pt x="11204" y="182529"/>
                </a:lnTo>
                <a:cubicBezTo>
                  <a:pt x="11637" y="179208"/>
                  <a:pt x="12887" y="176033"/>
                  <a:pt x="13704" y="172808"/>
                </a:cubicBezTo>
                <a:cubicBezTo>
                  <a:pt x="15003" y="169729"/>
                  <a:pt x="15916" y="166505"/>
                  <a:pt x="17503" y="163569"/>
                </a:cubicBezTo>
                <a:cubicBezTo>
                  <a:pt x="23225" y="151539"/>
                  <a:pt x="31352" y="140905"/>
                  <a:pt x="40296" y="131569"/>
                </a:cubicBezTo>
                <a:cubicBezTo>
                  <a:pt x="49288" y="122234"/>
                  <a:pt x="59097" y="114150"/>
                  <a:pt x="69003" y="106884"/>
                </a:cubicBezTo>
                <a:cubicBezTo>
                  <a:pt x="88959" y="92496"/>
                  <a:pt x="109203" y="81284"/>
                  <a:pt x="128149" y="72045"/>
                </a:cubicBezTo>
                <a:cubicBezTo>
                  <a:pt x="166136" y="53615"/>
                  <a:pt x="198642" y="42451"/>
                  <a:pt x="221099" y="34944"/>
                </a:cubicBezTo>
                <a:cubicBezTo>
                  <a:pt x="243603" y="27582"/>
                  <a:pt x="256297" y="24069"/>
                  <a:pt x="256105" y="23299"/>
                </a:cubicBezTo>
                <a:cubicBezTo>
                  <a:pt x="256009" y="22962"/>
                  <a:pt x="252739" y="23347"/>
                  <a:pt x="246584" y="24550"/>
                </a:cubicBezTo>
                <a:cubicBezTo>
                  <a:pt x="240429" y="25801"/>
                  <a:pt x="231437" y="27822"/>
                  <a:pt x="219896" y="30950"/>
                </a:cubicBezTo>
                <a:cubicBezTo>
                  <a:pt x="196959" y="37254"/>
                  <a:pt x="163828" y="47407"/>
                  <a:pt x="124927" y="65212"/>
                </a:cubicBezTo>
                <a:cubicBezTo>
                  <a:pt x="105500" y="74162"/>
                  <a:pt x="84679" y="85182"/>
                  <a:pt x="63858" y="99666"/>
                </a:cubicBezTo>
                <a:cubicBezTo>
                  <a:pt x="53471" y="106980"/>
                  <a:pt x="43181" y="115257"/>
                  <a:pt x="33564" y="124977"/>
                </a:cubicBezTo>
                <a:cubicBezTo>
                  <a:pt x="23995" y="134697"/>
                  <a:pt x="15147" y="146006"/>
                  <a:pt x="8655" y="159335"/>
                </a:cubicBezTo>
                <a:cubicBezTo>
                  <a:pt x="6876" y="162559"/>
                  <a:pt x="5770" y="166168"/>
                  <a:pt x="4328" y="169633"/>
                </a:cubicBezTo>
                <a:cubicBezTo>
                  <a:pt x="3366" y="173290"/>
                  <a:pt x="1972" y="176802"/>
                  <a:pt x="1394" y="180652"/>
                </a:cubicBezTo>
                <a:lnTo>
                  <a:pt x="337" y="186330"/>
                </a:lnTo>
                <a:lnTo>
                  <a:pt x="0" y="192490"/>
                </a:lnTo>
                <a:cubicBezTo>
                  <a:pt x="192" y="194559"/>
                  <a:pt x="289" y="196676"/>
                  <a:pt x="673" y="198745"/>
                </a:cubicBezTo>
                <a:cubicBezTo>
                  <a:pt x="1250" y="200766"/>
                  <a:pt x="1539" y="202932"/>
                  <a:pt x="2404" y="204856"/>
                </a:cubicBezTo>
                <a:cubicBezTo>
                  <a:pt x="5434" y="212893"/>
                  <a:pt x="11204" y="219485"/>
                  <a:pt x="17792" y="224393"/>
                </a:cubicBezTo>
                <a:cubicBezTo>
                  <a:pt x="24379" y="229301"/>
                  <a:pt x="31737" y="232766"/>
                  <a:pt x="39286" y="235461"/>
                </a:cubicBezTo>
                <a:cubicBezTo>
                  <a:pt x="46836" y="238156"/>
                  <a:pt x="54674" y="239984"/>
                  <a:pt x="62608" y="241235"/>
                </a:cubicBezTo>
                <a:cubicBezTo>
                  <a:pt x="70542" y="242583"/>
                  <a:pt x="78524" y="243256"/>
                  <a:pt x="86603" y="243593"/>
                </a:cubicBezTo>
                <a:cubicBezTo>
                  <a:pt x="102759" y="244219"/>
                  <a:pt x="119061" y="243208"/>
                  <a:pt x="135410" y="240850"/>
                </a:cubicBezTo>
                <a:cubicBezTo>
                  <a:pt x="168060" y="236231"/>
                  <a:pt x="199075" y="226559"/>
                  <a:pt x="227205" y="213470"/>
                </a:cubicBezTo>
                <a:cubicBezTo>
                  <a:pt x="241631" y="206877"/>
                  <a:pt x="254326" y="197927"/>
                  <a:pt x="266059" y="188784"/>
                </a:cubicBezTo>
                <a:cubicBezTo>
                  <a:pt x="277840" y="179545"/>
                  <a:pt x="288611" y="169729"/>
                  <a:pt x="298709" y="159768"/>
                </a:cubicBezTo>
                <a:close/>
              </a:path>
            </a:pathLst>
          </a:custGeom>
          <a:solidFill>
            <a:srgbClr val="29C8C1"/>
          </a:solidFill>
          <a:ln w="0" cap="flat">
            <a:noFill/>
            <a:prstDash val="solid"/>
            <a:miter/>
          </a:ln>
        </p:spPr>
        <p:txBody>
          <a:bodyPr rtlCol="0" anchor="ctr"/>
          <a:lstStyle/>
          <a:p>
            <a:pPr rtl="0"/>
            <a:endParaRPr lang="en-AU" dirty="0"/>
          </a:p>
        </p:txBody>
      </p:sp>
      <p:sp>
        <p:nvSpPr>
          <p:cNvPr id="41" name="Freeform: Shape 40">
            <a:extLst>
              <a:ext uri="{FF2B5EF4-FFF2-40B4-BE49-F238E27FC236}">
                <a16:creationId xmlns:a16="http://schemas.microsoft.com/office/drawing/2014/main" id="{CDCA4757-2365-27EE-1DEB-2BC00DCB89B4}"/>
              </a:ext>
            </a:extLst>
          </p:cNvPr>
          <p:cNvSpPr/>
          <p:nvPr/>
        </p:nvSpPr>
        <p:spPr>
          <a:xfrm>
            <a:off x="6567750" y="1884155"/>
            <a:ext cx="768581" cy="485246"/>
          </a:xfrm>
          <a:custGeom>
            <a:avLst/>
            <a:gdLst>
              <a:gd name="connsiteX0" fmla="*/ 33663 w 768581"/>
              <a:gd name="connsiteY0" fmla="*/ 448669 h 485246"/>
              <a:gd name="connsiteX1" fmla="*/ 64966 w 768581"/>
              <a:gd name="connsiteY1" fmla="*/ 464838 h 485246"/>
              <a:gd name="connsiteX2" fmla="*/ 96895 w 768581"/>
              <a:gd name="connsiteY2" fmla="*/ 474558 h 485246"/>
              <a:gd name="connsiteX3" fmla="*/ 212590 w 768581"/>
              <a:gd name="connsiteY3" fmla="*/ 485144 h 485246"/>
              <a:gd name="connsiteX4" fmla="*/ 299769 w 768581"/>
              <a:gd name="connsiteY4" fmla="*/ 476723 h 485246"/>
              <a:gd name="connsiteX5" fmla="*/ 353674 w 768581"/>
              <a:gd name="connsiteY5" fmla="*/ 464453 h 485246"/>
              <a:gd name="connsiteX6" fmla="*/ 367378 w 768581"/>
              <a:gd name="connsiteY6" fmla="*/ 460026 h 485246"/>
              <a:gd name="connsiteX7" fmla="*/ 371898 w 768581"/>
              <a:gd name="connsiteY7" fmla="*/ 458149 h 485246"/>
              <a:gd name="connsiteX8" fmla="*/ 353145 w 768581"/>
              <a:gd name="connsiteY8" fmla="*/ 462383 h 485246"/>
              <a:gd name="connsiteX9" fmla="*/ 299144 w 768581"/>
              <a:gd name="connsiteY9" fmla="*/ 472633 h 485246"/>
              <a:gd name="connsiteX10" fmla="*/ 212542 w 768581"/>
              <a:gd name="connsiteY10" fmla="*/ 479225 h 485246"/>
              <a:gd name="connsiteX11" fmla="*/ 98771 w 768581"/>
              <a:gd name="connsiteY11" fmla="*/ 467292 h 485246"/>
              <a:gd name="connsiteX12" fmla="*/ 67948 w 768581"/>
              <a:gd name="connsiteY12" fmla="*/ 457523 h 485246"/>
              <a:gd name="connsiteX13" fmla="*/ 38471 w 768581"/>
              <a:gd name="connsiteY13" fmla="*/ 441932 h 485246"/>
              <a:gd name="connsiteX14" fmla="*/ 15582 w 768581"/>
              <a:gd name="connsiteY14" fmla="*/ 417391 h 485246"/>
              <a:gd name="connsiteX15" fmla="*/ 9283 w 768581"/>
              <a:gd name="connsiteY15" fmla="*/ 384140 h 485246"/>
              <a:gd name="connsiteX16" fmla="*/ 45925 w 768581"/>
              <a:gd name="connsiteY16" fmla="*/ 320718 h 485246"/>
              <a:gd name="connsiteX17" fmla="*/ 111898 w 768581"/>
              <a:gd name="connsiteY17" fmla="*/ 272742 h 485246"/>
              <a:gd name="connsiteX18" fmla="*/ 269908 w 768581"/>
              <a:gd name="connsiteY18" fmla="*/ 192670 h 485246"/>
              <a:gd name="connsiteX19" fmla="*/ 354203 w 768581"/>
              <a:gd name="connsiteY19" fmla="*/ 150565 h 485246"/>
              <a:gd name="connsiteX20" fmla="*/ 439122 w 768581"/>
              <a:gd name="connsiteY20" fmla="*/ 103888 h 485246"/>
              <a:gd name="connsiteX21" fmla="*/ 611029 w 768581"/>
              <a:gd name="connsiteY21" fmla="*/ 24971 h 485246"/>
              <a:gd name="connsiteX22" fmla="*/ 699074 w 768581"/>
              <a:gd name="connsiteY22" fmla="*/ 10295 h 485246"/>
              <a:gd name="connsiteX23" fmla="*/ 740861 w 768581"/>
              <a:gd name="connsiteY23" fmla="*/ 14288 h 485246"/>
              <a:gd name="connsiteX24" fmla="*/ 755767 w 768581"/>
              <a:gd name="connsiteY24" fmla="*/ 24249 h 485246"/>
              <a:gd name="connsiteX25" fmla="*/ 758220 w 768581"/>
              <a:gd name="connsiteY25" fmla="*/ 41236 h 485246"/>
              <a:gd name="connsiteX26" fmla="*/ 741438 w 768581"/>
              <a:gd name="connsiteY26" fmla="*/ 77230 h 485246"/>
              <a:gd name="connsiteX27" fmla="*/ 717202 w 768581"/>
              <a:gd name="connsiteY27" fmla="*/ 109422 h 485246"/>
              <a:gd name="connsiteX28" fmla="*/ 664981 w 768581"/>
              <a:gd name="connsiteY28" fmla="*/ 167022 h 485246"/>
              <a:gd name="connsiteX29" fmla="*/ 569435 w 768581"/>
              <a:gd name="connsiteY29" fmla="*/ 269903 h 485246"/>
              <a:gd name="connsiteX30" fmla="*/ 497210 w 768581"/>
              <a:gd name="connsiteY30" fmla="*/ 360176 h 485246"/>
              <a:gd name="connsiteX31" fmla="*/ 435804 w 768581"/>
              <a:gd name="connsiteY31" fmla="*/ 421385 h 485246"/>
              <a:gd name="connsiteX32" fmla="*/ 389498 w 768581"/>
              <a:gd name="connsiteY32" fmla="*/ 450450 h 485246"/>
              <a:gd name="connsiteX33" fmla="*/ 376322 w 768581"/>
              <a:gd name="connsiteY33" fmla="*/ 455983 h 485246"/>
              <a:gd name="connsiteX34" fmla="*/ 371898 w 768581"/>
              <a:gd name="connsiteY34" fmla="*/ 458197 h 485246"/>
              <a:gd name="connsiteX35" fmla="*/ 376659 w 768581"/>
              <a:gd name="connsiteY35" fmla="*/ 456994 h 485246"/>
              <a:gd name="connsiteX36" fmla="*/ 390315 w 768581"/>
              <a:gd name="connsiteY36" fmla="*/ 452423 h 485246"/>
              <a:gd name="connsiteX37" fmla="*/ 438305 w 768581"/>
              <a:gd name="connsiteY37" fmla="*/ 424657 h 485246"/>
              <a:gd name="connsiteX38" fmla="*/ 501682 w 768581"/>
              <a:gd name="connsiteY38" fmla="*/ 364074 h 485246"/>
              <a:gd name="connsiteX39" fmla="*/ 575205 w 768581"/>
              <a:gd name="connsiteY39" fmla="*/ 274715 h 485246"/>
              <a:gd name="connsiteX40" fmla="*/ 671281 w 768581"/>
              <a:gd name="connsiteY40" fmla="*/ 173133 h 485246"/>
              <a:gd name="connsiteX41" fmla="*/ 724319 w 768581"/>
              <a:gd name="connsiteY41" fmla="*/ 115389 h 485246"/>
              <a:gd name="connsiteX42" fmla="*/ 749372 w 768581"/>
              <a:gd name="connsiteY42" fmla="*/ 82523 h 485246"/>
              <a:gd name="connsiteX43" fmla="*/ 767837 w 768581"/>
              <a:gd name="connsiteY43" fmla="*/ 42968 h 485246"/>
              <a:gd name="connsiteX44" fmla="*/ 768366 w 768581"/>
              <a:gd name="connsiteY44" fmla="*/ 30890 h 485246"/>
              <a:gd name="connsiteX45" fmla="*/ 764038 w 768581"/>
              <a:gd name="connsiteY45" fmla="*/ 18764 h 485246"/>
              <a:gd name="connsiteX46" fmla="*/ 754902 w 768581"/>
              <a:gd name="connsiteY46" fmla="*/ 9861 h 485246"/>
              <a:gd name="connsiteX47" fmla="*/ 743986 w 768581"/>
              <a:gd name="connsiteY47" fmla="*/ 4761 h 485246"/>
              <a:gd name="connsiteX48" fmla="*/ 698689 w 768581"/>
              <a:gd name="connsiteY48" fmla="*/ 93 h 485246"/>
              <a:gd name="connsiteX49" fmla="*/ 608144 w 768581"/>
              <a:gd name="connsiteY49" fmla="*/ 14914 h 485246"/>
              <a:gd name="connsiteX50" fmla="*/ 433929 w 768581"/>
              <a:gd name="connsiteY50" fmla="*/ 94553 h 485246"/>
              <a:gd name="connsiteX51" fmla="*/ 349202 w 768581"/>
              <a:gd name="connsiteY51" fmla="*/ 141181 h 485246"/>
              <a:gd name="connsiteX52" fmla="*/ 265388 w 768581"/>
              <a:gd name="connsiteY52" fmla="*/ 183238 h 485246"/>
              <a:gd name="connsiteX53" fmla="*/ 106753 w 768581"/>
              <a:gd name="connsiteY53" fmla="*/ 264321 h 485246"/>
              <a:gd name="connsiteX54" fmla="*/ 39385 w 768581"/>
              <a:gd name="connsiteY54" fmla="*/ 313933 h 485246"/>
              <a:gd name="connsiteX55" fmla="*/ 13467 w 768581"/>
              <a:gd name="connsiteY55" fmla="*/ 345355 h 485246"/>
              <a:gd name="connsiteX56" fmla="*/ 10870 w 768581"/>
              <a:gd name="connsiteY56" fmla="*/ 349734 h 485246"/>
              <a:gd name="connsiteX57" fmla="*/ 8610 w 768581"/>
              <a:gd name="connsiteY57" fmla="*/ 354306 h 485246"/>
              <a:gd name="connsiteX58" fmla="*/ 4667 w 768581"/>
              <a:gd name="connsiteY58" fmla="*/ 363689 h 485246"/>
              <a:gd name="connsiteX59" fmla="*/ 387 w 768581"/>
              <a:gd name="connsiteY59" fmla="*/ 383274 h 485246"/>
              <a:gd name="connsiteX60" fmla="*/ 8033 w 768581"/>
              <a:gd name="connsiteY60" fmla="*/ 421578 h 485246"/>
              <a:gd name="connsiteX61" fmla="*/ 33663 w 768581"/>
              <a:gd name="connsiteY61" fmla="*/ 448717 h 48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68581" h="485246">
                <a:moveTo>
                  <a:pt x="33663" y="448669"/>
                </a:moveTo>
                <a:cubicBezTo>
                  <a:pt x="43664" y="455550"/>
                  <a:pt x="54388" y="460507"/>
                  <a:pt x="64966" y="464838"/>
                </a:cubicBezTo>
                <a:cubicBezTo>
                  <a:pt x="75690" y="468783"/>
                  <a:pt x="86317" y="472200"/>
                  <a:pt x="96895" y="474558"/>
                </a:cubicBezTo>
                <a:cubicBezTo>
                  <a:pt x="139163" y="484422"/>
                  <a:pt x="178449" y="485674"/>
                  <a:pt x="212590" y="485144"/>
                </a:cubicBezTo>
                <a:cubicBezTo>
                  <a:pt x="246779" y="484182"/>
                  <a:pt x="276063" y="480813"/>
                  <a:pt x="299769" y="476723"/>
                </a:cubicBezTo>
                <a:cubicBezTo>
                  <a:pt x="323476" y="472633"/>
                  <a:pt x="341604" y="468110"/>
                  <a:pt x="353674" y="464453"/>
                </a:cubicBezTo>
                <a:cubicBezTo>
                  <a:pt x="359781" y="462768"/>
                  <a:pt x="364301" y="461036"/>
                  <a:pt x="367378" y="460026"/>
                </a:cubicBezTo>
                <a:cubicBezTo>
                  <a:pt x="370456" y="458919"/>
                  <a:pt x="371946" y="458293"/>
                  <a:pt x="371898" y="458149"/>
                </a:cubicBezTo>
                <a:cubicBezTo>
                  <a:pt x="371754" y="457716"/>
                  <a:pt x="365359" y="459448"/>
                  <a:pt x="353145" y="462383"/>
                </a:cubicBezTo>
                <a:cubicBezTo>
                  <a:pt x="340931" y="465367"/>
                  <a:pt x="322755" y="469168"/>
                  <a:pt x="299144" y="472633"/>
                </a:cubicBezTo>
                <a:cubicBezTo>
                  <a:pt x="275534" y="476098"/>
                  <a:pt x="246394" y="478792"/>
                  <a:pt x="212542" y="479225"/>
                </a:cubicBezTo>
                <a:cubicBezTo>
                  <a:pt x="178786" y="479225"/>
                  <a:pt x="139884" y="477397"/>
                  <a:pt x="98771" y="467292"/>
                </a:cubicBezTo>
                <a:cubicBezTo>
                  <a:pt x="88480" y="464886"/>
                  <a:pt x="78238" y="461421"/>
                  <a:pt x="67948" y="457523"/>
                </a:cubicBezTo>
                <a:cubicBezTo>
                  <a:pt x="57850" y="453241"/>
                  <a:pt x="47704" y="448429"/>
                  <a:pt x="38471" y="441932"/>
                </a:cubicBezTo>
                <a:cubicBezTo>
                  <a:pt x="29383" y="435388"/>
                  <a:pt x="21064" y="427304"/>
                  <a:pt x="15582" y="417391"/>
                </a:cubicBezTo>
                <a:cubicBezTo>
                  <a:pt x="10052" y="407526"/>
                  <a:pt x="7937" y="395881"/>
                  <a:pt x="9283" y="384140"/>
                </a:cubicBezTo>
                <a:cubicBezTo>
                  <a:pt x="11447" y="360080"/>
                  <a:pt x="26979" y="338618"/>
                  <a:pt x="45925" y="320718"/>
                </a:cubicBezTo>
                <a:cubicBezTo>
                  <a:pt x="65063" y="302673"/>
                  <a:pt x="87807" y="287226"/>
                  <a:pt x="111898" y="272742"/>
                </a:cubicBezTo>
                <a:cubicBezTo>
                  <a:pt x="160176" y="243822"/>
                  <a:pt x="214225" y="219040"/>
                  <a:pt x="269908" y="192670"/>
                </a:cubicBezTo>
                <a:cubicBezTo>
                  <a:pt x="297798" y="179533"/>
                  <a:pt x="326024" y="165482"/>
                  <a:pt x="354203" y="150565"/>
                </a:cubicBezTo>
                <a:cubicBezTo>
                  <a:pt x="382381" y="135551"/>
                  <a:pt x="410559" y="119768"/>
                  <a:pt x="439122" y="103888"/>
                </a:cubicBezTo>
                <a:cubicBezTo>
                  <a:pt x="496152" y="72273"/>
                  <a:pt x="552364" y="41765"/>
                  <a:pt x="611029" y="24971"/>
                </a:cubicBezTo>
                <a:cubicBezTo>
                  <a:pt x="640265" y="16598"/>
                  <a:pt x="669886" y="11449"/>
                  <a:pt x="699074" y="10295"/>
                </a:cubicBezTo>
                <a:cubicBezTo>
                  <a:pt x="713500" y="9910"/>
                  <a:pt x="728166" y="10150"/>
                  <a:pt x="740861" y="14288"/>
                </a:cubicBezTo>
                <a:cubicBezTo>
                  <a:pt x="747160" y="16358"/>
                  <a:pt x="752738" y="19582"/>
                  <a:pt x="755767" y="24249"/>
                </a:cubicBezTo>
                <a:cubicBezTo>
                  <a:pt x="758941" y="28821"/>
                  <a:pt x="759278" y="35028"/>
                  <a:pt x="758220" y="41236"/>
                </a:cubicBezTo>
                <a:cubicBezTo>
                  <a:pt x="755719" y="53843"/>
                  <a:pt x="748747" y="66018"/>
                  <a:pt x="741438" y="77230"/>
                </a:cubicBezTo>
                <a:cubicBezTo>
                  <a:pt x="733936" y="88490"/>
                  <a:pt x="725666" y="99172"/>
                  <a:pt x="717202" y="109422"/>
                </a:cubicBezTo>
                <a:cubicBezTo>
                  <a:pt x="700180" y="129873"/>
                  <a:pt x="682388" y="148832"/>
                  <a:pt x="664981" y="167022"/>
                </a:cubicBezTo>
                <a:cubicBezTo>
                  <a:pt x="630263" y="203353"/>
                  <a:pt x="596507" y="236267"/>
                  <a:pt x="569435" y="269903"/>
                </a:cubicBezTo>
                <a:cubicBezTo>
                  <a:pt x="542410" y="303298"/>
                  <a:pt x="519281" y="334384"/>
                  <a:pt x="497210" y="360176"/>
                </a:cubicBezTo>
                <a:cubicBezTo>
                  <a:pt x="475379" y="386113"/>
                  <a:pt x="454510" y="406612"/>
                  <a:pt x="435804" y="421385"/>
                </a:cubicBezTo>
                <a:cubicBezTo>
                  <a:pt x="417243" y="436398"/>
                  <a:pt x="400605" y="444675"/>
                  <a:pt x="389498" y="450450"/>
                </a:cubicBezTo>
                <a:cubicBezTo>
                  <a:pt x="383727" y="452856"/>
                  <a:pt x="379303" y="454732"/>
                  <a:pt x="376322" y="455983"/>
                </a:cubicBezTo>
                <a:cubicBezTo>
                  <a:pt x="373341" y="457283"/>
                  <a:pt x="371850" y="458053"/>
                  <a:pt x="371898" y="458197"/>
                </a:cubicBezTo>
                <a:cubicBezTo>
                  <a:pt x="371946" y="458389"/>
                  <a:pt x="373581" y="457956"/>
                  <a:pt x="376659" y="456994"/>
                </a:cubicBezTo>
                <a:cubicBezTo>
                  <a:pt x="379736" y="456032"/>
                  <a:pt x="384352" y="454540"/>
                  <a:pt x="390315" y="452423"/>
                </a:cubicBezTo>
                <a:cubicBezTo>
                  <a:pt x="401808" y="447226"/>
                  <a:pt x="419070" y="439382"/>
                  <a:pt x="438305" y="424657"/>
                </a:cubicBezTo>
                <a:cubicBezTo>
                  <a:pt x="457683" y="410221"/>
                  <a:pt x="479226" y="389866"/>
                  <a:pt x="501682" y="364074"/>
                </a:cubicBezTo>
                <a:cubicBezTo>
                  <a:pt x="524330" y="338474"/>
                  <a:pt x="547940" y="307629"/>
                  <a:pt x="575205" y="274715"/>
                </a:cubicBezTo>
                <a:cubicBezTo>
                  <a:pt x="602277" y="241801"/>
                  <a:pt x="636130" y="209368"/>
                  <a:pt x="671281" y="173133"/>
                </a:cubicBezTo>
                <a:cubicBezTo>
                  <a:pt x="688832" y="155040"/>
                  <a:pt x="706864" y="136081"/>
                  <a:pt x="724319" y="115389"/>
                </a:cubicBezTo>
                <a:cubicBezTo>
                  <a:pt x="733023" y="105043"/>
                  <a:pt x="741534" y="94216"/>
                  <a:pt x="749372" y="82523"/>
                </a:cubicBezTo>
                <a:cubicBezTo>
                  <a:pt x="757017" y="70782"/>
                  <a:pt x="764615" y="58270"/>
                  <a:pt x="767837" y="42968"/>
                </a:cubicBezTo>
                <a:cubicBezTo>
                  <a:pt x="768558" y="39118"/>
                  <a:pt x="768799" y="35028"/>
                  <a:pt x="768366" y="30890"/>
                </a:cubicBezTo>
                <a:cubicBezTo>
                  <a:pt x="767933" y="26752"/>
                  <a:pt x="766490" y="22421"/>
                  <a:pt x="764038" y="18764"/>
                </a:cubicBezTo>
                <a:cubicBezTo>
                  <a:pt x="761634" y="15107"/>
                  <a:pt x="758364" y="12123"/>
                  <a:pt x="754902" y="9861"/>
                </a:cubicBezTo>
                <a:cubicBezTo>
                  <a:pt x="751392" y="7648"/>
                  <a:pt x="747689" y="6012"/>
                  <a:pt x="743986" y="4761"/>
                </a:cubicBezTo>
                <a:cubicBezTo>
                  <a:pt x="728984" y="-99"/>
                  <a:pt x="713740" y="-196"/>
                  <a:pt x="698689" y="93"/>
                </a:cubicBezTo>
                <a:cubicBezTo>
                  <a:pt x="668588" y="1200"/>
                  <a:pt x="638149" y="6397"/>
                  <a:pt x="608144" y="14914"/>
                </a:cubicBezTo>
                <a:cubicBezTo>
                  <a:pt x="547940" y="32045"/>
                  <a:pt x="491007" y="62938"/>
                  <a:pt x="433929" y="94553"/>
                </a:cubicBezTo>
                <a:cubicBezTo>
                  <a:pt x="405318" y="110433"/>
                  <a:pt x="377236" y="126216"/>
                  <a:pt x="349202" y="141181"/>
                </a:cubicBezTo>
                <a:cubicBezTo>
                  <a:pt x="321168" y="156099"/>
                  <a:pt x="293230" y="170053"/>
                  <a:pt x="265388" y="183238"/>
                </a:cubicBezTo>
                <a:cubicBezTo>
                  <a:pt x="209801" y="209704"/>
                  <a:pt x="155608" y="234775"/>
                  <a:pt x="106753" y="264321"/>
                </a:cubicBezTo>
                <a:cubicBezTo>
                  <a:pt x="82422" y="279142"/>
                  <a:pt x="59244" y="295022"/>
                  <a:pt x="39385" y="313933"/>
                </a:cubicBezTo>
                <a:cubicBezTo>
                  <a:pt x="29527" y="323412"/>
                  <a:pt x="20535" y="333758"/>
                  <a:pt x="13467" y="345355"/>
                </a:cubicBezTo>
                <a:lnTo>
                  <a:pt x="10870" y="349734"/>
                </a:lnTo>
                <a:lnTo>
                  <a:pt x="8610" y="354306"/>
                </a:lnTo>
                <a:cubicBezTo>
                  <a:pt x="6975" y="357289"/>
                  <a:pt x="5965" y="360561"/>
                  <a:pt x="4667" y="363689"/>
                </a:cubicBezTo>
                <a:cubicBezTo>
                  <a:pt x="2792" y="370137"/>
                  <a:pt x="868" y="376537"/>
                  <a:pt x="387" y="383274"/>
                </a:cubicBezTo>
                <a:cubicBezTo>
                  <a:pt x="-1055" y="396555"/>
                  <a:pt x="1541" y="410317"/>
                  <a:pt x="8033" y="421578"/>
                </a:cubicBezTo>
                <a:cubicBezTo>
                  <a:pt x="14428" y="432934"/>
                  <a:pt x="23805" y="441740"/>
                  <a:pt x="33663" y="448717"/>
                </a:cubicBezTo>
                <a:close/>
              </a:path>
            </a:pathLst>
          </a:custGeom>
          <a:solidFill>
            <a:srgbClr val="29C8C1"/>
          </a:solidFill>
          <a:ln w="0" cap="flat">
            <a:noFill/>
            <a:prstDash val="solid"/>
            <a:miter/>
          </a:ln>
        </p:spPr>
        <p:txBody>
          <a:bodyPr rtlCol="0" anchor="ctr"/>
          <a:lstStyle/>
          <a:p>
            <a:pPr rtl="0"/>
            <a:endParaRPr lang="en-AU" dirty="0"/>
          </a:p>
        </p:txBody>
      </p:sp>
      <p:sp>
        <p:nvSpPr>
          <p:cNvPr id="42" name="Freeform: Shape 41">
            <a:extLst>
              <a:ext uri="{FF2B5EF4-FFF2-40B4-BE49-F238E27FC236}">
                <a16:creationId xmlns:a16="http://schemas.microsoft.com/office/drawing/2014/main" id="{1BA3DB5A-D36B-2468-D74B-E3F1499BA2A1}"/>
              </a:ext>
            </a:extLst>
          </p:cNvPr>
          <p:cNvSpPr/>
          <p:nvPr/>
        </p:nvSpPr>
        <p:spPr>
          <a:xfrm>
            <a:off x="8985887" y="2028864"/>
            <a:ext cx="131531" cy="147574"/>
          </a:xfrm>
          <a:custGeom>
            <a:avLst/>
            <a:gdLst>
              <a:gd name="connsiteX0" fmla="*/ 50591 w 131531"/>
              <a:gd name="connsiteY0" fmla="*/ 225 h 147574"/>
              <a:gd name="connsiteX1" fmla="*/ 34290 w 131531"/>
              <a:gd name="connsiteY1" fmla="*/ 1572 h 147574"/>
              <a:gd name="connsiteX2" fmla="*/ 49966 w 131531"/>
              <a:gd name="connsiteY2" fmla="*/ 4315 h 147574"/>
              <a:gd name="connsiteX3" fmla="*/ 86607 w 131531"/>
              <a:gd name="connsiteY3" fmla="*/ 23900 h 147574"/>
              <a:gd name="connsiteX4" fmla="*/ 117382 w 131531"/>
              <a:gd name="connsiteY4" fmla="*/ 77362 h 147574"/>
              <a:gd name="connsiteX5" fmla="*/ 120508 w 131531"/>
              <a:gd name="connsiteY5" fmla="*/ 113259 h 147574"/>
              <a:gd name="connsiteX6" fmla="*/ 114641 w 131531"/>
              <a:gd name="connsiteY6" fmla="*/ 129716 h 147574"/>
              <a:gd name="connsiteX7" fmla="*/ 100985 w 131531"/>
              <a:gd name="connsiteY7" fmla="*/ 136790 h 147574"/>
              <a:gd name="connsiteX8" fmla="*/ 83385 w 131531"/>
              <a:gd name="connsiteY8" fmla="*/ 132170 h 147574"/>
              <a:gd name="connsiteX9" fmla="*/ 67036 w 131531"/>
              <a:gd name="connsiteY9" fmla="*/ 122065 h 147574"/>
              <a:gd name="connsiteX10" fmla="*/ 39099 w 131531"/>
              <a:gd name="connsiteY10" fmla="*/ 97139 h 147574"/>
              <a:gd name="connsiteX11" fmla="*/ 27462 w 131531"/>
              <a:gd name="connsiteY11" fmla="*/ 84243 h 147574"/>
              <a:gd name="connsiteX12" fmla="*/ 18229 w 131531"/>
              <a:gd name="connsiteY12" fmla="*/ 70962 h 147574"/>
              <a:gd name="connsiteX13" fmla="*/ 7747 w 131531"/>
              <a:gd name="connsiteY13" fmla="*/ 44496 h 147574"/>
              <a:gd name="connsiteX14" fmla="*/ 9862 w 131531"/>
              <a:gd name="connsiteY14" fmla="*/ 21831 h 147574"/>
              <a:gd name="connsiteX15" fmla="*/ 20345 w 131531"/>
              <a:gd name="connsiteY15" fmla="*/ 8261 h 147574"/>
              <a:gd name="connsiteX16" fmla="*/ 34338 w 131531"/>
              <a:gd name="connsiteY16" fmla="*/ 1620 h 147574"/>
              <a:gd name="connsiteX17" fmla="*/ 30010 w 131531"/>
              <a:gd name="connsiteY17" fmla="*/ 1187 h 147574"/>
              <a:gd name="connsiteX18" fmla="*/ 24865 w 131531"/>
              <a:gd name="connsiteY18" fmla="*/ 2102 h 147574"/>
              <a:gd name="connsiteX19" fmla="*/ 18133 w 131531"/>
              <a:gd name="connsiteY19" fmla="*/ 4796 h 147574"/>
              <a:gd name="connsiteX20" fmla="*/ 4477 w 131531"/>
              <a:gd name="connsiteY20" fmla="*/ 19377 h 147574"/>
              <a:gd name="connsiteX21" fmla="*/ 341 w 131531"/>
              <a:gd name="connsiteY21" fmla="*/ 45554 h 147574"/>
              <a:gd name="connsiteX22" fmla="*/ 32078 w 131531"/>
              <a:gd name="connsiteY22" fmla="*/ 104020 h 147574"/>
              <a:gd name="connsiteX23" fmla="*/ 60881 w 131531"/>
              <a:gd name="connsiteY23" fmla="*/ 130534 h 147574"/>
              <a:gd name="connsiteX24" fmla="*/ 78866 w 131531"/>
              <a:gd name="connsiteY24" fmla="*/ 141843 h 147574"/>
              <a:gd name="connsiteX25" fmla="*/ 101322 w 131531"/>
              <a:gd name="connsiteY25" fmla="*/ 147569 h 147574"/>
              <a:gd name="connsiteX26" fmla="*/ 113776 w 131531"/>
              <a:gd name="connsiteY26" fmla="*/ 144441 h 147574"/>
              <a:gd name="connsiteX27" fmla="*/ 123297 w 131531"/>
              <a:gd name="connsiteY27" fmla="*/ 136068 h 147574"/>
              <a:gd name="connsiteX28" fmla="*/ 130942 w 131531"/>
              <a:gd name="connsiteY28" fmla="*/ 114703 h 147574"/>
              <a:gd name="connsiteX29" fmla="*/ 126951 w 131531"/>
              <a:gd name="connsiteY29" fmla="*/ 74763 h 147574"/>
              <a:gd name="connsiteX30" fmla="*/ 91753 w 131531"/>
              <a:gd name="connsiteY30" fmla="*/ 18318 h 147574"/>
              <a:gd name="connsiteX31" fmla="*/ 69633 w 131531"/>
              <a:gd name="connsiteY31" fmla="*/ 4845 h 147574"/>
              <a:gd name="connsiteX32" fmla="*/ 50735 w 131531"/>
              <a:gd name="connsiteY32" fmla="*/ 273 h 14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1531" h="147574">
                <a:moveTo>
                  <a:pt x="50591" y="225"/>
                </a:moveTo>
                <a:cubicBezTo>
                  <a:pt x="39964" y="-593"/>
                  <a:pt x="34194" y="1043"/>
                  <a:pt x="34290" y="1572"/>
                </a:cubicBezTo>
                <a:cubicBezTo>
                  <a:pt x="34290" y="2487"/>
                  <a:pt x="40108" y="2294"/>
                  <a:pt x="49966" y="4315"/>
                </a:cubicBezTo>
                <a:cubicBezTo>
                  <a:pt x="59727" y="6336"/>
                  <a:pt x="73672" y="11629"/>
                  <a:pt x="86607" y="23900"/>
                </a:cubicBezTo>
                <a:cubicBezTo>
                  <a:pt x="99494" y="35978"/>
                  <a:pt x="111227" y="54601"/>
                  <a:pt x="117382" y="77362"/>
                </a:cubicBezTo>
                <a:cubicBezTo>
                  <a:pt x="120363" y="88670"/>
                  <a:pt x="122095" y="101133"/>
                  <a:pt x="120508" y="113259"/>
                </a:cubicBezTo>
                <a:cubicBezTo>
                  <a:pt x="119690" y="119274"/>
                  <a:pt x="117911" y="125241"/>
                  <a:pt x="114641" y="129716"/>
                </a:cubicBezTo>
                <a:cubicBezTo>
                  <a:pt x="111371" y="134192"/>
                  <a:pt x="106707" y="136694"/>
                  <a:pt x="100985" y="136790"/>
                </a:cubicBezTo>
                <a:cubicBezTo>
                  <a:pt x="95263" y="136934"/>
                  <a:pt x="89108" y="134865"/>
                  <a:pt x="83385" y="132170"/>
                </a:cubicBezTo>
                <a:cubicBezTo>
                  <a:pt x="77615" y="129428"/>
                  <a:pt x="72182" y="125867"/>
                  <a:pt x="67036" y="122065"/>
                </a:cubicBezTo>
                <a:cubicBezTo>
                  <a:pt x="56698" y="114462"/>
                  <a:pt x="47514" y="105752"/>
                  <a:pt x="39099" y="97139"/>
                </a:cubicBezTo>
                <a:cubicBezTo>
                  <a:pt x="34771" y="92904"/>
                  <a:pt x="31212" y="88429"/>
                  <a:pt x="27462" y="84243"/>
                </a:cubicBezTo>
                <a:cubicBezTo>
                  <a:pt x="24192" y="79768"/>
                  <a:pt x="20730" y="75485"/>
                  <a:pt x="18229" y="70962"/>
                </a:cubicBezTo>
                <a:cubicBezTo>
                  <a:pt x="12844" y="62059"/>
                  <a:pt x="9189" y="53013"/>
                  <a:pt x="7747" y="44496"/>
                </a:cubicBezTo>
                <a:cubicBezTo>
                  <a:pt x="6400" y="35978"/>
                  <a:pt x="7266" y="28038"/>
                  <a:pt x="9862" y="21831"/>
                </a:cubicBezTo>
                <a:cubicBezTo>
                  <a:pt x="12411" y="15575"/>
                  <a:pt x="16498" y="11196"/>
                  <a:pt x="20345" y="8261"/>
                </a:cubicBezTo>
                <a:cubicBezTo>
                  <a:pt x="28423" y="2823"/>
                  <a:pt x="34530" y="2631"/>
                  <a:pt x="34338" y="1620"/>
                </a:cubicBezTo>
                <a:cubicBezTo>
                  <a:pt x="34338" y="1235"/>
                  <a:pt x="32895" y="1091"/>
                  <a:pt x="30010" y="1187"/>
                </a:cubicBezTo>
                <a:cubicBezTo>
                  <a:pt x="28568" y="1091"/>
                  <a:pt x="26885" y="1572"/>
                  <a:pt x="24865" y="2102"/>
                </a:cubicBezTo>
                <a:cubicBezTo>
                  <a:pt x="22749" y="2438"/>
                  <a:pt x="20633" y="3641"/>
                  <a:pt x="18133" y="4796"/>
                </a:cubicBezTo>
                <a:cubicBezTo>
                  <a:pt x="13372" y="7539"/>
                  <a:pt x="8035" y="12207"/>
                  <a:pt x="4477" y="19377"/>
                </a:cubicBezTo>
                <a:cubicBezTo>
                  <a:pt x="870" y="26450"/>
                  <a:pt x="-765" y="35738"/>
                  <a:pt x="341" y="45554"/>
                </a:cubicBezTo>
                <a:cubicBezTo>
                  <a:pt x="2698" y="65235"/>
                  <a:pt x="14767" y="86119"/>
                  <a:pt x="32078" y="104020"/>
                </a:cubicBezTo>
                <a:cubicBezTo>
                  <a:pt x="40541" y="113067"/>
                  <a:pt x="49918" y="122210"/>
                  <a:pt x="60881" y="130534"/>
                </a:cubicBezTo>
                <a:cubicBezTo>
                  <a:pt x="66363" y="134673"/>
                  <a:pt x="72278" y="138619"/>
                  <a:pt x="78866" y="141843"/>
                </a:cubicBezTo>
                <a:cubicBezTo>
                  <a:pt x="85453" y="144970"/>
                  <a:pt x="92858" y="147713"/>
                  <a:pt x="101322" y="147569"/>
                </a:cubicBezTo>
                <a:cubicBezTo>
                  <a:pt x="105505" y="147473"/>
                  <a:pt x="109881" y="146510"/>
                  <a:pt x="113776" y="144441"/>
                </a:cubicBezTo>
                <a:cubicBezTo>
                  <a:pt x="117671" y="142420"/>
                  <a:pt x="120893" y="139389"/>
                  <a:pt x="123297" y="136068"/>
                </a:cubicBezTo>
                <a:cubicBezTo>
                  <a:pt x="128057" y="129331"/>
                  <a:pt x="130029" y="121825"/>
                  <a:pt x="130942" y="114703"/>
                </a:cubicBezTo>
                <a:cubicBezTo>
                  <a:pt x="132673" y="100411"/>
                  <a:pt x="130365" y="86938"/>
                  <a:pt x="126951" y="74763"/>
                </a:cubicBezTo>
                <a:cubicBezTo>
                  <a:pt x="119786" y="50366"/>
                  <a:pt x="106467" y="30733"/>
                  <a:pt x="91753" y="18318"/>
                </a:cubicBezTo>
                <a:cubicBezTo>
                  <a:pt x="84443" y="12063"/>
                  <a:pt x="76702" y="7732"/>
                  <a:pt x="69633" y="4845"/>
                </a:cubicBezTo>
                <a:cubicBezTo>
                  <a:pt x="62516" y="2054"/>
                  <a:pt x="56025" y="754"/>
                  <a:pt x="50735" y="273"/>
                </a:cubicBezTo>
                <a:close/>
              </a:path>
            </a:pathLst>
          </a:custGeom>
          <a:solidFill>
            <a:srgbClr val="29C8C1"/>
          </a:solidFill>
          <a:ln w="0" cap="flat">
            <a:noFill/>
            <a:prstDash val="solid"/>
            <a:miter/>
          </a:ln>
        </p:spPr>
        <p:txBody>
          <a:bodyPr rtlCol="0" anchor="ctr"/>
          <a:lstStyle/>
          <a:p>
            <a:pPr rtl="0"/>
            <a:endParaRPr lang="en-AU" dirty="0"/>
          </a:p>
        </p:txBody>
      </p:sp>
      <p:sp>
        <p:nvSpPr>
          <p:cNvPr id="43" name="Freeform: Shape 42">
            <a:extLst>
              <a:ext uri="{FF2B5EF4-FFF2-40B4-BE49-F238E27FC236}">
                <a16:creationId xmlns:a16="http://schemas.microsoft.com/office/drawing/2014/main" id="{B4E01934-9A01-8393-D81B-9781C67DAB15}"/>
              </a:ext>
            </a:extLst>
          </p:cNvPr>
          <p:cNvSpPr/>
          <p:nvPr/>
        </p:nvSpPr>
        <p:spPr>
          <a:xfrm>
            <a:off x="8879542" y="2312709"/>
            <a:ext cx="650105" cy="880894"/>
          </a:xfrm>
          <a:custGeom>
            <a:avLst/>
            <a:gdLst>
              <a:gd name="connsiteX0" fmla="*/ 355675 w 650105"/>
              <a:gd name="connsiteY0" fmla="*/ 866212 h 880894"/>
              <a:gd name="connsiteX1" fmla="*/ 472668 w 650105"/>
              <a:gd name="connsiteY1" fmla="*/ 833538 h 880894"/>
              <a:gd name="connsiteX2" fmla="*/ 531477 w 650105"/>
              <a:gd name="connsiteY2" fmla="*/ 811355 h 880894"/>
              <a:gd name="connsiteX3" fmla="*/ 588891 w 650105"/>
              <a:gd name="connsiteY3" fmla="*/ 781857 h 880894"/>
              <a:gd name="connsiteX4" fmla="*/ 614617 w 650105"/>
              <a:gd name="connsiteY4" fmla="*/ 759866 h 880894"/>
              <a:gd name="connsiteX5" fmla="*/ 630870 w 650105"/>
              <a:gd name="connsiteY5" fmla="*/ 730032 h 880894"/>
              <a:gd name="connsiteX6" fmla="*/ 646161 w 650105"/>
              <a:gd name="connsiteY6" fmla="*/ 664733 h 880894"/>
              <a:gd name="connsiteX7" fmla="*/ 647652 w 650105"/>
              <a:gd name="connsiteY7" fmla="*/ 529178 h 880894"/>
              <a:gd name="connsiteX8" fmla="*/ 601345 w 650105"/>
              <a:gd name="connsiteY8" fmla="*/ 267068 h 880894"/>
              <a:gd name="connsiteX9" fmla="*/ 560809 w 650105"/>
              <a:gd name="connsiteY9" fmla="*/ 146912 h 880894"/>
              <a:gd name="connsiteX10" fmla="*/ 534554 w 650105"/>
              <a:gd name="connsiteY10" fmla="*/ 91044 h 880894"/>
              <a:gd name="connsiteX11" fmla="*/ 500942 w 650105"/>
              <a:gd name="connsiteY11" fmla="*/ 40422 h 880894"/>
              <a:gd name="connsiteX12" fmla="*/ 478678 w 650105"/>
              <a:gd name="connsiteY12" fmla="*/ 19586 h 880894"/>
              <a:gd name="connsiteX13" fmla="*/ 465166 w 650105"/>
              <a:gd name="connsiteY13" fmla="*/ 11887 h 880894"/>
              <a:gd name="connsiteX14" fmla="*/ 457665 w 650105"/>
              <a:gd name="connsiteY14" fmla="*/ 9336 h 880894"/>
              <a:gd name="connsiteX15" fmla="*/ 449827 w 650105"/>
              <a:gd name="connsiteY15" fmla="*/ 7941 h 880894"/>
              <a:gd name="connsiteX16" fmla="*/ 419725 w 650105"/>
              <a:gd name="connsiteY16" fmla="*/ 13523 h 880894"/>
              <a:gd name="connsiteX17" fmla="*/ 394192 w 650105"/>
              <a:gd name="connsiteY17" fmla="*/ 25889 h 880894"/>
              <a:gd name="connsiteX18" fmla="*/ 369043 w 650105"/>
              <a:gd name="connsiteY18" fmla="*/ 35177 h 880894"/>
              <a:gd name="connsiteX19" fmla="*/ 343076 w 650105"/>
              <a:gd name="connsiteY19" fmla="*/ 38016 h 880894"/>
              <a:gd name="connsiteX20" fmla="*/ 290519 w 650105"/>
              <a:gd name="connsiteY20" fmla="*/ 33059 h 880894"/>
              <a:gd name="connsiteX21" fmla="*/ 191366 w 650105"/>
              <a:gd name="connsiteY21" fmla="*/ 13523 h 880894"/>
              <a:gd name="connsiteX22" fmla="*/ 144290 w 650105"/>
              <a:gd name="connsiteY22" fmla="*/ 4428 h 880894"/>
              <a:gd name="connsiteX23" fmla="*/ 98224 w 650105"/>
              <a:gd name="connsiteY23" fmla="*/ 1 h 880894"/>
              <a:gd name="connsiteX24" fmla="*/ 75527 w 650105"/>
              <a:gd name="connsiteY24" fmla="*/ 2022 h 880894"/>
              <a:gd name="connsiteX25" fmla="*/ 54466 w 650105"/>
              <a:gd name="connsiteY25" fmla="*/ 10539 h 880894"/>
              <a:gd name="connsiteX26" fmla="*/ 26480 w 650105"/>
              <a:gd name="connsiteY26" fmla="*/ 42780 h 880894"/>
              <a:gd name="connsiteX27" fmla="*/ 12679 w 650105"/>
              <a:gd name="connsiteY27" fmla="*/ 80073 h 880894"/>
              <a:gd name="connsiteX28" fmla="*/ 5658 w 650105"/>
              <a:gd name="connsiteY28" fmla="*/ 116452 h 880894"/>
              <a:gd name="connsiteX29" fmla="*/ 465 w 650105"/>
              <a:gd name="connsiteY29" fmla="*/ 182521 h 880894"/>
              <a:gd name="connsiteX30" fmla="*/ 225 w 650105"/>
              <a:gd name="connsiteY30" fmla="*/ 238099 h 880894"/>
              <a:gd name="connsiteX31" fmla="*/ 3494 w 650105"/>
              <a:gd name="connsiteY31" fmla="*/ 314851 h 880894"/>
              <a:gd name="connsiteX32" fmla="*/ 5033 w 650105"/>
              <a:gd name="connsiteY32" fmla="*/ 334773 h 880894"/>
              <a:gd name="connsiteX33" fmla="*/ 5947 w 650105"/>
              <a:gd name="connsiteY33" fmla="*/ 341558 h 880894"/>
              <a:gd name="connsiteX34" fmla="*/ 6139 w 650105"/>
              <a:gd name="connsiteY34" fmla="*/ 334725 h 880894"/>
              <a:gd name="connsiteX35" fmla="*/ 5658 w 650105"/>
              <a:gd name="connsiteY35" fmla="*/ 314755 h 880894"/>
              <a:gd name="connsiteX36" fmla="*/ 4408 w 650105"/>
              <a:gd name="connsiteY36" fmla="*/ 238051 h 880894"/>
              <a:gd name="connsiteX37" fmla="*/ 5562 w 650105"/>
              <a:gd name="connsiteY37" fmla="*/ 182713 h 880894"/>
              <a:gd name="connsiteX38" fmla="*/ 11573 w 650105"/>
              <a:gd name="connsiteY38" fmla="*/ 117318 h 880894"/>
              <a:gd name="connsiteX39" fmla="*/ 18882 w 650105"/>
              <a:gd name="connsiteY39" fmla="*/ 81709 h 880894"/>
              <a:gd name="connsiteX40" fmla="*/ 32490 w 650105"/>
              <a:gd name="connsiteY40" fmla="*/ 45956 h 880894"/>
              <a:gd name="connsiteX41" fmla="*/ 58312 w 650105"/>
              <a:gd name="connsiteY41" fmla="*/ 16602 h 880894"/>
              <a:gd name="connsiteX42" fmla="*/ 98224 w 650105"/>
              <a:gd name="connsiteY42" fmla="*/ 7508 h 880894"/>
              <a:gd name="connsiteX43" fmla="*/ 143040 w 650105"/>
              <a:gd name="connsiteY43" fmla="*/ 12223 h 880894"/>
              <a:gd name="connsiteX44" fmla="*/ 189683 w 650105"/>
              <a:gd name="connsiteY44" fmla="*/ 21607 h 880894"/>
              <a:gd name="connsiteX45" fmla="*/ 289268 w 650105"/>
              <a:gd name="connsiteY45" fmla="*/ 41817 h 880894"/>
              <a:gd name="connsiteX46" fmla="*/ 342980 w 650105"/>
              <a:gd name="connsiteY46" fmla="*/ 47159 h 880894"/>
              <a:gd name="connsiteX47" fmla="*/ 371255 w 650105"/>
              <a:gd name="connsiteY47" fmla="*/ 44175 h 880894"/>
              <a:gd name="connsiteX48" fmla="*/ 398183 w 650105"/>
              <a:gd name="connsiteY48" fmla="*/ 34359 h 880894"/>
              <a:gd name="connsiteX49" fmla="*/ 423428 w 650105"/>
              <a:gd name="connsiteY49" fmla="*/ 22280 h 880894"/>
              <a:gd name="connsiteX50" fmla="*/ 448865 w 650105"/>
              <a:gd name="connsiteY50" fmla="*/ 17517 h 880894"/>
              <a:gd name="connsiteX51" fmla="*/ 473052 w 650105"/>
              <a:gd name="connsiteY51" fmla="*/ 27526 h 880894"/>
              <a:gd name="connsiteX52" fmla="*/ 493489 w 650105"/>
              <a:gd name="connsiteY52" fmla="*/ 46822 h 880894"/>
              <a:gd name="connsiteX53" fmla="*/ 525754 w 650105"/>
              <a:gd name="connsiteY53" fmla="*/ 95808 h 880894"/>
              <a:gd name="connsiteX54" fmla="*/ 551384 w 650105"/>
              <a:gd name="connsiteY54" fmla="*/ 150761 h 880894"/>
              <a:gd name="connsiteX55" fmla="*/ 591295 w 650105"/>
              <a:gd name="connsiteY55" fmla="*/ 269811 h 880894"/>
              <a:gd name="connsiteX56" fmla="*/ 637025 w 650105"/>
              <a:gd name="connsiteY56" fmla="*/ 529900 h 880894"/>
              <a:gd name="connsiteX57" fmla="*/ 635679 w 650105"/>
              <a:gd name="connsiteY57" fmla="*/ 663385 h 880894"/>
              <a:gd name="connsiteX58" fmla="*/ 621109 w 650105"/>
              <a:gd name="connsiteY58" fmla="*/ 726182 h 880894"/>
              <a:gd name="connsiteX59" fmla="*/ 606443 w 650105"/>
              <a:gd name="connsiteY59" fmla="*/ 753370 h 880894"/>
              <a:gd name="connsiteX60" fmla="*/ 583265 w 650105"/>
              <a:gd name="connsiteY60" fmla="*/ 773148 h 880894"/>
              <a:gd name="connsiteX61" fmla="*/ 527534 w 650105"/>
              <a:gd name="connsiteY61" fmla="*/ 801875 h 880894"/>
              <a:gd name="connsiteX62" fmla="*/ 469494 w 650105"/>
              <a:gd name="connsiteY62" fmla="*/ 823914 h 880894"/>
              <a:gd name="connsiteX63" fmla="*/ 353655 w 650105"/>
              <a:gd name="connsiteY63" fmla="*/ 856636 h 880894"/>
              <a:gd name="connsiteX64" fmla="*/ 240846 w 650105"/>
              <a:gd name="connsiteY64" fmla="*/ 871457 h 880894"/>
              <a:gd name="connsiteX65" fmla="*/ 134384 w 650105"/>
              <a:gd name="connsiteY65" fmla="*/ 859523 h 880894"/>
              <a:gd name="connsiteX66" fmla="*/ 87019 w 650105"/>
              <a:gd name="connsiteY66" fmla="*/ 842007 h 880894"/>
              <a:gd name="connsiteX67" fmla="*/ 50426 w 650105"/>
              <a:gd name="connsiteY67" fmla="*/ 811932 h 880894"/>
              <a:gd name="connsiteX68" fmla="*/ 39270 w 650105"/>
              <a:gd name="connsiteY68" fmla="*/ 791529 h 880894"/>
              <a:gd name="connsiteX69" fmla="*/ 30855 w 650105"/>
              <a:gd name="connsiteY69" fmla="*/ 769875 h 880894"/>
              <a:gd name="connsiteX70" fmla="*/ 19603 w 650105"/>
              <a:gd name="connsiteY70" fmla="*/ 726086 h 880894"/>
              <a:gd name="connsiteX71" fmla="*/ 9361 w 650105"/>
              <a:gd name="connsiteY71" fmla="*/ 642213 h 880894"/>
              <a:gd name="connsiteX72" fmla="*/ 6812 w 650105"/>
              <a:gd name="connsiteY72" fmla="*/ 566616 h 880894"/>
              <a:gd name="connsiteX73" fmla="*/ 8014 w 650105"/>
              <a:gd name="connsiteY73" fmla="*/ 445209 h 880894"/>
              <a:gd name="connsiteX74" fmla="*/ 7966 w 650105"/>
              <a:gd name="connsiteY74" fmla="*/ 368361 h 880894"/>
              <a:gd name="connsiteX75" fmla="*/ 6909 w 650105"/>
              <a:gd name="connsiteY75" fmla="*/ 348391 h 880894"/>
              <a:gd name="connsiteX76" fmla="*/ 6043 w 650105"/>
              <a:gd name="connsiteY76" fmla="*/ 341606 h 880894"/>
              <a:gd name="connsiteX77" fmla="*/ 5802 w 650105"/>
              <a:gd name="connsiteY77" fmla="*/ 348439 h 880894"/>
              <a:gd name="connsiteX78" fmla="*/ 5802 w 650105"/>
              <a:gd name="connsiteY78" fmla="*/ 368409 h 880894"/>
              <a:gd name="connsiteX79" fmla="*/ 3879 w 650105"/>
              <a:gd name="connsiteY79" fmla="*/ 445112 h 880894"/>
              <a:gd name="connsiteX80" fmla="*/ 850 w 650105"/>
              <a:gd name="connsiteY80" fmla="*/ 566616 h 880894"/>
              <a:gd name="connsiteX81" fmla="*/ 2581 w 650105"/>
              <a:gd name="connsiteY81" fmla="*/ 642597 h 880894"/>
              <a:gd name="connsiteX82" fmla="*/ 12150 w 650105"/>
              <a:gd name="connsiteY82" fmla="*/ 727482 h 880894"/>
              <a:gd name="connsiteX83" fmla="*/ 23306 w 650105"/>
              <a:gd name="connsiteY83" fmla="*/ 772329 h 880894"/>
              <a:gd name="connsiteX84" fmla="*/ 31865 w 650105"/>
              <a:gd name="connsiteY84" fmla="*/ 794802 h 880894"/>
              <a:gd name="connsiteX85" fmla="*/ 43742 w 650105"/>
              <a:gd name="connsiteY85" fmla="*/ 816744 h 880894"/>
              <a:gd name="connsiteX86" fmla="*/ 83029 w 650105"/>
              <a:gd name="connsiteY86" fmla="*/ 849610 h 880894"/>
              <a:gd name="connsiteX87" fmla="*/ 132172 w 650105"/>
              <a:gd name="connsiteY87" fmla="*/ 868137 h 880894"/>
              <a:gd name="connsiteX88" fmla="*/ 240846 w 650105"/>
              <a:gd name="connsiteY88" fmla="*/ 880888 h 880894"/>
              <a:gd name="connsiteX89" fmla="*/ 298116 w 650105"/>
              <a:gd name="connsiteY89" fmla="*/ 877087 h 880894"/>
              <a:gd name="connsiteX90" fmla="*/ 355819 w 650105"/>
              <a:gd name="connsiteY90" fmla="*/ 866308 h 8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50105" h="880894">
                <a:moveTo>
                  <a:pt x="355675" y="866212"/>
                </a:moveTo>
                <a:cubicBezTo>
                  <a:pt x="394288" y="857598"/>
                  <a:pt x="433382" y="846723"/>
                  <a:pt x="472668" y="833538"/>
                </a:cubicBezTo>
                <a:cubicBezTo>
                  <a:pt x="492287" y="826946"/>
                  <a:pt x="511954" y="819632"/>
                  <a:pt x="531477" y="811355"/>
                </a:cubicBezTo>
                <a:cubicBezTo>
                  <a:pt x="550952" y="803030"/>
                  <a:pt x="570426" y="793839"/>
                  <a:pt x="588891" y="781857"/>
                </a:cubicBezTo>
                <a:cubicBezTo>
                  <a:pt x="598027" y="775746"/>
                  <a:pt x="607116" y="769105"/>
                  <a:pt x="614617" y="759866"/>
                </a:cubicBezTo>
                <a:cubicBezTo>
                  <a:pt x="621734" y="750675"/>
                  <a:pt x="626735" y="740474"/>
                  <a:pt x="630870" y="730032"/>
                </a:cubicBezTo>
                <a:cubicBezTo>
                  <a:pt x="639045" y="709051"/>
                  <a:pt x="643276" y="686916"/>
                  <a:pt x="646161" y="664733"/>
                </a:cubicBezTo>
                <a:cubicBezTo>
                  <a:pt x="651499" y="620173"/>
                  <a:pt x="650826" y="574748"/>
                  <a:pt x="647652" y="529178"/>
                </a:cubicBezTo>
                <a:cubicBezTo>
                  <a:pt x="640776" y="437991"/>
                  <a:pt x="624138" y="350075"/>
                  <a:pt x="601345" y="267068"/>
                </a:cubicBezTo>
                <a:cubicBezTo>
                  <a:pt x="589805" y="225588"/>
                  <a:pt x="576629" y="185312"/>
                  <a:pt x="560809" y="146912"/>
                </a:cubicBezTo>
                <a:cubicBezTo>
                  <a:pt x="552827" y="127760"/>
                  <a:pt x="544219" y="109041"/>
                  <a:pt x="534554" y="91044"/>
                </a:cubicBezTo>
                <a:cubicBezTo>
                  <a:pt x="524793" y="73143"/>
                  <a:pt x="514021" y="55868"/>
                  <a:pt x="500942" y="40422"/>
                </a:cubicBezTo>
                <a:cubicBezTo>
                  <a:pt x="494306" y="32771"/>
                  <a:pt x="487045" y="25553"/>
                  <a:pt x="478678" y="19586"/>
                </a:cubicBezTo>
                <a:cubicBezTo>
                  <a:pt x="474495" y="16602"/>
                  <a:pt x="469975" y="14004"/>
                  <a:pt x="465166" y="11887"/>
                </a:cubicBezTo>
                <a:cubicBezTo>
                  <a:pt x="462714" y="10972"/>
                  <a:pt x="460213" y="10010"/>
                  <a:pt x="457665" y="9336"/>
                </a:cubicBezTo>
                <a:cubicBezTo>
                  <a:pt x="455068" y="8855"/>
                  <a:pt x="452472" y="8133"/>
                  <a:pt x="449827" y="7941"/>
                </a:cubicBezTo>
                <a:cubicBezTo>
                  <a:pt x="439152" y="6834"/>
                  <a:pt x="428717" y="9673"/>
                  <a:pt x="419725" y="13523"/>
                </a:cubicBezTo>
                <a:cubicBezTo>
                  <a:pt x="410637" y="17372"/>
                  <a:pt x="402463" y="21992"/>
                  <a:pt x="394192" y="25889"/>
                </a:cubicBezTo>
                <a:cubicBezTo>
                  <a:pt x="385921" y="29787"/>
                  <a:pt x="377602" y="33107"/>
                  <a:pt x="369043" y="35177"/>
                </a:cubicBezTo>
                <a:cubicBezTo>
                  <a:pt x="360483" y="37101"/>
                  <a:pt x="351780" y="38256"/>
                  <a:pt x="343076" y="38016"/>
                </a:cubicBezTo>
                <a:cubicBezTo>
                  <a:pt x="325381" y="37679"/>
                  <a:pt x="307685" y="35610"/>
                  <a:pt x="290519" y="33059"/>
                </a:cubicBezTo>
                <a:cubicBezTo>
                  <a:pt x="256089" y="27862"/>
                  <a:pt x="223198" y="20259"/>
                  <a:pt x="191366" y="13523"/>
                </a:cubicBezTo>
                <a:cubicBezTo>
                  <a:pt x="175449" y="10154"/>
                  <a:pt x="159773" y="6930"/>
                  <a:pt x="144290" y="4428"/>
                </a:cubicBezTo>
                <a:cubicBezTo>
                  <a:pt x="128806" y="1926"/>
                  <a:pt x="113467" y="-47"/>
                  <a:pt x="98224" y="1"/>
                </a:cubicBezTo>
                <a:cubicBezTo>
                  <a:pt x="90626" y="1"/>
                  <a:pt x="82980" y="482"/>
                  <a:pt x="75527" y="2022"/>
                </a:cubicBezTo>
                <a:cubicBezTo>
                  <a:pt x="68025" y="3514"/>
                  <a:pt x="60765" y="6449"/>
                  <a:pt x="54466" y="10539"/>
                </a:cubicBezTo>
                <a:cubicBezTo>
                  <a:pt x="41675" y="18623"/>
                  <a:pt x="32827" y="30653"/>
                  <a:pt x="26480" y="42780"/>
                </a:cubicBezTo>
                <a:cubicBezTo>
                  <a:pt x="20036" y="55002"/>
                  <a:pt x="15949" y="67706"/>
                  <a:pt x="12679" y="80073"/>
                </a:cubicBezTo>
                <a:cubicBezTo>
                  <a:pt x="9505" y="92488"/>
                  <a:pt x="7293" y="104662"/>
                  <a:pt x="5658" y="116452"/>
                </a:cubicBezTo>
                <a:cubicBezTo>
                  <a:pt x="2437" y="140079"/>
                  <a:pt x="1090" y="162166"/>
                  <a:pt x="465" y="182521"/>
                </a:cubicBezTo>
                <a:cubicBezTo>
                  <a:pt x="-160" y="202875"/>
                  <a:pt x="-64" y="221402"/>
                  <a:pt x="225" y="238099"/>
                </a:cubicBezTo>
                <a:cubicBezTo>
                  <a:pt x="850" y="271495"/>
                  <a:pt x="2389" y="297335"/>
                  <a:pt x="3494" y="314851"/>
                </a:cubicBezTo>
                <a:cubicBezTo>
                  <a:pt x="4071" y="323609"/>
                  <a:pt x="4600" y="330298"/>
                  <a:pt x="5033" y="334773"/>
                </a:cubicBezTo>
                <a:cubicBezTo>
                  <a:pt x="5466" y="339248"/>
                  <a:pt x="5755" y="341558"/>
                  <a:pt x="5947" y="341558"/>
                </a:cubicBezTo>
                <a:cubicBezTo>
                  <a:pt x="6139" y="341558"/>
                  <a:pt x="6187" y="339248"/>
                  <a:pt x="6139" y="334725"/>
                </a:cubicBezTo>
                <a:cubicBezTo>
                  <a:pt x="6043" y="330201"/>
                  <a:pt x="5899" y="323513"/>
                  <a:pt x="5658" y="314755"/>
                </a:cubicBezTo>
                <a:cubicBezTo>
                  <a:pt x="5225" y="297191"/>
                  <a:pt x="4360" y="271350"/>
                  <a:pt x="4408" y="238051"/>
                </a:cubicBezTo>
                <a:cubicBezTo>
                  <a:pt x="4408" y="221402"/>
                  <a:pt x="4648" y="202924"/>
                  <a:pt x="5562" y="182713"/>
                </a:cubicBezTo>
                <a:cubicBezTo>
                  <a:pt x="6476" y="162503"/>
                  <a:pt x="8111" y="140560"/>
                  <a:pt x="11573" y="117318"/>
                </a:cubicBezTo>
                <a:cubicBezTo>
                  <a:pt x="13304" y="105673"/>
                  <a:pt x="15660" y="93739"/>
                  <a:pt x="18882" y="81709"/>
                </a:cubicBezTo>
                <a:cubicBezTo>
                  <a:pt x="22152" y="69679"/>
                  <a:pt x="26287" y="57408"/>
                  <a:pt x="32490" y="45956"/>
                </a:cubicBezTo>
                <a:cubicBezTo>
                  <a:pt x="38597" y="34503"/>
                  <a:pt x="46916" y="23628"/>
                  <a:pt x="58312" y="16602"/>
                </a:cubicBezTo>
                <a:cubicBezTo>
                  <a:pt x="69468" y="9144"/>
                  <a:pt x="83702" y="7411"/>
                  <a:pt x="98224" y="7508"/>
                </a:cubicBezTo>
                <a:cubicBezTo>
                  <a:pt x="112793" y="7604"/>
                  <a:pt x="127796" y="9625"/>
                  <a:pt x="143040" y="12223"/>
                </a:cubicBezTo>
                <a:cubicBezTo>
                  <a:pt x="158283" y="14822"/>
                  <a:pt x="173814" y="18094"/>
                  <a:pt x="189683" y="21607"/>
                </a:cubicBezTo>
                <a:cubicBezTo>
                  <a:pt x="221419" y="28536"/>
                  <a:pt x="254406" y="36380"/>
                  <a:pt x="289268" y="41817"/>
                </a:cubicBezTo>
                <a:cubicBezTo>
                  <a:pt x="306724" y="44512"/>
                  <a:pt x="324515" y="46677"/>
                  <a:pt x="342980" y="47159"/>
                </a:cubicBezTo>
                <a:cubicBezTo>
                  <a:pt x="352405" y="47447"/>
                  <a:pt x="361926" y="46244"/>
                  <a:pt x="371255" y="44175"/>
                </a:cubicBezTo>
                <a:cubicBezTo>
                  <a:pt x="380583" y="41962"/>
                  <a:pt x="389576" y="38401"/>
                  <a:pt x="398183" y="34359"/>
                </a:cubicBezTo>
                <a:cubicBezTo>
                  <a:pt x="406790" y="30365"/>
                  <a:pt x="415061" y="25793"/>
                  <a:pt x="423428" y="22280"/>
                </a:cubicBezTo>
                <a:cubicBezTo>
                  <a:pt x="431795" y="18768"/>
                  <a:pt x="440354" y="16602"/>
                  <a:pt x="448865" y="17517"/>
                </a:cubicBezTo>
                <a:cubicBezTo>
                  <a:pt x="457425" y="18335"/>
                  <a:pt x="465599" y="22136"/>
                  <a:pt x="473052" y="27526"/>
                </a:cubicBezTo>
                <a:cubicBezTo>
                  <a:pt x="480506" y="32867"/>
                  <a:pt x="487238" y="39556"/>
                  <a:pt x="493489" y="46822"/>
                </a:cubicBezTo>
                <a:cubicBezTo>
                  <a:pt x="505847" y="61498"/>
                  <a:pt x="516282" y="78292"/>
                  <a:pt x="525754" y="95808"/>
                </a:cubicBezTo>
                <a:cubicBezTo>
                  <a:pt x="535179" y="113420"/>
                  <a:pt x="543594" y="131850"/>
                  <a:pt x="551384" y="150761"/>
                </a:cubicBezTo>
                <a:cubicBezTo>
                  <a:pt x="566916" y="188680"/>
                  <a:pt x="579899" y="228668"/>
                  <a:pt x="591295" y="269811"/>
                </a:cubicBezTo>
                <a:cubicBezTo>
                  <a:pt x="613752" y="352192"/>
                  <a:pt x="630197" y="439627"/>
                  <a:pt x="637025" y="529900"/>
                </a:cubicBezTo>
                <a:cubicBezTo>
                  <a:pt x="640199" y="574989"/>
                  <a:pt x="640824" y="619885"/>
                  <a:pt x="635679" y="663385"/>
                </a:cubicBezTo>
                <a:cubicBezTo>
                  <a:pt x="632938" y="685039"/>
                  <a:pt x="628754" y="706453"/>
                  <a:pt x="621109" y="726182"/>
                </a:cubicBezTo>
                <a:cubicBezTo>
                  <a:pt x="617310" y="735951"/>
                  <a:pt x="612550" y="745478"/>
                  <a:pt x="606443" y="753370"/>
                </a:cubicBezTo>
                <a:cubicBezTo>
                  <a:pt x="600336" y="760973"/>
                  <a:pt x="591921" y="767421"/>
                  <a:pt x="583265" y="773148"/>
                </a:cubicBezTo>
                <a:cubicBezTo>
                  <a:pt x="565762" y="784552"/>
                  <a:pt x="546672" y="793647"/>
                  <a:pt x="527534" y="801875"/>
                </a:cubicBezTo>
                <a:cubicBezTo>
                  <a:pt x="508347" y="810104"/>
                  <a:pt x="488921" y="817322"/>
                  <a:pt x="469494" y="823914"/>
                </a:cubicBezTo>
                <a:cubicBezTo>
                  <a:pt x="430641" y="837051"/>
                  <a:pt x="391884" y="847974"/>
                  <a:pt x="353655" y="856636"/>
                </a:cubicBezTo>
                <a:cubicBezTo>
                  <a:pt x="315331" y="865249"/>
                  <a:pt x="277872" y="872034"/>
                  <a:pt x="240846" y="871457"/>
                </a:cubicBezTo>
                <a:cubicBezTo>
                  <a:pt x="203916" y="871457"/>
                  <a:pt x="167852" y="867896"/>
                  <a:pt x="134384" y="859523"/>
                </a:cubicBezTo>
                <a:cubicBezTo>
                  <a:pt x="117698" y="855240"/>
                  <a:pt x="101590" y="849659"/>
                  <a:pt x="87019" y="842007"/>
                </a:cubicBezTo>
                <a:cubicBezTo>
                  <a:pt x="72546" y="834308"/>
                  <a:pt x="59418" y="824540"/>
                  <a:pt x="50426" y="811932"/>
                </a:cubicBezTo>
                <a:cubicBezTo>
                  <a:pt x="45954" y="805773"/>
                  <a:pt x="42540" y="798603"/>
                  <a:pt x="39270" y="791529"/>
                </a:cubicBezTo>
                <a:cubicBezTo>
                  <a:pt x="36049" y="784408"/>
                  <a:pt x="33356" y="777141"/>
                  <a:pt x="30855" y="769875"/>
                </a:cubicBezTo>
                <a:cubicBezTo>
                  <a:pt x="25950" y="755295"/>
                  <a:pt x="22488" y="740570"/>
                  <a:pt x="19603" y="726086"/>
                </a:cubicBezTo>
                <a:cubicBezTo>
                  <a:pt x="13881" y="697070"/>
                  <a:pt x="11236" y="668871"/>
                  <a:pt x="9361" y="642213"/>
                </a:cubicBezTo>
                <a:cubicBezTo>
                  <a:pt x="7630" y="615506"/>
                  <a:pt x="7053" y="590243"/>
                  <a:pt x="6812" y="566616"/>
                </a:cubicBezTo>
                <a:cubicBezTo>
                  <a:pt x="6428" y="519314"/>
                  <a:pt x="7534" y="478556"/>
                  <a:pt x="8014" y="445209"/>
                </a:cubicBezTo>
                <a:cubicBezTo>
                  <a:pt x="8591" y="411861"/>
                  <a:pt x="8543" y="385925"/>
                  <a:pt x="7966" y="368361"/>
                </a:cubicBezTo>
                <a:cubicBezTo>
                  <a:pt x="7678" y="359555"/>
                  <a:pt x="7293" y="352866"/>
                  <a:pt x="6909" y="348391"/>
                </a:cubicBezTo>
                <a:cubicBezTo>
                  <a:pt x="6524" y="343916"/>
                  <a:pt x="6235" y="341606"/>
                  <a:pt x="6043" y="341606"/>
                </a:cubicBezTo>
                <a:cubicBezTo>
                  <a:pt x="5851" y="341606"/>
                  <a:pt x="5802" y="343916"/>
                  <a:pt x="5802" y="348439"/>
                </a:cubicBezTo>
                <a:cubicBezTo>
                  <a:pt x="5802" y="352914"/>
                  <a:pt x="5802" y="359603"/>
                  <a:pt x="5802" y="368409"/>
                </a:cubicBezTo>
                <a:cubicBezTo>
                  <a:pt x="5706" y="385925"/>
                  <a:pt x="5033" y="411813"/>
                  <a:pt x="3879" y="445112"/>
                </a:cubicBezTo>
                <a:cubicBezTo>
                  <a:pt x="2773" y="478412"/>
                  <a:pt x="1090" y="519217"/>
                  <a:pt x="850" y="566616"/>
                </a:cubicBezTo>
                <a:cubicBezTo>
                  <a:pt x="802" y="590339"/>
                  <a:pt x="1138" y="615698"/>
                  <a:pt x="2581" y="642597"/>
                </a:cubicBezTo>
                <a:cubicBezTo>
                  <a:pt x="4168" y="669497"/>
                  <a:pt x="6620" y="697936"/>
                  <a:pt x="12150" y="727482"/>
                </a:cubicBezTo>
                <a:cubicBezTo>
                  <a:pt x="14987" y="742254"/>
                  <a:pt x="18353" y="757316"/>
                  <a:pt x="23306" y="772329"/>
                </a:cubicBezTo>
                <a:cubicBezTo>
                  <a:pt x="25854" y="779836"/>
                  <a:pt x="28547" y="787343"/>
                  <a:pt x="31865" y="794802"/>
                </a:cubicBezTo>
                <a:cubicBezTo>
                  <a:pt x="35231" y="802164"/>
                  <a:pt x="38693" y="809671"/>
                  <a:pt x="43742" y="816744"/>
                </a:cubicBezTo>
                <a:cubicBezTo>
                  <a:pt x="53648" y="830796"/>
                  <a:pt x="67833" y="841382"/>
                  <a:pt x="83029" y="849610"/>
                </a:cubicBezTo>
                <a:cubicBezTo>
                  <a:pt x="98368" y="857791"/>
                  <a:pt x="115005" y="863613"/>
                  <a:pt x="132172" y="868137"/>
                </a:cubicBezTo>
                <a:cubicBezTo>
                  <a:pt x="166601" y="876943"/>
                  <a:pt x="203243" y="880696"/>
                  <a:pt x="240846" y="880888"/>
                </a:cubicBezTo>
                <a:cubicBezTo>
                  <a:pt x="259599" y="880985"/>
                  <a:pt x="278930" y="879974"/>
                  <a:pt x="298116" y="877087"/>
                </a:cubicBezTo>
                <a:cubicBezTo>
                  <a:pt x="317302" y="874344"/>
                  <a:pt x="336489" y="870591"/>
                  <a:pt x="355819" y="866308"/>
                </a:cubicBezTo>
                <a:close/>
              </a:path>
            </a:pathLst>
          </a:custGeom>
          <a:solidFill>
            <a:srgbClr val="29C8C1"/>
          </a:solidFill>
          <a:ln w="0" cap="flat">
            <a:noFill/>
            <a:prstDash val="solid"/>
            <a:miter/>
          </a:ln>
        </p:spPr>
        <p:txBody>
          <a:bodyPr rtlCol="0" anchor="ctr"/>
          <a:lstStyle/>
          <a:p>
            <a:pPr rtl="0"/>
            <a:endParaRPr lang="en-AU" dirty="0"/>
          </a:p>
        </p:txBody>
      </p:sp>
      <p:sp>
        <p:nvSpPr>
          <p:cNvPr id="44" name="Freeform: Shape 43">
            <a:extLst>
              <a:ext uri="{FF2B5EF4-FFF2-40B4-BE49-F238E27FC236}">
                <a16:creationId xmlns:a16="http://schemas.microsoft.com/office/drawing/2014/main" id="{86F40A56-4EDE-AFB4-9B9E-7A8DD309518A}"/>
              </a:ext>
            </a:extLst>
          </p:cNvPr>
          <p:cNvSpPr/>
          <p:nvPr/>
        </p:nvSpPr>
        <p:spPr>
          <a:xfrm>
            <a:off x="8833123" y="2178988"/>
            <a:ext cx="749380" cy="1060244"/>
          </a:xfrm>
          <a:custGeom>
            <a:avLst/>
            <a:gdLst>
              <a:gd name="connsiteX0" fmla="*/ 0 w 749380"/>
              <a:gd name="connsiteY0" fmla="*/ 938676 h 1060244"/>
              <a:gd name="connsiteX1" fmla="*/ 5434 w 749380"/>
              <a:gd name="connsiteY1" fmla="*/ 985785 h 1060244"/>
              <a:gd name="connsiteX2" fmla="*/ 14137 w 749380"/>
              <a:gd name="connsiteY2" fmla="*/ 1007391 h 1060244"/>
              <a:gd name="connsiteX3" fmla="*/ 30823 w 749380"/>
              <a:gd name="connsiteY3" fmla="*/ 1022790 h 1060244"/>
              <a:gd name="connsiteX4" fmla="*/ 69099 w 749380"/>
              <a:gd name="connsiteY4" fmla="*/ 1039151 h 1060244"/>
              <a:gd name="connsiteX5" fmla="*/ 106222 w 749380"/>
              <a:gd name="connsiteY5" fmla="*/ 1048053 h 1060244"/>
              <a:gd name="connsiteX6" fmla="*/ 172195 w 749380"/>
              <a:gd name="connsiteY6" fmla="*/ 1056859 h 1060244"/>
              <a:gd name="connsiteX7" fmla="*/ 264039 w 749380"/>
              <a:gd name="connsiteY7" fmla="*/ 1060083 h 1060244"/>
              <a:gd name="connsiteX8" fmla="*/ 287938 w 749380"/>
              <a:gd name="connsiteY8" fmla="*/ 1058928 h 1060244"/>
              <a:gd name="connsiteX9" fmla="*/ 296016 w 749380"/>
              <a:gd name="connsiteY9" fmla="*/ 1057869 h 1060244"/>
              <a:gd name="connsiteX10" fmla="*/ 287890 w 749380"/>
              <a:gd name="connsiteY10" fmla="*/ 1057869 h 1060244"/>
              <a:gd name="connsiteX11" fmla="*/ 264039 w 749380"/>
              <a:gd name="connsiteY11" fmla="*/ 1057966 h 1060244"/>
              <a:gd name="connsiteX12" fmla="*/ 172580 w 749380"/>
              <a:gd name="connsiteY12" fmla="*/ 1052769 h 1060244"/>
              <a:gd name="connsiteX13" fmla="*/ 107231 w 749380"/>
              <a:gd name="connsiteY13" fmla="*/ 1043096 h 1060244"/>
              <a:gd name="connsiteX14" fmla="*/ 70734 w 749380"/>
              <a:gd name="connsiteY14" fmla="*/ 1033905 h 1060244"/>
              <a:gd name="connsiteX15" fmla="*/ 34045 w 749380"/>
              <a:gd name="connsiteY15" fmla="*/ 1017833 h 1060244"/>
              <a:gd name="connsiteX16" fmla="*/ 19331 w 749380"/>
              <a:gd name="connsiteY16" fmla="*/ 1004023 h 1060244"/>
              <a:gd name="connsiteX17" fmla="*/ 11637 w 749380"/>
              <a:gd name="connsiteY17" fmla="*/ 984294 h 1060244"/>
              <a:gd name="connsiteX18" fmla="*/ 6780 w 749380"/>
              <a:gd name="connsiteY18" fmla="*/ 938579 h 1060244"/>
              <a:gd name="connsiteX19" fmla="*/ 13945 w 749380"/>
              <a:gd name="connsiteY19" fmla="*/ 837671 h 1060244"/>
              <a:gd name="connsiteX20" fmla="*/ 30102 w 749380"/>
              <a:gd name="connsiteY20" fmla="*/ 726899 h 1060244"/>
              <a:gd name="connsiteX21" fmla="*/ 31544 w 749380"/>
              <a:gd name="connsiteY21" fmla="*/ 712030 h 1060244"/>
              <a:gd name="connsiteX22" fmla="*/ 32218 w 749380"/>
              <a:gd name="connsiteY22" fmla="*/ 697161 h 1060244"/>
              <a:gd name="connsiteX23" fmla="*/ 32843 w 749380"/>
              <a:gd name="connsiteY23" fmla="*/ 666989 h 1060244"/>
              <a:gd name="connsiteX24" fmla="*/ 31833 w 749380"/>
              <a:gd name="connsiteY24" fmla="*/ 605010 h 1060244"/>
              <a:gd name="connsiteX25" fmla="*/ 16782 w 749380"/>
              <a:gd name="connsiteY25" fmla="*/ 337703 h 1060244"/>
              <a:gd name="connsiteX26" fmla="*/ 16013 w 749380"/>
              <a:gd name="connsiteY26" fmla="*/ 266389 h 1060244"/>
              <a:gd name="connsiteX27" fmla="*/ 21398 w 749380"/>
              <a:gd name="connsiteY27" fmla="*/ 194016 h 1060244"/>
              <a:gd name="connsiteX28" fmla="*/ 28948 w 749380"/>
              <a:gd name="connsiteY28" fmla="*/ 158311 h 1060244"/>
              <a:gd name="connsiteX29" fmla="*/ 42941 w 749380"/>
              <a:gd name="connsiteY29" fmla="*/ 125012 h 1060244"/>
              <a:gd name="connsiteX30" fmla="*/ 67513 w 749380"/>
              <a:gd name="connsiteY30" fmla="*/ 100374 h 1060244"/>
              <a:gd name="connsiteX31" fmla="*/ 83958 w 749380"/>
              <a:gd name="connsiteY31" fmla="*/ 94600 h 1060244"/>
              <a:gd name="connsiteX32" fmla="*/ 102086 w 749380"/>
              <a:gd name="connsiteY32" fmla="*/ 92964 h 1060244"/>
              <a:gd name="connsiteX33" fmla="*/ 177437 w 749380"/>
              <a:gd name="connsiteY33" fmla="*/ 104032 h 1060244"/>
              <a:gd name="connsiteX34" fmla="*/ 253797 w 749380"/>
              <a:gd name="connsiteY34" fmla="*/ 123231 h 1060244"/>
              <a:gd name="connsiteX35" fmla="*/ 332898 w 749380"/>
              <a:gd name="connsiteY35" fmla="*/ 138870 h 1060244"/>
              <a:gd name="connsiteX36" fmla="*/ 374396 w 749380"/>
              <a:gd name="connsiteY36" fmla="*/ 139544 h 1060244"/>
              <a:gd name="connsiteX37" fmla="*/ 414692 w 749380"/>
              <a:gd name="connsiteY37" fmla="*/ 125060 h 1060244"/>
              <a:gd name="connsiteX38" fmla="*/ 443255 w 749380"/>
              <a:gd name="connsiteY38" fmla="*/ 93445 h 1060244"/>
              <a:gd name="connsiteX39" fmla="*/ 460758 w 749380"/>
              <a:gd name="connsiteY39" fmla="*/ 56008 h 1060244"/>
              <a:gd name="connsiteX40" fmla="*/ 474559 w 749380"/>
              <a:gd name="connsiteY40" fmla="*/ 18137 h 1060244"/>
              <a:gd name="connsiteX41" fmla="*/ 475905 w 749380"/>
              <a:gd name="connsiteY41" fmla="*/ 12699 h 1060244"/>
              <a:gd name="connsiteX42" fmla="*/ 476242 w 749380"/>
              <a:gd name="connsiteY42" fmla="*/ 11400 h 1060244"/>
              <a:gd name="connsiteX43" fmla="*/ 476242 w 749380"/>
              <a:gd name="connsiteY43" fmla="*/ 11400 h 1060244"/>
              <a:gd name="connsiteX44" fmla="*/ 476867 w 749380"/>
              <a:gd name="connsiteY44" fmla="*/ 11496 h 1060244"/>
              <a:gd name="connsiteX45" fmla="*/ 478694 w 749380"/>
              <a:gd name="connsiteY45" fmla="*/ 11641 h 1060244"/>
              <a:gd name="connsiteX46" fmla="*/ 480810 w 749380"/>
              <a:gd name="connsiteY46" fmla="*/ 11496 h 1060244"/>
              <a:gd name="connsiteX47" fmla="*/ 483743 w 749380"/>
              <a:gd name="connsiteY47" fmla="*/ 10823 h 1060244"/>
              <a:gd name="connsiteX48" fmla="*/ 486100 w 749380"/>
              <a:gd name="connsiteY48" fmla="*/ 10630 h 1060244"/>
              <a:gd name="connsiteX49" fmla="*/ 488600 w 749380"/>
              <a:gd name="connsiteY49" fmla="*/ 11978 h 1060244"/>
              <a:gd name="connsiteX50" fmla="*/ 494563 w 749380"/>
              <a:gd name="connsiteY50" fmla="*/ 18089 h 1060244"/>
              <a:gd name="connsiteX51" fmla="*/ 505574 w 749380"/>
              <a:gd name="connsiteY51" fmla="*/ 33872 h 1060244"/>
              <a:gd name="connsiteX52" fmla="*/ 515720 w 749380"/>
              <a:gd name="connsiteY52" fmla="*/ 50570 h 1060244"/>
              <a:gd name="connsiteX53" fmla="*/ 534714 w 749380"/>
              <a:gd name="connsiteY53" fmla="*/ 84687 h 1060244"/>
              <a:gd name="connsiteX54" fmla="*/ 569865 w 749380"/>
              <a:gd name="connsiteY54" fmla="*/ 153691 h 1060244"/>
              <a:gd name="connsiteX55" fmla="*/ 633867 w 749380"/>
              <a:gd name="connsiteY55" fmla="*/ 290305 h 1060244"/>
              <a:gd name="connsiteX56" fmla="*/ 691234 w 749380"/>
              <a:gd name="connsiteY56" fmla="*/ 423068 h 1060244"/>
              <a:gd name="connsiteX57" fmla="*/ 716383 w 749380"/>
              <a:gd name="connsiteY57" fmla="*/ 487934 h 1060244"/>
              <a:gd name="connsiteX58" fmla="*/ 721720 w 749380"/>
              <a:gd name="connsiteY58" fmla="*/ 504006 h 1060244"/>
              <a:gd name="connsiteX59" fmla="*/ 724028 w 749380"/>
              <a:gd name="connsiteY59" fmla="*/ 511994 h 1060244"/>
              <a:gd name="connsiteX60" fmla="*/ 725904 w 749380"/>
              <a:gd name="connsiteY60" fmla="*/ 520175 h 1060244"/>
              <a:gd name="connsiteX61" fmla="*/ 731914 w 749380"/>
              <a:gd name="connsiteY61" fmla="*/ 553089 h 1060244"/>
              <a:gd name="connsiteX62" fmla="*/ 740329 w 749380"/>
              <a:gd name="connsiteY62" fmla="*/ 681907 h 1060244"/>
              <a:gd name="connsiteX63" fmla="*/ 731626 w 749380"/>
              <a:gd name="connsiteY63" fmla="*/ 802303 h 1060244"/>
              <a:gd name="connsiteX64" fmla="*/ 705996 w 749380"/>
              <a:gd name="connsiteY64" fmla="*/ 910140 h 1060244"/>
              <a:gd name="connsiteX65" fmla="*/ 682819 w 749380"/>
              <a:gd name="connsiteY65" fmla="*/ 955614 h 1060244"/>
              <a:gd name="connsiteX66" fmla="*/ 675125 w 749380"/>
              <a:gd name="connsiteY66" fmla="*/ 965046 h 1060244"/>
              <a:gd name="connsiteX67" fmla="*/ 666325 w 749380"/>
              <a:gd name="connsiteY67" fmla="*/ 972985 h 1060244"/>
              <a:gd name="connsiteX68" fmla="*/ 656323 w 749380"/>
              <a:gd name="connsiteY68" fmla="*/ 979337 h 1060244"/>
              <a:gd name="connsiteX69" fmla="*/ 645841 w 749380"/>
              <a:gd name="connsiteY69" fmla="*/ 984919 h 1060244"/>
              <a:gd name="connsiteX70" fmla="*/ 560825 w 749380"/>
              <a:gd name="connsiteY70" fmla="*/ 1014032 h 1060244"/>
              <a:gd name="connsiteX71" fmla="*/ 483984 w 749380"/>
              <a:gd name="connsiteY71" fmla="*/ 1030970 h 1060244"/>
              <a:gd name="connsiteX72" fmla="*/ 418683 w 749380"/>
              <a:gd name="connsiteY72" fmla="*/ 1042086 h 1060244"/>
              <a:gd name="connsiteX73" fmla="*/ 327753 w 749380"/>
              <a:gd name="connsiteY73" fmla="*/ 1054020 h 1060244"/>
              <a:gd name="connsiteX74" fmla="*/ 304047 w 749380"/>
              <a:gd name="connsiteY74" fmla="*/ 1056714 h 1060244"/>
              <a:gd name="connsiteX75" fmla="*/ 295968 w 749380"/>
              <a:gd name="connsiteY75" fmla="*/ 1057966 h 1060244"/>
              <a:gd name="connsiteX76" fmla="*/ 304095 w 749380"/>
              <a:gd name="connsiteY76" fmla="*/ 1057821 h 1060244"/>
              <a:gd name="connsiteX77" fmla="*/ 327945 w 749380"/>
              <a:gd name="connsiteY77" fmla="*/ 1056185 h 1060244"/>
              <a:gd name="connsiteX78" fmla="*/ 419260 w 749380"/>
              <a:gd name="connsiteY78" fmla="*/ 1046224 h 1060244"/>
              <a:gd name="connsiteX79" fmla="*/ 484897 w 749380"/>
              <a:gd name="connsiteY79" fmla="*/ 1036023 h 1060244"/>
              <a:gd name="connsiteX80" fmla="*/ 562316 w 749380"/>
              <a:gd name="connsiteY80" fmla="*/ 1019854 h 1060244"/>
              <a:gd name="connsiteX81" fmla="*/ 648870 w 749380"/>
              <a:gd name="connsiteY81" fmla="*/ 991079 h 1060244"/>
              <a:gd name="connsiteX82" fmla="*/ 659834 w 749380"/>
              <a:gd name="connsiteY82" fmla="*/ 985352 h 1060244"/>
              <a:gd name="connsiteX83" fmla="*/ 670605 w 749380"/>
              <a:gd name="connsiteY83" fmla="*/ 978615 h 1060244"/>
              <a:gd name="connsiteX84" fmla="*/ 680366 w 749380"/>
              <a:gd name="connsiteY84" fmla="*/ 969954 h 1060244"/>
              <a:gd name="connsiteX85" fmla="*/ 688733 w 749380"/>
              <a:gd name="connsiteY85" fmla="*/ 959897 h 1060244"/>
              <a:gd name="connsiteX86" fmla="*/ 713209 w 749380"/>
              <a:gd name="connsiteY86" fmla="*/ 912883 h 1060244"/>
              <a:gd name="connsiteX87" fmla="*/ 739945 w 749380"/>
              <a:gd name="connsiteY87" fmla="*/ 803506 h 1060244"/>
              <a:gd name="connsiteX88" fmla="*/ 749321 w 749380"/>
              <a:gd name="connsiteY88" fmla="*/ 682051 h 1060244"/>
              <a:gd name="connsiteX89" fmla="*/ 741339 w 749380"/>
              <a:gd name="connsiteY89" fmla="*/ 551742 h 1060244"/>
              <a:gd name="connsiteX90" fmla="*/ 735329 w 749380"/>
              <a:gd name="connsiteY90" fmla="*/ 518250 h 1060244"/>
              <a:gd name="connsiteX91" fmla="*/ 733453 w 749380"/>
              <a:gd name="connsiteY91" fmla="*/ 509829 h 1060244"/>
              <a:gd name="connsiteX92" fmla="*/ 731049 w 749380"/>
              <a:gd name="connsiteY92" fmla="*/ 501408 h 1060244"/>
              <a:gd name="connsiteX93" fmla="*/ 725615 w 749380"/>
              <a:gd name="connsiteY93" fmla="*/ 484854 h 1060244"/>
              <a:gd name="connsiteX94" fmla="*/ 700514 w 749380"/>
              <a:gd name="connsiteY94" fmla="*/ 419459 h 1060244"/>
              <a:gd name="connsiteX95" fmla="*/ 643340 w 749380"/>
              <a:gd name="connsiteY95" fmla="*/ 286214 h 1060244"/>
              <a:gd name="connsiteX96" fmla="*/ 579434 w 749380"/>
              <a:gd name="connsiteY96" fmla="*/ 149168 h 1060244"/>
              <a:gd name="connsiteX97" fmla="*/ 544187 w 749380"/>
              <a:gd name="connsiteY97" fmla="*/ 79827 h 1060244"/>
              <a:gd name="connsiteX98" fmla="*/ 525001 w 749380"/>
              <a:gd name="connsiteY98" fmla="*/ 45325 h 1060244"/>
              <a:gd name="connsiteX99" fmla="*/ 514663 w 749380"/>
              <a:gd name="connsiteY99" fmla="*/ 28242 h 1060244"/>
              <a:gd name="connsiteX100" fmla="*/ 502978 w 749380"/>
              <a:gd name="connsiteY100" fmla="*/ 11496 h 1060244"/>
              <a:gd name="connsiteX101" fmla="*/ 495044 w 749380"/>
              <a:gd name="connsiteY101" fmla="*/ 3508 h 1060244"/>
              <a:gd name="connsiteX102" fmla="*/ 488744 w 749380"/>
              <a:gd name="connsiteY102" fmla="*/ 381 h 1060244"/>
              <a:gd name="connsiteX103" fmla="*/ 481291 w 749380"/>
              <a:gd name="connsiteY103" fmla="*/ 621 h 1060244"/>
              <a:gd name="connsiteX104" fmla="*/ 479368 w 749380"/>
              <a:gd name="connsiteY104" fmla="*/ 1054 h 1060244"/>
              <a:gd name="connsiteX105" fmla="*/ 479031 w 749380"/>
              <a:gd name="connsiteY105" fmla="*/ 1054 h 1060244"/>
              <a:gd name="connsiteX106" fmla="*/ 478406 w 749380"/>
              <a:gd name="connsiteY106" fmla="*/ 1054 h 1060244"/>
              <a:gd name="connsiteX107" fmla="*/ 476531 w 749380"/>
              <a:gd name="connsiteY107" fmla="*/ 910 h 1060244"/>
              <a:gd name="connsiteX108" fmla="*/ 474078 w 749380"/>
              <a:gd name="connsiteY108" fmla="*/ 1102 h 1060244"/>
              <a:gd name="connsiteX109" fmla="*/ 469654 w 749380"/>
              <a:gd name="connsiteY109" fmla="*/ 3075 h 1060244"/>
              <a:gd name="connsiteX110" fmla="*/ 465663 w 749380"/>
              <a:gd name="connsiteY110" fmla="*/ 10486 h 1060244"/>
              <a:gd name="connsiteX111" fmla="*/ 464653 w 749380"/>
              <a:gd name="connsiteY111" fmla="*/ 14769 h 1060244"/>
              <a:gd name="connsiteX112" fmla="*/ 450949 w 749380"/>
              <a:gd name="connsiteY112" fmla="*/ 52350 h 1060244"/>
              <a:gd name="connsiteX113" fmla="*/ 434311 w 749380"/>
              <a:gd name="connsiteY113" fmla="*/ 88056 h 1060244"/>
              <a:gd name="connsiteX114" fmla="*/ 408826 w 749380"/>
              <a:gd name="connsiteY114" fmla="*/ 116398 h 1060244"/>
              <a:gd name="connsiteX115" fmla="*/ 334293 w 749380"/>
              <a:gd name="connsiteY115" fmla="*/ 128428 h 1060244"/>
              <a:gd name="connsiteX116" fmla="*/ 256538 w 749380"/>
              <a:gd name="connsiteY116" fmla="*/ 113078 h 1060244"/>
              <a:gd name="connsiteX117" fmla="*/ 179985 w 749380"/>
              <a:gd name="connsiteY117" fmla="*/ 93926 h 1060244"/>
              <a:gd name="connsiteX118" fmla="*/ 102182 w 749380"/>
              <a:gd name="connsiteY118" fmla="*/ 82666 h 1060244"/>
              <a:gd name="connsiteX119" fmla="*/ 82131 w 749380"/>
              <a:gd name="connsiteY119" fmla="*/ 84495 h 1060244"/>
              <a:gd name="connsiteX120" fmla="*/ 62704 w 749380"/>
              <a:gd name="connsiteY120" fmla="*/ 91376 h 1060244"/>
              <a:gd name="connsiteX121" fmla="*/ 34285 w 749380"/>
              <a:gd name="connsiteY121" fmla="*/ 119767 h 1060244"/>
              <a:gd name="connsiteX122" fmla="*/ 19234 w 749380"/>
              <a:gd name="connsiteY122" fmla="*/ 155568 h 1060244"/>
              <a:gd name="connsiteX123" fmla="*/ 11444 w 749380"/>
              <a:gd name="connsiteY123" fmla="*/ 192621 h 1060244"/>
              <a:gd name="connsiteX124" fmla="*/ 6155 w 749380"/>
              <a:gd name="connsiteY124" fmla="*/ 266293 h 1060244"/>
              <a:gd name="connsiteX125" fmla="*/ 7117 w 749380"/>
              <a:gd name="connsiteY125" fmla="*/ 338136 h 1060244"/>
              <a:gd name="connsiteX126" fmla="*/ 23129 w 749380"/>
              <a:gd name="connsiteY126" fmla="*/ 605444 h 1060244"/>
              <a:gd name="connsiteX127" fmla="*/ 24428 w 749380"/>
              <a:gd name="connsiteY127" fmla="*/ 667037 h 1060244"/>
              <a:gd name="connsiteX128" fmla="*/ 23947 w 749380"/>
              <a:gd name="connsiteY128" fmla="*/ 696968 h 1060244"/>
              <a:gd name="connsiteX129" fmla="*/ 23370 w 749380"/>
              <a:gd name="connsiteY129" fmla="*/ 711693 h 1060244"/>
              <a:gd name="connsiteX130" fmla="*/ 22023 w 749380"/>
              <a:gd name="connsiteY130" fmla="*/ 726033 h 1060244"/>
              <a:gd name="connsiteX131" fmla="*/ 6540 w 749380"/>
              <a:gd name="connsiteY131" fmla="*/ 836902 h 1060244"/>
              <a:gd name="connsiteX132" fmla="*/ 96 w 749380"/>
              <a:gd name="connsiteY132" fmla="*/ 938868 h 106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749380" h="1060244">
                <a:moveTo>
                  <a:pt x="0" y="938676"/>
                </a:moveTo>
                <a:cubicBezTo>
                  <a:pt x="481" y="954844"/>
                  <a:pt x="1635" y="970724"/>
                  <a:pt x="5434" y="985785"/>
                </a:cubicBezTo>
                <a:cubicBezTo>
                  <a:pt x="7309" y="993340"/>
                  <a:pt x="9810" y="1000654"/>
                  <a:pt x="14137" y="1007391"/>
                </a:cubicBezTo>
                <a:cubicBezTo>
                  <a:pt x="18657" y="1013984"/>
                  <a:pt x="24716" y="1018748"/>
                  <a:pt x="30823" y="1022790"/>
                </a:cubicBezTo>
                <a:cubicBezTo>
                  <a:pt x="43325" y="1030441"/>
                  <a:pt x="56405" y="1035253"/>
                  <a:pt x="69099" y="1039151"/>
                </a:cubicBezTo>
                <a:cubicBezTo>
                  <a:pt x="81842" y="1043000"/>
                  <a:pt x="94296" y="1045743"/>
                  <a:pt x="106222" y="1048053"/>
                </a:cubicBezTo>
                <a:cubicBezTo>
                  <a:pt x="130168" y="1052576"/>
                  <a:pt x="152288" y="1055127"/>
                  <a:pt x="172195" y="1056859"/>
                </a:cubicBezTo>
                <a:cubicBezTo>
                  <a:pt x="212010" y="1060275"/>
                  <a:pt x="243026" y="1060516"/>
                  <a:pt x="264039" y="1060083"/>
                </a:cubicBezTo>
                <a:cubicBezTo>
                  <a:pt x="274522" y="1059842"/>
                  <a:pt x="282552" y="1059409"/>
                  <a:pt x="287938" y="1058928"/>
                </a:cubicBezTo>
                <a:cubicBezTo>
                  <a:pt x="293323" y="1058495"/>
                  <a:pt x="296064" y="1058062"/>
                  <a:pt x="296016" y="1057869"/>
                </a:cubicBezTo>
                <a:cubicBezTo>
                  <a:pt x="296016" y="1057677"/>
                  <a:pt x="293228" y="1057725"/>
                  <a:pt x="287890" y="1057869"/>
                </a:cubicBezTo>
                <a:cubicBezTo>
                  <a:pt x="282504" y="1057966"/>
                  <a:pt x="274522" y="1058062"/>
                  <a:pt x="264039" y="1057966"/>
                </a:cubicBezTo>
                <a:cubicBezTo>
                  <a:pt x="243122" y="1057677"/>
                  <a:pt x="212155" y="1056811"/>
                  <a:pt x="172580" y="1052769"/>
                </a:cubicBezTo>
                <a:cubicBezTo>
                  <a:pt x="152817" y="1050699"/>
                  <a:pt x="130890" y="1047860"/>
                  <a:pt x="107231" y="1043096"/>
                </a:cubicBezTo>
                <a:cubicBezTo>
                  <a:pt x="95402" y="1040690"/>
                  <a:pt x="83141" y="1037803"/>
                  <a:pt x="70734" y="1033905"/>
                </a:cubicBezTo>
                <a:cubicBezTo>
                  <a:pt x="58376" y="1029960"/>
                  <a:pt x="45633" y="1025100"/>
                  <a:pt x="34045" y="1017833"/>
                </a:cubicBezTo>
                <a:cubicBezTo>
                  <a:pt x="28419" y="1014032"/>
                  <a:pt x="23033" y="1009605"/>
                  <a:pt x="19331" y="1004023"/>
                </a:cubicBezTo>
                <a:cubicBezTo>
                  <a:pt x="15772" y="998441"/>
                  <a:pt x="13320" y="991415"/>
                  <a:pt x="11637" y="984294"/>
                </a:cubicBezTo>
                <a:cubicBezTo>
                  <a:pt x="8175" y="969954"/>
                  <a:pt x="7117" y="954459"/>
                  <a:pt x="6780" y="938579"/>
                </a:cubicBezTo>
                <a:cubicBezTo>
                  <a:pt x="6444" y="906724"/>
                  <a:pt x="9521" y="872944"/>
                  <a:pt x="13945" y="837671"/>
                </a:cubicBezTo>
                <a:cubicBezTo>
                  <a:pt x="18273" y="802351"/>
                  <a:pt x="24716" y="765684"/>
                  <a:pt x="30102" y="726899"/>
                </a:cubicBezTo>
                <a:cubicBezTo>
                  <a:pt x="30727" y="722087"/>
                  <a:pt x="31304" y="717034"/>
                  <a:pt x="31544" y="712030"/>
                </a:cubicBezTo>
                <a:cubicBezTo>
                  <a:pt x="31785" y="707073"/>
                  <a:pt x="31977" y="702117"/>
                  <a:pt x="32218" y="697161"/>
                </a:cubicBezTo>
                <a:cubicBezTo>
                  <a:pt x="32602" y="687200"/>
                  <a:pt x="32795" y="677143"/>
                  <a:pt x="32843" y="666989"/>
                </a:cubicBezTo>
                <a:cubicBezTo>
                  <a:pt x="32939" y="646683"/>
                  <a:pt x="32554" y="626039"/>
                  <a:pt x="31833" y="605010"/>
                </a:cubicBezTo>
                <a:cubicBezTo>
                  <a:pt x="28996" y="520993"/>
                  <a:pt x="20388" y="431682"/>
                  <a:pt x="16782" y="337703"/>
                </a:cubicBezTo>
                <a:cubicBezTo>
                  <a:pt x="15965" y="314220"/>
                  <a:pt x="15532" y="290401"/>
                  <a:pt x="16013" y="266389"/>
                </a:cubicBezTo>
                <a:cubicBezTo>
                  <a:pt x="16493" y="242377"/>
                  <a:pt x="17840" y="218124"/>
                  <a:pt x="21398" y="194016"/>
                </a:cubicBezTo>
                <a:cubicBezTo>
                  <a:pt x="23177" y="181986"/>
                  <a:pt x="25534" y="170004"/>
                  <a:pt x="28948" y="158311"/>
                </a:cubicBezTo>
                <a:cubicBezTo>
                  <a:pt x="32362" y="146666"/>
                  <a:pt x="36690" y="135213"/>
                  <a:pt x="42941" y="125012"/>
                </a:cubicBezTo>
                <a:cubicBezTo>
                  <a:pt x="49048" y="114762"/>
                  <a:pt x="57366" y="106004"/>
                  <a:pt x="67513" y="100374"/>
                </a:cubicBezTo>
                <a:cubicBezTo>
                  <a:pt x="72658" y="97632"/>
                  <a:pt x="78188" y="95755"/>
                  <a:pt x="83958" y="94600"/>
                </a:cubicBezTo>
                <a:cubicBezTo>
                  <a:pt x="89776" y="93445"/>
                  <a:pt x="95931" y="93060"/>
                  <a:pt x="102086" y="92964"/>
                </a:cubicBezTo>
                <a:cubicBezTo>
                  <a:pt x="126899" y="92964"/>
                  <a:pt x="152240" y="98353"/>
                  <a:pt x="177437" y="104032"/>
                </a:cubicBezTo>
                <a:cubicBezTo>
                  <a:pt x="202682" y="109902"/>
                  <a:pt x="228071" y="116831"/>
                  <a:pt x="253797" y="123231"/>
                </a:cubicBezTo>
                <a:cubicBezTo>
                  <a:pt x="279571" y="129583"/>
                  <a:pt x="305730" y="135743"/>
                  <a:pt x="332898" y="138870"/>
                </a:cubicBezTo>
                <a:cubicBezTo>
                  <a:pt x="346458" y="140362"/>
                  <a:pt x="360355" y="141036"/>
                  <a:pt x="374396" y="139544"/>
                </a:cubicBezTo>
                <a:cubicBezTo>
                  <a:pt x="388437" y="138101"/>
                  <a:pt x="402815" y="133481"/>
                  <a:pt x="414692" y="125060"/>
                </a:cubicBezTo>
                <a:cubicBezTo>
                  <a:pt x="426666" y="116735"/>
                  <a:pt x="435994" y="105427"/>
                  <a:pt x="443255" y="93445"/>
                </a:cubicBezTo>
                <a:cubicBezTo>
                  <a:pt x="450516" y="81415"/>
                  <a:pt x="455902" y="68663"/>
                  <a:pt x="460758" y="56008"/>
                </a:cubicBezTo>
                <a:cubicBezTo>
                  <a:pt x="465615" y="43208"/>
                  <a:pt x="469702" y="30793"/>
                  <a:pt x="474559" y="18137"/>
                </a:cubicBezTo>
                <a:cubicBezTo>
                  <a:pt x="475280" y="15972"/>
                  <a:pt x="475569" y="14095"/>
                  <a:pt x="475905" y="12699"/>
                </a:cubicBezTo>
                <a:cubicBezTo>
                  <a:pt x="476338" y="10967"/>
                  <a:pt x="476242" y="11496"/>
                  <a:pt x="476242" y="11400"/>
                </a:cubicBezTo>
                <a:lnTo>
                  <a:pt x="476242" y="11400"/>
                </a:lnTo>
                <a:cubicBezTo>
                  <a:pt x="476242" y="11400"/>
                  <a:pt x="476867" y="11496"/>
                  <a:pt x="476867" y="11496"/>
                </a:cubicBezTo>
                <a:cubicBezTo>
                  <a:pt x="476867" y="11496"/>
                  <a:pt x="477973" y="11641"/>
                  <a:pt x="478694" y="11641"/>
                </a:cubicBezTo>
                <a:cubicBezTo>
                  <a:pt x="479464" y="11641"/>
                  <a:pt x="480185" y="11593"/>
                  <a:pt x="480810" y="11496"/>
                </a:cubicBezTo>
                <a:cubicBezTo>
                  <a:pt x="482060" y="11304"/>
                  <a:pt x="483070" y="11015"/>
                  <a:pt x="483743" y="10823"/>
                </a:cubicBezTo>
                <a:cubicBezTo>
                  <a:pt x="485234" y="10438"/>
                  <a:pt x="485474" y="10486"/>
                  <a:pt x="486100" y="10630"/>
                </a:cubicBezTo>
                <a:cubicBezTo>
                  <a:pt x="486677" y="10775"/>
                  <a:pt x="487590" y="11208"/>
                  <a:pt x="488600" y="11978"/>
                </a:cubicBezTo>
                <a:cubicBezTo>
                  <a:pt x="490572" y="13469"/>
                  <a:pt x="492687" y="15731"/>
                  <a:pt x="494563" y="18089"/>
                </a:cubicBezTo>
                <a:cubicBezTo>
                  <a:pt x="498217" y="23382"/>
                  <a:pt x="502016" y="28483"/>
                  <a:pt x="505574" y="33872"/>
                </a:cubicBezTo>
                <a:cubicBezTo>
                  <a:pt x="508940" y="39454"/>
                  <a:pt x="512354" y="45036"/>
                  <a:pt x="515720" y="50570"/>
                </a:cubicBezTo>
                <a:cubicBezTo>
                  <a:pt x="522308" y="61830"/>
                  <a:pt x="528560" y="73283"/>
                  <a:pt x="534714" y="84687"/>
                </a:cubicBezTo>
                <a:cubicBezTo>
                  <a:pt x="546880" y="107641"/>
                  <a:pt x="558565" y="130690"/>
                  <a:pt x="569865" y="153691"/>
                </a:cubicBezTo>
                <a:cubicBezTo>
                  <a:pt x="592465" y="199646"/>
                  <a:pt x="613623" y="245360"/>
                  <a:pt x="633867" y="290305"/>
                </a:cubicBezTo>
                <a:cubicBezTo>
                  <a:pt x="654063" y="335297"/>
                  <a:pt x="673346" y="379519"/>
                  <a:pt x="691234" y="423068"/>
                </a:cubicBezTo>
                <a:cubicBezTo>
                  <a:pt x="700033" y="444867"/>
                  <a:pt x="708833" y="466424"/>
                  <a:pt x="716383" y="487934"/>
                </a:cubicBezTo>
                <a:cubicBezTo>
                  <a:pt x="718210" y="493324"/>
                  <a:pt x="720325" y="498665"/>
                  <a:pt x="721720" y="504006"/>
                </a:cubicBezTo>
                <a:lnTo>
                  <a:pt x="724028" y="511994"/>
                </a:lnTo>
                <a:cubicBezTo>
                  <a:pt x="724798" y="514641"/>
                  <a:pt x="725278" y="517480"/>
                  <a:pt x="725904" y="520175"/>
                </a:cubicBezTo>
                <a:cubicBezTo>
                  <a:pt x="728356" y="531146"/>
                  <a:pt x="730231" y="542118"/>
                  <a:pt x="731914" y="553089"/>
                </a:cubicBezTo>
                <a:cubicBezTo>
                  <a:pt x="738502" y="596926"/>
                  <a:pt x="740570" y="640186"/>
                  <a:pt x="740329" y="681907"/>
                </a:cubicBezTo>
                <a:cubicBezTo>
                  <a:pt x="740041" y="723627"/>
                  <a:pt x="736963" y="763951"/>
                  <a:pt x="731626" y="802303"/>
                </a:cubicBezTo>
                <a:cubicBezTo>
                  <a:pt x="726144" y="840607"/>
                  <a:pt x="718258" y="877130"/>
                  <a:pt x="705996" y="910140"/>
                </a:cubicBezTo>
                <a:cubicBezTo>
                  <a:pt x="699793" y="926598"/>
                  <a:pt x="692388" y="942188"/>
                  <a:pt x="682819" y="955614"/>
                </a:cubicBezTo>
                <a:cubicBezTo>
                  <a:pt x="680414" y="958934"/>
                  <a:pt x="677770" y="962062"/>
                  <a:pt x="675125" y="965046"/>
                </a:cubicBezTo>
                <a:cubicBezTo>
                  <a:pt x="672240" y="967788"/>
                  <a:pt x="669547" y="970820"/>
                  <a:pt x="666325" y="972985"/>
                </a:cubicBezTo>
                <a:cubicBezTo>
                  <a:pt x="663392" y="975488"/>
                  <a:pt x="659737" y="977364"/>
                  <a:pt x="656323" y="979337"/>
                </a:cubicBezTo>
                <a:cubicBezTo>
                  <a:pt x="652861" y="981310"/>
                  <a:pt x="649495" y="983379"/>
                  <a:pt x="645841" y="984919"/>
                </a:cubicBezTo>
                <a:cubicBezTo>
                  <a:pt x="617229" y="998489"/>
                  <a:pt x="588042" y="1006862"/>
                  <a:pt x="560825" y="1014032"/>
                </a:cubicBezTo>
                <a:cubicBezTo>
                  <a:pt x="533512" y="1021009"/>
                  <a:pt x="507786" y="1026543"/>
                  <a:pt x="483984" y="1030970"/>
                </a:cubicBezTo>
                <a:cubicBezTo>
                  <a:pt x="460181" y="1035494"/>
                  <a:pt x="438350" y="1039054"/>
                  <a:pt x="418683" y="1042086"/>
                </a:cubicBezTo>
                <a:cubicBezTo>
                  <a:pt x="379301" y="1048005"/>
                  <a:pt x="348574" y="1051710"/>
                  <a:pt x="327753" y="1054020"/>
                </a:cubicBezTo>
                <a:cubicBezTo>
                  <a:pt x="317318" y="1055175"/>
                  <a:pt x="309384" y="1056089"/>
                  <a:pt x="304047" y="1056714"/>
                </a:cubicBezTo>
                <a:cubicBezTo>
                  <a:pt x="298709" y="1057340"/>
                  <a:pt x="295968" y="1057773"/>
                  <a:pt x="295968" y="1057966"/>
                </a:cubicBezTo>
                <a:cubicBezTo>
                  <a:pt x="295968" y="1058158"/>
                  <a:pt x="298757" y="1058110"/>
                  <a:pt x="304095" y="1057821"/>
                </a:cubicBezTo>
                <a:cubicBezTo>
                  <a:pt x="309480" y="1057533"/>
                  <a:pt x="317463" y="1057099"/>
                  <a:pt x="327945" y="1056185"/>
                </a:cubicBezTo>
                <a:cubicBezTo>
                  <a:pt x="348863" y="1054549"/>
                  <a:pt x="379734" y="1051517"/>
                  <a:pt x="419260" y="1046224"/>
                </a:cubicBezTo>
                <a:cubicBezTo>
                  <a:pt x="439023" y="1043530"/>
                  <a:pt x="460951" y="1040257"/>
                  <a:pt x="484897" y="1036023"/>
                </a:cubicBezTo>
                <a:cubicBezTo>
                  <a:pt x="508844" y="1031885"/>
                  <a:pt x="534714" y="1026639"/>
                  <a:pt x="562316" y="1019854"/>
                </a:cubicBezTo>
                <a:cubicBezTo>
                  <a:pt x="589821" y="1012925"/>
                  <a:pt x="619249" y="1004793"/>
                  <a:pt x="648870" y="991079"/>
                </a:cubicBezTo>
                <a:cubicBezTo>
                  <a:pt x="652621" y="989539"/>
                  <a:pt x="656179" y="987421"/>
                  <a:pt x="659834" y="985352"/>
                </a:cubicBezTo>
                <a:cubicBezTo>
                  <a:pt x="663440" y="983283"/>
                  <a:pt x="667191" y="981406"/>
                  <a:pt x="670605" y="978615"/>
                </a:cubicBezTo>
                <a:cubicBezTo>
                  <a:pt x="674259" y="976161"/>
                  <a:pt x="677193" y="972985"/>
                  <a:pt x="680366" y="969954"/>
                </a:cubicBezTo>
                <a:cubicBezTo>
                  <a:pt x="683251" y="966730"/>
                  <a:pt x="686137" y="963409"/>
                  <a:pt x="688733" y="959897"/>
                </a:cubicBezTo>
                <a:cubicBezTo>
                  <a:pt x="699023" y="945749"/>
                  <a:pt x="706717" y="929677"/>
                  <a:pt x="713209" y="912883"/>
                </a:cubicBezTo>
                <a:cubicBezTo>
                  <a:pt x="726000" y="879103"/>
                  <a:pt x="734174" y="842195"/>
                  <a:pt x="739945" y="803506"/>
                </a:cubicBezTo>
                <a:cubicBezTo>
                  <a:pt x="745571" y="764769"/>
                  <a:pt x="748841" y="724156"/>
                  <a:pt x="749321" y="682051"/>
                </a:cubicBezTo>
                <a:cubicBezTo>
                  <a:pt x="749754" y="639946"/>
                  <a:pt x="747879" y="596301"/>
                  <a:pt x="741339" y="551742"/>
                </a:cubicBezTo>
                <a:cubicBezTo>
                  <a:pt x="739656" y="540626"/>
                  <a:pt x="737781" y="529414"/>
                  <a:pt x="735329" y="518250"/>
                </a:cubicBezTo>
                <a:cubicBezTo>
                  <a:pt x="734703" y="515459"/>
                  <a:pt x="734222" y="512668"/>
                  <a:pt x="733453" y="509829"/>
                </a:cubicBezTo>
                <a:lnTo>
                  <a:pt x="731049" y="501408"/>
                </a:lnTo>
                <a:cubicBezTo>
                  <a:pt x="729558" y="495681"/>
                  <a:pt x="727490" y="490340"/>
                  <a:pt x="725615" y="484854"/>
                </a:cubicBezTo>
                <a:cubicBezTo>
                  <a:pt x="718017" y="462960"/>
                  <a:pt x="709314" y="441354"/>
                  <a:pt x="700514" y="419459"/>
                </a:cubicBezTo>
                <a:cubicBezTo>
                  <a:pt x="682674" y="375718"/>
                  <a:pt x="663488" y="331351"/>
                  <a:pt x="643340" y="286214"/>
                </a:cubicBezTo>
                <a:cubicBezTo>
                  <a:pt x="623144" y="241126"/>
                  <a:pt x="602034" y="195315"/>
                  <a:pt x="579434" y="149168"/>
                </a:cubicBezTo>
                <a:cubicBezTo>
                  <a:pt x="568134" y="126119"/>
                  <a:pt x="556449" y="102925"/>
                  <a:pt x="544187" y="79827"/>
                </a:cubicBezTo>
                <a:cubicBezTo>
                  <a:pt x="537936" y="68326"/>
                  <a:pt x="531637" y="56777"/>
                  <a:pt x="525001" y="45325"/>
                </a:cubicBezTo>
                <a:cubicBezTo>
                  <a:pt x="521539" y="39647"/>
                  <a:pt x="518125" y="33968"/>
                  <a:pt x="514663" y="28242"/>
                </a:cubicBezTo>
                <a:cubicBezTo>
                  <a:pt x="510960" y="22612"/>
                  <a:pt x="506873" y="17078"/>
                  <a:pt x="502978" y="11496"/>
                </a:cubicBezTo>
                <a:cubicBezTo>
                  <a:pt x="500718" y="8754"/>
                  <a:pt x="498361" y="6011"/>
                  <a:pt x="495044" y="3508"/>
                </a:cubicBezTo>
                <a:cubicBezTo>
                  <a:pt x="493408" y="2257"/>
                  <a:pt x="491341" y="1054"/>
                  <a:pt x="488744" y="381"/>
                </a:cubicBezTo>
                <a:cubicBezTo>
                  <a:pt x="486148" y="-341"/>
                  <a:pt x="483022" y="92"/>
                  <a:pt x="481291" y="621"/>
                </a:cubicBezTo>
                <a:cubicBezTo>
                  <a:pt x="480377" y="862"/>
                  <a:pt x="479752" y="1006"/>
                  <a:pt x="479368" y="1054"/>
                </a:cubicBezTo>
                <a:lnTo>
                  <a:pt x="479031" y="1054"/>
                </a:lnTo>
                <a:cubicBezTo>
                  <a:pt x="479031" y="1054"/>
                  <a:pt x="479223" y="1151"/>
                  <a:pt x="478406" y="1054"/>
                </a:cubicBezTo>
                <a:cubicBezTo>
                  <a:pt x="477781" y="1006"/>
                  <a:pt x="477396" y="910"/>
                  <a:pt x="476531" y="910"/>
                </a:cubicBezTo>
                <a:cubicBezTo>
                  <a:pt x="475713" y="910"/>
                  <a:pt x="474896" y="910"/>
                  <a:pt x="474078" y="1102"/>
                </a:cubicBezTo>
                <a:cubicBezTo>
                  <a:pt x="472443" y="1343"/>
                  <a:pt x="470952" y="2065"/>
                  <a:pt x="469654" y="3075"/>
                </a:cubicBezTo>
                <a:cubicBezTo>
                  <a:pt x="467058" y="5096"/>
                  <a:pt x="465952" y="9042"/>
                  <a:pt x="465663" y="10486"/>
                </a:cubicBezTo>
                <a:cubicBezTo>
                  <a:pt x="465278" y="12363"/>
                  <a:pt x="464990" y="13758"/>
                  <a:pt x="464653" y="14769"/>
                </a:cubicBezTo>
                <a:cubicBezTo>
                  <a:pt x="459893" y="27039"/>
                  <a:pt x="455613" y="40032"/>
                  <a:pt x="450949" y="52350"/>
                </a:cubicBezTo>
                <a:cubicBezTo>
                  <a:pt x="446236" y="64765"/>
                  <a:pt x="441043" y="76940"/>
                  <a:pt x="434311" y="88056"/>
                </a:cubicBezTo>
                <a:cubicBezTo>
                  <a:pt x="427627" y="99171"/>
                  <a:pt x="419260" y="109180"/>
                  <a:pt x="408826" y="116398"/>
                </a:cubicBezTo>
                <a:cubicBezTo>
                  <a:pt x="387908" y="131460"/>
                  <a:pt x="360211" y="131123"/>
                  <a:pt x="334293" y="128428"/>
                </a:cubicBezTo>
                <a:cubicBezTo>
                  <a:pt x="308038" y="125445"/>
                  <a:pt x="282168" y="119382"/>
                  <a:pt x="256538" y="113078"/>
                </a:cubicBezTo>
                <a:cubicBezTo>
                  <a:pt x="230908" y="106726"/>
                  <a:pt x="205519" y="99845"/>
                  <a:pt x="179985" y="93926"/>
                </a:cubicBezTo>
                <a:cubicBezTo>
                  <a:pt x="154452" y="88200"/>
                  <a:pt x="128726" y="82714"/>
                  <a:pt x="102182" y="82666"/>
                </a:cubicBezTo>
                <a:cubicBezTo>
                  <a:pt x="95546" y="82762"/>
                  <a:pt x="88863" y="83147"/>
                  <a:pt x="82131" y="84495"/>
                </a:cubicBezTo>
                <a:cubicBezTo>
                  <a:pt x="75399" y="85842"/>
                  <a:pt x="68811" y="88104"/>
                  <a:pt x="62704" y="91376"/>
                </a:cubicBezTo>
                <a:cubicBezTo>
                  <a:pt x="50586" y="98113"/>
                  <a:pt x="41017" y="108459"/>
                  <a:pt x="34285" y="119767"/>
                </a:cubicBezTo>
                <a:cubicBezTo>
                  <a:pt x="27361" y="131075"/>
                  <a:pt x="22793" y="143298"/>
                  <a:pt x="19234" y="155568"/>
                </a:cubicBezTo>
                <a:cubicBezTo>
                  <a:pt x="15676" y="167839"/>
                  <a:pt x="13272" y="180254"/>
                  <a:pt x="11444" y="192621"/>
                </a:cubicBezTo>
                <a:cubicBezTo>
                  <a:pt x="7838" y="217403"/>
                  <a:pt x="6588" y="241992"/>
                  <a:pt x="6155" y="266293"/>
                </a:cubicBezTo>
                <a:cubicBezTo>
                  <a:pt x="5722" y="290545"/>
                  <a:pt x="6251" y="314509"/>
                  <a:pt x="7117" y="338136"/>
                </a:cubicBezTo>
                <a:cubicBezTo>
                  <a:pt x="11012" y="432596"/>
                  <a:pt x="19908" y="521763"/>
                  <a:pt x="23129" y="605444"/>
                </a:cubicBezTo>
                <a:cubicBezTo>
                  <a:pt x="23995" y="626328"/>
                  <a:pt x="24476" y="646875"/>
                  <a:pt x="24428" y="667037"/>
                </a:cubicBezTo>
                <a:cubicBezTo>
                  <a:pt x="24428" y="677095"/>
                  <a:pt x="24283" y="687103"/>
                  <a:pt x="23947" y="696968"/>
                </a:cubicBezTo>
                <a:cubicBezTo>
                  <a:pt x="23754" y="701876"/>
                  <a:pt x="23562" y="706785"/>
                  <a:pt x="23370" y="711693"/>
                </a:cubicBezTo>
                <a:cubicBezTo>
                  <a:pt x="23129" y="716505"/>
                  <a:pt x="22649" y="721173"/>
                  <a:pt x="22023" y="726033"/>
                </a:cubicBezTo>
                <a:cubicBezTo>
                  <a:pt x="16878" y="764384"/>
                  <a:pt x="10675" y="801389"/>
                  <a:pt x="6540" y="836902"/>
                </a:cubicBezTo>
                <a:cubicBezTo>
                  <a:pt x="2308" y="872414"/>
                  <a:pt x="-529" y="906435"/>
                  <a:pt x="96" y="938868"/>
                </a:cubicBezTo>
                <a:close/>
              </a:path>
            </a:pathLst>
          </a:custGeom>
          <a:solidFill>
            <a:srgbClr val="29C8C1"/>
          </a:solidFill>
          <a:ln w="0" cap="flat">
            <a:noFill/>
            <a:prstDash val="solid"/>
            <a:miter/>
          </a:ln>
        </p:spPr>
        <p:txBody>
          <a:bodyPr rtlCol="0" anchor="ctr"/>
          <a:lstStyle/>
          <a:p>
            <a:pPr rtl="0"/>
            <a:endParaRPr lang="en-AU" dirty="0"/>
          </a:p>
        </p:txBody>
      </p:sp>
      <p:sp>
        <p:nvSpPr>
          <p:cNvPr id="45" name="Freeform: Shape 44">
            <a:extLst>
              <a:ext uri="{FF2B5EF4-FFF2-40B4-BE49-F238E27FC236}">
                <a16:creationId xmlns:a16="http://schemas.microsoft.com/office/drawing/2014/main" id="{30226252-3146-FEB5-47CB-4CFD7D29B574}"/>
              </a:ext>
            </a:extLst>
          </p:cNvPr>
          <p:cNvSpPr/>
          <p:nvPr/>
        </p:nvSpPr>
        <p:spPr>
          <a:xfrm>
            <a:off x="5987814" y="2785209"/>
            <a:ext cx="619055" cy="1586657"/>
          </a:xfrm>
          <a:custGeom>
            <a:avLst/>
            <a:gdLst>
              <a:gd name="connsiteX0" fmla="*/ 474630 w 619055"/>
              <a:gd name="connsiteY0" fmla="*/ 1512505 h 1586657"/>
              <a:gd name="connsiteX1" fmla="*/ 539594 w 619055"/>
              <a:gd name="connsiteY1" fmla="*/ 1358568 h 1586657"/>
              <a:gd name="connsiteX2" fmla="*/ 596383 w 619055"/>
              <a:gd name="connsiteY2" fmla="*/ 1144626 h 1586657"/>
              <a:gd name="connsiteX3" fmla="*/ 613117 w 619055"/>
              <a:gd name="connsiteY3" fmla="*/ 1016819 h 1586657"/>
              <a:gd name="connsiteX4" fmla="*/ 618406 w 619055"/>
              <a:gd name="connsiteY4" fmla="*/ 877319 h 1586657"/>
              <a:gd name="connsiteX5" fmla="*/ 614127 w 619055"/>
              <a:gd name="connsiteY5" fmla="*/ 569590 h 1586657"/>
              <a:gd name="connsiteX6" fmla="*/ 602730 w 619055"/>
              <a:gd name="connsiteY6" fmla="*/ 403431 h 1586657"/>
              <a:gd name="connsiteX7" fmla="*/ 579168 w 619055"/>
              <a:gd name="connsiteY7" fmla="*/ 231113 h 1586657"/>
              <a:gd name="connsiteX8" fmla="*/ 558395 w 619055"/>
              <a:gd name="connsiteY8" fmla="*/ 143919 h 1586657"/>
              <a:gd name="connsiteX9" fmla="*/ 522523 w 619055"/>
              <a:gd name="connsiteY9" fmla="*/ 59420 h 1586657"/>
              <a:gd name="connsiteX10" fmla="*/ 515743 w 619055"/>
              <a:gd name="connsiteY10" fmla="*/ 49748 h 1586657"/>
              <a:gd name="connsiteX11" fmla="*/ 512185 w 619055"/>
              <a:gd name="connsiteY11" fmla="*/ 44984 h 1586657"/>
              <a:gd name="connsiteX12" fmla="*/ 508146 w 619055"/>
              <a:gd name="connsiteY12" fmla="*/ 40557 h 1586657"/>
              <a:gd name="connsiteX13" fmla="*/ 499538 w 619055"/>
              <a:gd name="connsiteY13" fmla="*/ 32040 h 1586657"/>
              <a:gd name="connsiteX14" fmla="*/ 489777 w 619055"/>
              <a:gd name="connsiteY14" fmla="*/ 24822 h 1586657"/>
              <a:gd name="connsiteX15" fmla="*/ 445682 w 619055"/>
              <a:gd name="connsiteY15" fmla="*/ 6825 h 1586657"/>
              <a:gd name="connsiteX16" fmla="*/ 351338 w 619055"/>
              <a:gd name="connsiteY16" fmla="*/ 1676 h 1586657"/>
              <a:gd name="connsiteX17" fmla="*/ 259686 w 619055"/>
              <a:gd name="connsiteY17" fmla="*/ 23908 h 1586657"/>
              <a:gd name="connsiteX18" fmla="*/ 238240 w 619055"/>
              <a:gd name="connsiteY18" fmla="*/ 33580 h 1586657"/>
              <a:gd name="connsiteX19" fmla="*/ 233047 w 619055"/>
              <a:gd name="connsiteY19" fmla="*/ 36323 h 1586657"/>
              <a:gd name="connsiteX20" fmla="*/ 230450 w 619055"/>
              <a:gd name="connsiteY20" fmla="*/ 37718 h 1586657"/>
              <a:gd name="connsiteX21" fmla="*/ 228334 w 619055"/>
              <a:gd name="connsiteY21" fmla="*/ 38729 h 1586657"/>
              <a:gd name="connsiteX22" fmla="*/ 218044 w 619055"/>
              <a:gd name="connsiteY22" fmla="*/ 42001 h 1586657"/>
              <a:gd name="connsiteX23" fmla="*/ 175440 w 619055"/>
              <a:gd name="connsiteY23" fmla="*/ 64136 h 1586657"/>
              <a:gd name="connsiteX24" fmla="*/ 162889 w 619055"/>
              <a:gd name="connsiteY24" fmla="*/ 85261 h 1586657"/>
              <a:gd name="connsiteX25" fmla="*/ 155869 w 619055"/>
              <a:gd name="connsiteY25" fmla="*/ 107444 h 1586657"/>
              <a:gd name="connsiteX26" fmla="*/ 146252 w 619055"/>
              <a:gd name="connsiteY26" fmla="*/ 151955 h 1586657"/>
              <a:gd name="connsiteX27" fmla="*/ 132355 w 619055"/>
              <a:gd name="connsiteY27" fmla="*/ 240208 h 1586657"/>
              <a:gd name="connsiteX28" fmla="*/ 119901 w 619055"/>
              <a:gd name="connsiteY28" fmla="*/ 326872 h 1586657"/>
              <a:gd name="connsiteX29" fmla="*/ 104273 w 619055"/>
              <a:gd name="connsiteY29" fmla="*/ 410794 h 1586657"/>
              <a:gd name="connsiteX30" fmla="*/ 45320 w 619055"/>
              <a:gd name="connsiteY30" fmla="*/ 565500 h 1586657"/>
              <a:gd name="connsiteX31" fmla="*/ 2812 w 619055"/>
              <a:gd name="connsiteY31" fmla="*/ 718715 h 1586657"/>
              <a:gd name="connsiteX32" fmla="*/ 1081 w 619055"/>
              <a:gd name="connsiteY32" fmla="*/ 738011 h 1586657"/>
              <a:gd name="connsiteX33" fmla="*/ 359 w 619055"/>
              <a:gd name="connsiteY33" fmla="*/ 747635 h 1586657"/>
              <a:gd name="connsiteX34" fmla="*/ 167 w 619055"/>
              <a:gd name="connsiteY34" fmla="*/ 757259 h 1586657"/>
              <a:gd name="connsiteX35" fmla="*/ 23 w 619055"/>
              <a:gd name="connsiteY35" fmla="*/ 776363 h 1586657"/>
              <a:gd name="connsiteX36" fmla="*/ 1129 w 619055"/>
              <a:gd name="connsiteY36" fmla="*/ 795226 h 1586657"/>
              <a:gd name="connsiteX37" fmla="*/ 2235 w 619055"/>
              <a:gd name="connsiteY37" fmla="*/ 813944 h 1586657"/>
              <a:gd name="connsiteX38" fmla="*/ 3148 w 619055"/>
              <a:gd name="connsiteY38" fmla="*/ 823184 h 1586657"/>
              <a:gd name="connsiteX39" fmla="*/ 4350 w 619055"/>
              <a:gd name="connsiteY39" fmla="*/ 832375 h 1586657"/>
              <a:gd name="connsiteX40" fmla="*/ 6755 w 619055"/>
              <a:gd name="connsiteY40" fmla="*/ 850660 h 1586657"/>
              <a:gd name="connsiteX41" fmla="*/ 7957 w 619055"/>
              <a:gd name="connsiteY41" fmla="*/ 859755 h 1586657"/>
              <a:gd name="connsiteX42" fmla="*/ 9688 w 619055"/>
              <a:gd name="connsiteY42" fmla="*/ 868705 h 1586657"/>
              <a:gd name="connsiteX43" fmla="*/ 48012 w 619055"/>
              <a:gd name="connsiteY43" fmla="*/ 1003297 h 1586657"/>
              <a:gd name="connsiteX44" fmla="*/ 101147 w 619055"/>
              <a:gd name="connsiteY44" fmla="*/ 1120759 h 1586657"/>
              <a:gd name="connsiteX45" fmla="*/ 209965 w 619055"/>
              <a:gd name="connsiteY45" fmla="*/ 1313287 h 1586657"/>
              <a:gd name="connsiteX46" fmla="*/ 232710 w 619055"/>
              <a:gd name="connsiteY46" fmla="*/ 1354430 h 1586657"/>
              <a:gd name="connsiteX47" fmla="*/ 252137 w 619055"/>
              <a:gd name="connsiteY47" fmla="*/ 1393359 h 1586657"/>
              <a:gd name="connsiteX48" fmla="*/ 285508 w 619055"/>
              <a:gd name="connsiteY48" fmla="*/ 1461931 h 1586657"/>
              <a:gd name="connsiteX49" fmla="*/ 338066 w 619055"/>
              <a:gd name="connsiteY49" fmla="*/ 1553503 h 1586657"/>
              <a:gd name="connsiteX50" fmla="*/ 356435 w 619055"/>
              <a:gd name="connsiteY50" fmla="*/ 1574051 h 1586657"/>
              <a:gd name="connsiteX51" fmla="*/ 362205 w 619055"/>
              <a:gd name="connsiteY51" fmla="*/ 1578093 h 1586657"/>
              <a:gd name="connsiteX52" fmla="*/ 364321 w 619055"/>
              <a:gd name="connsiteY52" fmla="*/ 1579151 h 1586657"/>
              <a:gd name="connsiteX53" fmla="*/ 357156 w 619055"/>
              <a:gd name="connsiteY53" fmla="*/ 1573233 h 1586657"/>
              <a:gd name="connsiteX54" fmla="*/ 339845 w 619055"/>
              <a:gd name="connsiteY54" fmla="*/ 1552252 h 1586657"/>
              <a:gd name="connsiteX55" fmla="*/ 289259 w 619055"/>
              <a:gd name="connsiteY55" fmla="*/ 1460102 h 1586657"/>
              <a:gd name="connsiteX56" fmla="*/ 256753 w 619055"/>
              <a:gd name="connsiteY56" fmla="*/ 1391194 h 1586657"/>
              <a:gd name="connsiteX57" fmla="*/ 237663 w 619055"/>
              <a:gd name="connsiteY57" fmla="*/ 1351928 h 1586657"/>
              <a:gd name="connsiteX58" fmla="*/ 215207 w 619055"/>
              <a:gd name="connsiteY58" fmla="*/ 1310448 h 1586657"/>
              <a:gd name="connsiteX59" fmla="*/ 107879 w 619055"/>
              <a:gd name="connsiteY59" fmla="*/ 1117438 h 1586657"/>
              <a:gd name="connsiteX60" fmla="*/ 55754 w 619055"/>
              <a:gd name="connsiteY60" fmla="*/ 1000506 h 1586657"/>
              <a:gd name="connsiteX61" fmla="*/ 18440 w 619055"/>
              <a:gd name="connsiteY61" fmla="*/ 867310 h 1586657"/>
              <a:gd name="connsiteX62" fmla="*/ 16757 w 619055"/>
              <a:gd name="connsiteY62" fmla="*/ 858504 h 1586657"/>
              <a:gd name="connsiteX63" fmla="*/ 15603 w 619055"/>
              <a:gd name="connsiteY63" fmla="*/ 849553 h 1586657"/>
              <a:gd name="connsiteX64" fmla="*/ 13294 w 619055"/>
              <a:gd name="connsiteY64" fmla="*/ 831556 h 1586657"/>
              <a:gd name="connsiteX65" fmla="*/ 12140 w 619055"/>
              <a:gd name="connsiteY65" fmla="*/ 822510 h 1586657"/>
              <a:gd name="connsiteX66" fmla="*/ 11275 w 619055"/>
              <a:gd name="connsiteY66" fmla="*/ 813367 h 1586657"/>
              <a:gd name="connsiteX67" fmla="*/ 10265 w 619055"/>
              <a:gd name="connsiteY67" fmla="*/ 794937 h 1586657"/>
              <a:gd name="connsiteX68" fmla="*/ 9255 w 619055"/>
              <a:gd name="connsiteY68" fmla="*/ 776363 h 1586657"/>
              <a:gd name="connsiteX69" fmla="*/ 9448 w 619055"/>
              <a:gd name="connsiteY69" fmla="*/ 757692 h 1586657"/>
              <a:gd name="connsiteX70" fmla="*/ 9688 w 619055"/>
              <a:gd name="connsiteY70" fmla="*/ 748309 h 1586657"/>
              <a:gd name="connsiteX71" fmla="*/ 10409 w 619055"/>
              <a:gd name="connsiteY71" fmla="*/ 738925 h 1586657"/>
              <a:gd name="connsiteX72" fmla="*/ 12188 w 619055"/>
              <a:gd name="connsiteY72" fmla="*/ 720062 h 1586657"/>
              <a:gd name="connsiteX73" fmla="*/ 39982 w 619055"/>
              <a:gd name="connsiteY73" fmla="*/ 607605 h 1586657"/>
              <a:gd name="connsiteX74" fmla="*/ 18199 w 619055"/>
              <a:gd name="connsiteY74" fmla="*/ 705963 h 1586657"/>
              <a:gd name="connsiteX75" fmla="*/ 20652 w 619055"/>
              <a:gd name="connsiteY75" fmla="*/ 852007 h 1586657"/>
              <a:gd name="connsiteX76" fmla="*/ 55418 w 619055"/>
              <a:gd name="connsiteY76" fmla="*/ 986503 h 1586657"/>
              <a:gd name="connsiteX77" fmla="*/ 110187 w 619055"/>
              <a:gd name="connsiteY77" fmla="*/ 1105216 h 1586657"/>
              <a:gd name="connsiteX78" fmla="*/ 168948 w 619055"/>
              <a:gd name="connsiteY78" fmla="*/ 1211802 h 1586657"/>
              <a:gd name="connsiteX79" fmla="*/ 225016 w 619055"/>
              <a:gd name="connsiteY79" fmla="*/ 1309149 h 1586657"/>
              <a:gd name="connsiteX80" fmla="*/ 280315 w 619055"/>
              <a:gd name="connsiteY80" fmla="*/ 1395092 h 1586657"/>
              <a:gd name="connsiteX81" fmla="*/ 338499 w 619055"/>
              <a:gd name="connsiteY81" fmla="*/ 1465636 h 1586657"/>
              <a:gd name="connsiteX82" fmla="*/ 355040 w 619055"/>
              <a:gd name="connsiteY82" fmla="*/ 1479110 h 1586657"/>
              <a:gd name="connsiteX83" fmla="*/ 373794 w 619055"/>
              <a:gd name="connsiteY83" fmla="*/ 1488493 h 1586657"/>
              <a:gd name="connsiteX84" fmla="*/ 394326 w 619055"/>
              <a:gd name="connsiteY84" fmla="*/ 1488637 h 1586657"/>
              <a:gd name="connsiteX85" fmla="*/ 411782 w 619055"/>
              <a:gd name="connsiteY85" fmla="*/ 1480024 h 1586657"/>
              <a:gd name="connsiteX86" fmla="*/ 436065 w 619055"/>
              <a:gd name="connsiteY86" fmla="*/ 1454087 h 1586657"/>
              <a:gd name="connsiteX87" fmla="*/ 452558 w 619055"/>
              <a:gd name="connsiteY87" fmla="*/ 1426755 h 1586657"/>
              <a:gd name="connsiteX88" fmla="*/ 474245 w 619055"/>
              <a:gd name="connsiteY88" fmla="*/ 1378057 h 1586657"/>
              <a:gd name="connsiteX89" fmla="*/ 487228 w 619055"/>
              <a:gd name="connsiteY89" fmla="*/ 1341293 h 1586657"/>
              <a:gd name="connsiteX90" fmla="*/ 494249 w 619055"/>
              <a:gd name="connsiteY90" fmla="*/ 1318388 h 1586657"/>
              <a:gd name="connsiteX91" fmla="*/ 496172 w 619055"/>
              <a:gd name="connsiteY91" fmla="*/ 1310448 h 1586657"/>
              <a:gd name="connsiteX92" fmla="*/ 493191 w 619055"/>
              <a:gd name="connsiteY92" fmla="*/ 1318051 h 1586657"/>
              <a:gd name="connsiteX93" fmla="*/ 485209 w 619055"/>
              <a:gd name="connsiteY93" fmla="*/ 1340620 h 1586657"/>
              <a:gd name="connsiteX94" fmla="*/ 471312 w 619055"/>
              <a:gd name="connsiteY94" fmla="*/ 1376902 h 1586657"/>
              <a:gd name="connsiteX95" fmla="*/ 448904 w 619055"/>
              <a:gd name="connsiteY95" fmla="*/ 1424830 h 1586657"/>
              <a:gd name="connsiteX96" fmla="*/ 432314 w 619055"/>
              <a:gd name="connsiteY96" fmla="*/ 1451392 h 1586657"/>
              <a:gd name="connsiteX97" fmla="*/ 408848 w 619055"/>
              <a:gd name="connsiteY97" fmla="*/ 1475885 h 1586657"/>
              <a:gd name="connsiteX98" fmla="*/ 393028 w 619055"/>
              <a:gd name="connsiteY98" fmla="*/ 1483488 h 1586657"/>
              <a:gd name="connsiteX99" fmla="*/ 375284 w 619055"/>
              <a:gd name="connsiteY99" fmla="*/ 1483152 h 1586657"/>
              <a:gd name="connsiteX100" fmla="*/ 342586 w 619055"/>
              <a:gd name="connsiteY100" fmla="*/ 1461257 h 1586657"/>
              <a:gd name="connsiteX101" fmla="*/ 285845 w 619055"/>
              <a:gd name="connsiteY101" fmla="*/ 1391194 h 1586657"/>
              <a:gd name="connsiteX102" fmla="*/ 231460 w 619055"/>
              <a:gd name="connsiteY102" fmla="*/ 1305251 h 1586657"/>
              <a:gd name="connsiteX103" fmla="*/ 176113 w 619055"/>
              <a:gd name="connsiteY103" fmla="*/ 1207808 h 1586657"/>
              <a:gd name="connsiteX104" fmla="*/ 117977 w 619055"/>
              <a:gd name="connsiteY104" fmla="*/ 1101078 h 1586657"/>
              <a:gd name="connsiteX105" fmla="*/ 64121 w 619055"/>
              <a:gd name="connsiteY105" fmla="*/ 983183 h 1586657"/>
              <a:gd name="connsiteX106" fmla="*/ 30317 w 619055"/>
              <a:gd name="connsiteY106" fmla="*/ 850660 h 1586657"/>
              <a:gd name="connsiteX107" fmla="*/ 28249 w 619055"/>
              <a:gd name="connsiteY107" fmla="*/ 707166 h 1586657"/>
              <a:gd name="connsiteX108" fmla="*/ 67151 w 619055"/>
              <a:gd name="connsiteY108" fmla="*/ 562661 h 1586657"/>
              <a:gd name="connsiteX109" fmla="*/ 126536 w 619055"/>
              <a:gd name="connsiteY109" fmla="*/ 417290 h 1586657"/>
              <a:gd name="connsiteX110" fmla="*/ 179767 w 619055"/>
              <a:gd name="connsiteY110" fmla="*/ 264941 h 1586657"/>
              <a:gd name="connsiteX111" fmla="*/ 213428 w 619055"/>
              <a:gd name="connsiteY111" fmla="*/ 191799 h 1586657"/>
              <a:gd name="connsiteX112" fmla="*/ 260936 w 619055"/>
              <a:gd name="connsiteY112" fmla="*/ 129868 h 1586657"/>
              <a:gd name="connsiteX113" fmla="*/ 292817 w 619055"/>
              <a:gd name="connsiteY113" fmla="*/ 108888 h 1586657"/>
              <a:gd name="connsiteX114" fmla="*/ 301473 w 619055"/>
              <a:gd name="connsiteY114" fmla="*/ 104557 h 1586657"/>
              <a:gd name="connsiteX115" fmla="*/ 310369 w 619055"/>
              <a:gd name="connsiteY115" fmla="*/ 100900 h 1586657"/>
              <a:gd name="connsiteX116" fmla="*/ 319313 w 619055"/>
              <a:gd name="connsiteY116" fmla="*/ 97387 h 1586657"/>
              <a:gd name="connsiteX117" fmla="*/ 328401 w 619055"/>
              <a:gd name="connsiteY117" fmla="*/ 94548 h 1586657"/>
              <a:gd name="connsiteX118" fmla="*/ 332921 w 619055"/>
              <a:gd name="connsiteY118" fmla="*/ 93104 h 1586657"/>
              <a:gd name="connsiteX119" fmla="*/ 337537 w 619055"/>
              <a:gd name="connsiteY119" fmla="*/ 92094 h 1586657"/>
              <a:gd name="connsiteX120" fmla="*/ 346769 w 619055"/>
              <a:gd name="connsiteY120" fmla="*/ 90121 h 1586657"/>
              <a:gd name="connsiteX121" fmla="*/ 356050 w 619055"/>
              <a:gd name="connsiteY121" fmla="*/ 89111 h 1586657"/>
              <a:gd name="connsiteX122" fmla="*/ 360714 w 619055"/>
              <a:gd name="connsiteY122" fmla="*/ 88629 h 1586657"/>
              <a:gd name="connsiteX123" fmla="*/ 365331 w 619055"/>
              <a:gd name="connsiteY123" fmla="*/ 88629 h 1586657"/>
              <a:gd name="connsiteX124" fmla="*/ 401155 w 619055"/>
              <a:gd name="connsiteY124" fmla="*/ 95174 h 1586657"/>
              <a:gd name="connsiteX125" fmla="*/ 455299 w 619055"/>
              <a:gd name="connsiteY125" fmla="*/ 142764 h 1586657"/>
              <a:gd name="connsiteX126" fmla="*/ 486363 w 619055"/>
              <a:gd name="connsiteY126" fmla="*/ 209363 h 1586657"/>
              <a:gd name="connsiteX127" fmla="*/ 517186 w 619055"/>
              <a:gd name="connsiteY127" fmla="*/ 350018 h 1586657"/>
              <a:gd name="connsiteX128" fmla="*/ 535651 w 619055"/>
              <a:gd name="connsiteY128" fmla="*/ 617181 h 1586657"/>
              <a:gd name="connsiteX129" fmla="*/ 537478 w 619055"/>
              <a:gd name="connsiteY129" fmla="*/ 850853 h 1586657"/>
              <a:gd name="connsiteX130" fmla="*/ 517859 w 619055"/>
              <a:gd name="connsiteY130" fmla="*/ 1188464 h 1586657"/>
              <a:gd name="connsiteX131" fmla="*/ 503193 w 619055"/>
              <a:gd name="connsiteY131" fmla="*/ 1279170 h 1586657"/>
              <a:gd name="connsiteX132" fmla="*/ 497663 w 619055"/>
              <a:gd name="connsiteY132" fmla="*/ 1302412 h 1586657"/>
              <a:gd name="connsiteX133" fmla="*/ 496028 w 619055"/>
              <a:gd name="connsiteY133" fmla="*/ 1310448 h 1586657"/>
              <a:gd name="connsiteX134" fmla="*/ 498673 w 619055"/>
              <a:gd name="connsiteY134" fmla="*/ 1302749 h 1586657"/>
              <a:gd name="connsiteX135" fmla="*/ 505260 w 619055"/>
              <a:gd name="connsiteY135" fmla="*/ 1279700 h 1586657"/>
              <a:gd name="connsiteX136" fmla="*/ 521946 w 619055"/>
              <a:gd name="connsiteY136" fmla="*/ 1189041 h 1586657"/>
              <a:gd name="connsiteX137" fmla="*/ 544979 w 619055"/>
              <a:gd name="connsiteY137" fmla="*/ 850997 h 1586657"/>
              <a:gd name="connsiteX138" fmla="*/ 544450 w 619055"/>
              <a:gd name="connsiteY138" fmla="*/ 616941 h 1586657"/>
              <a:gd name="connsiteX139" fmla="*/ 526851 w 619055"/>
              <a:gd name="connsiteY139" fmla="*/ 348719 h 1586657"/>
              <a:gd name="connsiteX140" fmla="*/ 495932 w 619055"/>
              <a:gd name="connsiteY140" fmla="*/ 206091 h 1586657"/>
              <a:gd name="connsiteX141" fmla="*/ 463858 w 619055"/>
              <a:gd name="connsiteY141" fmla="*/ 137086 h 1586657"/>
              <a:gd name="connsiteX142" fmla="*/ 438661 w 619055"/>
              <a:gd name="connsiteY142" fmla="*/ 107059 h 1586657"/>
              <a:gd name="connsiteX143" fmla="*/ 404953 w 619055"/>
              <a:gd name="connsiteY143" fmla="*/ 85502 h 1586657"/>
              <a:gd name="connsiteX144" fmla="*/ 365186 w 619055"/>
              <a:gd name="connsiteY144" fmla="*/ 78187 h 1586657"/>
              <a:gd name="connsiteX145" fmla="*/ 360089 w 619055"/>
              <a:gd name="connsiteY145" fmla="*/ 78187 h 1586657"/>
              <a:gd name="connsiteX146" fmla="*/ 355040 w 619055"/>
              <a:gd name="connsiteY146" fmla="*/ 78717 h 1586657"/>
              <a:gd name="connsiteX147" fmla="*/ 344942 w 619055"/>
              <a:gd name="connsiteY147" fmla="*/ 79823 h 1586657"/>
              <a:gd name="connsiteX148" fmla="*/ 335037 w 619055"/>
              <a:gd name="connsiteY148" fmla="*/ 81893 h 1586657"/>
              <a:gd name="connsiteX149" fmla="*/ 330084 w 619055"/>
              <a:gd name="connsiteY149" fmla="*/ 82951 h 1586657"/>
              <a:gd name="connsiteX150" fmla="*/ 325275 w 619055"/>
              <a:gd name="connsiteY150" fmla="*/ 84443 h 1586657"/>
              <a:gd name="connsiteX151" fmla="*/ 315658 w 619055"/>
              <a:gd name="connsiteY151" fmla="*/ 87474 h 1586657"/>
              <a:gd name="connsiteX152" fmla="*/ 306281 w 619055"/>
              <a:gd name="connsiteY152" fmla="*/ 91131 h 1586657"/>
              <a:gd name="connsiteX153" fmla="*/ 296953 w 619055"/>
              <a:gd name="connsiteY153" fmla="*/ 94981 h 1586657"/>
              <a:gd name="connsiteX154" fmla="*/ 287961 w 619055"/>
              <a:gd name="connsiteY154" fmla="*/ 99456 h 1586657"/>
              <a:gd name="connsiteX155" fmla="*/ 253820 w 619055"/>
              <a:gd name="connsiteY155" fmla="*/ 121928 h 1586657"/>
              <a:gd name="connsiteX156" fmla="*/ 204003 w 619055"/>
              <a:gd name="connsiteY156" fmla="*/ 186602 h 1586657"/>
              <a:gd name="connsiteX157" fmla="*/ 169669 w 619055"/>
              <a:gd name="connsiteY157" fmla="*/ 261044 h 1586657"/>
              <a:gd name="connsiteX158" fmla="*/ 116342 w 619055"/>
              <a:gd name="connsiteY158" fmla="*/ 413729 h 1586657"/>
              <a:gd name="connsiteX159" fmla="*/ 99560 w 619055"/>
              <a:gd name="connsiteY159" fmla="*/ 457615 h 1586657"/>
              <a:gd name="connsiteX160" fmla="*/ 113938 w 619055"/>
              <a:gd name="connsiteY160" fmla="*/ 413633 h 1586657"/>
              <a:gd name="connsiteX161" fmla="*/ 129951 w 619055"/>
              <a:gd name="connsiteY161" fmla="*/ 328749 h 1586657"/>
              <a:gd name="connsiteX162" fmla="*/ 142549 w 619055"/>
              <a:gd name="connsiteY162" fmla="*/ 242036 h 1586657"/>
              <a:gd name="connsiteX163" fmla="*/ 156494 w 619055"/>
              <a:gd name="connsiteY163" fmla="*/ 154217 h 1586657"/>
              <a:gd name="connsiteX164" fmla="*/ 165967 w 619055"/>
              <a:gd name="connsiteY164" fmla="*/ 110524 h 1586657"/>
              <a:gd name="connsiteX165" fmla="*/ 183085 w 619055"/>
              <a:gd name="connsiteY165" fmla="*/ 71643 h 1586657"/>
              <a:gd name="connsiteX166" fmla="*/ 220785 w 619055"/>
              <a:gd name="connsiteY166" fmla="*/ 52539 h 1586657"/>
              <a:gd name="connsiteX167" fmla="*/ 232373 w 619055"/>
              <a:gd name="connsiteY167" fmla="*/ 48834 h 1586657"/>
              <a:gd name="connsiteX168" fmla="*/ 235451 w 619055"/>
              <a:gd name="connsiteY168" fmla="*/ 47342 h 1586657"/>
              <a:gd name="connsiteX169" fmla="*/ 237951 w 619055"/>
              <a:gd name="connsiteY169" fmla="*/ 46043 h 1586657"/>
              <a:gd name="connsiteX170" fmla="*/ 242952 w 619055"/>
              <a:gd name="connsiteY170" fmla="*/ 43396 h 1586657"/>
              <a:gd name="connsiteX171" fmla="*/ 263581 w 619055"/>
              <a:gd name="connsiteY171" fmla="*/ 34109 h 1586657"/>
              <a:gd name="connsiteX172" fmla="*/ 352299 w 619055"/>
              <a:gd name="connsiteY172" fmla="*/ 12648 h 1586657"/>
              <a:gd name="connsiteX173" fmla="*/ 443037 w 619055"/>
              <a:gd name="connsiteY173" fmla="*/ 17508 h 1586657"/>
              <a:gd name="connsiteX174" fmla="*/ 483910 w 619055"/>
              <a:gd name="connsiteY174" fmla="*/ 34109 h 1586657"/>
              <a:gd name="connsiteX175" fmla="*/ 492566 w 619055"/>
              <a:gd name="connsiteY175" fmla="*/ 40509 h 1586657"/>
              <a:gd name="connsiteX176" fmla="*/ 500211 w 619055"/>
              <a:gd name="connsiteY176" fmla="*/ 48112 h 1586657"/>
              <a:gd name="connsiteX177" fmla="*/ 503866 w 619055"/>
              <a:gd name="connsiteY177" fmla="*/ 52106 h 1586657"/>
              <a:gd name="connsiteX178" fmla="*/ 507136 w 619055"/>
              <a:gd name="connsiteY178" fmla="*/ 56533 h 1586657"/>
              <a:gd name="connsiteX179" fmla="*/ 513483 w 619055"/>
              <a:gd name="connsiteY179" fmla="*/ 65532 h 1586657"/>
              <a:gd name="connsiteX180" fmla="*/ 548153 w 619055"/>
              <a:gd name="connsiteY180" fmla="*/ 147288 h 1586657"/>
              <a:gd name="connsiteX181" fmla="*/ 568734 w 619055"/>
              <a:gd name="connsiteY181" fmla="*/ 233423 h 1586657"/>
              <a:gd name="connsiteX182" fmla="*/ 592392 w 619055"/>
              <a:gd name="connsiteY182" fmla="*/ 404731 h 1586657"/>
              <a:gd name="connsiteX183" fmla="*/ 604125 w 619055"/>
              <a:gd name="connsiteY183" fmla="*/ 570360 h 1586657"/>
              <a:gd name="connsiteX184" fmla="*/ 609366 w 619055"/>
              <a:gd name="connsiteY184" fmla="*/ 877511 h 1586657"/>
              <a:gd name="connsiteX185" fmla="*/ 604750 w 619055"/>
              <a:gd name="connsiteY185" fmla="*/ 1016530 h 1586657"/>
              <a:gd name="connsiteX186" fmla="*/ 588785 w 619055"/>
              <a:gd name="connsiteY186" fmla="*/ 1143616 h 1586657"/>
              <a:gd name="connsiteX187" fmla="*/ 533727 w 619055"/>
              <a:gd name="connsiteY187" fmla="*/ 1357077 h 1586657"/>
              <a:gd name="connsiteX188" fmla="*/ 470879 w 619055"/>
              <a:gd name="connsiteY188" fmla="*/ 1510772 h 1586657"/>
              <a:gd name="connsiteX189" fmla="*/ 453616 w 619055"/>
              <a:gd name="connsiteY189" fmla="*/ 1537960 h 1586657"/>
              <a:gd name="connsiteX190" fmla="*/ 435728 w 619055"/>
              <a:gd name="connsiteY190" fmla="*/ 1559711 h 1586657"/>
              <a:gd name="connsiteX191" fmla="*/ 417360 w 619055"/>
              <a:gd name="connsiteY191" fmla="*/ 1575157 h 1586657"/>
              <a:gd name="connsiteX192" fmla="*/ 399375 w 619055"/>
              <a:gd name="connsiteY192" fmla="*/ 1583338 h 1586657"/>
              <a:gd name="connsiteX193" fmla="*/ 372832 w 619055"/>
              <a:gd name="connsiteY193" fmla="*/ 1582520 h 1586657"/>
              <a:gd name="connsiteX194" fmla="*/ 364128 w 619055"/>
              <a:gd name="connsiteY194" fmla="*/ 1579296 h 1586657"/>
              <a:gd name="connsiteX195" fmla="*/ 366148 w 619055"/>
              <a:gd name="connsiteY195" fmla="*/ 1580547 h 1586657"/>
              <a:gd name="connsiteX196" fmla="*/ 372495 w 619055"/>
              <a:gd name="connsiteY196" fmla="*/ 1583578 h 1586657"/>
              <a:gd name="connsiteX197" fmla="*/ 377496 w 619055"/>
              <a:gd name="connsiteY197" fmla="*/ 1585215 h 1586657"/>
              <a:gd name="connsiteX198" fmla="*/ 383796 w 619055"/>
              <a:gd name="connsiteY198" fmla="*/ 1586369 h 1586657"/>
              <a:gd name="connsiteX199" fmla="*/ 391345 w 619055"/>
              <a:gd name="connsiteY199" fmla="*/ 1586658 h 1586657"/>
              <a:gd name="connsiteX200" fmla="*/ 399904 w 619055"/>
              <a:gd name="connsiteY200" fmla="*/ 1585455 h 1586657"/>
              <a:gd name="connsiteX201" fmla="*/ 418802 w 619055"/>
              <a:gd name="connsiteY201" fmla="*/ 1577467 h 1586657"/>
              <a:gd name="connsiteX202" fmla="*/ 437988 w 619055"/>
              <a:gd name="connsiteY202" fmla="*/ 1561972 h 1586657"/>
              <a:gd name="connsiteX203" fmla="*/ 456598 w 619055"/>
              <a:gd name="connsiteY203" fmla="*/ 1540174 h 1586657"/>
              <a:gd name="connsiteX204" fmla="*/ 474485 w 619055"/>
              <a:gd name="connsiteY204" fmla="*/ 1512890 h 158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619055" h="1586657">
                <a:moveTo>
                  <a:pt x="474630" y="1512505"/>
                </a:moveTo>
                <a:cubicBezTo>
                  <a:pt x="497951" y="1472806"/>
                  <a:pt x="519782" y="1420595"/>
                  <a:pt x="539594" y="1358568"/>
                </a:cubicBezTo>
                <a:cubicBezTo>
                  <a:pt x="559742" y="1296686"/>
                  <a:pt x="581573" y="1225516"/>
                  <a:pt x="596383" y="1144626"/>
                </a:cubicBezTo>
                <a:cubicBezTo>
                  <a:pt x="603836" y="1104253"/>
                  <a:pt x="609607" y="1061523"/>
                  <a:pt x="613117" y="1016819"/>
                </a:cubicBezTo>
                <a:cubicBezTo>
                  <a:pt x="616819" y="972067"/>
                  <a:pt x="617493" y="925439"/>
                  <a:pt x="618406" y="877319"/>
                </a:cubicBezTo>
                <a:cubicBezTo>
                  <a:pt x="619849" y="780934"/>
                  <a:pt x="619080" y="677909"/>
                  <a:pt x="614127" y="569590"/>
                </a:cubicBezTo>
                <a:cubicBezTo>
                  <a:pt x="611578" y="515455"/>
                  <a:pt x="608020" y="459972"/>
                  <a:pt x="602730" y="403431"/>
                </a:cubicBezTo>
                <a:cubicBezTo>
                  <a:pt x="597200" y="346938"/>
                  <a:pt x="590276" y="289242"/>
                  <a:pt x="579168" y="231113"/>
                </a:cubicBezTo>
                <a:cubicBezTo>
                  <a:pt x="573590" y="202049"/>
                  <a:pt x="567051" y="172888"/>
                  <a:pt x="558395" y="143919"/>
                </a:cubicBezTo>
                <a:cubicBezTo>
                  <a:pt x="549644" y="115047"/>
                  <a:pt x="539113" y="86079"/>
                  <a:pt x="522523" y="59420"/>
                </a:cubicBezTo>
                <a:cubicBezTo>
                  <a:pt x="520648" y="56004"/>
                  <a:pt x="518003" y="52972"/>
                  <a:pt x="515743" y="49748"/>
                </a:cubicBezTo>
                <a:lnTo>
                  <a:pt x="512185" y="44984"/>
                </a:lnTo>
                <a:cubicBezTo>
                  <a:pt x="511031" y="43396"/>
                  <a:pt x="509492" y="42049"/>
                  <a:pt x="508146" y="40557"/>
                </a:cubicBezTo>
                <a:cubicBezTo>
                  <a:pt x="505260" y="37718"/>
                  <a:pt x="502808" y="34542"/>
                  <a:pt x="499538" y="32040"/>
                </a:cubicBezTo>
                <a:cubicBezTo>
                  <a:pt x="496461" y="29345"/>
                  <a:pt x="493095" y="27084"/>
                  <a:pt x="489777" y="24822"/>
                </a:cubicBezTo>
                <a:cubicBezTo>
                  <a:pt x="476120" y="16160"/>
                  <a:pt x="461021" y="10578"/>
                  <a:pt x="445682" y="6825"/>
                </a:cubicBezTo>
                <a:cubicBezTo>
                  <a:pt x="414859" y="-634"/>
                  <a:pt x="382882" y="-1355"/>
                  <a:pt x="351338" y="1676"/>
                </a:cubicBezTo>
                <a:cubicBezTo>
                  <a:pt x="319793" y="4900"/>
                  <a:pt x="288826" y="12118"/>
                  <a:pt x="259686" y="23908"/>
                </a:cubicBezTo>
                <a:cubicBezTo>
                  <a:pt x="252377" y="26795"/>
                  <a:pt x="245260" y="30115"/>
                  <a:pt x="238240" y="33580"/>
                </a:cubicBezTo>
                <a:lnTo>
                  <a:pt x="233047" y="36323"/>
                </a:lnTo>
                <a:lnTo>
                  <a:pt x="230450" y="37718"/>
                </a:lnTo>
                <a:lnTo>
                  <a:pt x="228334" y="38729"/>
                </a:lnTo>
                <a:cubicBezTo>
                  <a:pt x="225305" y="39980"/>
                  <a:pt x="221650" y="40990"/>
                  <a:pt x="218044" y="42001"/>
                </a:cubicBezTo>
                <a:cubicBezTo>
                  <a:pt x="203426" y="45899"/>
                  <a:pt x="186932" y="51481"/>
                  <a:pt x="175440" y="64136"/>
                </a:cubicBezTo>
                <a:cubicBezTo>
                  <a:pt x="169669" y="70247"/>
                  <a:pt x="165678" y="77995"/>
                  <a:pt x="162889" y="85261"/>
                </a:cubicBezTo>
                <a:cubicBezTo>
                  <a:pt x="160052" y="92623"/>
                  <a:pt x="157888" y="100034"/>
                  <a:pt x="155869" y="107444"/>
                </a:cubicBezTo>
                <a:cubicBezTo>
                  <a:pt x="151974" y="122265"/>
                  <a:pt x="148993" y="137134"/>
                  <a:pt x="146252" y="151955"/>
                </a:cubicBezTo>
                <a:cubicBezTo>
                  <a:pt x="140818" y="181597"/>
                  <a:pt x="136538" y="211047"/>
                  <a:pt x="132355" y="240208"/>
                </a:cubicBezTo>
                <a:cubicBezTo>
                  <a:pt x="128171" y="269369"/>
                  <a:pt x="124228" y="298289"/>
                  <a:pt x="119901" y="326872"/>
                </a:cubicBezTo>
                <a:cubicBezTo>
                  <a:pt x="115477" y="355359"/>
                  <a:pt x="111053" y="383654"/>
                  <a:pt x="104273" y="410794"/>
                </a:cubicBezTo>
                <a:cubicBezTo>
                  <a:pt x="89174" y="464688"/>
                  <a:pt x="65323" y="515118"/>
                  <a:pt x="45320" y="565500"/>
                </a:cubicBezTo>
                <a:cubicBezTo>
                  <a:pt x="25075" y="615834"/>
                  <a:pt x="8726" y="667082"/>
                  <a:pt x="2812" y="718715"/>
                </a:cubicBezTo>
                <a:cubicBezTo>
                  <a:pt x="1754" y="725115"/>
                  <a:pt x="1658" y="731611"/>
                  <a:pt x="1081" y="738011"/>
                </a:cubicBezTo>
                <a:lnTo>
                  <a:pt x="359" y="747635"/>
                </a:lnTo>
                <a:cubicBezTo>
                  <a:pt x="167" y="750811"/>
                  <a:pt x="215" y="754035"/>
                  <a:pt x="167" y="757259"/>
                </a:cubicBezTo>
                <a:cubicBezTo>
                  <a:pt x="167" y="763659"/>
                  <a:pt x="-73" y="770011"/>
                  <a:pt x="23" y="776363"/>
                </a:cubicBezTo>
                <a:cubicBezTo>
                  <a:pt x="407" y="782666"/>
                  <a:pt x="744" y="788970"/>
                  <a:pt x="1129" y="795226"/>
                </a:cubicBezTo>
                <a:cubicBezTo>
                  <a:pt x="1513" y="801481"/>
                  <a:pt x="1850" y="807737"/>
                  <a:pt x="2235" y="813944"/>
                </a:cubicBezTo>
                <a:cubicBezTo>
                  <a:pt x="2331" y="817072"/>
                  <a:pt x="2716" y="820152"/>
                  <a:pt x="3148" y="823184"/>
                </a:cubicBezTo>
                <a:lnTo>
                  <a:pt x="4350" y="832375"/>
                </a:lnTo>
                <a:cubicBezTo>
                  <a:pt x="5168" y="838486"/>
                  <a:pt x="5937" y="844597"/>
                  <a:pt x="6755" y="850660"/>
                </a:cubicBezTo>
                <a:lnTo>
                  <a:pt x="7957" y="859755"/>
                </a:lnTo>
                <a:lnTo>
                  <a:pt x="9688" y="868705"/>
                </a:lnTo>
                <a:cubicBezTo>
                  <a:pt x="17959" y="916537"/>
                  <a:pt x="32048" y="961385"/>
                  <a:pt x="48012" y="1003297"/>
                </a:cubicBezTo>
                <a:cubicBezTo>
                  <a:pt x="64121" y="1045210"/>
                  <a:pt x="82105" y="1084380"/>
                  <a:pt x="101147" y="1120759"/>
                </a:cubicBezTo>
                <a:cubicBezTo>
                  <a:pt x="138895" y="1193661"/>
                  <a:pt x="177988" y="1256698"/>
                  <a:pt x="209965" y="1313287"/>
                </a:cubicBezTo>
                <a:cubicBezTo>
                  <a:pt x="218140" y="1327338"/>
                  <a:pt x="225449" y="1341197"/>
                  <a:pt x="232710" y="1354430"/>
                </a:cubicBezTo>
                <a:cubicBezTo>
                  <a:pt x="239682" y="1367759"/>
                  <a:pt x="246078" y="1380800"/>
                  <a:pt x="252137" y="1393359"/>
                </a:cubicBezTo>
                <a:cubicBezTo>
                  <a:pt x="264254" y="1418430"/>
                  <a:pt x="275266" y="1441431"/>
                  <a:pt x="285508" y="1461931"/>
                </a:cubicBezTo>
                <a:cubicBezTo>
                  <a:pt x="305945" y="1502929"/>
                  <a:pt x="323592" y="1534063"/>
                  <a:pt x="338066" y="1553503"/>
                </a:cubicBezTo>
                <a:cubicBezTo>
                  <a:pt x="345231" y="1563272"/>
                  <a:pt x="351578" y="1570105"/>
                  <a:pt x="356435" y="1574051"/>
                </a:cubicBezTo>
                <a:cubicBezTo>
                  <a:pt x="358887" y="1575975"/>
                  <a:pt x="360762" y="1577371"/>
                  <a:pt x="362205" y="1578093"/>
                </a:cubicBezTo>
                <a:cubicBezTo>
                  <a:pt x="363600" y="1578863"/>
                  <a:pt x="364273" y="1579199"/>
                  <a:pt x="364321" y="1579151"/>
                </a:cubicBezTo>
                <a:cubicBezTo>
                  <a:pt x="364465" y="1578911"/>
                  <a:pt x="361676" y="1577371"/>
                  <a:pt x="357156" y="1573233"/>
                </a:cubicBezTo>
                <a:cubicBezTo>
                  <a:pt x="352636" y="1569094"/>
                  <a:pt x="346673" y="1562117"/>
                  <a:pt x="339845" y="1552252"/>
                </a:cubicBezTo>
                <a:cubicBezTo>
                  <a:pt x="326045" y="1532571"/>
                  <a:pt x="309070" y="1501293"/>
                  <a:pt x="289259" y="1460102"/>
                </a:cubicBezTo>
                <a:cubicBezTo>
                  <a:pt x="279305" y="1439507"/>
                  <a:pt x="268630" y="1416409"/>
                  <a:pt x="256753" y="1391194"/>
                </a:cubicBezTo>
                <a:cubicBezTo>
                  <a:pt x="250790" y="1378587"/>
                  <a:pt x="244587" y="1365450"/>
                  <a:pt x="237663" y="1351928"/>
                </a:cubicBezTo>
                <a:cubicBezTo>
                  <a:pt x="230498" y="1338599"/>
                  <a:pt x="223285" y="1324596"/>
                  <a:pt x="215207" y="1310448"/>
                </a:cubicBezTo>
                <a:cubicBezTo>
                  <a:pt x="183662" y="1253474"/>
                  <a:pt x="145001" y="1190244"/>
                  <a:pt x="107879" y="1117438"/>
                </a:cubicBezTo>
                <a:cubicBezTo>
                  <a:pt x="89126" y="1081156"/>
                  <a:pt x="71526" y="1042130"/>
                  <a:pt x="55754" y="1000506"/>
                </a:cubicBezTo>
                <a:cubicBezTo>
                  <a:pt x="40126" y="958882"/>
                  <a:pt x="26374" y="914467"/>
                  <a:pt x="18440" y="867310"/>
                </a:cubicBezTo>
                <a:lnTo>
                  <a:pt x="16757" y="858504"/>
                </a:lnTo>
                <a:lnTo>
                  <a:pt x="15603" y="849553"/>
                </a:lnTo>
                <a:cubicBezTo>
                  <a:pt x="14833" y="843586"/>
                  <a:pt x="14064" y="837571"/>
                  <a:pt x="13294" y="831556"/>
                </a:cubicBezTo>
                <a:lnTo>
                  <a:pt x="12140" y="822510"/>
                </a:lnTo>
                <a:cubicBezTo>
                  <a:pt x="11708" y="819478"/>
                  <a:pt x="11371" y="816447"/>
                  <a:pt x="11275" y="813367"/>
                </a:cubicBezTo>
                <a:cubicBezTo>
                  <a:pt x="10938" y="807256"/>
                  <a:pt x="10602" y="801096"/>
                  <a:pt x="10265" y="794937"/>
                </a:cubicBezTo>
                <a:cubicBezTo>
                  <a:pt x="9928" y="788778"/>
                  <a:pt x="9592" y="782570"/>
                  <a:pt x="9255" y="776363"/>
                </a:cubicBezTo>
                <a:cubicBezTo>
                  <a:pt x="9207" y="770155"/>
                  <a:pt x="9399" y="763948"/>
                  <a:pt x="9448" y="757692"/>
                </a:cubicBezTo>
                <a:cubicBezTo>
                  <a:pt x="9544" y="754564"/>
                  <a:pt x="9448" y="751436"/>
                  <a:pt x="9688" y="748309"/>
                </a:cubicBezTo>
                <a:lnTo>
                  <a:pt x="10409" y="738925"/>
                </a:lnTo>
                <a:cubicBezTo>
                  <a:pt x="11034" y="732670"/>
                  <a:pt x="11131" y="726318"/>
                  <a:pt x="12188" y="720062"/>
                </a:cubicBezTo>
                <a:cubicBezTo>
                  <a:pt x="16660" y="682432"/>
                  <a:pt x="26758" y="644946"/>
                  <a:pt x="39982" y="607605"/>
                </a:cubicBezTo>
                <a:cubicBezTo>
                  <a:pt x="29644" y="639990"/>
                  <a:pt x="21902" y="672904"/>
                  <a:pt x="18199" y="705963"/>
                </a:cubicBezTo>
                <a:cubicBezTo>
                  <a:pt x="13054" y="755719"/>
                  <a:pt x="14016" y="804802"/>
                  <a:pt x="20652" y="852007"/>
                </a:cubicBezTo>
                <a:cubicBezTo>
                  <a:pt x="27239" y="899213"/>
                  <a:pt x="39597" y="944302"/>
                  <a:pt x="55418" y="986503"/>
                </a:cubicBezTo>
                <a:cubicBezTo>
                  <a:pt x="71334" y="1028705"/>
                  <a:pt x="90520" y="1068019"/>
                  <a:pt x="110187" y="1105216"/>
                </a:cubicBezTo>
                <a:cubicBezTo>
                  <a:pt x="129951" y="1142461"/>
                  <a:pt x="150050" y="1177685"/>
                  <a:pt x="168948" y="1211802"/>
                </a:cubicBezTo>
                <a:cubicBezTo>
                  <a:pt x="187942" y="1245919"/>
                  <a:pt x="206551" y="1278448"/>
                  <a:pt x="225016" y="1309149"/>
                </a:cubicBezTo>
                <a:cubicBezTo>
                  <a:pt x="243481" y="1339802"/>
                  <a:pt x="261754" y="1368626"/>
                  <a:pt x="280315" y="1395092"/>
                </a:cubicBezTo>
                <a:cubicBezTo>
                  <a:pt x="298972" y="1421461"/>
                  <a:pt x="317581" y="1445810"/>
                  <a:pt x="338499" y="1465636"/>
                </a:cubicBezTo>
                <a:cubicBezTo>
                  <a:pt x="343836" y="1470496"/>
                  <a:pt x="349126" y="1475212"/>
                  <a:pt x="355040" y="1479110"/>
                </a:cubicBezTo>
                <a:cubicBezTo>
                  <a:pt x="360859" y="1483007"/>
                  <a:pt x="366917" y="1486664"/>
                  <a:pt x="373794" y="1488493"/>
                </a:cubicBezTo>
                <a:cubicBezTo>
                  <a:pt x="380574" y="1490418"/>
                  <a:pt x="387835" y="1490370"/>
                  <a:pt x="394326" y="1488637"/>
                </a:cubicBezTo>
                <a:cubicBezTo>
                  <a:pt x="400866" y="1486905"/>
                  <a:pt x="406684" y="1483729"/>
                  <a:pt x="411782" y="1480024"/>
                </a:cubicBezTo>
                <a:cubicBezTo>
                  <a:pt x="421976" y="1472517"/>
                  <a:pt x="429525" y="1463182"/>
                  <a:pt x="436065" y="1454087"/>
                </a:cubicBezTo>
                <a:cubicBezTo>
                  <a:pt x="442556" y="1444896"/>
                  <a:pt x="447894" y="1435657"/>
                  <a:pt x="452558" y="1426755"/>
                </a:cubicBezTo>
                <a:cubicBezTo>
                  <a:pt x="461839" y="1408902"/>
                  <a:pt x="468715" y="1392445"/>
                  <a:pt x="474245" y="1378057"/>
                </a:cubicBezTo>
                <a:cubicBezTo>
                  <a:pt x="479775" y="1363669"/>
                  <a:pt x="484006" y="1351302"/>
                  <a:pt x="487228" y="1341293"/>
                </a:cubicBezTo>
                <a:cubicBezTo>
                  <a:pt x="490450" y="1331284"/>
                  <a:pt x="492758" y="1323585"/>
                  <a:pt x="494249" y="1318388"/>
                </a:cubicBezTo>
                <a:cubicBezTo>
                  <a:pt x="495691" y="1313191"/>
                  <a:pt x="496364" y="1310496"/>
                  <a:pt x="496172" y="1310448"/>
                </a:cubicBezTo>
                <a:cubicBezTo>
                  <a:pt x="495980" y="1310400"/>
                  <a:pt x="495018" y="1312999"/>
                  <a:pt x="493191" y="1318051"/>
                </a:cubicBezTo>
                <a:cubicBezTo>
                  <a:pt x="491364" y="1323152"/>
                  <a:pt x="488719" y="1330707"/>
                  <a:pt x="485209" y="1340620"/>
                </a:cubicBezTo>
                <a:cubicBezTo>
                  <a:pt x="481650" y="1350484"/>
                  <a:pt x="477130" y="1362707"/>
                  <a:pt x="471312" y="1376902"/>
                </a:cubicBezTo>
                <a:cubicBezTo>
                  <a:pt x="465493" y="1391098"/>
                  <a:pt x="458377" y="1407362"/>
                  <a:pt x="448904" y="1424830"/>
                </a:cubicBezTo>
                <a:cubicBezTo>
                  <a:pt x="444143" y="1433540"/>
                  <a:pt x="438758" y="1442538"/>
                  <a:pt x="432314" y="1451392"/>
                </a:cubicBezTo>
                <a:cubicBezTo>
                  <a:pt x="425871" y="1460198"/>
                  <a:pt x="418369" y="1469052"/>
                  <a:pt x="408848" y="1475885"/>
                </a:cubicBezTo>
                <a:cubicBezTo>
                  <a:pt x="404088" y="1479254"/>
                  <a:pt x="398798" y="1482045"/>
                  <a:pt x="393028" y="1483488"/>
                </a:cubicBezTo>
                <a:cubicBezTo>
                  <a:pt x="387306" y="1484932"/>
                  <a:pt x="381151" y="1484884"/>
                  <a:pt x="375284" y="1483152"/>
                </a:cubicBezTo>
                <a:cubicBezTo>
                  <a:pt x="363455" y="1479543"/>
                  <a:pt x="352732" y="1470689"/>
                  <a:pt x="342586" y="1461257"/>
                </a:cubicBezTo>
                <a:cubicBezTo>
                  <a:pt x="322438" y="1441768"/>
                  <a:pt x="304165" y="1417468"/>
                  <a:pt x="285845" y="1391194"/>
                </a:cubicBezTo>
                <a:cubicBezTo>
                  <a:pt x="267620" y="1364776"/>
                  <a:pt x="249636" y="1335952"/>
                  <a:pt x="231460" y="1305251"/>
                </a:cubicBezTo>
                <a:cubicBezTo>
                  <a:pt x="213283" y="1274551"/>
                  <a:pt x="194915" y="1241973"/>
                  <a:pt x="176113" y="1207808"/>
                </a:cubicBezTo>
                <a:cubicBezTo>
                  <a:pt x="157408" y="1173594"/>
                  <a:pt x="137452" y="1138178"/>
                  <a:pt x="117977" y="1101078"/>
                </a:cubicBezTo>
                <a:cubicBezTo>
                  <a:pt x="98551" y="1063929"/>
                  <a:pt x="79701" y="1024903"/>
                  <a:pt x="64121" y="983183"/>
                </a:cubicBezTo>
                <a:cubicBezTo>
                  <a:pt x="48686" y="941463"/>
                  <a:pt x="36664" y="897096"/>
                  <a:pt x="30317" y="850660"/>
                </a:cubicBezTo>
                <a:cubicBezTo>
                  <a:pt x="23921" y="804272"/>
                  <a:pt x="23104" y="755815"/>
                  <a:pt x="28249" y="707166"/>
                </a:cubicBezTo>
                <a:cubicBezTo>
                  <a:pt x="33779" y="658468"/>
                  <a:pt x="48157" y="610156"/>
                  <a:pt x="67151" y="562661"/>
                </a:cubicBezTo>
                <a:cubicBezTo>
                  <a:pt x="86048" y="515118"/>
                  <a:pt x="108793" y="467720"/>
                  <a:pt x="126536" y="417290"/>
                </a:cubicBezTo>
                <a:cubicBezTo>
                  <a:pt x="144376" y="367101"/>
                  <a:pt x="160052" y="315516"/>
                  <a:pt x="179767" y="264941"/>
                </a:cubicBezTo>
                <a:cubicBezTo>
                  <a:pt x="189673" y="239727"/>
                  <a:pt x="200444" y="214993"/>
                  <a:pt x="213428" y="191799"/>
                </a:cubicBezTo>
                <a:cubicBezTo>
                  <a:pt x="226411" y="168701"/>
                  <a:pt x="241654" y="146903"/>
                  <a:pt x="260936" y="129868"/>
                </a:cubicBezTo>
                <a:cubicBezTo>
                  <a:pt x="270650" y="121351"/>
                  <a:pt x="280988" y="114325"/>
                  <a:pt x="292817" y="108888"/>
                </a:cubicBezTo>
                <a:lnTo>
                  <a:pt x="301473" y="104557"/>
                </a:lnTo>
                <a:lnTo>
                  <a:pt x="310369" y="100900"/>
                </a:lnTo>
                <a:cubicBezTo>
                  <a:pt x="313350" y="99745"/>
                  <a:pt x="316283" y="98350"/>
                  <a:pt x="319313" y="97387"/>
                </a:cubicBezTo>
                <a:lnTo>
                  <a:pt x="328401" y="94548"/>
                </a:lnTo>
                <a:lnTo>
                  <a:pt x="332921" y="93104"/>
                </a:lnTo>
                <a:lnTo>
                  <a:pt x="337537" y="92094"/>
                </a:lnTo>
                <a:lnTo>
                  <a:pt x="346769" y="90121"/>
                </a:lnTo>
                <a:cubicBezTo>
                  <a:pt x="349847" y="89640"/>
                  <a:pt x="352973" y="89447"/>
                  <a:pt x="356050" y="89111"/>
                </a:cubicBezTo>
                <a:lnTo>
                  <a:pt x="360714" y="88629"/>
                </a:lnTo>
                <a:cubicBezTo>
                  <a:pt x="362253" y="88533"/>
                  <a:pt x="363792" y="88629"/>
                  <a:pt x="365331" y="88629"/>
                </a:cubicBezTo>
                <a:cubicBezTo>
                  <a:pt x="377737" y="88148"/>
                  <a:pt x="389854" y="90843"/>
                  <a:pt x="401155" y="95174"/>
                </a:cubicBezTo>
                <a:cubicBezTo>
                  <a:pt x="423995" y="103980"/>
                  <a:pt x="441691" y="122506"/>
                  <a:pt x="455299" y="142764"/>
                </a:cubicBezTo>
                <a:cubicBezTo>
                  <a:pt x="468667" y="163456"/>
                  <a:pt x="478477" y="186217"/>
                  <a:pt x="486363" y="209363"/>
                </a:cubicBezTo>
                <a:cubicBezTo>
                  <a:pt x="501991" y="255751"/>
                  <a:pt x="510694" y="303438"/>
                  <a:pt x="517186" y="350018"/>
                </a:cubicBezTo>
                <a:cubicBezTo>
                  <a:pt x="529928" y="443371"/>
                  <a:pt x="532910" y="533260"/>
                  <a:pt x="535651" y="617181"/>
                </a:cubicBezTo>
                <a:cubicBezTo>
                  <a:pt x="538103" y="701151"/>
                  <a:pt x="538488" y="779442"/>
                  <a:pt x="537478" y="850853"/>
                </a:cubicBezTo>
                <a:cubicBezTo>
                  <a:pt x="535458" y="993721"/>
                  <a:pt x="527861" y="1109258"/>
                  <a:pt x="517859" y="1188464"/>
                </a:cubicBezTo>
                <a:cubicBezTo>
                  <a:pt x="513291" y="1228163"/>
                  <a:pt x="507328" y="1258575"/>
                  <a:pt x="503193" y="1279170"/>
                </a:cubicBezTo>
                <a:cubicBezTo>
                  <a:pt x="501029" y="1289468"/>
                  <a:pt x="498817" y="1297167"/>
                  <a:pt x="497663" y="1302412"/>
                </a:cubicBezTo>
                <a:cubicBezTo>
                  <a:pt x="496413" y="1307657"/>
                  <a:pt x="495884" y="1310400"/>
                  <a:pt x="496028" y="1310448"/>
                </a:cubicBezTo>
                <a:cubicBezTo>
                  <a:pt x="496172" y="1310496"/>
                  <a:pt x="497086" y="1307898"/>
                  <a:pt x="498673" y="1302749"/>
                </a:cubicBezTo>
                <a:cubicBezTo>
                  <a:pt x="500163" y="1297552"/>
                  <a:pt x="502760" y="1289901"/>
                  <a:pt x="505260" y="1279700"/>
                </a:cubicBezTo>
                <a:cubicBezTo>
                  <a:pt x="510069" y="1259200"/>
                  <a:pt x="516705" y="1228740"/>
                  <a:pt x="521946" y="1189041"/>
                </a:cubicBezTo>
                <a:cubicBezTo>
                  <a:pt x="533246" y="1109739"/>
                  <a:pt x="541998" y="994058"/>
                  <a:pt x="544979" y="850997"/>
                </a:cubicBezTo>
                <a:cubicBezTo>
                  <a:pt x="546470" y="779442"/>
                  <a:pt x="546518" y="701055"/>
                  <a:pt x="544450" y="616941"/>
                </a:cubicBezTo>
                <a:cubicBezTo>
                  <a:pt x="542046" y="532875"/>
                  <a:pt x="539449" y="442794"/>
                  <a:pt x="526851" y="348719"/>
                </a:cubicBezTo>
                <a:cubicBezTo>
                  <a:pt x="520407" y="301754"/>
                  <a:pt x="511800" y="253585"/>
                  <a:pt x="495932" y="206091"/>
                </a:cubicBezTo>
                <a:cubicBezTo>
                  <a:pt x="487901" y="182415"/>
                  <a:pt x="477900" y="158885"/>
                  <a:pt x="463858" y="137086"/>
                </a:cubicBezTo>
                <a:cubicBezTo>
                  <a:pt x="456405" y="126500"/>
                  <a:pt x="448663" y="115817"/>
                  <a:pt x="438661" y="107059"/>
                </a:cubicBezTo>
                <a:cubicBezTo>
                  <a:pt x="428852" y="98205"/>
                  <a:pt x="417696" y="90217"/>
                  <a:pt x="404953" y="85502"/>
                </a:cubicBezTo>
                <a:cubicBezTo>
                  <a:pt x="392403" y="80641"/>
                  <a:pt x="378747" y="77706"/>
                  <a:pt x="365186" y="78187"/>
                </a:cubicBezTo>
                <a:cubicBezTo>
                  <a:pt x="363503" y="78187"/>
                  <a:pt x="361772" y="78091"/>
                  <a:pt x="360089" y="78187"/>
                </a:cubicBezTo>
                <a:lnTo>
                  <a:pt x="355040" y="78717"/>
                </a:lnTo>
                <a:cubicBezTo>
                  <a:pt x="351674" y="79101"/>
                  <a:pt x="348308" y="79342"/>
                  <a:pt x="344942" y="79823"/>
                </a:cubicBezTo>
                <a:lnTo>
                  <a:pt x="335037" y="81893"/>
                </a:lnTo>
                <a:lnTo>
                  <a:pt x="330084" y="82951"/>
                </a:lnTo>
                <a:lnTo>
                  <a:pt x="325275" y="84443"/>
                </a:lnTo>
                <a:lnTo>
                  <a:pt x="315658" y="87474"/>
                </a:lnTo>
                <a:cubicBezTo>
                  <a:pt x="312436" y="88533"/>
                  <a:pt x="309407" y="89928"/>
                  <a:pt x="306281" y="91131"/>
                </a:cubicBezTo>
                <a:cubicBezTo>
                  <a:pt x="303204" y="92431"/>
                  <a:pt x="300030" y="93634"/>
                  <a:pt x="296953" y="94981"/>
                </a:cubicBezTo>
                <a:lnTo>
                  <a:pt x="287961" y="99456"/>
                </a:lnTo>
                <a:cubicBezTo>
                  <a:pt x="275795" y="104990"/>
                  <a:pt x="264014" y="112882"/>
                  <a:pt x="253820" y="121928"/>
                </a:cubicBezTo>
                <a:cubicBezTo>
                  <a:pt x="233191" y="140166"/>
                  <a:pt x="217419" y="162879"/>
                  <a:pt x="204003" y="186602"/>
                </a:cubicBezTo>
                <a:cubicBezTo>
                  <a:pt x="190635" y="210421"/>
                  <a:pt x="179671" y="235540"/>
                  <a:pt x="169669" y="261044"/>
                </a:cubicBezTo>
                <a:cubicBezTo>
                  <a:pt x="149714" y="312147"/>
                  <a:pt x="134086" y="363829"/>
                  <a:pt x="116342" y="413729"/>
                </a:cubicBezTo>
                <a:cubicBezTo>
                  <a:pt x="111149" y="428550"/>
                  <a:pt x="105427" y="443130"/>
                  <a:pt x="99560" y="457615"/>
                </a:cubicBezTo>
                <a:cubicBezTo>
                  <a:pt x="104802" y="443227"/>
                  <a:pt x="109658" y="428646"/>
                  <a:pt x="113938" y="413633"/>
                </a:cubicBezTo>
                <a:cubicBezTo>
                  <a:pt x="121007" y="385723"/>
                  <a:pt x="125431" y="357380"/>
                  <a:pt x="129951" y="328749"/>
                </a:cubicBezTo>
                <a:cubicBezTo>
                  <a:pt x="134326" y="300117"/>
                  <a:pt x="138318" y="271149"/>
                  <a:pt x="142549" y="242036"/>
                </a:cubicBezTo>
                <a:cubicBezTo>
                  <a:pt x="146781" y="212924"/>
                  <a:pt x="151060" y="183522"/>
                  <a:pt x="156494" y="154217"/>
                </a:cubicBezTo>
                <a:cubicBezTo>
                  <a:pt x="159235" y="139589"/>
                  <a:pt x="162168" y="124912"/>
                  <a:pt x="165967" y="110524"/>
                </a:cubicBezTo>
                <a:cubicBezTo>
                  <a:pt x="170054" y="96329"/>
                  <a:pt x="173853" y="81507"/>
                  <a:pt x="183085" y="71643"/>
                </a:cubicBezTo>
                <a:cubicBezTo>
                  <a:pt x="192366" y="61393"/>
                  <a:pt x="206118" y="56437"/>
                  <a:pt x="220785" y="52539"/>
                </a:cubicBezTo>
                <a:cubicBezTo>
                  <a:pt x="224487" y="51481"/>
                  <a:pt x="228286" y="50470"/>
                  <a:pt x="232373" y="48834"/>
                </a:cubicBezTo>
                <a:lnTo>
                  <a:pt x="235451" y="47342"/>
                </a:lnTo>
                <a:lnTo>
                  <a:pt x="237951" y="46043"/>
                </a:lnTo>
                <a:lnTo>
                  <a:pt x="242952" y="43396"/>
                </a:lnTo>
                <a:cubicBezTo>
                  <a:pt x="249684" y="40076"/>
                  <a:pt x="256512" y="36852"/>
                  <a:pt x="263581" y="34109"/>
                </a:cubicBezTo>
                <a:cubicBezTo>
                  <a:pt x="291663" y="22801"/>
                  <a:pt x="321765" y="15775"/>
                  <a:pt x="352299" y="12648"/>
                </a:cubicBezTo>
                <a:cubicBezTo>
                  <a:pt x="382834" y="9664"/>
                  <a:pt x="413801" y="10434"/>
                  <a:pt x="443037" y="17508"/>
                </a:cubicBezTo>
                <a:cubicBezTo>
                  <a:pt x="457559" y="21069"/>
                  <a:pt x="471648" y="26362"/>
                  <a:pt x="483910" y="34109"/>
                </a:cubicBezTo>
                <a:cubicBezTo>
                  <a:pt x="486892" y="36130"/>
                  <a:pt x="489921" y="38151"/>
                  <a:pt x="492566" y="40509"/>
                </a:cubicBezTo>
                <a:cubicBezTo>
                  <a:pt x="495403" y="42674"/>
                  <a:pt x="497615" y="45610"/>
                  <a:pt x="500211" y="48112"/>
                </a:cubicBezTo>
                <a:cubicBezTo>
                  <a:pt x="501413" y="49459"/>
                  <a:pt x="502808" y="50614"/>
                  <a:pt x="503866" y="52106"/>
                </a:cubicBezTo>
                <a:lnTo>
                  <a:pt x="507136" y="56533"/>
                </a:lnTo>
                <a:cubicBezTo>
                  <a:pt x="509252" y="59517"/>
                  <a:pt x="511704" y="62259"/>
                  <a:pt x="513483" y="65532"/>
                </a:cubicBezTo>
                <a:cubicBezTo>
                  <a:pt x="529111" y="90650"/>
                  <a:pt x="539594" y="118945"/>
                  <a:pt x="548153" y="147288"/>
                </a:cubicBezTo>
                <a:cubicBezTo>
                  <a:pt x="556664" y="175775"/>
                  <a:pt x="563156" y="204647"/>
                  <a:pt x="568734" y="233423"/>
                </a:cubicBezTo>
                <a:cubicBezTo>
                  <a:pt x="579793" y="291071"/>
                  <a:pt x="586766" y="348478"/>
                  <a:pt x="592392" y="404731"/>
                </a:cubicBezTo>
                <a:cubicBezTo>
                  <a:pt x="597778" y="461079"/>
                  <a:pt x="601480" y="516369"/>
                  <a:pt x="604125" y="570360"/>
                </a:cubicBezTo>
                <a:cubicBezTo>
                  <a:pt x="609318" y="678390"/>
                  <a:pt x="610424" y="781271"/>
                  <a:pt x="609366" y="877511"/>
                </a:cubicBezTo>
                <a:cubicBezTo>
                  <a:pt x="608693" y="925631"/>
                  <a:pt x="608212" y="972115"/>
                  <a:pt x="604750" y="1016530"/>
                </a:cubicBezTo>
                <a:cubicBezTo>
                  <a:pt x="601432" y="1060993"/>
                  <a:pt x="595950" y="1103435"/>
                  <a:pt x="588785" y="1143616"/>
                </a:cubicBezTo>
                <a:cubicBezTo>
                  <a:pt x="574552" y="1224073"/>
                  <a:pt x="553298" y="1295098"/>
                  <a:pt x="533727" y="1357077"/>
                </a:cubicBezTo>
                <a:cubicBezTo>
                  <a:pt x="514541" y="1419104"/>
                  <a:pt x="493431" y="1471121"/>
                  <a:pt x="470879" y="1510772"/>
                </a:cubicBezTo>
                <a:cubicBezTo>
                  <a:pt x="465205" y="1520637"/>
                  <a:pt x="459435" y="1529732"/>
                  <a:pt x="453616" y="1537960"/>
                </a:cubicBezTo>
                <a:cubicBezTo>
                  <a:pt x="447750" y="1546141"/>
                  <a:pt x="441739" y="1553407"/>
                  <a:pt x="435728" y="1559711"/>
                </a:cubicBezTo>
                <a:cubicBezTo>
                  <a:pt x="429669" y="1565966"/>
                  <a:pt x="423418" y="1571067"/>
                  <a:pt x="417360" y="1575157"/>
                </a:cubicBezTo>
                <a:cubicBezTo>
                  <a:pt x="411205" y="1579103"/>
                  <a:pt x="405098" y="1581798"/>
                  <a:pt x="399375" y="1583338"/>
                </a:cubicBezTo>
                <a:cubicBezTo>
                  <a:pt x="387883" y="1586321"/>
                  <a:pt x="378554" y="1584396"/>
                  <a:pt x="372832" y="1582520"/>
                </a:cubicBezTo>
                <a:cubicBezTo>
                  <a:pt x="367062" y="1580499"/>
                  <a:pt x="364225" y="1579055"/>
                  <a:pt x="364128" y="1579296"/>
                </a:cubicBezTo>
                <a:cubicBezTo>
                  <a:pt x="364128" y="1579392"/>
                  <a:pt x="364754" y="1579777"/>
                  <a:pt x="366148" y="1580547"/>
                </a:cubicBezTo>
                <a:cubicBezTo>
                  <a:pt x="367543" y="1581220"/>
                  <a:pt x="369562" y="1582568"/>
                  <a:pt x="372495" y="1583578"/>
                </a:cubicBezTo>
                <a:cubicBezTo>
                  <a:pt x="373986" y="1584060"/>
                  <a:pt x="375621" y="1584637"/>
                  <a:pt x="377496" y="1585215"/>
                </a:cubicBezTo>
                <a:cubicBezTo>
                  <a:pt x="379372" y="1585696"/>
                  <a:pt x="381487" y="1585936"/>
                  <a:pt x="383796" y="1586369"/>
                </a:cubicBezTo>
                <a:cubicBezTo>
                  <a:pt x="386104" y="1586802"/>
                  <a:pt x="388652" y="1586562"/>
                  <a:pt x="391345" y="1586658"/>
                </a:cubicBezTo>
                <a:cubicBezTo>
                  <a:pt x="394038" y="1586466"/>
                  <a:pt x="396923" y="1586081"/>
                  <a:pt x="399904" y="1585455"/>
                </a:cubicBezTo>
                <a:cubicBezTo>
                  <a:pt x="405915" y="1584011"/>
                  <a:pt x="412310" y="1581365"/>
                  <a:pt x="418802" y="1577467"/>
                </a:cubicBezTo>
                <a:cubicBezTo>
                  <a:pt x="425149" y="1573377"/>
                  <a:pt x="431689" y="1568276"/>
                  <a:pt x="437988" y="1561972"/>
                </a:cubicBezTo>
                <a:cubicBezTo>
                  <a:pt x="444239" y="1555620"/>
                  <a:pt x="450491" y="1548354"/>
                  <a:pt x="456598" y="1540174"/>
                </a:cubicBezTo>
                <a:cubicBezTo>
                  <a:pt x="462608" y="1531897"/>
                  <a:pt x="468619" y="1522803"/>
                  <a:pt x="474485" y="1512890"/>
                </a:cubicBezTo>
                <a:close/>
              </a:path>
            </a:pathLst>
          </a:custGeom>
          <a:solidFill>
            <a:srgbClr val="29C8C1"/>
          </a:solidFill>
          <a:ln w="0" cap="flat">
            <a:noFill/>
            <a:prstDash val="solid"/>
            <a:miter/>
          </a:ln>
        </p:spPr>
        <p:txBody>
          <a:bodyPr rtlCol="0" anchor="ctr"/>
          <a:lstStyle/>
          <a:p>
            <a:pPr rtl="0"/>
            <a:endParaRPr lang="en-AU" dirty="0"/>
          </a:p>
        </p:txBody>
      </p:sp>
      <p:sp>
        <p:nvSpPr>
          <p:cNvPr id="46" name="Freeform: Shape 45">
            <a:extLst>
              <a:ext uri="{FF2B5EF4-FFF2-40B4-BE49-F238E27FC236}">
                <a16:creationId xmlns:a16="http://schemas.microsoft.com/office/drawing/2014/main" id="{E51F33F4-AE84-B4AF-1ACA-B7EF3B980417}"/>
              </a:ext>
            </a:extLst>
          </p:cNvPr>
          <p:cNvSpPr/>
          <p:nvPr/>
        </p:nvSpPr>
        <p:spPr>
          <a:xfrm>
            <a:off x="6827451" y="2014001"/>
            <a:ext cx="1794208" cy="2006166"/>
          </a:xfrm>
          <a:custGeom>
            <a:avLst/>
            <a:gdLst>
              <a:gd name="connsiteX0" fmla="*/ 61611 w 1794208"/>
              <a:gd name="connsiteY0" fmla="*/ 1769165 h 2006166"/>
              <a:gd name="connsiteX1" fmla="*/ 129604 w 1794208"/>
              <a:gd name="connsiteY1" fmla="*/ 1859583 h 2006166"/>
              <a:gd name="connsiteX2" fmla="*/ 217986 w 1794208"/>
              <a:gd name="connsiteY2" fmla="*/ 1937489 h 2006166"/>
              <a:gd name="connsiteX3" fmla="*/ 243231 w 1794208"/>
              <a:gd name="connsiteY3" fmla="*/ 1954139 h 2006166"/>
              <a:gd name="connsiteX4" fmla="*/ 256407 w 1794208"/>
              <a:gd name="connsiteY4" fmla="*/ 1961790 h 2006166"/>
              <a:gd name="connsiteX5" fmla="*/ 269871 w 1794208"/>
              <a:gd name="connsiteY5" fmla="*/ 1969056 h 2006166"/>
              <a:gd name="connsiteX6" fmla="*/ 327045 w 1794208"/>
              <a:gd name="connsiteY6" fmla="*/ 1992972 h 2006166"/>
              <a:gd name="connsiteX7" fmla="*/ 389027 w 1794208"/>
              <a:gd name="connsiteY7" fmla="*/ 2005483 h 2006166"/>
              <a:gd name="connsiteX8" fmla="*/ 453462 w 1794208"/>
              <a:gd name="connsiteY8" fmla="*/ 2000334 h 2006166"/>
              <a:gd name="connsiteX9" fmla="*/ 511358 w 1794208"/>
              <a:gd name="connsiteY9" fmla="*/ 1968960 h 2006166"/>
              <a:gd name="connsiteX10" fmla="*/ 555356 w 1794208"/>
              <a:gd name="connsiteY10" fmla="*/ 1919155 h 2006166"/>
              <a:gd name="connsiteX11" fmla="*/ 588391 w 1794208"/>
              <a:gd name="connsiteY11" fmla="*/ 1860737 h 2006166"/>
              <a:gd name="connsiteX12" fmla="*/ 613732 w 1794208"/>
              <a:gd name="connsiteY12" fmla="*/ 1797844 h 2006166"/>
              <a:gd name="connsiteX13" fmla="*/ 633736 w 1794208"/>
              <a:gd name="connsiteY13" fmla="*/ 1732208 h 2006166"/>
              <a:gd name="connsiteX14" fmla="*/ 649701 w 1794208"/>
              <a:gd name="connsiteY14" fmla="*/ 1664648 h 2006166"/>
              <a:gd name="connsiteX15" fmla="*/ 672686 w 1794208"/>
              <a:gd name="connsiteY15" fmla="*/ 1525292 h 2006166"/>
              <a:gd name="connsiteX16" fmla="*/ 686486 w 1794208"/>
              <a:gd name="connsiteY16" fmla="*/ 1381461 h 2006166"/>
              <a:gd name="connsiteX17" fmla="*/ 687400 w 1794208"/>
              <a:gd name="connsiteY17" fmla="*/ 1233972 h 2006166"/>
              <a:gd name="connsiteX18" fmla="*/ 700479 w 1794208"/>
              <a:gd name="connsiteY18" fmla="*/ 1086195 h 2006166"/>
              <a:gd name="connsiteX19" fmla="*/ 770300 w 1794208"/>
              <a:gd name="connsiteY19" fmla="*/ 954394 h 2006166"/>
              <a:gd name="connsiteX20" fmla="*/ 883830 w 1794208"/>
              <a:gd name="connsiteY20" fmla="*/ 851417 h 2006166"/>
              <a:gd name="connsiteX21" fmla="*/ 1021837 w 1794208"/>
              <a:gd name="connsiteY21" fmla="*/ 779574 h 2006166"/>
              <a:gd name="connsiteX22" fmla="*/ 1097812 w 1794208"/>
              <a:gd name="connsiteY22" fmla="*/ 760277 h 2006166"/>
              <a:gd name="connsiteX23" fmla="*/ 1176673 w 1794208"/>
              <a:gd name="connsiteY23" fmla="*/ 754984 h 2006166"/>
              <a:gd name="connsiteX24" fmla="*/ 1332664 w 1794208"/>
              <a:gd name="connsiteY24" fmla="*/ 778948 h 2006166"/>
              <a:gd name="connsiteX25" fmla="*/ 1483412 w 1794208"/>
              <a:gd name="connsiteY25" fmla="*/ 824133 h 2006166"/>
              <a:gd name="connsiteX26" fmla="*/ 1560157 w 1794208"/>
              <a:gd name="connsiteY26" fmla="*/ 840831 h 2006166"/>
              <a:gd name="connsiteX27" fmla="*/ 1579728 w 1794208"/>
              <a:gd name="connsiteY27" fmla="*/ 842948 h 2006166"/>
              <a:gd name="connsiteX28" fmla="*/ 1599395 w 1794208"/>
              <a:gd name="connsiteY28" fmla="*/ 843910 h 2006166"/>
              <a:gd name="connsiteX29" fmla="*/ 1619110 w 1794208"/>
              <a:gd name="connsiteY29" fmla="*/ 843285 h 2006166"/>
              <a:gd name="connsiteX30" fmla="*/ 1638681 w 1794208"/>
              <a:gd name="connsiteY30" fmla="*/ 841071 h 2006166"/>
              <a:gd name="connsiteX31" fmla="*/ 1648395 w 1794208"/>
              <a:gd name="connsiteY31" fmla="*/ 839483 h 2006166"/>
              <a:gd name="connsiteX32" fmla="*/ 1657964 w 1794208"/>
              <a:gd name="connsiteY32" fmla="*/ 837222 h 2006166"/>
              <a:gd name="connsiteX33" fmla="*/ 1667485 w 1794208"/>
              <a:gd name="connsiteY33" fmla="*/ 834719 h 2006166"/>
              <a:gd name="connsiteX34" fmla="*/ 1676813 w 1794208"/>
              <a:gd name="connsiteY34" fmla="*/ 831592 h 2006166"/>
              <a:gd name="connsiteX35" fmla="*/ 1695038 w 1794208"/>
              <a:gd name="connsiteY35" fmla="*/ 824277 h 2006166"/>
              <a:gd name="connsiteX36" fmla="*/ 1703838 w 1794208"/>
              <a:gd name="connsiteY36" fmla="*/ 819754 h 2006166"/>
              <a:gd name="connsiteX37" fmla="*/ 1712493 w 1794208"/>
              <a:gd name="connsiteY37" fmla="*/ 814750 h 2006166"/>
              <a:gd name="connsiteX38" fmla="*/ 1762406 w 1794208"/>
              <a:gd name="connsiteY38" fmla="*/ 754936 h 2006166"/>
              <a:gd name="connsiteX39" fmla="*/ 1785920 w 1794208"/>
              <a:gd name="connsiteY39" fmla="*/ 682082 h 2006166"/>
              <a:gd name="connsiteX40" fmla="*/ 1793854 w 1794208"/>
              <a:gd name="connsiteY40" fmla="*/ 607063 h 2006166"/>
              <a:gd name="connsiteX41" fmla="*/ 1782795 w 1794208"/>
              <a:gd name="connsiteY41" fmla="*/ 459478 h 2006166"/>
              <a:gd name="connsiteX42" fmla="*/ 1744422 w 1794208"/>
              <a:gd name="connsiteY42" fmla="*/ 319737 h 2006166"/>
              <a:gd name="connsiteX43" fmla="*/ 1712830 w 1794208"/>
              <a:gd name="connsiteY43" fmla="*/ 255449 h 2006166"/>
              <a:gd name="connsiteX44" fmla="*/ 1702972 w 1794208"/>
              <a:gd name="connsiteY44" fmla="*/ 240483 h 2006166"/>
              <a:gd name="connsiteX45" fmla="*/ 1691480 w 1794208"/>
              <a:gd name="connsiteY45" fmla="*/ 226529 h 2006166"/>
              <a:gd name="connsiteX46" fmla="*/ 1665513 w 1794208"/>
              <a:gd name="connsiteY46" fmla="*/ 202228 h 2006166"/>
              <a:gd name="connsiteX47" fmla="*/ 1608003 w 1794208"/>
              <a:gd name="connsiteY47" fmla="*/ 162721 h 2006166"/>
              <a:gd name="connsiteX48" fmla="*/ 1547511 w 1794208"/>
              <a:gd name="connsiteY48" fmla="*/ 130336 h 2006166"/>
              <a:gd name="connsiteX49" fmla="*/ 1423930 w 1794208"/>
              <a:gd name="connsiteY49" fmla="*/ 78222 h 2006166"/>
              <a:gd name="connsiteX50" fmla="*/ 1177154 w 1794208"/>
              <a:gd name="connsiteY50" fmla="*/ 9747 h 2006166"/>
              <a:gd name="connsiteX51" fmla="*/ 1116037 w 1794208"/>
              <a:gd name="connsiteY51" fmla="*/ 1519 h 2006166"/>
              <a:gd name="connsiteX52" fmla="*/ 1055016 w 1794208"/>
              <a:gd name="connsiteY52" fmla="*/ 1952 h 2006166"/>
              <a:gd name="connsiteX53" fmla="*/ 941245 w 1794208"/>
              <a:gd name="connsiteY53" fmla="*/ 32604 h 2006166"/>
              <a:gd name="connsiteX54" fmla="*/ 838870 w 1794208"/>
              <a:gd name="connsiteY54" fmla="*/ 80291 h 2006166"/>
              <a:gd name="connsiteX55" fmla="*/ 746497 w 1794208"/>
              <a:gd name="connsiteY55" fmla="*/ 136255 h 2006166"/>
              <a:gd name="connsiteX56" fmla="*/ 589690 w 1794208"/>
              <a:gd name="connsiteY56" fmla="*/ 261223 h 2006166"/>
              <a:gd name="connsiteX57" fmla="*/ 526841 w 1794208"/>
              <a:gd name="connsiteY57" fmla="*/ 328976 h 2006166"/>
              <a:gd name="connsiteX58" fmla="*/ 513233 w 1794208"/>
              <a:gd name="connsiteY58" fmla="*/ 346637 h 2006166"/>
              <a:gd name="connsiteX59" fmla="*/ 500875 w 1794208"/>
              <a:gd name="connsiteY59" fmla="*/ 364826 h 2006166"/>
              <a:gd name="connsiteX60" fmla="*/ 495153 w 1794208"/>
              <a:gd name="connsiteY60" fmla="*/ 374065 h 2006166"/>
              <a:gd name="connsiteX61" fmla="*/ 489911 w 1794208"/>
              <a:gd name="connsiteY61" fmla="*/ 383449 h 2006166"/>
              <a:gd name="connsiteX62" fmla="*/ 480150 w 1794208"/>
              <a:gd name="connsiteY62" fmla="*/ 402312 h 2006166"/>
              <a:gd name="connsiteX63" fmla="*/ 445288 w 1794208"/>
              <a:gd name="connsiteY63" fmla="*/ 553649 h 2006166"/>
              <a:gd name="connsiteX64" fmla="*/ 453462 w 1794208"/>
              <a:gd name="connsiteY64" fmla="*/ 684248 h 2006166"/>
              <a:gd name="connsiteX65" fmla="*/ 460339 w 1794208"/>
              <a:gd name="connsiteY65" fmla="*/ 788187 h 2006166"/>
              <a:gd name="connsiteX66" fmla="*/ 458031 w 1794208"/>
              <a:gd name="connsiteY66" fmla="*/ 864409 h 2006166"/>
              <a:gd name="connsiteX67" fmla="*/ 452645 w 1794208"/>
              <a:gd name="connsiteY67" fmla="*/ 911038 h 2006166"/>
              <a:gd name="connsiteX68" fmla="*/ 450914 w 1794208"/>
              <a:gd name="connsiteY68" fmla="*/ 922876 h 2006166"/>
              <a:gd name="connsiteX69" fmla="*/ 450529 w 1794208"/>
              <a:gd name="connsiteY69" fmla="*/ 926918 h 2006166"/>
              <a:gd name="connsiteX70" fmla="*/ 451491 w 1794208"/>
              <a:gd name="connsiteY70" fmla="*/ 922972 h 2006166"/>
              <a:gd name="connsiteX71" fmla="*/ 453751 w 1794208"/>
              <a:gd name="connsiteY71" fmla="*/ 911182 h 2006166"/>
              <a:gd name="connsiteX72" fmla="*/ 460194 w 1794208"/>
              <a:gd name="connsiteY72" fmla="*/ 864554 h 2006166"/>
              <a:gd name="connsiteX73" fmla="*/ 463512 w 1794208"/>
              <a:gd name="connsiteY73" fmla="*/ 788091 h 2006166"/>
              <a:gd name="connsiteX74" fmla="*/ 457598 w 1794208"/>
              <a:gd name="connsiteY74" fmla="*/ 683814 h 2006166"/>
              <a:gd name="connsiteX75" fmla="*/ 450385 w 1794208"/>
              <a:gd name="connsiteY75" fmla="*/ 553746 h 2006166"/>
              <a:gd name="connsiteX76" fmla="*/ 485536 w 1794208"/>
              <a:gd name="connsiteY76" fmla="*/ 404910 h 2006166"/>
              <a:gd name="connsiteX77" fmla="*/ 594402 w 1794208"/>
              <a:gd name="connsiteY77" fmla="*/ 266083 h 2006166"/>
              <a:gd name="connsiteX78" fmla="*/ 750681 w 1794208"/>
              <a:gd name="connsiteY78" fmla="*/ 142463 h 2006166"/>
              <a:gd name="connsiteX79" fmla="*/ 842621 w 1794208"/>
              <a:gd name="connsiteY79" fmla="*/ 87173 h 2006166"/>
              <a:gd name="connsiteX80" fmla="*/ 944226 w 1794208"/>
              <a:gd name="connsiteY80" fmla="*/ 40255 h 2006166"/>
              <a:gd name="connsiteX81" fmla="*/ 1056170 w 1794208"/>
              <a:gd name="connsiteY81" fmla="*/ 10373 h 2006166"/>
              <a:gd name="connsiteX82" fmla="*/ 1115316 w 1794208"/>
              <a:gd name="connsiteY82" fmla="*/ 10132 h 2006166"/>
              <a:gd name="connsiteX83" fmla="*/ 1175663 w 1794208"/>
              <a:gd name="connsiteY83" fmla="*/ 18409 h 2006166"/>
              <a:gd name="connsiteX84" fmla="*/ 1420756 w 1794208"/>
              <a:gd name="connsiteY84" fmla="*/ 86980 h 2006166"/>
              <a:gd name="connsiteX85" fmla="*/ 1543375 w 1794208"/>
              <a:gd name="connsiteY85" fmla="*/ 138902 h 2006166"/>
              <a:gd name="connsiteX86" fmla="*/ 1603098 w 1794208"/>
              <a:gd name="connsiteY86" fmla="*/ 170998 h 2006166"/>
              <a:gd name="connsiteX87" fmla="*/ 1659359 w 1794208"/>
              <a:gd name="connsiteY87" fmla="*/ 209783 h 2006166"/>
              <a:gd name="connsiteX88" fmla="*/ 1684267 w 1794208"/>
              <a:gd name="connsiteY88" fmla="*/ 233121 h 2006166"/>
              <a:gd name="connsiteX89" fmla="*/ 1694990 w 1794208"/>
              <a:gd name="connsiteY89" fmla="*/ 246210 h 2006166"/>
              <a:gd name="connsiteX90" fmla="*/ 1704463 w 1794208"/>
              <a:gd name="connsiteY90" fmla="*/ 260598 h 2006166"/>
              <a:gd name="connsiteX91" fmla="*/ 1735190 w 1794208"/>
              <a:gd name="connsiteY91" fmla="*/ 323346 h 2006166"/>
              <a:gd name="connsiteX92" fmla="*/ 1772841 w 1794208"/>
              <a:gd name="connsiteY92" fmla="*/ 461163 h 2006166"/>
              <a:gd name="connsiteX93" fmla="*/ 1783612 w 1794208"/>
              <a:gd name="connsiteY93" fmla="*/ 606678 h 2006166"/>
              <a:gd name="connsiteX94" fmla="*/ 1775822 w 1794208"/>
              <a:gd name="connsiteY94" fmla="*/ 680061 h 2006166"/>
              <a:gd name="connsiteX95" fmla="*/ 1753174 w 1794208"/>
              <a:gd name="connsiteY95" fmla="*/ 750268 h 2006166"/>
              <a:gd name="connsiteX96" fmla="*/ 1706819 w 1794208"/>
              <a:gd name="connsiteY96" fmla="*/ 805992 h 2006166"/>
              <a:gd name="connsiteX97" fmla="*/ 1698933 w 1794208"/>
              <a:gd name="connsiteY97" fmla="*/ 810515 h 2006166"/>
              <a:gd name="connsiteX98" fmla="*/ 1690758 w 1794208"/>
              <a:gd name="connsiteY98" fmla="*/ 814701 h 2006166"/>
              <a:gd name="connsiteX99" fmla="*/ 1673448 w 1794208"/>
              <a:gd name="connsiteY99" fmla="*/ 821631 h 2006166"/>
              <a:gd name="connsiteX100" fmla="*/ 1664600 w 1794208"/>
              <a:gd name="connsiteY100" fmla="*/ 824566 h 2006166"/>
              <a:gd name="connsiteX101" fmla="*/ 1655560 w 1794208"/>
              <a:gd name="connsiteY101" fmla="*/ 826924 h 2006166"/>
              <a:gd name="connsiteX102" fmla="*/ 1646471 w 1794208"/>
              <a:gd name="connsiteY102" fmla="*/ 829089 h 2006166"/>
              <a:gd name="connsiteX103" fmla="*/ 1637191 w 1794208"/>
              <a:gd name="connsiteY103" fmla="*/ 830581 h 2006166"/>
              <a:gd name="connsiteX104" fmla="*/ 1599636 w 1794208"/>
              <a:gd name="connsiteY104" fmla="*/ 833228 h 2006166"/>
              <a:gd name="connsiteX105" fmla="*/ 1580690 w 1794208"/>
              <a:gd name="connsiteY105" fmla="*/ 832313 h 2006166"/>
              <a:gd name="connsiteX106" fmla="*/ 1561744 w 1794208"/>
              <a:gd name="connsiteY106" fmla="*/ 830244 h 2006166"/>
              <a:gd name="connsiteX107" fmla="*/ 1486442 w 1794208"/>
              <a:gd name="connsiteY107" fmla="*/ 813787 h 2006166"/>
              <a:gd name="connsiteX108" fmla="*/ 1335597 w 1794208"/>
              <a:gd name="connsiteY108" fmla="*/ 768554 h 2006166"/>
              <a:gd name="connsiteX109" fmla="*/ 1177010 w 1794208"/>
              <a:gd name="connsiteY109" fmla="*/ 744253 h 2006166"/>
              <a:gd name="connsiteX110" fmla="*/ 1096370 w 1794208"/>
              <a:gd name="connsiteY110" fmla="*/ 749691 h 2006166"/>
              <a:gd name="connsiteX111" fmla="*/ 1018471 w 1794208"/>
              <a:gd name="connsiteY111" fmla="*/ 769516 h 2006166"/>
              <a:gd name="connsiteX112" fmla="*/ 877964 w 1794208"/>
              <a:gd name="connsiteY112" fmla="*/ 842707 h 2006166"/>
              <a:gd name="connsiteX113" fmla="*/ 762366 w 1794208"/>
              <a:gd name="connsiteY113" fmla="*/ 947706 h 2006166"/>
              <a:gd name="connsiteX114" fmla="*/ 718704 w 1794208"/>
              <a:gd name="connsiteY114" fmla="*/ 1011802 h 2006166"/>
              <a:gd name="connsiteX115" fmla="*/ 690573 w 1794208"/>
              <a:gd name="connsiteY115" fmla="*/ 1083645 h 2006166"/>
              <a:gd name="connsiteX116" fmla="*/ 677302 w 1794208"/>
              <a:gd name="connsiteY116" fmla="*/ 1234069 h 2006166"/>
              <a:gd name="connsiteX117" fmla="*/ 676532 w 1794208"/>
              <a:gd name="connsiteY117" fmla="*/ 1380931 h 2006166"/>
              <a:gd name="connsiteX118" fmla="*/ 640276 w 1794208"/>
              <a:gd name="connsiteY118" fmla="*/ 1662675 h 2006166"/>
              <a:gd name="connsiteX119" fmla="*/ 624504 w 1794208"/>
              <a:gd name="connsiteY119" fmla="*/ 1729706 h 2006166"/>
              <a:gd name="connsiteX120" fmla="*/ 604837 w 1794208"/>
              <a:gd name="connsiteY120" fmla="*/ 1794669 h 2006166"/>
              <a:gd name="connsiteX121" fmla="*/ 579976 w 1794208"/>
              <a:gd name="connsiteY121" fmla="*/ 1856647 h 2006166"/>
              <a:gd name="connsiteX122" fmla="*/ 547807 w 1794208"/>
              <a:gd name="connsiteY122" fmla="*/ 1913766 h 2006166"/>
              <a:gd name="connsiteX123" fmla="*/ 505587 w 1794208"/>
              <a:gd name="connsiteY123" fmla="*/ 1961838 h 2006166"/>
              <a:gd name="connsiteX124" fmla="*/ 451154 w 1794208"/>
              <a:gd name="connsiteY124" fmla="*/ 1991528 h 2006166"/>
              <a:gd name="connsiteX125" fmla="*/ 389941 w 1794208"/>
              <a:gd name="connsiteY125" fmla="*/ 1996485 h 2006166"/>
              <a:gd name="connsiteX126" fmla="*/ 329930 w 1794208"/>
              <a:gd name="connsiteY126" fmla="*/ 1984502 h 2006166"/>
              <a:gd name="connsiteX127" fmla="*/ 274054 w 1794208"/>
              <a:gd name="connsiteY127" fmla="*/ 1961309 h 2006166"/>
              <a:gd name="connsiteX128" fmla="*/ 260831 w 1794208"/>
              <a:gd name="connsiteY128" fmla="*/ 1954235 h 2006166"/>
              <a:gd name="connsiteX129" fmla="*/ 247895 w 1794208"/>
              <a:gd name="connsiteY129" fmla="*/ 1946776 h 2006166"/>
              <a:gd name="connsiteX130" fmla="*/ 223083 w 1794208"/>
              <a:gd name="connsiteY130" fmla="*/ 1930464 h 2006166"/>
              <a:gd name="connsiteX131" fmla="*/ 135856 w 1794208"/>
              <a:gd name="connsiteY131" fmla="*/ 1854001 h 2006166"/>
              <a:gd name="connsiteX132" fmla="*/ 68535 w 1794208"/>
              <a:gd name="connsiteY132" fmla="*/ 1765026 h 2006166"/>
              <a:gd name="connsiteX133" fmla="*/ 23575 w 1794208"/>
              <a:gd name="connsiteY133" fmla="*/ 1668401 h 2006166"/>
              <a:gd name="connsiteX134" fmla="*/ 7130 w 1794208"/>
              <a:gd name="connsiteY134" fmla="*/ 1568648 h 2006166"/>
              <a:gd name="connsiteX135" fmla="*/ 23094 w 1794208"/>
              <a:gd name="connsiteY135" fmla="*/ 1474044 h 2006166"/>
              <a:gd name="connsiteX136" fmla="*/ 65073 w 1794208"/>
              <a:gd name="connsiteY136" fmla="*/ 1393443 h 2006166"/>
              <a:gd name="connsiteX137" fmla="*/ 120468 w 1794208"/>
              <a:gd name="connsiteY137" fmla="*/ 1327903 h 2006166"/>
              <a:gd name="connsiteX138" fmla="*/ 179277 w 1794208"/>
              <a:gd name="connsiteY138" fmla="*/ 1273046 h 2006166"/>
              <a:gd name="connsiteX139" fmla="*/ 236018 w 1794208"/>
              <a:gd name="connsiteY139" fmla="*/ 1224589 h 2006166"/>
              <a:gd name="connsiteX140" fmla="*/ 287807 w 1794208"/>
              <a:gd name="connsiteY140" fmla="*/ 1179693 h 2006166"/>
              <a:gd name="connsiteX141" fmla="*/ 332815 w 1794208"/>
              <a:gd name="connsiteY141" fmla="*/ 1136673 h 2006166"/>
              <a:gd name="connsiteX142" fmla="*/ 398933 w 1794208"/>
              <a:gd name="connsiteY142" fmla="*/ 1055783 h 2006166"/>
              <a:gd name="connsiteX143" fmla="*/ 405040 w 1794208"/>
              <a:gd name="connsiteY143" fmla="*/ 1046448 h 2006166"/>
              <a:gd name="connsiteX144" fmla="*/ 410329 w 1794208"/>
              <a:gd name="connsiteY144" fmla="*/ 1037161 h 2006166"/>
              <a:gd name="connsiteX145" fmla="*/ 419898 w 1794208"/>
              <a:gd name="connsiteY145" fmla="*/ 1019501 h 2006166"/>
              <a:gd name="connsiteX146" fmla="*/ 427833 w 1794208"/>
              <a:gd name="connsiteY146" fmla="*/ 1002996 h 2006166"/>
              <a:gd name="connsiteX147" fmla="*/ 433939 w 1794208"/>
              <a:gd name="connsiteY147" fmla="*/ 987693 h 2006166"/>
              <a:gd name="connsiteX148" fmla="*/ 442643 w 1794208"/>
              <a:gd name="connsiteY148" fmla="*/ 961757 h 2006166"/>
              <a:gd name="connsiteX149" fmla="*/ 445624 w 1794208"/>
              <a:gd name="connsiteY149" fmla="*/ 951315 h 2006166"/>
              <a:gd name="connsiteX150" fmla="*/ 447500 w 1794208"/>
              <a:gd name="connsiteY150" fmla="*/ 942605 h 2006166"/>
              <a:gd name="connsiteX151" fmla="*/ 449904 w 1794208"/>
              <a:gd name="connsiteY151" fmla="*/ 930864 h 2006166"/>
              <a:gd name="connsiteX152" fmla="*/ 450529 w 1794208"/>
              <a:gd name="connsiteY152" fmla="*/ 926869 h 2006166"/>
              <a:gd name="connsiteX153" fmla="*/ 449375 w 1794208"/>
              <a:gd name="connsiteY153" fmla="*/ 930767 h 2006166"/>
              <a:gd name="connsiteX154" fmla="*/ 446442 w 1794208"/>
              <a:gd name="connsiteY154" fmla="*/ 942364 h 2006166"/>
              <a:gd name="connsiteX155" fmla="*/ 444326 w 1794208"/>
              <a:gd name="connsiteY155" fmla="*/ 950978 h 2006166"/>
              <a:gd name="connsiteX156" fmla="*/ 441104 w 1794208"/>
              <a:gd name="connsiteY156" fmla="*/ 961275 h 2006166"/>
              <a:gd name="connsiteX157" fmla="*/ 431968 w 1794208"/>
              <a:gd name="connsiteY157" fmla="*/ 986875 h 2006166"/>
              <a:gd name="connsiteX158" fmla="*/ 425669 w 1794208"/>
              <a:gd name="connsiteY158" fmla="*/ 1001985 h 2006166"/>
              <a:gd name="connsiteX159" fmla="*/ 417542 w 1794208"/>
              <a:gd name="connsiteY159" fmla="*/ 1018250 h 2006166"/>
              <a:gd name="connsiteX160" fmla="*/ 407829 w 1794208"/>
              <a:gd name="connsiteY160" fmla="*/ 1035621 h 2006166"/>
              <a:gd name="connsiteX161" fmla="*/ 402443 w 1794208"/>
              <a:gd name="connsiteY161" fmla="*/ 1044812 h 2006166"/>
              <a:gd name="connsiteX162" fmla="*/ 396288 w 1794208"/>
              <a:gd name="connsiteY162" fmla="*/ 1054003 h 2006166"/>
              <a:gd name="connsiteX163" fmla="*/ 329882 w 1794208"/>
              <a:gd name="connsiteY163" fmla="*/ 1133690 h 2006166"/>
              <a:gd name="connsiteX164" fmla="*/ 284777 w 1794208"/>
              <a:gd name="connsiteY164" fmla="*/ 1176132 h 2006166"/>
              <a:gd name="connsiteX165" fmla="*/ 232797 w 1794208"/>
              <a:gd name="connsiteY165" fmla="*/ 1220595 h 2006166"/>
              <a:gd name="connsiteX166" fmla="*/ 175719 w 1794208"/>
              <a:gd name="connsiteY166" fmla="*/ 1268763 h 2006166"/>
              <a:gd name="connsiteX167" fmla="*/ 116285 w 1794208"/>
              <a:gd name="connsiteY167" fmla="*/ 1323572 h 2006166"/>
              <a:gd name="connsiteX168" fmla="*/ 59880 w 1794208"/>
              <a:gd name="connsiteY168" fmla="*/ 1389641 h 2006166"/>
              <a:gd name="connsiteX169" fmla="*/ 16747 w 1794208"/>
              <a:gd name="connsiteY169" fmla="*/ 1471686 h 2006166"/>
              <a:gd name="connsiteX170" fmla="*/ 13 w 1794208"/>
              <a:gd name="connsiteY170" fmla="*/ 1568456 h 2006166"/>
              <a:gd name="connsiteX171" fmla="*/ 16458 w 1794208"/>
              <a:gd name="connsiteY171" fmla="*/ 1670615 h 2006166"/>
              <a:gd name="connsiteX172" fmla="*/ 61851 w 1794208"/>
              <a:gd name="connsiteY172" fmla="*/ 1769020 h 20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1794208" h="2006166">
                <a:moveTo>
                  <a:pt x="61611" y="1769165"/>
                </a:moveTo>
                <a:cubicBezTo>
                  <a:pt x="80893" y="1800731"/>
                  <a:pt x="103494" y="1831240"/>
                  <a:pt x="129604" y="1859583"/>
                </a:cubicBezTo>
                <a:cubicBezTo>
                  <a:pt x="155811" y="1887877"/>
                  <a:pt x="185047" y="1914536"/>
                  <a:pt x="217986" y="1937489"/>
                </a:cubicBezTo>
                <a:cubicBezTo>
                  <a:pt x="226064" y="1943408"/>
                  <a:pt x="234720" y="1948653"/>
                  <a:pt x="243231" y="1954139"/>
                </a:cubicBezTo>
                <a:cubicBezTo>
                  <a:pt x="247559" y="1956785"/>
                  <a:pt x="252031" y="1959239"/>
                  <a:pt x="256407" y="1961790"/>
                </a:cubicBezTo>
                <a:cubicBezTo>
                  <a:pt x="260782" y="1964388"/>
                  <a:pt x="265302" y="1966794"/>
                  <a:pt x="269871" y="1969056"/>
                </a:cubicBezTo>
                <a:cubicBezTo>
                  <a:pt x="287999" y="1978632"/>
                  <a:pt x="307137" y="1986668"/>
                  <a:pt x="327045" y="1992972"/>
                </a:cubicBezTo>
                <a:cubicBezTo>
                  <a:pt x="346952" y="1999275"/>
                  <a:pt x="367725" y="2003991"/>
                  <a:pt x="389027" y="2005483"/>
                </a:cubicBezTo>
                <a:cubicBezTo>
                  <a:pt x="410281" y="2006975"/>
                  <a:pt x="432160" y="2006349"/>
                  <a:pt x="453462" y="2000334"/>
                </a:cubicBezTo>
                <a:cubicBezTo>
                  <a:pt x="474668" y="1994367"/>
                  <a:pt x="494335" y="1983203"/>
                  <a:pt x="511358" y="1968960"/>
                </a:cubicBezTo>
                <a:cubicBezTo>
                  <a:pt x="528476" y="1954764"/>
                  <a:pt x="542710" y="1937441"/>
                  <a:pt x="555356" y="1919155"/>
                </a:cubicBezTo>
                <a:cubicBezTo>
                  <a:pt x="567955" y="1900773"/>
                  <a:pt x="578966" y="1881189"/>
                  <a:pt x="588391" y="1860737"/>
                </a:cubicBezTo>
                <a:cubicBezTo>
                  <a:pt x="597864" y="1840335"/>
                  <a:pt x="606423" y="1819354"/>
                  <a:pt x="613732" y="1797844"/>
                </a:cubicBezTo>
                <a:cubicBezTo>
                  <a:pt x="621234" y="1776383"/>
                  <a:pt x="627870" y="1754440"/>
                  <a:pt x="633736" y="1732208"/>
                </a:cubicBezTo>
                <a:cubicBezTo>
                  <a:pt x="639747" y="1710025"/>
                  <a:pt x="644892" y="1687409"/>
                  <a:pt x="649701" y="1664648"/>
                </a:cubicBezTo>
                <a:cubicBezTo>
                  <a:pt x="659222" y="1619078"/>
                  <a:pt x="666627" y="1572546"/>
                  <a:pt x="672686" y="1525292"/>
                </a:cubicBezTo>
                <a:cubicBezTo>
                  <a:pt x="678552" y="1477990"/>
                  <a:pt x="683457" y="1430158"/>
                  <a:pt x="686486" y="1381461"/>
                </a:cubicBezTo>
                <a:cubicBezTo>
                  <a:pt x="689227" y="1332667"/>
                  <a:pt x="687736" y="1283392"/>
                  <a:pt x="687400" y="1233972"/>
                </a:cubicBezTo>
                <a:cubicBezTo>
                  <a:pt x="687111" y="1184649"/>
                  <a:pt x="688217" y="1134508"/>
                  <a:pt x="700479" y="1086195"/>
                </a:cubicBezTo>
                <a:cubicBezTo>
                  <a:pt x="712212" y="1037835"/>
                  <a:pt x="738082" y="993468"/>
                  <a:pt x="770300" y="954394"/>
                </a:cubicBezTo>
                <a:cubicBezTo>
                  <a:pt x="802710" y="915321"/>
                  <a:pt x="841371" y="880867"/>
                  <a:pt x="883830" y="851417"/>
                </a:cubicBezTo>
                <a:cubicBezTo>
                  <a:pt x="926242" y="821919"/>
                  <a:pt x="972597" y="797186"/>
                  <a:pt x="1021837" y="779574"/>
                </a:cubicBezTo>
                <a:cubicBezTo>
                  <a:pt x="1046505" y="770960"/>
                  <a:pt x="1071798" y="763886"/>
                  <a:pt x="1097812" y="760277"/>
                </a:cubicBezTo>
                <a:cubicBezTo>
                  <a:pt x="1123779" y="756235"/>
                  <a:pt x="1150178" y="754455"/>
                  <a:pt x="1176673" y="754984"/>
                </a:cubicBezTo>
                <a:cubicBezTo>
                  <a:pt x="1229663" y="755802"/>
                  <a:pt x="1281933" y="765330"/>
                  <a:pt x="1332664" y="778948"/>
                </a:cubicBezTo>
                <a:cubicBezTo>
                  <a:pt x="1383538" y="792422"/>
                  <a:pt x="1432970" y="809938"/>
                  <a:pt x="1483412" y="824133"/>
                </a:cubicBezTo>
                <a:cubicBezTo>
                  <a:pt x="1508609" y="831159"/>
                  <a:pt x="1534143" y="837318"/>
                  <a:pt x="1560157" y="840831"/>
                </a:cubicBezTo>
                <a:cubicBezTo>
                  <a:pt x="1566601" y="841889"/>
                  <a:pt x="1573189" y="842274"/>
                  <a:pt x="1579728" y="842948"/>
                </a:cubicBezTo>
                <a:cubicBezTo>
                  <a:pt x="1586268" y="843525"/>
                  <a:pt x="1592856" y="843573"/>
                  <a:pt x="1599395" y="843910"/>
                </a:cubicBezTo>
                <a:cubicBezTo>
                  <a:pt x="1605983" y="843670"/>
                  <a:pt x="1612523" y="843814"/>
                  <a:pt x="1619110" y="843285"/>
                </a:cubicBezTo>
                <a:cubicBezTo>
                  <a:pt x="1625650" y="842611"/>
                  <a:pt x="1632238" y="842370"/>
                  <a:pt x="1638681" y="841071"/>
                </a:cubicBezTo>
                <a:lnTo>
                  <a:pt x="1648395" y="839483"/>
                </a:lnTo>
                <a:cubicBezTo>
                  <a:pt x="1651616" y="838858"/>
                  <a:pt x="1654790" y="837943"/>
                  <a:pt x="1657964" y="837222"/>
                </a:cubicBezTo>
                <a:cubicBezTo>
                  <a:pt x="1661138" y="836355"/>
                  <a:pt x="1664359" y="835778"/>
                  <a:pt x="1667485" y="834719"/>
                </a:cubicBezTo>
                <a:lnTo>
                  <a:pt x="1676813" y="831592"/>
                </a:lnTo>
                <a:cubicBezTo>
                  <a:pt x="1683113" y="829763"/>
                  <a:pt x="1688979" y="826731"/>
                  <a:pt x="1695038" y="824277"/>
                </a:cubicBezTo>
                <a:cubicBezTo>
                  <a:pt x="1698068" y="823122"/>
                  <a:pt x="1700953" y="821390"/>
                  <a:pt x="1703838" y="819754"/>
                </a:cubicBezTo>
                <a:cubicBezTo>
                  <a:pt x="1706723" y="818070"/>
                  <a:pt x="1709656" y="816482"/>
                  <a:pt x="1712493" y="814750"/>
                </a:cubicBezTo>
                <a:cubicBezTo>
                  <a:pt x="1734565" y="799688"/>
                  <a:pt x="1750914" y="778034"/>
                  <a:pt x="1762406" y="754936"/>
                </a:cubicBezTo>
                <a:cubicBezTo>
                  <a:pt x="1773947" y="731742"/>
                  <a:pt x="1781112" y="706912"/>
                  <a:pt x="1785920" y="682082"/>
                </a:cubicBezTo>
                <a:cubicBezTo>
                  <a:pt x="1790681" y="657156"/>
                  <a:pt x="1792989" y="632037"/>
                  <a:pt x="1793854" y="607063"/>
                </a:cubicBezTo>
                <a:cubicBezTo>
                  <a:pt x="1795537" y="557066"/>
                  <a:pt x="1791113" y="507598"/>
                  <a:pt x="1782795" y="459478"/>
                </a:cubicBezTo>
                <a:cubicBezTo>
                  <a:pt x="1774380" y="411358"/>
                  <a:pt x="1761877" y="364393"/>
                  <a:pt x="1744422" y="319737"/>
                </a:cubicBezTo>
                <a:cubicBezTo>
                  <a:pt x="1735526" y="297506"/>
                  <a:pt x="1725284" y="275804"/>
                  <a:pt x="1712830" y="255449"/>
                </a:cubicBezTo>
                <a:cubicBezTo>
                  <a:pt x="1709704" y="250348"/>
                  <a:pt x="1706242" y="245488"/>
                  <a:pt x="1702972" y="240483"/>
                </a:cubicBezTo>
                <a:cubicBezTo>
                  <a:pt x="1699173" y="235816"/>
                  <a:pt x="1695567" y="230859"/>
                  <a:pt x="1691480" y="226529"/>
                </a:cubicBezTo>
                <a:cubicBezTo>
                  <a:pt x="1683353" y="217723"/>
                  <a:pt x="1674602" y="209638"/>
                  <a:pt x="1665513" y="202228"/>
                </a:cubicBezTo>
                <a:cubicBezTo>
                  <a:pt x="1647289" y="187311"/>
                  <a:pt x="1627862" y="174415"/>
                  <a:pt x="1608003" y="162721"/>
                </a:cubicBezTo>
                <a:cubicBezTo>
                  <a:pt x="1588143" y="151028"/>
                  <a:pt x="1567995" y="140153"/>
                  <a:pt x="1547511" y="130336"/>
                </a:cubicBezTo>
                <a:cubicBezTo>
                  <a:pt x="1506734" y="110367"/>
                  <a:pt x="1465236" y="93573"/>
                  <a:pt x="1423930" y="78222"/>
                </a:cubicBezTo>
                <a:cubicBezTo>
                  <a:pt x="1341126" y="48147"/>
                  <a:pt x="1258659" y="24472"/>
                  <a:pt x="1177154" y="9747"/>
                </a:cubicBezTo>
                <a:cubicBezTo>
                  <a:pt x="1156766" y="6090"/>
                  <a:pt x="1136377" y="3299"/>
                  <a:pt x="1116037" y="1519"/>
                </a:cubicBezTo>
                <a:cubicBezTo>
                  <a:pt x="1095745" y="-165"/>
                  <a:pt x="1075164" y="-983"/>
                  <a:pt x="1055016" y="1952"/>
                </a:cubicBezTo>
                <a:cubicBezTo>
                  <a:pt x="1015057" y="7438"/>
                  <a:pt x="977213" y="19034"/>
                  <a:pt x="941245" y="32604"/>
                </a:cubicBezTo>
                <a:cubicBezTo>
                  <a:pt x="905325" y="46415"/>
                  <a:pt x="871280" y="62776"/>
                  <a:pt x="838870" y="80291"/>
                </a:cubicBezTo>
                <a:cubicBezTo>
                  <a:pt x="806460" y="97807"/>
                  <a:pt x="775685" y="116622"/>
                  <a:pt x="746497" y="136255"/>
                </a:cubicBezTo>
                <a:cubicBezTo>
                  <a:pt x="688121" y="175473"/>
                  <a:pt x="635611" y="217482"/>
                  <a:pt x="589690" y="261223"/>
                </a:cubicBezTo>
                <a:cubicBezTo>
                  <a:pt x="566752" y="283118"/>
                  <a:pt x="545643" y="305686"/>
                  <a:pt x="526841" y="328976"/>
                </a:cubicBezTo>
                <a:cubicBezTo>
                  <a:pt x="522033" y="334703"/>
                  <a:pt x="517705" y="340814"/>
                  <a:pt x="513233" y="346637"/>
                </a:cubicBezTo>
                <a:cubicBezTo>
                  <a:pt x="509049" y="352700"/>
                  <a:pt x="504674" y="358570"/>
                  <a:pt x="500875" y="364826"/>
                </a:cubicBezTo>
                <a:cubicBezTo>
                  <a:pt x="498951" y="367906"/>
                  <a:pt x="497028" y="370985"/>
                  <a:pt x="495153" y="374065"/>
                </a:cubicBezTo>
                <a:cubicBezTo>
                  <a:pt x="493422" y="377193"/>
                  <a:pt x="491642" y="380369"/>
                  <a:pt x="489911" y="383449"/>
                </a:cubicBezTo>
                <a:cubicBezTo>
                  <a:pt x="486305" y="389608"/>
                  <a:pt x="483276" y="396008"/>
                  <a:pt x="480150" y="402312"/>
                </a:cubicBezTo>
                <a:cubicBezTo>
                  <a:pt x="455241" y="452886"/>
                  <a:pt x="446009" y="505818"/>
                  <a:pt x="445288" y="553649"/>
                </a:cubicBezTo>
                <a:cubicBezTo>
                  <a:pt x="444518" y="601721"/>
                  <a:pt x="449856" y="645222"/>
                  <a:pt x="453462" y="684248"/>
                </a:cubicBezTo>
                <a:cubicBezTo>
                  <a:pt x="457309" y="723273"/>
                  <a:pt x="459810" y="758016"/>
                  <a:pt x="460339" y="788187"/>
                </a:cubicBezTo>
                <a:cubicBezTo>
                  <a:pt x="460868" y="818359"/>
                  <a:pt x="459665" y="843862"/>
                  <a:pt x="458031" y="864409"/>
                </a:cubicBezTo>
                <a:cubicBezTo>
                  <a:pt x="456203" y="884957"/>
                  <a:pt x="454232" y="900596"/>
                  <a:pt x="452645" y="911038"/>
                </a:cubicBezTo>
                <a:cubicBezTo>
                  <a:pt x="451876" y="916283"/>
                  <a:pt x="451298" y="920229"/>
                  <a:pt x="450914" y="922876"/>
                </a:cubicBezTo>
                <a:cubicBezTo>
                  <a:pt x="450577" y="925522"/>
                  <a:pt x="450433" y="926869"/>
                  <a:pt x="450529" y="926918"/>
                </a:cubicBezTo>
                <a:cubicBezTo>
                  <a:pt x="450625" y="926918"/>
                  <a:pt x="450914" y="925618"/>
                  <a:pt x="451491" y="922972"/>
                </a:cubicBezTo>
                <a:cubicBezTo>
                  <a:pt x="451972" y="920325"/>
                  <a:pt x="452741" y="916379"/>
                  <a:pt x="453751" y="911182"/>
                </a:cubicBezTo>
                <a:cubicBezTo>
                  <a:pt x="455674" y="900740"/>
                  <a:pt x="458031" y="885149"/>
                  <a:pt x="460194" y="864554"/>
                </a:cubicBezTo>
                <a:cubicBezTo>
                  <a:pt x="462166" y="843958"/>
                  <a:pt x="463753" y="818359"/>
                  <a:pt x="463512" y="788091"/>
                </a:cubicBezTo>
                <a:cubicBezTo>
                  <a:pt x="463368" y="757823"/>
                  <a:pt x="461156" y="722936"/>
                  <a:pt x="457598" y="683814"/>
                </a:cubicBezTo>
                <a:cubicBezTo>
                  <a:pt x="454328" y="644741"/>
                  <a:pt x="449327" y="601288"/>
                  <a:pt x="450385" y="553746"/>
                </a:cubicBezTo>
                <a:cubicBezTo>
                  <a:pt x="451443" y="506395"/>
                  <a:pt x="460771" y="454522"/>
                  <a:pt x="485536" y="404910"/>
                </a:cubicBezTo>
                <a:cubicBezTo>
                  <a:pt x="509098" y="354624"/>
                  <a:pt x="549057" y="309536"/>
                  <a:pt x="594402" y="266083"/>
                </a:cubicBezTo>
                <a:cubicBezTo>
                  <a:pt x="640131" y="222823"/>
                  <a:pt x="692545" y="181248"/>
                  <a:pt x="750681" y="142463"/>
                </a:cubicBezTo>
                <a:cubicBezTo>
                  <a:pt x="779773" y="123070"/>
                  <a:pt x="810403" y="104448"/>
                  <a:pt x="842621" y="87173"/>
                </a:cubicBezTo>
                <a:cubicBezTo>
                  <a:pt x="874838" y="69946"/>
                  <a:pt x="908643" y="53825"/>
                  <a:pt x="944226" y="40255"/>
                </a:cubicBezTo>
                <a:cubicBezTo>
                  <a:pt x="979810" y="26878"/>
                  <a:pt x="1017172" y="15570"/>
                  <a:pt x="1056170" y="10373"/>
                </a:cubicBezTo>
                <a:cubicBezTo>
                  <a:pt x="1075452" y="7582"/>
                  <a:pt x="1095312" y="8400"/>
                  <a:pt x="1115316" y="10132"/>
                </a:cubicBezTo>
                <a:cubicBezTo>
                  <a:pt x="1135319" y="11961"/>
                  <a:pt x="1155467" y="14752"/>
                  <a:pt x="1175663" y="18409"/>
                </a:cubicBezTo>
                <a:cubicBezTo>
                  <a:pt x="1256447" y="33182"/>
                  <a:pt x="1338530" y="56905"/>
                  <a:pt x="1420756" y="86980"/>
                </a:cubicBezTo>
                <a:cubicBezTo>
                  <a:pt x="1461774" y="102282"/>
                  <a:pt x="1502983" y="119076"/>
                  <a:pt x="1543375" y="138902"/>
                </a:cubicBezTo>
                <a:cubicBezTo>
                  <a:pt x="1563620" y="148670"/>
                  <a:pt x="1583527" y="159449"/>
                  <a:pt x="1603098" y="170998"/>
                </a:cubicBezTo>
                <a:cubicBezTo>
                  <a:pt x="1622669" y="182547"/>
                  <a:pt x="1641711" y="195251"/>
                  <a:pt x="1659359" y="209783"/>
                </a:cubicBezTo>
                <a:cubicBezTo>
                  <a:pt x="1668158" y="217001"/>
                  <a:pt x="1676525" y="224796"/>
                  <a:pt x="1684267" y="233121"/>
                </a:cubicBezTo>
                <a:cubicBezTo>
                  <a:pt x="1688114" y="237259"/>
                  <a:pt x="1691432" y="241831"/>
                  <a:pt x="1694990" y="246210"/>
                </a:cubicBezTo>
                <a:cubicBezTo>
                  <a:pt x="1698116" y="251022"/>
                  <a:pt x="1701434" y="255689"/>
                  <a:pt x="1704463" y="260598"/>
                </a:cubicBezTo>
                <a:cubicBezTo>
                  <a:pt x="1716532" y="280279"/>
                  <a:pt x="1726486" y="301500"/>
                  <a:pt x="1735190" y="323346"/>
                </a:cubicBezTo>
                <a:cubicBezTo>
                  <a:pt x="1752308" y="367232"/>
                  <a:pt x="1764618" y="413620"/>
                  <a:pt x="1772841" y="461163"/>
                </a:cubicBezTo>
                <a:cubicBezTo>
                  <a:pt x="1780967" y="508705"/>
                  <a:pt x="1785295" y="557547"/>
                  <a:pt x="1783612" y="606678"/>
                </a:cubicBezTo>
                <a:cubicBezTo>
                  <a:pt x="1782747" y="631219"/>
                  <a:pt x="1780439" y="655809"/>
                  <a:pt x="1775822" y="680061"/>
                </a:cubicBezTo>
                <a:cubicBezTo>
                  <a:pt x="1771158" y="704266"/>
                  <a:pt x="1764137" y="728229"/>
                  <a:pt x="1753174" y="750268"/>
                </a:cubicBezTo>
                <a:cubicBezTo>
                  <a:pt x="1742258" y="772211"/>
                  <a:pt x="1726967" y="792229"/>
                  <a:pt x="1706819" y="805992"/>
                </a:cubicBezTo>
                <a:cubicBezTo>
                  <a:pt x="1704222" y="807580"/>
                  <a:pt x="1701578" y="809023"/>
                  <a:pt x="1698933" y="810515"/>
                </a:cubicBezTo>
                <a:cubicBezTo>
                  <a:pt x="1696288" y="812007"/>
                  <a:pt x="1693740" y="813595"/>
                  <a:pt x="1690758" y="814701"/>
                </a:cubicBezTo>
                <a:cubicBezTo>
                  <a:pt x="1684988" y="817011"/>
                  <a:pt x="1679458" y="819898"/>
                  <a:pt x="1673448" y="821631"/>
                </a:cubicBezTo>
                <a:lnTo>
                  <a:pt x="1664600" y="824566"/>
                </a:lnTo>
                <a:cubicBezTo>
                  <a:pt x="1661667" y="825577"/>
                  <a:pt x="1658589" y="826106"/>
                  <a:pt x="1655560" y="826924"/>
                </a:cubicBezTo>
                <a:cubicBezTo>
                  <a:pt x="1652530" y="827646"/>
                  <a:pt x="1649501" y="828464"/>
                  <a:pt x="1646471" y="829089"/>
                </a:cubicBezTo>
                <a:lnTo>
                  <a:pt x="1637191" y="830581"/>
                </a:lnTo>
                <a:cubicBezTo>
                  <a:pt x="1624833" y="832650"/>
                  <a:pt x="1612234" y="833131"/>
                  <a:pt x="1599636" y="833228"/>
                </a:cubicBezTo>
                <a:cubicBezTo>
                  <a:pt x="1593337" y="832891"/>
                  <a:pt x="1586989" y="832843"/>
                  <a:pt x="1580690" y="832313"/>
                </a:cubicBezTo>
                <a:cubicBezTo>
                  <a:pt x="1574391" y="831640"/>
                  <a:pt x="1568043" y="831303"/>
                  <a:pt x="1561744" y="830244"/>
                </a:cubicBezTo>
                <a:cubicBezTo>
                  <a:pt x="1536499" y="826780"/>
                  <a:pt x="1511398" y="820765"/>
                  <a:pt x="1486442" y="813787"/>
                </a:cubicBezTo>
                <a:cubicBezTo>
                  <a:pt x="1436529" y="799736"/>
                  <a:pt x="1386952" y="782124"/>
                  <a:pt x="1335597" y="768554"/>
                </a:cubicBezTo>
                <a:cubicBezTo>
                  <a:pt x="1284337" y="754840"/>
                  <a:pt x="1231154" y="745071"/>
                  <a:pt x="1177010" y="744253"/>
                </a:cubicBezTo>
                <a:cubicBezTo>
                  <a:pt x="1149985" y="743724"/>
                  <a:pt x="1122961" y="745505"/>
                  <a:pt x="1096370" y="749691"/>
                </a:cubicBezTo>
                <a:cubicBezTo>
                  <a:pt x="1069634" y="753396"/>
                  <a:pt x="1043620" y="760662"/>
                  <a:pt x="1018471" y="769516"/>
                </a:cubicBezTo>
                <a:cubicBezTo>
                  <a:pt x="968173" y="787562"/>
                  <a:pt x="921097" y="812728"/>
                  <a:pt x="877964" y="842707"/>
                </a:cubicBezTo>
                <a:cubicBezTo>
                  <a:pt x="834831" y="872686"/>
                  <a:pt x="795497" y="907718"/>
                  <a:pt x="762366" y="947706"/>
                </a:cubicBezTo>
                <a:cubicBezTo>
                  <a:pt x="745824" y="967675"/>
                  <a:pt x="731110" y="989137"/>
                  <a:pt x="718704" y="1011802"/>
                </a:cubicBezTo>
                <a:cubicBezTo>
                  <a:pt x="706153" y="1034418"/>
                  <a:pt x="696921" y="1058815"/>
                  <a:pt x="690573" y="1083645"/>
                </a:cubicBezTo>
                <a:cubicBezTo>
                  <a:pt x="677975" y="1133546"/>
                  <a:pt x="676965" y="1184505"/>
                  <a:pt x="677302" y="1234069"/>
                </a:cubicBezTo>
                <a:cubicBezTo>
                  <a:pt x="677686" y="1283729"/>
                  <a:pt x="679225" y="1332715"/>
                  <a:pt x="676532" y="1380931"/>
                </a:cubicBezTo>
                <a:cubicBezTo>
                  <a:pt x="670137" y="1477508"/>
                  <a:pt x="658933" y="1572113"/>
                  <a:pt x="640276" y="1662675"/>
                </a:cubicBezTo>
                <a:cubicBezTo>
                  <a:pt x="635515" y="1685291"/>
                  <a:pt x="630466" y="1707715"/>
                  <a:pt x="624504" y="1729706"/>
                </a:cubicBezTo>
                <a:cubicBezTo>
                  <a:pt x="618733" y="1751745"/>
                  <a:pt x="612194" y="1773447"/>
                  <a:pt x="604837" y="1794669"/>
                </a:cubicBezTo>
                <a:cubicBezTo>
                  <a:pt x="597624" y="1815938"/>
                  <a:pt x="589257" y="1836629"/>
                  <a:pt x="579976" y="1856647"/>
                </a:cubicBezTo>
                <a:cubicBezTo>
                  <a:pt x="570792" y="1876713"/>
                  <a:pt x="560021" y="1895865"/>
                  <a:pt x="547807" y="1913766"/>
                </a:cubicBezTo>
                <a:cubicBezTo>
                  <a:pt x="535545" y="1931570"/>
                  <a:pt x="521792" y="1948268"/>
                  <a:pt x="505587" y="1961838"/>
                </a:cubicBezTo>
                <a:cubicBezTo>
                  <a:pt x="489431" y="1975408"/>
                  <a:pt x="470966" y="1985898"/>
                  <a:pt x="451154" y="1991528"/>
                </a:cubicBezTo>
                <a:cubicBezTo>
                  <a:pt x="431439" y="1997158"/>
                  <a:pt x="410377" y="1997880"/>
                  <a:pt x="389941" y="1996485"/>
                </a:cubicBezTo>
                <a:cubicBezTo>
                  <a:pt x="369408" y="1995089"/>
                  <a:pt x="349260" y="1990614"/>
                  <a:pt x="329930" y="1984502"/>
                </a:cubicBezTo>
                <a:cubicBezTo>
                  <a:pt x="310551" y="1978439"/>
                  <a:pt x="291798" y="1970644"/>
                  <a:pt x="274054" y="1961309"/>
                </a:cubicBezTo>
                <a:cubicBezTo>
                  <a:pt x="269582" y="1959095"/>
                  <a:pt x="265110" y="1956785"/>
                  <a:pt x="260831" y="1954235"/>
                </a:cubicBezTo>
                <a:cubicBezTo>
                  <a:pt x="256503" y="1951733"/>
                  <a:pt x="252127" y="1949327"/>
                  <a:pt x="247895" y="1946776"/>
                </a:cubicBezTo>
                <a:cubicBezTo>
                  <a:pt x="239529" y="1941387"/>
                  <a:pt x="231017" y="1936286"/>
                  <a:pt x="223083" y="1930464"/>
                </a:cubicBezTo>
                <a:cubicBezTo>
                  <a:pt x="190625" y="1907991"/>
                  <a:pt x="161726" y="1881814"/>
                  <a:pt x="135856" y="1854001"/>
                </a:cubicBezTo>
                <a:cubicBezTo>
                  <a:pt x="109985" y="1826139"/>
                  <a:pt x="87625" y="1796064"/>
                  <a:pt x="68535" y="1765026"/>
                </a:cubicBezTo>
                <a:cubicBezTo>
                  <a:pt x="49638" y="1733893"/>
                  <a:pt x="34491" y="1701364"/>
                  <a:pt x="23575" y="1668401"/>
                </a:cubicBezTo>
                <a:cubicBezTo>
                  <a:pt x="13044" y="1635343"/>
                  <a:pt x="6937" y="1601610"/>
                  <a:pt x="7130" y="1568648"/>
                </a:cubicBezTo>
                <a:cubicBezTo>
                  <a:pt x="7130" y="1535638"/>
                  <a:pt x="12900" y="1503541"/>
                  <a:pt x="23094" y="1474044"/>
                </a:cubicBezTo>
                <a:cubicBezTo>
                  <a:pt x="33337" y="1444498"/>
                  <a:pt x="48099" y="1417599"/>
                  <a:pt x="65073" y="1393443"/>
                </a:cubicBezTo>
                <a:cubicBezTo>
                  <a:pt x="82048" y="1369286"/>
                  <a:pt x="101089" y="1347680"/>
                  <a:pt x="120468" y="1327903"/>
                </a:cubicBezTo>
                <a:cubicBezTo>
                  <a:pt x="139847" y="1308029"/>
                  <a:pt x="159850" y="1290129"/>
                  <a:pt x="179277" y="1273046"/>
                </a:cubicBezTo>
                <a:cubicBezTo>
                  <a:pt x="198704" y="1256011"/>
                  <a:pt x="217842" y="1240036"/>
                  <a:pt x="236018" y="1224589"/>
                </a:cubicBezTo>
                <a:cubicBezTo>
                  <a:pt x="254291" y="1209191"/>
                  <a:pt x="271554" y="1194177"/>
                  <a:pt x="287807" y="1179693"/>
                </a:cubicBezTo>
                <a:cubicBezTo>
                  <a:pt x="303915" y="1164968"/>
                  <a:pt x="319159" y="1150869"/>
                  <a:pt x="332815" y="1136673"/>
                </a:cubicBezTo>
                <a:cubicBezTo>
                  <a:pt x="360320" y="1108571"/>
                  <a:pt x="382440" y="1081239"/>
                  <a:pt x="398933" y="1055783"/>
                </a:cubicBezTo>
                <a:cubicBezTo>
                  <a:pt x="401001" y="1052607"/>
                  <a:pt x="403068" y="1049528"/>
                  <a:pt x="405040" y="1046448"/>
                </a:cubicBezTo>
                <a:cubicBezTo>
                  <a:pt x="406867" y="1043272"/>
                  <a:pt x="408598" y="1040192"/>
                  <a:pt x="410329" y="1037161"/>
                </a:cubicBezTo>
                <a:cubicBezTo>
                  <a:pt x="413743" y="1031050"/>
                  <a:pt x="417302" y="1025371"/>
                  <a:pt x="419898" y="1019501"/>
                </a:cubicBezTo>
                <a:cubicBezTo>
                  <a:pt x="422687" y="1013726"/>
                  <a:pt x="425332" y="1008241"/>
                  <a:pt x="427833" y="1002996"/>
                </a:cubicBezTo>
                <a:cubicBezTo>
                  <a:pt x="430093" y="997654"/>
                  <a:pt x="432016" y="992505"/>
                  <a:pt x="433939" y="987693"/>
                </a:cubicBezTo>
                <a:cubicBezTo>
                  <a:pt x="438027" y="978166"/>
                  <a:pt x="440287" y="969263"/>
                  <a:pt x="442643" y="961757"/>
                </a:cubicBezTo>
                <a:cubicBezTo>
                  <a:pt x="443701" y="957955"/>
                  <a:pt x="444951" y="954587"/>
                  <a:pt x="445624" y="951315"/>
                </a:cubicBezTo>
                <a:cubicBezTo>
                  <a:pt x="446298" y="948090"/>
                  <a:pt x="446923" y="945155"/>
                  <a:pt x="447500" y="942605"/>
                </a:cubicBezTo>
                <a:cubicBezTo>
                  <a:pt x="448558" y="937408"/>
                  <a:pt x="449375" y="933462"/>
                  <a:pt x="449904" y="930864"/>
                </a:cubicBezTo>
                <a:cubicBezTo>
                  <a:pt x="450433" y="928217"/>
                  <a:pt x="450625" y="926869"/>
                  <a:pt x="450529" y="926869"/>
                </a:cubicBezTo>
                <a:cubicBezTo>
                  <a:pt x="450433" y="926869"/>
                  <a:pt x="450048" y="928169"/>
                  <a:pt x="449375" y="930767"/>
                </a:cubicBezTo>
                <a:cubicBezTo>
                  <a:pt x="448702" y="933366"/>
                  <a:pt x="447740" y="937263"/>
                  <a:pt x="446442" y="942364"/>
                </a:cubicBezTo>
                <a:cubicBezTo>
                  <a:pt x="445817" y="944915"/>
                  <a:pt x="445095" y="947802"/>
                  <a:pt x="444326" y="950978"/>
                </a:cubicBezTo>
                <a:cubicBezTo>
                  <a:pt x="443557" y="954154"/>
                  <a:pt x="442258" y="957522"/>
                  <a:pt x="441104" y="961275"/>
                </a:cubicBezTo>
                <a:cubicBezTo>
                  <a:pt x="438604" y="968686"/>
                  <a:pt x="436200" y="977444"/>
                  <a:pt x="431968" y="986875"/>
                </a:cubicBezTo>
                <a:cubicBezTo>
                  <a:pt x="429996" y="991639"/>
                  <a:pt x="428025" y="996692"/>
                  <a:pt x="425669" y="1001985"/>
                </a:cubicBezTo>
                <a:cubicBezTo>
                  <a:pt x="423120" y="1007134"/>
                  <a:pt x="420379" y="1012571"/>
                  <a:pt x="417542" y="1018250"/>
                </a:cubicBezTo>
                <a:cubicBezTo>
                  <a:pt x="414898" y="1024024"/>
                  <a:pt x="411243" y="1029606"/>
                  <a:pt x="407829" y="1035621"/>
                </a:cubicBezTo>
                <a:cubicBezTo>
                  <a:pt x="406050" y="1038604"/>
                  <a:pt x="404270" y="1041684"/>
                  <a:pt x="402443" y="1044812"/>
                </a:cubicBezTo>
                <a:cubicBezTo>
                  <a:pt x="400424" y="1047795"/>
                  <a:pt x="398356" y="1050875"/>
                  <a:pt x="396288" y="1054003"/>
                </a:cubicBezTo>
                <a:cubicBezTo>
                  <a:pt x="379651" y="1079074"/>
                  <a:pt x="357483" y="1105973"/>
                  <a:pt x="329882" y="1133690"/>
                </a:cubicBezTo>
                <a:cubicBezTo>
                  <a:pt x="316177" y="1147645"/>
                  <a:pt x="300934" y="1161600"/>
                  <a:pt x="284777" y="1176132"/>
                </a:cubicBezTo>
                <a:cubicBezTo>
                  <a:pt x="268428" y="1190472"/>
                  <a:pt x="251117" y="1205341"/>
                  <a:pt x="232797" y="1220595"/>
                </a:cubicBezTo>
                <a:cubicBezTo>
                  <a:pt x="214524" y="1235945"/>
                  <a:pt x="195290" y="1251777"/>
                  <a:pt x="175719" y="1268763"/>
                </a:cubicBezTo>
                <a:cubicBezTo>
                  <a:pt x="156100" y="1285750"/>
                  <a:pt x="135952" y="1303650"/>
                  <a:pt x="116285" y="1323572"/>
                </a:cubicBezTo>
                <a:cubicBezTo>
                  <a:pt x="96618" y="1343446"/>
                  <a:pt x="77239" y="1365148"/>
                  <a:pt x="59880" y="1389641"/>
                </a:cubicBezTo>
                <a:cubicBezTo>
                  <a:pt x="42521" y="1414086"/>
                  <a:pt x="27326" y="1441466"/>
                  <a:pt x="16747" y="1471686"/>
                </a:cubicBezTo>
                <a:cubicBezTo>
                  <a:pt x="6168" y="1501857"/>
                  <a:pt x="109" y="1534675"/>
                  <a:pt x="13" y="1568456"/>
                </a:cubicBezTo>
                <a:cubicBezTo>
                  <a:pt x="-324" y="1602332"/>
                  <a:pt x="5831" y="1636834"/>
                  <a:pt x="16458" y="1670615"/>
                </a:cubicBezTo>
                <a:cubicBezTo>
                  <a:pt x="27470" y="1704299"/>
                  <a:pt x="42761" y="1737357"/>
                  <a:pt x="61851" y="1769020"/>
                </a:cubicBezTo>
                <a:close/>
              </a:path>
            </a:pathLst>
          </a:custGeom>
          <a:solidFill>
            <a:srgbClr val="29C8C1"/>
          </a:solidFill>
          <a:ln w="0" cap="flat">
            <a:noFill/>
            <a:prstDash val="solid"/>
            <a:miter/>
          </a:ln>
        </p:spPr>
        <p:txBody>
          <a:bodyPr rtlCol="0" anchor="ctr"/>
          <a:lstStyle/>
          <a:p>
            <a:pPr rtl="0"/>
            <a:endParaRPr lang="en-AU" dirty="0"/>
          </a:p>
        </p:txBody>
      </p:sp>
      <p:sp>
        <p:nvSpPr>
          <p:cNvPr id="47" name="Freeform: Shape 46">
            <a:extLst>
              <a:ext uri="{FF2B5EF4-FFF2-40B4-BE49-F238E27FC236}">
                <a16:creationId xmlns:a16="http://schemas.microsoft.com/office/drawing/2014/main" id="{9AD88CC4-D340-7F38-3D06-F1743E7DD98F}"/>
              </a:ext>
            </a:extLst>
          </p:cNvPr>
          <p:cNvSpPr/>
          <p:nvPr/>
        </p:nvSpPr>
        <p:spPr>
          <a:xfrm>
            <a:off x="9820565" y="3007420"/>
            <a:ext cx="4808" cy="4812"/>
          </a:xfrm>
          <a:custGeom>
            <a:avLst/>
            <a:gdLst>
              <a:gd name="connsiteX0" fmla="*/ 0 w 4808"/>
              <a:gd name="connsiteY0" fmla="*/ 0 h 4812"/>
              <a:gd name="connsiteX1" fmla="*/ 0 w 4808"/>
              <a:gd name="connsiteY1" fmla="*/ 0 h 4812"/>
              <a:gd name="connsiteX2" fmla="*/ 0 w 4808"/>
              <a:gd name="connsiteY2" fmla="*/ 0 h 4812"/>
            </a:gdLst>
            <a:ahLst/>
            <a:cxnLst>
              <a:cxn ang="0">
                <a:pos x="connsiteX0" y="connsiteY0"/>
              </a:cxn>
              <a:cxn ang="0">
                <a:pos x="connsiteX1" y="connsiteY1"/>
              </a:cxn>
              <a:cxn ang="0">
                <a:pos x="connsiteX2" y="connsiteY2"/>
              </a:cxn>
            </a:cxnLst>
            <a:rect l="l" t="t" r="r" b="b"/>
            <a:pathLst>
              <a:path w="4808" h="4812">
                <a:moveTo>
                  <a:pt x="0" y="0"/>
                </a:moveTo>
                <a:lnTo>
                  <a:pt x="0" y="0"/>
                </a:lnTo>
                <a:cubicBezTo>
                  <a:pt x="0" y="0"/>
                  <a:pt x="0" y="0"/>
                  <a:pt x="0" y="0"/>
                </a:cubicBezTo>
                <a:close/>
              </a:path>
            </a:pathLst>
          </a:custGeom>
          <a:solidFill>
            <a:srgbClr val="29C8C1"/>
          </a:solidFill>
          <a:ln w="0" cap="flat">
            <a:noFill/>
            <a:prstDash val="solid"/>
            <a:miter/>
          </a:ln>
        </p:spPr>
        <p:txBody>
          <a:bodyPr rtlCol="0" anchor="ctr"/>
          <a:lstStyle/>
          <a:p>
            <a:pPr rtl="0"/>
            <a:endParaRPr lang="en-AU" dirty="0"/>
          </a:p>
        </p:txBody>
      </p:sp>
      <p:sp>
        <p:nvSpPr>
          <p:cNvPr id="48" name="Freeform: Shape 47">
            <a:extLst>
              <a:ext uri="{FF2B5EF4-FFF2-40B4-BE49-F238E27FC236}">
                <a16:creationId xmlns:a16="http://schemas.microsoft.com/office/drawing/2014/main" id="{7B1CB7CB-F4EF-CA4D-8492-D18F6F4EE414}"/>
              </a:ext>
            </a:extLst>
          </p:cNvPr>
          <p:cNvSpPr/>
          <p:nvPr/>
        </p:nvSpPr>
        <p:spPr>
          <a:xfrm>
            <a:off x="9820565" y="3007420"/>
            <a:ext cx="4808" cy="4812"/>
          </a:xfrm>
          <a:custGeom>
            <a:avLst/>
            <a:gdLst>
              <a:gd name="connsiteX0" fmla="*/ 0 w 4808"/>
              <a:gd name="connsiteY0" fmla="*/ 0 h 4812"/>
              <a:gd name="connsiteX1" fmla="*/ 0 w 4808"/>
              <a:gd name="connsiteY1" fmla="*/ 0 h 4812"/>
              <a:gd name="connsiteX2" fmla="*/ 0 w 4808"/>
              <a:gd name="connsiteY2" fmla="*/ 0 h 4812"/>
            </a:gdLst>
            <a:ahLst/>
            <a:cxnLst>
              <a:cxn ang="0">
                <a:pos x="connsiteX0" y="connsiteY0"/>
              </a:cxn>
              <a:cxn ang="0">
                <a:pos x="connsiteX1" y="connsiteY1"/>
              </a:cxn>
              <a:cxn ang="0">
                <a:pos x="connsiteX2" y="connsiteY2"/>
              </a:cxn>
            </a:cxnLst>
            <a:rect l="l" t="t" r="r" b="b"/>
            <a:pathLst>
              <a:path w="4808" h="4812">
                <a:moveTo>
                  <a:pt x="0" y="0"/>
                </a:moveTo>
                <a:lnTo>
                  <a:pt x="0" y="0"/>
                </a:lnTo>
                <a:cubicBezTo>
                  <a:pt x="0" y="0"/>
                  <a:pt x="0" y="0"/>
                  <a:pt x="0" y="0"/>
                </a:cubicBezTo>
                <a:close/>
              </a:path>
            </a:pathLst>
          </a:custGeom>
          <a:solidFill>
            <a:srgbClr val="29C8C1"/>
          </a:solidFill>
          <a:ln w="0" cap="flat">
            <a:noFill/>
            <a:prstDash val="solid"/>
            <a:miter/>
          </a:ln>
        </p:spPr>
        <p:txBody>
          <a:bodyPr rtlCol="0" anchor="ctr"/>
          <a:lstStyle/>
          <a:p>
            <a:pPr rtl="0"/>
            <a:endParaRPr lang="en-AU" dirty="0"/>
          </a:p>
        </p:txBody>
      </p:sp>
      <p:sp>
        <p:nvSpPr>
          <p:cNvPr id="49" name="Freeform: Shape 48">
            <a:extLst>
              <a:ext uri="{FF2B5EF4-FFF2-40B4-BE49-F238E27FC236}">
                <a16:creationId xmlns:a16="http://schemas.microsoft.com/office/drawing/2014/main" id="{F2C4DBA1-933D-D880-5DB1-EFEBBC022460}"/>
              </a:ext>
            </a:extLst>
          </p:cNvPr>
          <p:cNvSpPr/>
          <p:nvPr/>
        </p:nvSpPr>
        <p:spPr>
          <a:xfrm>
            <a:off x="7359348" y="2104956"/>
            <a:ext cx="1141556" cy="694766"/>
          </a:xfrm>
          <a:custGeom>
            <a:avLst/>
            <a:gdLst>
              <a:gd name="connsiteX0" fmla="*/ 466666 w 1141556"/>
              <a:gd name="connsiteY0" fmla="*/ 579049 h 694766"/>
              <a:gd name="connsiteX1" fmla="*/ 586688 w 1141556"/>
              <a:gd name="connsiteY1" fmla="*/ 551669 h 694766"/>
              <a:gd name="connsiteX2" fmla="*/ 717241 w 1141556"/>
              <a:gd name="connsiteY2" fmla="*/ 564036 h 694766"/>
              <a:gd name="connsiteX3" fmla="*/ 851834 w 1141556"/>
              <a:gd name="connsiteY3" fmla="*/ 599356 h 694766"/>
              <a:gd name="connsiteX4" fmla="*/ 996139 w 1141556"/>
              <a:gd name="connsiteY4" fmla="*/ 624234 h 694766"/>
              <a:gd name="connsiteX5" fmla="*/ 1033983 w 1141556"/>
              <a:gd name="connsiteY5" fmla="*/ 621587 h 694766"/>
              <a:gd name="connsiteX6" fmla="*/ 1043407 w 1141556"/>
              <a:gd name="connsiteY6" fmla="*/ 619999 h 694766"/>
              <a:gd name="connsiteX7" fmla="*/ 1052832 w 1141556"/>
              <a:gd name="connsiteY7" fmla="*/ 618026 h 694766"/>
              <a:gd name="connsiteX8" fmla="*/ 1062353 w 1141556"/>
              <a:gd name="connsiteY8" fmla="*/ 615236 h 694766"/>
              <a:gd name="connsiteX9" fmla="*/ 1071538 w 1141556"/>
              <a:gd name="connsiteY9" fmla="*/ 611434 h 694766"/>
              <a:gd name="connsiteX10" fmla="*/ 1103274 w 1141556"/>
              <a:gd name="connsiteY10" fmla="*/ 587614 h 694766"/>
              <a:gd name="connsiteX11" fmla="*/ 1124288 w 1141556"/>
              <a:gd name="connsiteY11" fmla="*/ 554027 h 694766"/>
              <a:gd name="connsiteX12" fmla="*/ 1135973 w 1141556"/>
              <a:gd name="connsiteY12" fmla="*/ 516348 h 694766"/>
              <a:gd name="connsiteX13" fmla="*/ 1139290 w 1141556"/>
              <a:gd name="connsiteY13" fmla="*/ 496908 h 694766"/>
              <a:gd name="connsiteX14" fmla="*/ 1141021 w 1141556"/>
              <a:gd name="connsiteY14" fmla="*/ 477227 h 694766"/>
              <a:gd name="connsiteX15" fmla="*/ 1137175 w 1141556"/>
              <a:gd name="connsiteY15" fmla="*/ 398214 h 694766"/>
              <a:gd name="connsiteX16" fmla="*/ 1089762 w 1141556"/>
              <a:gd name="connsiteY16" fmla="*/ 249185 h 694766"/>
              <a:gd name="connsiteX17" fmla="*/ 1046629 w 1141556"/>
              <a:gd name="connsiteY17" fmla="*/ 185234 h 694766"/>
              <a:gd name="connsiteX18" fmla="*/ 1018787 w 1141556"/>
              <a:gd name="connsiteY18" fmla="*/ 159008 h 694766"/>
              <a:gd name="connsiteX19" fmla="*/ 988830 w 1141556"/>
              <a:gd name="connsiteY19" fmla="*/ 136151 h 694766"/>
              <a:gd name="connsiteX20" fmla="*/ 973250 w 1141556"/>
              <a:gd name="connsiteY20" fmla="*/ 125853 h 694766"/>
              <a:gd name="connsiteX21" fmla="*/ 957574 w 1141556"/>
              <a:gd name="connsiteY21" fmla="*/ 115892 h 694766"/>
              <a:gd name="connsiteX22" fmla="*/ 925549 w 1141556"/>
              <a:gd name="connsiteY22" fmla="*/ 97703 h 694766"/>
              <a:gd name="connsiteX23" fmla="*/ 909344 w 1141556"/>
              <a:gd name="connsiteY23" fmla="*/ 89282 h 694766"/>
              <a:gd name="connsiteX24" fmla="*/ 893091 w 1141556"/>
              <a:gd name="connsiteY24" fmla="*/ 81198 h 694766"/>
              <a:gd name="connsiteX25" fmla="*/ 860297 w 1141556"/>
              <a:gd name="connsiteY25" fmla="*/ 66233 h 694766"/>
              <a:gd name="connsiteX26" fmla="*/ 727676 w 1141556"/>
              <a:gd name="connsiteY26" fmla="*/ 21000 h 694766"/>
              <a:gd name="connsiteX27" fmla="*/ 595825 w 1141556"/>
              <a:gd name="connsiteY27" fmla="*/ 693 h 694766"/>
              <a:gd name="connsiteX28" fmla="*/ 563511 w 1141556"/>
              <a:gd name="connsiteY28" fmla="*/ 67 h 694766"/>
              <a:gd name="connsiteX29" fmla="*/ 531678 w 1141556"/>
              <a:gd name="connsiteY29" fmla="*/ 1607 h 694766"/>
              <a:gd name="connsiteX30" fmla="*/ 470273 w 1141556"/>
              <a:gd name="connsiteY30" fmla="*/ 11039 h 694766"/>
              <a:gd name="connsiteX31" fmla="*/ 261821 w 1141556"/>
              <a:gd name="connsiteY31" fmla="*/ 95778 h 694766"/>
              <a:gd name="connsiteX32" fmla="*/ 117034 w 1141556"/>
              <a:gd name="connsiteY32" fmla="*/ 212133 h 694766"/>
              <a:gd name="connsiteX33" fmla="*/ 69141 w 1141556"/>
              <a:gd name="connsiteY33" fmla="*/ 271658 h 694766"/>
              <a:gd name="connsiteX34" fmla="*/ 36683 w 1141556"/>
              <a:gd name="connsiteY34" fmla="*/ 327092 h 694766"/>
              <a:gd name="connsiteX35" fmla="*/ 7831 w 1141556"/>
              <a:gd name="connsiteY35" fmla="*/ 410917 h 694766"/>
              <a:gd name="connsiteX36" fmla="*/ 4225 w 1141556"/>
              <a:gd name="connsiteY36" fmla="*/ 433726 h 694766"/>
              <a:gd name="connsiteX37" fmla="*/ 3552 w 1141556"/>
              <a:gd name="connsiteY37" fmla="*/ 441570 h 694766"/>
              <a:gd name="connsiteX38" fmla="*/ 5283 w 1141556"/>
              <a:gd name="connsiteY38" fmla="*/ 433919 h 694766"/>
              <a:gd name="connsiteX39" fmla="*/ 9899 w 1141556"/>
              <a:gd name="connsiteY39" fmla="*/ 411447 h 694766"/>
              <a:gd name="connsiteX40" fmla="*/ 40337 w 1141556"/>
              <a:gd name="connsiteY40" fmla="*/ 329017 h 694766"/>
              <a:gd name="connsiteX41" fmla="*/ 73228 w 1141556"/>
              <a:gd name="connsiteY41" fmla="*/ 274641 h 694766"/>
              <a:gd name="connsiteX42" fmla="*/ 121314 w 1141556"/>
              <a:gd name="connsiteY42" fmla="*/ 216319 h 694766"/>
              <a:gd name="connsiteX43" fmla="*/ 265619 w 1141556"/>
              <a:gd name="connsiteY43" fmla="*/ 102323 h 694766"/>
              <a:gd name="connsiteX44" fmla="*/ 472052 w 1141556"/>
              <a:gd name="connsiteY44" fmla="*/ 19797 h 694766"/>
              <a:gd name="connsiteX45" fmla="*/ 532351 w 1141556"/>
              <a:gd name="connsiteY45" fmla="*/ 10798 h 694766"/>
              <a:gd name="connsiteX46" fmla="*/ 563559 w 1141556"/>
              <a:gd name="connsiteY46" fmla="*/ 9403 h 694766"/>
              <a:gd name="connsiteX47" fmla="*/ 595296 w 1141556"/>
              <a:gd name="connsiteY47" fmla="*/ 10173 h 694766"/>
              <a:gd name="connsiteX48" fmla="*/ 725175 w 1141556"/>
              <a:gd name="connsiteY48" fmla="*/ 30672 h 694766"/>
              <a:gd name="connsiteX49" fmla="*/ 856161 w 1141556"/>
              <a:gd name="connsiteY49" fmla="*/ 75712 h 694766"/>
              <a:gd name="connsiteX50" fmla="*/ 888523 w 1141556"/>
              <a:gd name="connsiteY50" fmla="*/ 90581 h 694766"/>
              <a:gd name="connsiteX51" fmla="*/ 904584 w 1141556"/>
              <a:gd name="connsiteY51" fmla="*/ 98617 h 694766"/>
              <a:gd name="connsiteX52" fmla="*/ 920548 w 1141556"/>
              <a:gd name="connsiteY52" fmla="*/ 106942 h 694766"/>
              <a:gd name="connsiteX53" fmla="*/ 952092 w 1141556"/>
              <a:gd name="connsiteY53" fmla="*/ 124939 h 694766"/>
              <a:gd name="connsiteX54" fmla="*/ 967480 w 1141556"/>
              <a:gd name="connsiteY54" fmla="*/ 134756 h 694766"/>
              <a:gd name="connsiteX55" fmla="*/ 982723 w 1141556"/>
              <a:gd name="connsiteY55" fmla="*/ 144909 h 694766"/>
              <a:gd name="connsiteX56" fmla="*/ 1011911 w 1141556"/>
              <a:gd name="connsiteY56" fmla="*/ 167237 h 694766"/>
              <a:gd name="connsiteX57" fmla="*/ 1038647 w 1141556"/>
              <a:gd name="connsiteY57" fmla="*/ 192452 h 694766"/>
              <a:gd name="connsiteX58" fmla="*/ 1080241 w 1141556"/>
              <a:gd name="connsiteY58" fmla="*/ 254286 h 694766"/>
              <a:gd name="connsiteX59" fmla="*/ 1126500 w 1141556"/>
              <a:gd name="connsiteY59" fmla="*/ 399946 h 694766"/>
              <a:gd name="connsiteX60" fmla="*/ 1130298 w 1141556"/>
              <a:gd name="connsiteY60" fmla="*/ 476794 h 694766"/>
              <a:gd name="connsiteX61" fmla="*/ 1128616 w 1141556"/>
              <a:gd name="connsiteY61" fmla="*/ 495753 h 694766"/>
              <a:gd name="connsiteX62" fmla="*/ 1125442 w 1141556"/>
              <a:gd name="connsiteY62" fmla="*/ 514376 h 694766"/>
              <a:gd name="connsiteX63" fmla="*/ 1114478 w 1141556"/>
              <a:gd name="connsiteY63" fmla="*/ 549985 h 694766"/>
              <a:gd name="connsiteX64" fmla="*/ 1095244 w 1141556"/>
              <a:gd name="connsiteY64" fmla="*/ 580829 h 694766"/>
              <a:gd name="connsiteX65" fmla="*/ 1066969 w 1141556"/>
              <a:gd name="connsiteY65" fmla="*/ 602147 h 694766"/>
              <a:gd name="connsiteX66" fmla="*/ 1058795 w 1141556"/>
              <a:gd name="connsiteY66" fmla="*/ 605563 h 694766"/>
              <a:gd name="connsiteX67" fmla="*/ 1050284 w 1141556"/>
              <a:gd name="connsiteY67" fmla="*/ 608066 h 694766"/>
              <a:gd name="connsiteX68" fmla="*/ 1041388 w 1141556"/>
              <a:gd name="connsiteY68" fmla="*/ 609894 h 694766"/>
              <a:gd name="connsiteX69" fmla="*/ 1032396 w 1141556"/>
              <a:gd name="connsiteY69" fmla="*/ 611434 h 694766"/>
              <a:gd name="connsiteX70" fmla="*/ 996043 w 1141556"/>
              <a:gd name="connsiteY70" fmla="*/ 614033 h 694766"/>
              <a:gd name="connsiteX71" fmla="*/ 854430 w 1141556"/>
              <a:gd name="connsiteY71" fmla="*/ 589780 h 694766"/>
              <a:gd name="connsiteX72" fmla="*/ 719165 w 1141556"/>
              <a:gd name="connsiteY72" fmla="*/ 554652 h 694766"/>
              <a:gd name="connsiteX73" fmla="*/ 586159 w 1141556"/>
              <a:gd name="connsiteY73" fmla="*/ 542574 h 694766"/>
              <a:gd name="connsiteX74" fmla="*/ 463396 w 1141556"/>
              <a:gd name="connsiteY74" fmla="*/ 571061 h 694766"/>
              <a:gd name="connsiteX75" fmla="*/ 356934 w 1141556"/>
              <a:gd name="connsiteY75" fmla="*/ 619999 h 694766"/>
              <a:gd name="connsiteX76" fmla="*/ 259128 w 1141556"/>
              <a:gd name="connsiteY76" fmla="*/ 664414 h 694766"/>
              <a:gd name="connsiteX77" fmla="*/ 165360 w 1141556"/>
              <a:gd name="connsiteY77" fmla="*/ 687560 h 694766"/>
              <a:gd name="connsiteX78" fmla="*/ 121121 w 1141556"/>
              <a:gd name="connsiteY78" fmla="*/ 686116 h 694766"/>
              <a:gd name="connsiteX79" fmla="*/ 82172 w 1141556"/>
              <a:gd name="connsiteY79" fmla="*/ 673605 h 694766"/>
              <a:gd name="connsiteX80" fmla="*/ 32644 w 1141556"/>
              <a:gd name="connsiteY80" fmla="*/ 619374 h 694766"/>
              <a:gd name="connsiteX81" fmla="*/ 11390 w 1141556"/>
              <a:gd name="connsiteY81" fmla="*/ 559897 h 694766"/>
              <a:gd name="connsiteX82" fmla="*/ 2542 w 1141556"/>
              <a:gd name="connsiteY82" fmla="*/ 472415 h 694766"/>
              <a:gd name="connsiteX83" fmla="*/ 3359 w 1141556"/>
              <a:gd name="connsiteY83" fmla="*/ 449461 h 694766"/>
              <a:gd name="connsiteX84" fmla="*/ 3600 w 1141556"/>
              <a:gd name="connsiteY84" fmla="*/ 441618 h 694766"/>
              <a:gd name="connsiteX85" fmla="*/ 2253 w 1141556"/>
              <a:gd name="connsiteY85" fmla="*/ 449365 h 694766"/>
              <a:gd name="connsiteX86" fmla="*/ 378 w 1141556"/>
              <a:gd name="connsiteY86" fmla="*/ 472367 h 694766"/>
              <a:gd name="connsiteX87" fmla="*/ 7350 w 1141556"/>
              <a:gd name="connsiteY87" fmla="*/ 560763 h 694766"/>
              <a:gd name="connsiteX88" fmla="*/ 28172 w 1141556"/>
              <a:gd name="connsiteY88" fmla="*/ 621684 h 694766"/>
              <a:gd name="connsiteX89" fmla="*/ 48560 w 1141556"/>
              <a:gd name="connsiteY89" fmla="*/ 652673 h 694766"/>
              <a:gd name="connsiteX90" fmla="*/ 79239 w 1141556"/>
              <a:gd name="connsiteY90" fmla="*/ 678754 h 694766"/>
              <a:gd name="connsiteX91" fmla="*/ 120208 w 1141556"/>
              <a:gd name="connsiteY91" fmla="*/ 692372 h 694766"/>
              <a:gd name="connsiteX92" fmla="*/ 165841 w 1141556"/>
              <a:gd name="connsiteY92" fmla="*/ 694297 h 694766"/>
              <a:gd name="connsiteX93" fmla="*/ 261821 w 1141556"/>
              <a:gd name="connsiteY93" fmla="*/ 671440 h 694766"/>
              <a:gd name="connsiteX94" fmla="*/ 360541 w 1141556"/>
              <a:gd name="connsiteY94" fmla="*/ 627362 h 694766"/>
              <a:gd name="connsiteX95" fmla="*/ 466618 w 1141556"/>
              <a:gd name="connsiteY95" fmla="*/ 579242 h 69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41556" h="694766">
                <a:moveTo>
                  <a:pt x="466666" y="579049"/>
                </a:moveTo>
                <a:cubicBezTo>
                  <a:pt x="504029" y="564661"/>
                  <a:pt x="544180" y="553064"/>
                  <a:pt x="586688" y="551669"/>
                </a:cubicBezTo>
                <a:cubicBezTo>
                  <a:pt x="629196" y="549696"/>
                  <a:pt x="673099" y="554700"/>
                  <a:pt x="717241" y="564036"/>
                </a:cubicBezTo>
                <a:cubicBezTo>
                  <a:pt x="761432" y="573275"/>
                  <a:pt x="805911" y="586700"/>
                  <a:pt x="851834" y="599356"/>
                </a:cubicBezTo>
                <a:cubicBezTo>
                  <a:pt x="897707" y="611723"/>
                  <a:pt x="945649" y="623849"/>
                  <a:pt x="996139" y="624234"/>
                </a:cubicBezTo>
                <a:cubicBezTo>
                  <a:pt x="1008689" y="624041"/>
                  <a:pt x="1021384" y="623560"/>
                  <a:pt x="1033983" y="621587"/>
                </a:cubicBezTo>
                <a:cubicBezTo>
                  <a:pt x="1037156" y="621251"/>
                  <a:pt x="1040282" y="620625"/>
                  <a:pt x="1043407" y="619999"/>
                </a:cubicBezTo>
                <a:cubicBezTo>
                  <a:pt x="1046533" y="619326"/>
                  <a:pt x="1049658" y="618941"/>
                  <a:pt x="1052832" y="618026"/>
                </a:cubicBezTo>
                <a:lnTo>
                  <a:pt x="1062353" y="615236"/>
                </a:lnTo>
                <a:cubicBezTo>
                  <a:pt x="1065527" y="614321"/>
                  <a:pt x="1068460" y="612685"/>
                  <a:pt x="1071538" y="611434"/>
                </a:cubicBezTo>
                <a:cubicBezTo>
                  <a:pt x="1083463" y="605708"/>
                  <a:pt x="1094667" y="597816"/>
                  <a:pt x="1103274" y="587614"/>
                </a:cubicBezTo>
                <a:cubicBezTo>
                  <a:pt x="1111930" y="577509"/>
                  <a:pt x="1119046" y="566153"/>
                  <a:pt x="1124288" y="554027"/>
                </a:cubicBezTo>
                <a:cubicBezTo>
                  <a:pt x="1129337" y="541852"/>
                  <a:pt x="1133520" y="529245"/>
                  <a:pt x="1135973" y="516348"/>
                </a:cubicBezTo>
                <a:cubicBezTo>
                  <a:pt x="1137559" y="509949"/>
                  <a:pt x="1138136" y="503404"/>
                  <a:pt x="1139290" y="496908"/>
                </a:cubicBezTo>
                <a:cubicBezTo>
                  <a:pt x="1139916" y="490364"/>
                  <a:pt x="1140733" y="483819"/>
                  <a:pt x="1141021" y="477227"/>
                </a:cubicBezTo>
                <a:cubicBezTo>
                  <a:pt x="1142464" y="450953"/>
                  <a:pt x="1140925" y="424439"/>
                  <a:pt x="1137175" y="398214"/>
                </a:cubicBezTo>
                <a:cubicBezTo>
                  <a:pt x="1129241" y="345763"/>
                  <a:pt x="1113420" y="295236"/>
                  <a:pt x="1089762" y="249185"/>
                </a:cubicBezTo>
                <a:cubicBezTo>
                  <a:pt x="1077741" y="226280"/>
                  <a:pt x="1063652" y="204578"/>
                  <a:pt x="1046629" y="185234"/>
                </a:cubicBezTo>
                <a:cubicBezTo>
                  <a:pt x="1037685" y="175995"/>
                  <a:pt x="1028693" y="166756"/>
                  <a:pt x="1018787" y="159008"/>
                </a:cubicBezTo>
                <a:cubicBezTo>
                  <a:pt x="1009266" y="150587"/>
                  <a:pt x="998880" y="143562"/>
                  <a:pt x="988830" y="136151"/>
                </a:cubicBezTo>
                <a:cubicBezTo>
                  <a:pt x="983829" y="132398"/>
                  <a:pt x="978443" y="129318"/>
                  <a:pt x="973250" y="125853"/>
                </a:cubicBezTo>
                <a:cubicBezTo>
                  <a:pt x="968009" y="122533"/>
                  <a:pt x="962864" y="119068"/>
                  <a:pt x="957574" y="115892"/>
                </a:cubicBezTo>
                <a:cubicBezTo>
                  <a:pt x="946851" y="109829"/>
                  <a:pt x="936368" y="103381"/>
                  <a:pt x="925549" y="97703"/>
                </a:cubicBezTo>
                <a:cubicBezTo>
                  <a:pt x="920115" y="94912"/>
                  <a:pt x="914730" y="92073"/>
                  <a:pt x="909344" y="89282"/>
                </a:cubicBezTo>
                <a:cubicBezTo>
                  <a:pt x="903958" y="86491"/>
                  <a:pt x="898621" y="83652"/>
                  <a:pt x="893091" y="81198"/>
                </a:cubicBezTo>
                <a:cubicBezTo>
                  <a:pt x="882079" y="76193"/>
                  <a:pt x="871356" y="70756"/>
                  <a:pt x="860297" y="66233"/>
                </a:cubicBezTo>
                <a:cubicBezTo>
                  <a:pt x="816394" y="47273"/>
                  <a:pt x="772011" y="31971"/>
                  <a:pt x="727676" y="21000"/>
                </a:cubicBezTo>
                <a:cubicBezTo>
                  <a:pt x="683341" y="9932"/>
                  <a:pt x="639150" y="2858"/>
                  <a:pt x="595825" y="693"/>
                </a:cubicBezTo>
                <a:cubicBezTo>
                  <a:pt x="584957" y="500"/>
                  <a:pt x="574234" y="-221"/>
                  <a:pt x="563511" y="67"/>
                </a:cubicBezTo>
                <a:cubicBezTo>
                  <a:pt x="552836" y="597"/>
                  <a:pt x="542209" y="1078"/>
                  <a:pt x="531678" y="1607"/>
                </a:cubicBezTo>
                <a:cubicBezTo>
                  <a:pt x="510713" y="3580"/>
                  <a:pt x="490180" y="6708"/>
                  <a:pt x="470273" y="11039"/>
                </a:cubicBezTo>
                <a:cubicBezTo>
                  <a:pt x="390642" y="28554"/>
                  <a:pt x="320822" y="60218"/>
                  <a:pt x="261821" y="95778"/>
                </a:cubicBezTo>
                <a:cubicBezTo>
                  <a:pt x="202723" y="131483"/>
                  <a:pt x="154349" y="171953"/>
                  <a:pt x="117034" y="212133"/>
                </a:cubicBezTo>
                <a:cubicBezTo>
                  <a:pt x="98377" y="232199"/>
                  <a:pt x="82316" y="252169"/>
                  <a:pt x="69141" y="271658"/>
                </a:cubicBezTo>
                <a:cubicBezTo>
                  <a:pt x="55917" y="291098"/>
                  <a:pt x="44953" y="309624"/>
                  <a:pt x="36683" y="327092"/>
                </a:cubicBezTo>
                <a:cubicBezTo>
                  <a:pt x="19660" y="361835"/>
                  <a:pt x="11678" y="391044"/>
                  <a:pt x="7831" y="410917"/>
                </a:cubicBezTo>
                <a:cubicBezTo>
                  <a:pt x="5523" y="420830"/>
                  <a:pt x="4946" y="428577"/>
                  <a:pt x="4225" y="433726"/>
                </a:cubicBezTo>
                <a:cubicBezTo>
                  <a:pt x="3600" y="438875"/>
                  <a:pt x="3407" y="441522"/>
                  <a:pt x="3552" y="441570"/>
                </a:cubicBezTo>
                <a:cubicBezTo>
                  <a:pt x="3744" y="441570"/>
                  <a:pt x="4321" y="438971"/>
                  <a:pt x="5283" y="433919"/>
                </a:cubicBezTo>
                <a:cubicBezTo>
                  <a:pt x="6341" y="428866"/>
                  <a:pt x="7302" y="421167"/>
                  <a:pt x="9899" y="411447"/>
                </a:cubicBezTo>
                <a:cubicBezTo>
                  <a:pt x="14419" y="391862"/>
                  <a:pt x="22930" y="363086"/>
                  <a:pt x="40337" y="329017"/>
                </a:cubicBezTo>
                <a:cubicBezTo>
                  <a:pt x="48800" y="311886"/>
                  <a:pt x="59908" y="293697"/>
                  <a:pt x="73228" y="274641"/>
                </a:cubicBezTo>
                <a:cubicBezTo>
                  <a:pt x="86500" y="255537"/>
                  <a:pt x="102608" y="236000"/>
                  <a:pt x="121314" y="216319"/>
                </a:cubicBezTo>
                <a:cubicBezTo>
                  <a:pt x="158628" y="176957"/>
                  <a:pt x="206858" y="137258"/>
                  <a:pt x="265619" y="102323"/>
                </a:cubicBezTo>
                <a:cubicBezTo>
                  <a:pt x="324284" y="67532"/>
                  <a:pt x="393576" y="36639"/>
                  <a:pt x="472052" y="19797"/>
                </a:cubicBezTo>
                <a:cubicBezTo>
                  <a:pt x="491671" y="15658"/>
                  <a:pt x="511819" y="12627"/>
                  <a:pt x="532351" y="10798"/>
                </a:cubicBezTo>
                <a:cubicBezTo>
                  <a:pt x="542690" y="10365"/>
                  <a:pt x="553076" y="9884"/>
                  <a:pt x="563559" y="9403"/>
                </a:cubicBezTo>
                <a:cubicBezTo>
                  <a:pt x="574042" y="9210"/>
                  <a:pt x="584621" y="9932"/>
                  <a:pt x="595296" y="10173"/>
                </a:cubicBezTo>
                <a:cubicBezTo>
                  <a:pt x="637900" y="12482"/>
                  <a:pt x="681466" y="19604"/>
                  <a:pt x="725175" y="30672"/>
                </a:cubicBezTo>
                <a:cubicBezTo>
                  <a:pt x="768934" y="41643"/>
                  <a:pt x="812836" y="56897"/>
                  <a:pt x="856161" y="75712"/>
                </a:cubicBezTo>
                <a:cubicBezTo>
                  <a:pt x="867077" y="80236"/>
                  <a:pt x="877656" y="85625"/>
                  <a:pt x="888523" y="90581"/>
                </a:cubicBezTo>
                <a:cubicBezTo>
                  <a:pt x="893957" y="93035"/>
                  <a:pt x="899246" y="95826"/>
                  <a:pt x="904584" y="98617"/>
                </a:cubicBezTo>
                <a:cubicBezTo>
                  <a:pt x="909921" y="101408"/>
                  <a:pt x="915211" y="104151"/>
                  <a:pt x="920548" y="106942"/>
                </a:cubicBezTo>
                <a:cubicBezTo>
                  <a:pt x="931223" y="112524"/>
                  <a:pt x="941513" y="118924"/>
                  <a:pt x="952092" y="124939"/>
                </a:cubicBezTo>
                <a:cubicBezTo>
                  <a:pt x="957286" y="128067"/>
                  <a:pt x="962335" y="131483"/>
                  <a:pt x="967480" y="134756"/>
                </a:cubicBezTo>
                <a:cubicBezTo>
                  <a:pt x="972529" y="138124"/>
                  <a:pt x="977866" y="141204"/>
                  <a:pt x="982723" y="144909"/>
                </a:cubicBezTo>
                <a:cubicBezTo>
                  <a:pt x="992533" y="152175"/>
                  <a:pt x="1002727" y="159056"/>
                  <a:pt x="1011911" y="167237"/>
                </a:cubicBezTo>
                <a:cubicBezTo>
                  <a:pt x="1021625" y="174840"/>
                  <a:pt x="1030088" y="183646"/>
                  <a:pt x="1038647" y="192452"/>
                </a:cubicBezTo>
                <a:cubicBezTo>
                  <a:pt x="1054852" y="210930"/>
                  <a:pt x="1068556" y="232006"/>
                  <a:pt x="1080241" y="254286"/>
                </a:cubicBezTo>
                <a:cubicBezTo>
                  <a:pt x="1103226" y="299134"/>
                  <a:pt x="1118806" y="348746"/>
                  <a:pt x="1126500" y="399946"/>
                </a:cubicBezTo>
                <a:cubicBezTo>
                  <a:pt x="1130154" y="425594"/>
                  <a:pt x="1131693" y="451386"/>
                  <a:pt x="1130298" y="476794"/>
                </a:cubicBezTo>
                <a:cubicBezTo>
                  <a:pt x="1130058" y="483146"/>
                  <a:pt x="1129193" y="489449"/>
                  <a:pt x="1128616" y="495753"/>
                </a:cubicBezTo>
                <a:cubicBezTo>
                  <a:pt x="1127557" y="501961"/>
                  <a:pt x="1126980" y="508313"/>
                  <a:pt x="1125442" y="514376"/>
                </a:cubicBezTo>
                <a:cubicBezTo>
                  <a:pt x="1123134" y="526742"/>
                  <a:pt x="1119142" y="538580"/>
                  <a:pt x="1114478" y="549985"/>
                </a:cubicBezTo>
                <a:cubicBezTo>
                  <a:pt x="1109622" y="561341"/>
                  <a:pt x="1103082" y="571687"/>
                  <a:pt x="1095244" y="580829"/>
                </a:cubicBezTo>
                <a:cubicBezTo>
                  <a:pt x="1087502" y="590069"/>
                  <a:pt x="1077548" y="596998"/>
                  <a:pt x="1066969" y="602147"/>
                </a:cubicBezTo>
                <a:cubicBezTo>
                  <a:pt x="1064229" y="603254"/>
                  <a:pt x="1061680" y="604793"/>
                  <a:pt x="1058795" y="605563"/>
                </a:cubicBezTo>
                <a:lnTo>
                  <a:pt x="1050284" y="608066"/>
                </a:lnTo>
                <a:cubicBezTo>
                  <a:pt x="1047447" y="608884"/>
                  <a:pt x="1044321" y="609269"/>
                  <a:pt x="1041388" y="609894"/>
                </a:cubicBezTo>
                <a:cubicBezTo>
                  <a:pt x="1038406" y="610472"/>
                  <a:pt x="1035425" y="611097"/>
                  <a:pt x="1032396" y="611434"/>
                </a:cubicBezTo>
                <a:cubicBezTo>
                  <a:pt x="1020374" y="613359"/>
                  <a:pt x="1008161" y="613792"/>
                  <a:pt x="996043" y="614033"/>
                </a:cubicBezTo>
                <a:cubicBezTo>
                  <a:pt x="947380" y="613744"/>
                  <a:pt x="900112" y="602050"/>
                  <a:pt x="854430" y="589780"/>
                </a:cubicBezTo>
                <a:cubicBezTo>
                  <a:pt x="808700" y="577317"/>
                  <a:pt x="763933" y="563891"/>
                  <a:pt x="719165" y="554652"/>
                </a:cubicBezTo>
                <a:cubicBezTo>
                  <a:pt x="674493" y="545317"/>
                  <a:pt x="629677" y="540361"/>
                  <a:pt x="586159" y="542574"/>
                </a:cubicBezTo>
                <a:cubicBezTo>
                  <a:pt x="542401" y="544162"/>
                  <a:pt x="501095" y="556336"/>
                  <a:pt x="463396" y="571061"/>
                </a:cubicBezTo>
                <a:cubicBezTo>
                  <a:pt x="425553" y="585930"/>
                  <a:pt x="390546" y="603542"/>
                  <a:pt x="356934" y="619999"/>
                </a:cubicBezTo>
                <a:cubicBezTo>
                  <a:pt x="323322" y="636553"/>
                  <a:pt x="291009" y="652240"/>
                  <a:pt x="259128" y="664414"/>
                </a:cubicBezTo>
                <a:cubicBezTo>
                  <a:pt x="227343" y="676781"/>
                  <a:pt x="195751" y="685106"/>
                  <a:pt x="165360" y="687560"/>
                </a:cubicBezTo>
                <a:cubicBezTo>
                  <a:pt x="150165" y="688715"/>
                  <a:pt x="135307" y="688089"/>
                  <a:pt x="121121" y="686116"/>
                </a:cubicBezTo>
                <a:cubicBezTo>
                  <a:pt x="106840" y="684432"/>
                  <a:pt x="93761" y="680101"/>
                  <a:pt x="82172" y="673605"/>
                </a:cubicBezTo>
                <a:cubicBezTo>
                  <a:pt x="58995" y="660372"/>
                  <a:pt x="43319" y="639632"/>
                  <a:pt x="32644" y="619374"/>
                </a:cubicBezTo>
                <a:cubicBezTo>
                  <a:pt x="21968" y="598875"/>
                  <a:pt x="15621" y="578472"/>
                  <a:pt x="11390" y="559897"/>
                </a:cubicBezTo>
                <a:cubicBezTo>
                  <a:pt x="3071" y="522556"/>
                  <a:pt x="2349" y="492529"/>
                  <a:pt x="2542" y="472415"/>
                </a:cubicBezTo>
                <a:cubicBezTo>
                  <a:pt x="2638" y="462310"/>
                  <a:pt x="3071" y="454610"/>
                  <a:pt x="3359" y="449461"/>
                </a:cubicBezTo>
                <a:cubicBezTo>
                  <a:pt x="3696" y="444313"/>
                  <a:pt x="3792" y="441618"/>
                  <a:pt x="3600" y="441618"/>
                </a:cubicBezTo>
                <a:cubicBezTo>
                  <a:pt x="3407" y="441618"/>
                  <a:pt x="2975" y="444216"/>
                  <a:pt x="2253" y="449365"/>
                </a:cubicBezTo>
                <a:cubicBezTo>
                  <a:pt x="1628" y="454514"/>
                  <a:pt x="859" y="462213"/>
                  <a:pt x="378" y="472367"/>
                </a:cubicBezTo>
                <a:cubicBezTo>
                  <a:pt x="-488" y="492577"/>
                  <a:pt x="-488" y="522845"/>
                  <a:pt x="7350" y="560763"/>
                </a:cubicBezTo>
                <a:cubicBezTo>
                  <a:pt x="11342" y="579675"/>
                  <a:pt x="17497" y="600511"/>
                  <a:pt x="28172" y="621684"/>
                </a:cubicBezTo>
                <a:cubicBezTo>
                  <a:pt x="33557" y="632222"/>
                  <a:pt x="40145" y="642808"/>
                  <a:pt x="48560" y="652673"/>
                </a:cubicBezTo>
                <a:cubicBezTo>
                  <a:pt x="56927" y="662489"/>
                  <a:pt x="67073" y="671729"/>
                  <a:pt x="79239" y="678754"/>
                </a:cubicBezTo>
                <a:cubicBezTo>
                  <a:pt x="91356" y="685732"/>
                  <a:pt x="105542" y="690495"/>
                  <a:pt x="120208" y="692372"/>
                </a:cubicBezTo>
                <a:cubicBezTo>
                  <a:pt x="134826" y="694586"/>
                  <a:pt x="150165" y="695356"/>
                  <a:pt x="165841" y="694297"/>
                </a:cubicBezTo>
                <a:cubicBezTo>
                  <a:pt x="197193" y="692035"/>
                  <a:pt x="229555" y="683759"/>
                  <a:pt x="261821" y="671440"/>
                </a:cubicBezTo>
                <a:cubicBezTo>
                  <a:pt x="294230" y="659313"/>
                  <a:pt x="326833" y="643771"/>
                  <a:pt x="360541" y="627362"/>
                </a:cubicBezTo>
                <a:cubicBezTo>
                  <a:pt x="394297" y="611097"/>
                  <a:pt x="429207" y="593726"/>
                  <a:pt x="466618" y="579242"/>
                </a:cubicBezTo>
                <a:close/>
              </a:path>
            </a:pathLst>
          </a:custGeom>
          <a:solidFill>
            <a:srgbClr val="29C8C1"/>
          </a:solidFill>
          <a:ln w="0" cap="flat">
            <a:noFill/>
            <a:prstDash val="solid"/>
            <a:miter/>
          </a:ln>
        </p:spPr>
        <p:txBody>
          <a:bodyPr rtlCol="0" anchor="ctr"/>
          <a:lstStyle/>
          <a:p>
            <a:pPr rtl="0"/>
            <a:endParaRPr lang="en-AU" dirty="0"/>
          </a:p>
        </p:txBody>
      </p:sp>
      <p:sp>
        <p:nvSpPr>
          <p:cNvPr id="50" name="Freeform: Shape 49">
            <a:extLst>
              <a:ext uri="{FF2B5EF4-FFF2-40B4-BE49-F238E27FC236}">
                <a16:creationId xmlns:a16="http://schemas.microsoft.com/office/drawing/2014/main" id="{DD568095-04AE-E1C6-C9F7-47BBF68CCD5F}"/>
              </a:ext>
            </a:extLst>
          </p:cNvPr>
          <p:cNvSpPr/>
          <p:nvPr/>
        </p:nvSpPr>
        <p:spPr>
          <a:xfrm>
            <a:off x="7315191" y="2058098"/>
            <a:ext cx="1254365" cy="853172"/>
          </a:xfrm>
          <a:custGeom>
            <a:avLst/>
            <a:gdLst>
              <a:gd name="connsiteX0" fmla="*/ 13808 w 1254365"/>
              <a:gd name="connsiteY0" fmla="*/ 705498 h 853172"/>
              <a:gd name="connsiteX1" fmla="*/ 17174 w 1254365"/>
              <a:gd name="connsiteY1" fmla="*/ 718153 h 853172"/>
              <a:gd name="connsiteX2" fmla="*/ 24579 w 1254365"/>
              <a:gd name="connsiteY2" fmla="*/ 742646 h 853172"/>
              <a:gd name="connsiteX3" fmla="*/ 43092 w 1254365"/>
              <a:gd name="connsiteY3" fmla="*/ 787927 h 853172"/>
              <a:gd name="connsiteX4" fmla="*/ 69059 w 1254365"/>
              <a:gd name="connsiteY4" fmla="*/ 825750 h 853172"/>
              <a:gd name="connsiteX5" fmla="*/ 104883 w 1254365"/>
              <a:gd name="connsiteY5" fmla="*/ 848944 h 853172"/>
              <a:gd name="connsiteX6" fmla="*/ 143784 w 1254365"/>
              <a:gd name="connsiteY6" fmla="*/ 852601 h 853172"/>
              <a:gd name="connsiteX7" fmla="*/ 178213 w 1254365"/>
              <a:gd name="connsiteY7" fmla="*/ 845142 h 853172"/>
              <a:gd name="connsiteX8" fmla="*/ 232118 w 1254365"/>
              <a:gd name="connsiteY8" fmla="*/ 821900 h 853172"/>
              <a:gd name="connsiteX9" fmla="*/ 269625 w 1254365"/>
              <a:gd name="connsiteY9" fmla="*/ 801112 h 853172"/>
              <a:gd name="connsiteX10" fmla="*/ 292129 w 1254365"/>
              <a:gd name="connsiteY10" fmla="*/ 787398 h 853172"/>
              <a:gd name="connsiteX11" fmla="*/ 299582 w 1254365"/>
              <a:gd name="connsiteY11" fmla="*/ 782345 h 853172"/>
              <a:gd name="connsiteX12" fmla="*/ 291600 w 1254365"/>
              <a:gd name="connsiteY12" fmla="*/ 786436 h 853172"/>
              <a:gd name="connsiteX13" fmla="*/ 268567 w 1254365"/>
              <a:gd name="connsiteY13" fmla="*/ 799188 h 853172"/>
              <a:gd name="connsiteX14" fmla="*/ 230675 w 1254365"/>
              <a:gd name="connsiteY14" fmla="*/ 819013 h 853172"/>
              <a:gd name="connsiteX15" fmla="*/ 176963 w 1254365"/>
              <a:gd name="connsiteY15" fmla="*/ 841148 h 853172"/>
              <a:gd name="connsiteX16" fmla="*/ 143399 w 1254365"/>
              <a:gd name="connsiteY16" fmla="*/ 847981 h 853172"/>
              <a:gd name="connsiteX17" fmla="*/ 106518 w 1254365"/>
              <a:gd name="connsiteY17" fmla="*/ 844084 h 853172"/>
              <a:gd name="connsiteX18" fmla="*/ 73098 w 1254365"/>
              <a:gd name="connsiteY18" fmla="*/ 821900 h 853172"/>
              <a:gd name="connsiteX19" fmla="*/ 48430 w 1254365"/>
              <a:gd name="connsiteY19" fmla="*/ 785185 h 853172"/>
              <a:gd name="connsiteX20" fmla="*/ 30686 w 1254365"/>
              <a:gd name="connsiteY20" fmla="*/ 740625 h 853172"/>
              <a:gd name="connsiteX21" fmla="*/ 23569 w 1254365"/>
              <a:gd name="connsiteY21" fmla="*/ 716373 h 853172"/>
              <a:gd name="connsiteX22" fmla="*/ 20300 w 1254365"/>
              <a:gd name="connsiteY22" fmla="*/ 703861 h 853172"/>
              <a:gd name="connsiteX23" fmla="*/ 17607 w 1254365"/>
              <a:gd name="connsiteY23" fmla="*/ 691062 h 853172"/>
              <a:gd name="connsiteX24" fmla="*/ 7893 w 1254365"/>
              <a:gd name="connsiteY24" fmla="*/ 580433 h 853172"/>
              <a:gd name="connsiteX25" fmla="*/ 82715 w 1254365"/>
              <a:gd name="connsiteY25" fmla="*/ 339063 h 853172"/>
              <a:gd name="connsiteX26" fmla="*/ 168548 w 1254365"/>
              <a:gd name="connsiteY26" fmla="*/ 225836 h 853172"/>
              <a:gd name="connsiteX27" fmla="*/ 282656 w 1254365"/>
              <a:gd name="connsiteY27" fmla="*/ 127430 h 853172"/>
              <a:gd name="connsiteX28" fmla="*/ 421816 w 1254365"/>
              <a:gd name="connsiteY28" fmla="*/ 52122 h 853172"/>
              <a:gd name="connsiteX29" fmla="*/ 440714 w 1254365"/>
              <a:gd name="connsiteY29" fmla="*/ 44711 h 853172"/>
              <a:gd name="connsiteX30" fmla="*/ 460044 w 1254365"/>
              <a:gd name="connsiteY30" fmla="*/ 38215 h 853172"/>
              <a:gd name="connsiteX31" fmla="*/ 469758 w 1254365"/>
              <a:gd name="connsiteY31" fmla="*/ 34943 h 853172"/>
              <a:gd name="connsiteX32" fmla="*/ 479615 w 1254365"/>
              <a:gd name="connsiteY32" fmla="*/ 32152 h 853172"/>
              <a:gd name="connsiteX33" fmla="*/ 499427 w 1254365"/>
              <a:gd name="connsiteY33" fmla="*/ 26618 h 853172"/>
              <a:gd name="connsiteX34" fmla="*/ 519623 w 1254365"/>
              <a:gd name="connsiteY34" fmla="*/ 22047 h 853172"/>
              <a:gd name="connsiteX35" fmla="*/ 529769 w 1254365"/>
              <a:gd name="connsiteY35" fmla="*/ 19833 h 853172"/>
              <a:gd name="connsiteX36" fmla="*/ 540011 w 1254365"/>
              <a:gd name="connsiteY36" fmla="*/ 18101 h 853172"/>
              <a:gd name="connsiteX37" fmla="*/ 560592 w 1254365"/>
              <a:gd name="connsiteY37" fmla="*/ 14781 h 853172"/>
              <a:gd name="connsiteX38" fmla="*/ 581413 w 1254365"/>
              <a:gd name="connsiteY38" fmla="*/ 12471 h 853172"/>
              <a:gd name="connsiteX39" fmla="*/ 665948 w 1254365"/>
              <a:gd name="connsiteY39" fmla="*/ 12760 h 853172"/>
              <a:gd name="connsiteX40" fmla="*/ 751252 w 1254365"/>
              <a:gd name="connsiteY40" fmla="*/ 25800 h 853172"/>
              <a:gd name="connsiteX41" fmla="*/ 920178 w 1254365"/>
              <a:gd name="connsiteY41" fmla="*/ 77385 h 853172"/>
              <a:gd name="connsiteX42" fmla="*/ 1078188 w 1254365"/>
              <a:gd name="connsiteY42" fmla="*/ 156013 h 853172"/>
              <a:gd name="connsiteX43" fmla="*/ 1145123 w 1254365"/>
              <a:gd name="connsiteY43" fmla="*/ 208946 h 853172"/>
              <a:gd name="connsiteX44" fmla="*/ 1189891 w 1254365"/>
              <a:gd name="connsiteY44" fmla="*/ 279827 h 853172"/>
              <a:gd name="connsiteX45" fmla="*/ 1237015 w 1254365"/>
              <a:gd name="connsiteY45" fmla="*/ 437565 h 853172"/>
              <a:gd name="connsiteX46" fmla="*/ 1244324 w 1254365"/>
              <a:gd name="connsiteY46" fmla="*/ 517300 h 853172"/>
              <a:gd name="connsiteX47" fmla="*/ 1239852 w 1254365"/>
              <a:gd name="connsiteY47" fmla="*/ 595206 h 853172"/>
              <a:gd name="connsiteX48" fmla="*/ 1218069 w 1254365"/>
              <a:gd name="connsiteY48" fmla="*/ 667001 h 853172"/>
              <a:gd name="connsiteX49" fmla="*/ 1196575 w 1254365"/>
              <a:gd name="connsiteY49" fmla="*/ 695777 h 853172"/>
              <a:gd name="connsiteX50" fmla="*/ 1193209 w 1254365"/>
              <a:gd name="connsiteY50" fmla="*/ 698616 h 853172"/>
              <a:gd name="connsiteX51" fmla="*/ 1189699 w 1254365"/>
              <a:gd name="connsiteY51" fmla="*/ 701263 h 853172"/>
              <a:gd name="connsiteX52" fmla="*/ 1182197 w 1254365"/>
              <a:gd name="connsiteY52" fmla="*/ 706123 h 853172"/>
              <a:gd name="connsiteX53" fmla="*/ 1174407 w 1254365"/>
              <a:gd name="connsiteY53" fmla="*/ 710646 h 853172"/>
              <a:gd name="connsiteX54" fmla="*/ 1166281 w 1254365"/>
              <a:gd name="connsiteY54" fmla="*/ 714448 h 853172"/>
              <a:gd name="connsiteX55" fmla="*/ 1162242 w 1254365"/>
              <a:gd name="connsiteY55" fmla="*/ 716373 h 853172"/>
              <a:gd name="connsiteX56" fmla="*/ 1158058 w 1254365"/>
              <a:gd name="connsiteY56" fmla="*/ 717912 h 853172"/>
              <a:gd name="connsiteX57" fmla="*/ 1149691 w 1254365"/>
              <a:gd name="connsiteY57" fmla="*/ 720992 h 853172"/>
              <a:gd name="connsiteX58" fmla="*/ 1141132 w 1254365"/>
              <a:gd name="connsiteY58" fmla="*/ 723398 h 853172"/>
              <a:gd name="connsiteX59" fmla="*/ 1132525 w 1254365"/>
              <a:gd name="connsiteY59" fmla="*/ 725467 h 853172"/>
              <a:gd name="connsiteX60" fmla="*/ 1123821 w 1254365"/>
              <a:gd name="connsiteY60" fmla="*/ 727152 h 853172"/>
              <a:gd name="connsiteX61" fmla="*/ 1115070 w 1254365"/>
              <a:gd name="connsiteY61" fmla="*/ 728258 h 853172"/>
              <a:gd name="connsiteX62" fmla="*/ 1097518 w 1254365"/>
              <a:gd name="connsiteY62" fmla="*/ 729558 h 853172"/>
              <a:gd name="connsiteX63" fmla="*/ 1028419 w 1254365"/>
              <a:gd name="connsiteY63" fmla="*/ 723158 h 853172"/>
              <a:gd name="connsiteX64" fmla="*/ 899934 w 1254365"/>
              <a:gd name="connsiteY64" fmla="*/ 687934 h 853172"/>
              <a:gd name="connsiteX65" fmla="*/ 780488 w 1254365"/>
              <a:gd name="connsiteY65" fmla="*/ 655404 h 853172"/>
              <a:gd name="connsiteX66" fmla="*/ 723218 w 1254365"/>
              <a:gd name="connsiteY66" fmla="*/ 646599 h 853172"/>
              <a:gd name="connsiteX67" fmla="*/ 668208 w 1254365"/>
              <a:gd name="connsiteY67" fmla="*/ 645251 h 853172"/>
              <a:gd name="connsiteX68" fmla="*/ 568526 w 1254365"/>
              <a:gd name="connsiteY68" fmla="*/ 658099 h 853172"/>
              <a:gd name="connsiteX69" fmla="*/ 418066 w 1254365"/>
              <a:gd name="connsiteY69" fmla="*/ 713967 h 853172"/>
              <a:gd name="connsiteX70" fmla="*/ 329540 w 1254365"/>
              <a:gd name="connsiteY70" fmla="*/ 763386 h 853172"/>
              <a:gd name="connsiteX71" fmla="*/ 307132 w 1254365"/>
              <a:gd name="connsiteY71" fmla="*/ 777245 h 853172"/>
              <a:gd name="connsiteX72" fmla="*/ 299678 w 1254365"/>
              <a:gd name="connsiteY72" fmla="*/ 782297 h 853172"/>
              <a:gd name="connsiteX73" fmla="*/ 307661 w 1254365"/>
              <a:gd name="connsiteY73" fmla="*/ 778207 h 853172"/>
              <a:gd name="connsiteX74" fmla="*/ 330597 w 1254365"/>
              <a:gd name="connsiteY74" fmla="*/ 765263 h 853172"/>
              <a:gd name="connsiteX75" fmla="*/ 419893 w 1254365"/>
              <a:gd name="connsiteY75" fmla="*/ 717720 h 853172"/>
              <a:gd name="connsiteX76" fmla="*/ 569776 w 1254365"/>
              <a:gd name="connsiteY76" fmla="*/ 663922 h 853172"/>
              <a:gd name="connsiteX77" fmla="*/ 668352 w 1254365"/>
              <a:gd name="connsiteY77" fmla="*/ 652036 h 853172"/>
              <a:gd name="connsiteX78" fmla="*/ 722497 w 1254365"/>
              <a:gd name="connsiteY78" fmla="*/ 653768 h 853172"/>
              <a:gd name="connsiteX79" fmla="*/ 778901 w 1254365"/>
              <a:gd name="connsiteY79" fmla="*/ 662815 h 853172"/>
              <a:gd name="connsiteX80" fmla="*/ 897385 w 1254365"/>
              <a:gd name="connsiteY80" fmla="*/ 695777 h 853172"/>
              <a:gd name="connsiteX81" fmla="*/ 1026688 w 1254365"/>
              <a:gd name="connsiteY81" fmla="*/ 731819 h 853172"/>
              <a:gd name="connsiteX82" fmla="*/ 1097710 w 1254365"/>
              <a:gd name="connsiteY82" fmla="*/ 738652 h 853172"/>
              <a:gd name="connsiteX83" fmla="*/ 1116031 w 1254365"/>
              <a:gd name="connsiteY83" fmla="*/ 737353 h 853172"/>
              <a:gd name="connsiteX84" fmla="*/ 1125216 w 1254365"/>
              <a:gd name="connsiteY84" fmla="*/ 736246 h 853172"/>
              <a:gd name="connsiteX85" fmla="*/ 1134352 w 1254365"/>
              <a:gd name="connsiteY85" fmla="*/ 734514 h 853172"/>
              <a:gd name="connsiteX86" fmla="*/ 1143440 w 1254365"/>
              <a:gd name="connsiteY86" fmla="*/ 732349 h 853172"/>
              <a:gd name="connsiteX87" fmla="*/ 1152480 w 1254365"/>
              <a:gd name="connsiteY87" fmla="*/ 729846 h 853172"/>
              <a:gd name="connsiteX88" fmla="*/ 1161328 w 1254365"/>
              <a:gd name="connsiteY88" fmla="*/ 726622 h 853172"/>
              <a:gd name="connsiteX89" fmla="*/ 1165752 w 1254365"/>
              <a:gd name="connsiteY89" fmla="*/ 724986 h 853172"/>
              <a:gd name="connsiteX90" fmla="*/ 1170032 w 1254365"/>
              <a:gd name="connsiteY90" fmla="*/ 722965 h 853172"/>
              <a:gd name="connsiteX91" fmla="*/ 1178639 w 1254365"/>
              <a:gd name="connsiteY91" fmla="*/ 718923 h 853172"/>
              <a:gd name="connsiteX92" fmla="*/ 1186910 w 1254365"/>
              <a:gd name="connsiteY92" fmla="*/ 714159 h 853172"/>
              <a:gd name="connsiteX93" fmla="*/ 1195084 w 1254365"/>
              <a:gd name="connsiteY93" fmla="*/ 708914 h 853172"/>
              <a:gd name="connsiteX94" fmla="*/ 1199075 w 1254365"/>
              <a:gd name="connsiteY94" fmla="*/ 705931 h 853172"/>
              <a:gd name="connsiteX95" fmla="*/ 1202826 w 1254365"/>
              <a:gd name="connsiteY95" fmla="*/ 702707 h 853172"/>
              <a:gd name="connsiteX96" fmla="*/ 1226436 w 1254365"/>
              <a:gd name="connsiteY96" fmla="*/ 671429 h 853172"/>
              <a:gd name="connsiteX97" fmla="*/ 1249469 w 1254365"/>
              <a:gd name="connsiteY97" fmla="*/ 596602 h 853172"/>
              <a:gd name="connsiteX98" fmla="*/ 1254230 w 1254365"/>
              <a:gd name="connsiteY98" fmla="*/ 517011 h 853172"/>
              <a:gd name="connsiteX99" fmla="*/ 1246969 w 1254365"/>
              <a:gd name="connsiteY99" fmla="*/ 435928 h 853172"/>
              <a:gd name="connsiteX100" fmla="*/ 1199220 w 1254365"/>
              <a:gd name="connsiteY100" fmla="*/ 275255 h 853172"/>
              <a:gd name="connsiteX101" fmla="*/ 1152865 w 1254365"/>
              <a:gd name="connsiteY101" fmla="*/ 201776 h 853172"/>
              <a:gd name="connsiteX102" fmla="*/ 1083766 w 1254365"/>
              <a:gd name="connsiteY102" fmla="*/ 146967 h 853172"/>
              <a:gd name="connsiteX103" fmla="*/ 923977 w 1254365"/>
              <a:gd name="connsiteY103" fmla="*/ 67376 h 853172"/>
              <a:gd name="connsiteX104" fmla="*/ 753320 w 1254365"/>
              <a:gd name="connsiteY104" fmla="*/ 15310 h 853172"/>
              <a:gd name="connsiteX105" fmla="*/ 666765 w 1254365"/>
              <a:gd name="connsiteY105" fmla="*/ 2125 h 853172"/>
              <a:gd name="connsiteX106" fmla="*/ 580355 w 1254365"/>
              <a:gd name="connsiteY106" fmla="*/ 1933 h 853172"/>
              <a:gd name="connsiteX107" fmla="*/ 559101 w 1254365"/>
              <a:gd name="connsiteY107" fmla="*/ 4339 h 853172"/>
              <a:gd name="connsiteX108" fmla="*/ 538088 w 1254365"/>
              <a:gd name="connsiteY108" fmla="*/ 7755 h 853172"/>
              <a:gd name="connsiteX109" fmla="*/ 527653 w 1254365"/>
              <a:gd name="connsiteY109" fmla="*/ 9536 h 853172"/>
              <a:gd name="connsiteX110" fmla="*/ 517315 w 1254365"/>
              <a:gd name="connsiteY110" fmla="*/ 11797 h 853172"/>
              <a:gd name="connsiteX111" fmla="*/ 496782 w 1254365"/>
              <a:gd name="connsiteY111" fmla="*/ 16465 h 853172"/>
              <a:gd name="connsiteX112" fmla="*/ 476634 w 1254365"/>
              <a:gd name="connsiteY112" fmla="*/ 22143 h 853172"/>
              <a:gd name="connsiteX113" fmla="*/ 466584 w 1254365"/>
              <a:gd name="connsiteY113" fmla="*/ 24982 h 853172"/>
              <a:gd name="connsiteX114" fmla="*/ 456727 w 1254365"/>
              <a:gd name="connsiteY114" fmla="*/ 28303 h 853172"/>
              <a:gd name="connsiteX115" fmla="*/ 437108 w 1254365"/>
              <a:gd name="connsiteY115" fmla="*/ 34943 h 853172"/>
              <a:gd name="connsiteX116" fmla="*/ 417921 w 1254365"/>
              <a:gd name="connsiteY116" fmla="*/ 42498 h 853172"/>
              <a:gd name="connsiteX117" fmla="*/ 276934 w 1254365"/>
              <a:gd name="connsiteY117" fmla="*/ 119202 h 853172"/>
              <a:gd name="connsiteX118" fmla="*/ 161624 w 1254365"/>
              <a:gd name="connsiteY118" fmla="*/ 219291 h 853172"/>
              <a:gd name="connsiteX119" fmla="*/ 75021 w 1254365"/>
              <a:gd name="connsiteY119" fmla="*/ 334443 h 853172"/>
              <a:gd name="connsiteX120" fmla="*/ 296 w 1254365"/>
              <a:gd name="connsiteY120" fmla="*/ 580048 h 853172"/>
              <a:gd name="connsiteX121" fmla="*/ 10923 w 1254365"/>
              <a:gd name="connsiteY121" fmla="*/ 692409 h 853172"/>
              <a:gd name="connsiteX122" fmla="*/ 13760 w 1254365"/>
              <a:gd name="connsiteY122" fmla="*/ 705401 h 85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4365" h="853172">
                <a:moveTo>
                  <a:pt x="13808" y="705498"/>
                </a:moveTo>
                <a:cubicBezTo>
                  <a:pt x="14962" y="709732"/>
                  <a:pt x="16068" y="713967"/>
                  <a:pt x="17174" y="718153"/>
                </a:cubicBezTo>
                <a:cubicBezTo>
                  <a:pt x="19482" y="726478"/>
                  <a:pt x="21935" y="734658"/>
                  <a:pt x="24579" y="742646"/>
                </a:cubicBezTo>
                <a:cubicBezTo>
                  <a:pt x="29773" y="758622"/>
                  <a:pt x="35879" y="773828"/>
                  <a:pt x="43092" y="787927"/>
                </a:cubicBezTo>
                <a:cubicBezTo>
                  <a:pt x="50305" y="801978"/>
                  <a:pt x="58768" y="815019"/>
                  <a:pt x="69059" y="825750"/>
                </a:cubicBezTo>
                <a:cubicBezTo>
                  <a:pt x="79301" y="836481"/>
                  <a:pt x="91659" y="844854"/>
                  <a:pt x="104883" y="848944"/>
                </a:cubicBezTo>
                <a:cubicBezTo>
                  <a:pt x="118058" y="853227"/>
                  <a:pt x="131474" y="853852"/>
                  <a:pt x="143784" y="852601"/>
                </a:cubicBezTo>
                <a:cubicBezTo>
                  <a:pt x="156142" y="851350"/>
                  <a:pt x="167587" y="848414"/>
                  <a:pt x="178213" y="845142"/>
                </a:cubicBezTo>
                <a:cubicBezTo>
                  <a:pt x="199275" y="838117"/>
                  <a:pt x="217019" y="829648"/>
                  <a:pt x="232118" y="821900"/>
                </a:cubicBezTo>
                <a:cubicBezTo>
                  <a:pt x="247169" y="814105"/>
                  <a:pt x="259671" y="806983"/>
                  <a:pt x="269625" y="801112"/>
                </a:cubicBezTo>
                <a:cubicBezTo>
                  <a:pt x="279626" y="795242"/>
                  <a:pt x="287128" y="790622"/>
                  <a:pt x="292129" y="787398"/>
                </a:cubicBezTo>
                <a:cubicBezTo>
                  <a:pt x="297130" y="784222"/>
                  <a:pt x="299678" y="782490"/>
                  <a:pt x="299582" y="782345"/>
                </a:cubicBezTo>
                <a:cubicBezTo>
                  <a:pt x="299486" y="782201"/>
                  <a:pt x="296793" y="783597"/>
                  <a:pt x="291600" y="786436"/>
                </a:cubicBezTo>
                <a:cubicBezTo>
                  <a:pt x="286407" y="789323"/>
                  <a:pt x="278713" y="793606"/>
                  <a:pt x="268567" y="799188"/>
                </a:cubicBezTo>
                <a:cubicBezTo>
                  <a:pt x="258421" y="804769"/>
                  <a:pt x="245822" y="811554"/>
                  <a:pt x="230675" y="819013"/>
                </a:cubicBezTo>
                <a:cubicBezTo>
                  <a:pt x="215528" y="826424"/>
                  <a:pt x="197736" y="834556"/>
                  <a:pt x="176963" y="841148"/>
                </a:cubicBezTo>
                <a:cubicBezTo>
                  <a:pt x="166529" y="844228"/>
                  <a:pt x="155325" y="846923"/>
                  <a:pt x="143399" y="847981"/>
                </a:cubicBezTo>
                <a:cubicBezTo>
                  <a:pt x="131522" y="849040"/>
                  <a:pt x="118779" y="848270"/>
                  <a:pt x="106518" y="844084"/>
                </a:cubicBezTo>
                <a:cubicBezTo>
                  <a:pt x="94159" y="840090"/>
                  <a:pt x="82715" y="832198"/>
                  <a:pt x="73098" y="821900"/>
                </a:cubicBezTo>
                <a:cubicBezTo>
                  <a:pt x="63385" y="811602"/>
                  <a:pt x="55354" y="798947"/>
                  <a:pt x="48430" y="785185"/>
                </a:cubicBezTo>
                <a:cubicBezTo>
                  <a:pt x="41554" y="771374"/>
                  <a:pt x="35639" y="756457"/>
                  <a:pt x="30686" y="740625"/>
                </a:cubicBezTo>
                <a:cubicBezTo>
                  <a:pt x="28138" y="732734"/>
                  <a:pt x="25781" y="724649"/>
                  <a:pt x="23569" y="716373"/>
                </a:cubicBezTo>
                <a:cubicBezTo>
                  <a:pt x="22512" y="712234"/>
                  <a:pt x="21406" y="708048"/>
                  <a:pt x="20300" y="703861"/>
                </a:cubicBezTo>
                <a:cubicBezTo>
                  <a:pt x="19290" y="699627"/>
                  <a:pt x="18521" y="695344"/>
                  <a:pt x="17607" y="691062"/>
                </a:cubicBezTo>
                <a:cubicBezTo>
                  <a:pt x="10106" y="656752"/>
                  <a:pt x="6162" y="619459"/>
                  <a:pt x="7893" y="580433"/>
                </a:cubicBezTo>
                <a:cubicBezTo>
                  <a:pt x="10827" y="502479"/>
                  <a:pt x="35399" y="417883"/>
                  <a:pt x="82715" y="339063"/>
                </a:cubicBezTo>
                <a:cubicBezTo>
                  <a:pt x="106277" y="299652"/>
                  <a:pt x="135081" y="261541"/>
                  <a:pt x="168548" y="225836"/>
                </a:cubicBezTo>
                <a:cubicBezTo>
                  <a:pt x="202016" y="190131"/>
                  <a:pt x="240100" y="156735"/>
                  <a:pt x="282656" y="127430"/>
                </a:cubicBezTo>
                <a:cubicBezTo>
                  <a:pt x="325116" y="98125"/>
                  <a:pt x="371519" y="71899"/>
                  <a:pt x="421816" y="52122"/>
                </a:cubicBezTo>
                <a:cubicBezTo>
                  <a:pt x="428115" y="49668"/>
                  <a:pt x="434415" y="47214"/>
                  <a:pt x="440714" y="44711"/>
                </a:cubicBezTo>
                <a:cubicBezTo>
                  <a:pt x="447157" y="42546"/>
                  <a:pt x="453601" y="40381"/>
                  <a:pt x="460044" y="38215"/>
                </a:cubicBezTo>
                <a:lnTo>
                  <a:pt x="469758" y="34943"/>
                </a:lnTo>
                <a:lnTo>
                  <a:pt x="479615" y="32152"/>
                </a:lnTo>
                <a:cubicBezTo>
                  <a:pt x="486203" y="30324"/>
                  <a:pt x="492839" y="28447"/>
                  <a:pt x="499427" y="26618"/>
                </a:cubicBezTo>
                <a:cubicBezTo>
                  <a:pt x="506159" y="25078"/>
                  <a:pt x="512843" y="23587"/>
                  <a:pt x="519623" y="22047"/>
                </a:cubicBezTo>
                <a:cubicBezTo>
                  <a:pt x="522989" y="21325"/>
                  <a:pt x="526355" y="20411"/>
                  <a:pt x="529769" y="19833"/>
                </a:cubicBezTo>
                <a:lnTo>
                  <a:pt x="540011" y="18101"/>
                </a:lnTo>
                <a:cubicBezTo>
                  <a:pt x="546888" y="17042"/>
                  <a:pt x="553667" y="15599"/>
                  <a:pt x="560592" y="14781"/>
                </a:cubicBezTo>
                <a:cubicBezTo>
                  <a:pt x="567516" y="14011"/>
                  <a:pt x="574441" y="13241"/>
                  <a:pt x="581413" y="12471"/>
                </a:cubicBezTo>
                <a:cubicBezTo>
                  <a:pt x="609207" y="9728"/>
                  <a:pt x="637529" y="10209"/>
                  <a:pt x="665948" y="12760"/>
                </a:cubicBezTo>
                <a:cubicBezTo>
                  <a:pt x="694367" y="15310"/>
                  <a:pt x="722833" y="19833"/>
                  <a:pt x="751252" y="25800"/>
                </a:cubicBezTo>
                <a:cubicBezTo>
                  <a:pt x="808090" y="37830"/>
                  <a:pt x="864639" y="55442"/>
                  <a:pt x="920178" y="77385"/>
                </a:cubicBezTo>
                <a:cubicBezTo>
                  <a:pt x="975621" y="99472"/>
                  <a:pt x="1029092" y="125120"/>
                  <a:pt x="1078188" y="156013"/>
                </a:cubicBezTo>
                <a:cubicBezTo>
                  <a:pt x="1102423" y="171652"/>
                  <a:pt x="1126177" y="188495"/>
                  <a:pt x="1145123" y="208946"/>
                </a:cubicBezTo>
                <a:cubicBezTo>
                  <a:pt x="1163444" y="229974"/>
                  <a:pt x="1177821" y="254756"/>
                  <a:pt x="1189891" y="279827"/>
                </a:cubicBezTo>
                <a:cubicBezTo>
                  <a:pt x="1213934" y="330401"/>
                  <a:pt x="1228552" y="384247"/>
                  <a:pt x="1237015" y="437565"/>
                </a:cubicBezTo>
                <a:cubicBezTo>
                  <a:pt x="1241199" y="464271"/>
                  <a:pt x="1243699" y="490930"/>
                  <a:pt x="1244324" y="517300"/>
                </a:cubicBezTo>
                <a:cubicBezTo>
                  <a:pt x="1244949" y="543669"/>
                  <a:pt x="1243843" y="569847"/>
                  <a:pt x="1239852" y="595206"/>
                </a:cubicBezTo>
                <a:cubicBezTo>
                  <a:pt x="1235861" y="620469"/>
                  <a:pt x="1229610" y="645299"/>
                  <a:pt x="1218069" y="667001"/>
                </a:cubicBezTo>
                <a:cubicBezTo>
                  <a:pt x="1212251" y="677732"/>
                  <a:pt x="1205471" y="687982"/>
                  <a:pt x="1196575" y="695777"/>
                </a:cubicBezTo>
                <a:cubicBezTo>
                  <a:pt x="1195565" y="696884"/>
                  <a:pt x="1194411" y="697798"/>
                  <a:pt x="1193209" y="698616"/>
                </a:cubicBezTo>
                <a:lnTo>
                  <a:pt x="1189699" y="701263"/>
                </a:lnTo>
                <a:cubicBezTo>
                  <a:pt x="1187487" y="703140"/>
                  <a:pt x="1184842" y="704583"/>
                  <a:pt x="1182197" y="706123"/>
                </a:cubicBezTo>
                <a:lnTo>
                  <a:pt x="1174407" y="710646"/>
                </a:lnTo>
                <a:lnTo>
                  <a:pt x="1166281" y="714448"/>
                </a:lnTo>
                <a:lnTo>
                  <a:pt x="1162242" y="716373"/>
                </a:lnTo>
                <a:lnTo>
                  <a:pt x="1158058" y="717912"/>
                </a:lnTo>
                <a:lnTo>
                  <a:pt x="1149691" y="720992"/>
                </a:lnTo>
                <a:lnTo>
                  <a:pt x="1141132" y="723398"/>
                </a:lnTo>
                <a:cubicBezTo>
                  <a:pt x="1138295" y="724264"/>
                  <a:pt x="1135410" y="724986"/>
                  <a:pt x="1132525" y="725467"/>
                </a:cubicBezTo>
                <a:lnTo>
                  <a:pt x="1123821" y="727152"/>
                </a:lnTo>
                <a:cubicBezTo>
                  <a:pt x="1120888" y="727585"/>
                  <a:pt x="1117955" y="727873"/>
                  <a:pt x="1115070" y="728258"/>
                </a:cubicBezTo>
                <a:cubicBezTo>
                  <a:pt x="1109251" y="729125"/>
                  <a:pt x="1103337" y="729173"/>
                  <a:pt x="1097518" y="729558"/>
                </a:cubicBezTo>
                <a:cubicBezTo>
                  <a:pt x="1074100" y="730328"/>
                  <a:pt x="1050923" y="727392"/>
                  <a:pt x="1028419" y="723158"/>
                </a:cubicBezTo>
                <a:cubicBezTo>
                  <a:pt x="983362" y="714496"/>
                  <a:pt x="940951" y="700541"/>
                  <a:pt x="899934" y="687934"/>
                </a:cubicBezTo>
                <a:cubicBezTo>
                  <a:pt x="858916" y="675230"/>
                  <a:pt x="819294" y="663248"/>
                  <a:pt x="780488" y="655404"/>
                </a:cubicBezTo>
                <a:cubicBezTo>
                  <a:pt x="761110" y="651459"/>
                  <a:pt x="742020" y="648475"/>
                  <a:pt x="723218" y="646599"/>
                </a:cubicBezTo>
                <a:cubicBezTo>
                  <a:pt x="704417" y="644866"/>
                  <a:pt x="686000" y="644626"/>
                  <a:pt x="668208" y="645251"/>
                </a:cubicBezTo>
                <a:cubicBezTo>
                  <a:pt x="632576" y="646406"/>
                  <a:pt x="599157" y="651122"/>
                  <a:pt x="568526" y="658099"/>
                </a:cubicBezTo>
                <a:cubicBezTo>
                  <a:pt x="507169" y="672006"/>
                  <a:pt x="457448" y="694382"/>
                  <a:pt x="418066" y="713967"/>
                </a:cubicBezTo>
                <a:cubicBezTo>
                  <a:pt x="378683" y="733792"/>
                  <a:pt x="349351" y="751452"/>
                  <a:pt x="329540" y="763386"/>
                </a:cubicBezTo>
                <a:cubicBezTo>
                  <a:pt x="319586" y="769305"/>
                  <a:pt x="312133" y="774069"/>
                  <a:pt x="307132" y="777245"/>
                </a:cubicBezTo>
                <a:cubicBezTo>
                  <a:pt x="302131" y="780421"/>
                  <a:pt x="299582" y="782153"/>
                  <a:pt x="299678" y="782297"/>
                </a:cubicBezTo>
                <a:cubicBezTo>
                  <a:pt x="299774" y="782442"/>
                  <a:pt x="302467" y="781046"/>
                  <a:pt x="307661" y="778207"/>
                </a:cubicBezTo>
                <a:cubicBezTo>
                  <a:pt x="312854" y="775272"/>
                  <a:pt x="320548" y="770941"/>
                  <a:pt x="330597" y="765263"/>
                </a:cubicBezTo>
                <a:cubicBezTo>
                  <a:pt x="350794" y="753955"/>
                  <a:pt x="380414" y="736872"/>
                  <a:pt x="419893" y="717720"/>
                </a:cubicBezTo>
                <a:cubicBezTo>
                  <a:pt x="459371" y="698761"/>
                  <a:pt x="508996" y="677155"/>
                  <a:pt x="569776" y="663922"/>
                </a:cubicBezTo>
                <a:cubicBezTo>
                  <a:pt x="600118" y="657281"/>
                  <a:pt x="633153" y="652902"/>
                  <a:pt x="668352" y="652036"/>
                </a:cubicBezTo>
                <a:cubicBezTo>
                  <a:pt x="685952" y="651555"/>
                  <a:pt x="703984" y="651892"/>
                  <a:pt x="722497" y="653768"/>
                </a:cubicBezTo>
                <a:cubicBezTo>
                  <a:pt x="740962" y="655693"/>
                  <a:pt x="759763" y="658773"/>
                  <a:pt x="778901" y="662815"/>
                </a:cubicBezTo>
                <a:cubicBezTo>
                  <a:pt x="817178" y="670803"/>
                  <a:pt x="856512" y="682929"/>
                  <a:pt x="897385" y="695777"/>
                </a:cubicBezTo>
                <a:cubicBezTo>
                  <a:pt x="938306" y="708577"/>
                  <a:pt x="980862" y="722821"/>
                  <a:pt x="1026688" y="731819"/>
                </a:cubicBezTo>
                <a:cubicBezTo>
                  <a:pt x="1049577" y="736198"/>
                  <a:pt x="1073331" y="739326"/>
                  <a:pt x="1097710" y="738652"/>
                </a:cubicBezTo>
                <a:cubicBezTo>
                  <a:pt x="1103817" y="738267"/>
                  <a:pt x="1109924" y="738267"/>
                  <a:pt x="1116031" y="737353"/>
                </a:cubicBezTo>
                <a:cubicBezTo>
                  <a:pt x="1119109" y="736968"/>
                  <a:pt x="1122138" y="736679"/>
                  <a:pt x="1125216" y="736246"/>
                </a:cubicBezTo>
                <a:lnTo>
                  <a:pt x="1134352" y="734514"/>
                </a:lnTo>
                <a:cubicBezTo>
                  <a:pt x="1137429" y="734033"/>
                  <a:pt x="1140459" y="733263"/>
                  <a:pt x="1143440" y="732349"/>
                </a:cubicBezTo>
                <a:lnTo>
                  <a:pt x="1152480" y="729846"/>
                </a:lnTo>
                <a:lnTo>
                  <a:pt x="1161328" y="726622"/>
                </a:lnTo>
                <a:lnTo>
                  <a:pt x="1165752" y="724986"/>
                </a:lnTo>
                <a:lnTo>
                  <a:pt x="1170032" y="722965"/>
                </a:lnTo>
                <a:lnTo>
                  <a:pt x="1178639" y="718923"/>
                </a:lnTo>
                <a:lnTo>
                  <a:pt x="1186910" y="714159"/>
                </a:lnTo>
                <a:cubicBezTo>
                  <a:pt x="1189699" y="712571"/>
                  <a:pt x="1192488" y="711031"/>
                  <a:pt x="1195084" y="708914"/>
                </a:cubicBezTo>
                <a:lnTo>
                  <a:pt x="1199075" y="705931"/>
                </a:lnTo>
                <a:cubicBezTo>
                  <a:pt x="1200422" y="704968"/>
                  <a:pt x="1201720" y="703910"/>
                  <a:pt x="1202826" y="702707"/>
                </a:cubicBezTo>
                <a:cubicBezTo>
                  <a:pt x="1212828" y="693949"/>
                  <a:pt x="1220185" y="682881"/>
                  <a:pt x="1226436" y="671429"/>
                </a:cubicBezTo>
                <a:cubicBezTo>
                  <a:pt x="1238842" y="648283"/>
                  <a:pt x="1245286" y="622586"/>
                  <a:pt x="1249469" y="596602"/>
                </a:cubicBezTo>
                <a:cubicBezTo>
                  <a:pt x="1253605" y="570521"/>
                  <a:pt x="1254807" y="543862"/>
                  <a:pt x="1254230" y="517011"/>
                </a:cubicBezTo>
                <a:cubicBezTo>
                  <a:pt x="1253653" y="490160"/>
                  <a:pt x="1251152" y="463020"/>
                  <a:pt x="1246969" y="435928"/>
                </a:cubicBezTo>
                <a:cubicBezTo>
                  <a:pt x="1238458" y="381745"/>
                  <a:pt x="1223743" y="327081"/>
                  <a:pt x="1199220" y="275255"/>
                </a:cubicBezTo>
                <a:cubicBezTo>
                  <a:pt x="1186813" y="249415"/>
                  <a:pt x="1172340" y="224248"/>
                  <a:pt x="1152865" y="201776"/>
                </a:cubicBezTo>
                <a:cubicBezTo>
                  <a:pt x="1132621" y="179929"/>
                  <a:pt x="1108482" y="162991"/>
                  <a:pt x="1083766" y="146967"/>
                </a:cubicBezTo>
                <a:cubicBezTo>
                  <a:pt x="1033901" y="115544"/>
                  <a:pt x="979996" y="89656"/>
                  <a:pt x="923977" y="67376"/>
                </a:cubicBezTo>
                <a:cubicBezTo>
                  <a:pt x="867908" y="45241"/>
                  <a:pt x="810830" y="27485"/>
                  <a:pt x="753320" y="15310"/>
                </a:cubicBezTo>
                <a:cubicBezTo>
                  <a:pt x="724565" y="9295"/>
                  <a:pt x="695665" y="4676"/>
                  <a:pt x="666765" y="2125"/>
                </a:cubicBezTo>
                <a:cubicBezTo>
                  <a:pt x="637866" y="-425"/>
                  <a:pt x="608870" y="-906"/>
                  <a:pt x="580355" y="1933"/>
                </a:cubicBezTo>
                <a:cubicBezTo>
                  <a:pt x="573238" y="2751"/>
                  <a:pt x="566170" y="3521"/>
                  <a:pt x="559101" y="4339"/>
                </a:cubicBezTo>
                <a:cubicBezTo>
                  <a:pt x="552033" y="5157"/>
                  <a:pt x="545108" y="6648"/>
                  <a:pt x="538088" y="7755"/>
                </a:cubicBezTo>
                <a:lnTo>
                  <a:pt x="527653" y="9536"/>
                </a:lnTo>
                <a:cubicBezTo>
                  <a:pt x="524191" y="10161"/>
                  <a:pt x="520777" y="11027"/>
                  <a:pt x="517315" y="11797"/>
                </a:cubicBezTo>
                <a:cubicBezTo>
                  <a:pt x="510438" y="13385"/>
                  <a:pt x="503610" y="14925"/>
                  <a:pt x="496782" y="16465"/>
                </a:cubicBezTo>
                <a:cubicBezTo>
                  <a:pt x="490050" y="18342"/>
                  <a:pt x="483318" y="20266"/>
                  <a:pt x="476634" y="22143"/>
                </a:cubicBezTo>
                <a:lnTo>
                  <a:pt x="466584" y="24982"/>
                </a:lnTo>
                <a:lnTo>
                  <a:pt x="456727" y="28303"/>
                </a:lnTo>
                <a:cubicBezTo>
                  <a:pt x="450139" y="30516"/>
                  <a:pt x="443599" y="32730"/>
                  <a:pt x="437108" y="34943"/>
                </a:cubicBezTo>
                <a:cubicBezTo>
                  <a:pt x="430712" y="37445"/>
                  <a:pt x="424317" y="39996"/>
                  <a:pt x="417921" y="42498"/>
                </a:cubicBezTo>
                <a:cubicBezTo>
                  <a:pt x="366902" y="62660"/>
                  <a:pt x="319922" y="89367"/>
                  <a:pt x="276934" y="119202"/>
                </a:cubicBezTo>
                <a:cubicBezTo>
                  <a:pt x="233897" y="149036"/>
                  <a:pt x="195380" y="182961"/>
                  <a:pt x="161624" y="219291"/>
                </a:cubicBezTo>
                <a:cubicBezTo>
                  <a:pt x="127820" y="255574"/>
                  <a:pt x="98728" y="294311"/>
                  <a:pt x="75021" y="334443"/>
                </a:cubicBezTo>
                <a:cubicBezTo>
                  <a:pt x="27368" y="414611"/>
                  <a:pt x="2748" y="500746"/>
                  <a:pt x="296" y="580048"/>
                </a:cubicBezTo>
                <a:cubicBezTo>
                  <a:pt x="-1195" y="619699"/>
                  <a:pt x="3037" y="657618"/>
                  <a:pt x="10923" y="692409"/>
                </a:cubicBezTo>
                <a:cubicBezTo>
                  <a:pt x="11885" y="696788"/>
                  <a:pt x="12702" y="701119"/>
                  <a:pt x="13760" y="705401"/>
                </a:cubicBezTo>
                <a:close/>
              </a:path>
            </a:pathLst>
          </a:custGeom>
          <a:solidFill>
            <a:srgbClr val="29C8C1"/>
          </a:solidFill>
          <a:ln w="0" cap="flat">
            <a:noFill/>
            <a:prstDash val="solid"/>
            <a:miter/>
          </a:ln>
        </p:spPr>
        <p:txBody>
          <a:bodyPr rtlCol="0" anchor="ctr"/>
          <a:lstStyle/>
          <a:p>
            <a:pPr rtl="0"/>
            <a:endParaRPr lang="en-AU" dirty="0"/>
          </a:p>
        </p:txBody>
      </p:sp>
      <p:sp>
        <p:nvSpPr>
          <p:cNvPr id="51" name="Freeform: Shape 50">
            <a:extLst>
              <a:ext uri="{FF2B5EF4-FFF2-40B4-BE49-F238E27FC236}">
                <a16:creationId xmlns:a16="http://schemas.microsoft.com/office/drawing/2014/main" id="{4A42EC77-FD74-7EAF-870B-B21504644B9E}"/>
              </a:ext>
            </a:extLst>
          </p:cNvPr>
          <p:cNvSpPr/>
          <p:nvPr/>
        </p:nvSpPr>
        <p:spPr>
          <a:xfrm>
            <a:off x="9873411" y="2650941"/>
            <a:ext cx="77213" cy="188957"/>
          </a:xfrm>
          <a:custGeom>
            <a:avLst/>
            <a:gdLst>
              <a:gd name="connsiteX0" fmla="*/ 5049 w 77213"/>
              <a:gd name="connsiteY0" fmla="*/ 44516 h 188957"/>
              <a:gd name="connsiteX1" fmla="*/ 16109 w 77213"/>
              <a:gd name="connsiteY1" fmla="*/ 80799 h 188957"/>
              <a:gd name="connsiteX2" fmla="*/ 39863 w 77213"/>
              <a:gd name="connsiteY2" fmla="*/ 140179 h 188957"/>
              <a:gd name="connsiteX3" fmla="*/ 60588 w 77213"/>
              <a:gd name="connsiteY3" fmla="*/ 178146 h 188957"/>
              <a:gd name="connsiteX4" fmla="*/ 68570 w 77213"/>
              <a:gd name="connsiteY4" fmla="*/ 187145 h 188957"/>
              <a:gd name="connsiteX5" fmla="*/ 72706 w 77213"/>
              <a:gd name="connsiteY5" fmla="*/ 188492 h 188957"/>
              <a:gd name="connsiteX6" fmla="*/ 70061 w 77213"/>
              <a:gd name="connsiteY6" fmla="*/ 185605 h 188957"/>
              <a:gd name="connsiteX7" fmla="*/ 64098 w 77213"/>
              <a:gd name="connsiteY7" fmla="*/ 175981 h 188957"/>
              <a:gd name="connsiteX8" fmla="*/ 46787 w 77213"/>
              <a:gd name="connsiteY8" fmla="*/ 137196 h 188957"/>
              <a:gd name="connsiteX9" fmla="*/ 25437 w 77213"/>
              <a:gd name="connsiteY9" fmla="*/ 77719 h 188957"/>
              <a:gd name="connsiteX10" fmla="*/ 15195 w 77213"/>
              <a:gd name="connsiteY10" fmla="*/ 42014 h 188957"/>
              <a:gd name="connsiteX11" fmla="*/ 11348 w 77213"/>
              <a:gd name="connsiteY11" fmla="*/ 23103 h 188957"/>
              <a:gd name="connsiteX12" fmla="*/ 10627 w 77213"/>
              <a:gd name="connsiteY12" fmla="*/ 13864 h 188957"/>
              <a:gd name="connsiteX13" fmla="*/ 10771 w 77213"/>
              <a:gd name="connsiteY13" fmla="*/ 11843 h 188957"/>
              <a:gd name="connsiteX14" fmla="*/ 10771 w 77213"/>
              <a:gd name="connsiteY14" fmla="*/ 11602 h 188957"/>
              <a:gd name="connsiteX15" fmla="*/ 10771 w 77213"/>
              <a:gd name="connsiteY15" fmla="*/ 11602 h 188957"/>
              <a:gd name="connsiteX16" fmla="*/ 10771 w 77213"/>
              <a:gd name="connsiteY16" fmla="*/ 11602 h 188957"/>
              <a:gd name="connsiteX17" fmla="*/ 11060 w 77213"/>
              <a:gd name="connsiteY17" fmla="*/ 11891 h 188957"/>
              <a:gd name="connsiteX18" fmla="*/ 11733 w 77213"/>
              <a:gd name="connsiteY18" fmla="*/ 12661 h 188957"/>
              <a:gd name="connsiteX19" fmla="*/ 13127 w 77213"/>
              <a:gd name="connsiteY19" fmla="*/ 14345 h 188957"/>
              <a:gd name="connsiteX20" fmla="*/ 18273 w 77213"/>
              <a:gd name="connsiteY20" fmla="*/ 22237 h 188957"/>
              <a:gd name="connsiteX21" fmla="*/ 27072 w 77213"/>
              <a:gd name="connsiteY21" fmla="*/ 39464 h 188957"/>
              <a:gd name="connsiteX22" fmla="*/ 41354 w 77213"/>
              <a:gd name="connsiteY22" fmla="*/ 73774 h 188957"/>
              <a:gd name="connsiteX23" fmla="*/ 61983 w 77213"/>
              <a:gd name="connsiteY23" fmla="*/ 133539 h 188957"/>
              <a:gd name="connsiteX24" fmla="*/ 72946 w 77213"/>
              <a:gd name="connsiteY24" fmla="*/ 174585 h 188957"/>
              <a:gd name="connsiteX25" fmla="*/ 74196 w 77213"/>
              <a:gd name="connsiteY25" fmla="*/ 185701 h 188957"/>
              <a:gd name="connsiteX26" fmla="*/ 72706 w 77213"/>
              <a:gd name="connsiteY26" fmla="*/ 188588 h 188957"/>
              <a:gd name="connsiteX27" fmla="*/ 73908 w 77213"/>
              <a:gd name="connsiteY27" fmla="*/ 188925 h 188957"/>
              <a:gd name="connsiteX28" fmla="*/ 76264 w 77213"/>
              <a:gd name="connsiteY28" fmla="*/ 186182 h 188957"/>
              <a:gd name="connsiteX29" fmla="*/ 77081 w 77213"/>
              <a:gd name="connsiteY29" fmla="*/ 174056 h 188957"/>
              <a:gd name="connsiteX30" fmla="*/ 69292 w 77213"/>
              <a:gd name="connsiteY30" fmla="*/ 131518 h 188957"/>
              <a:gd name="connsiteX31" fmla="*/ 50634 w 77213"/>
              <a:gd name="connsiteY31" fmla="*/ 70357 h 188957"/>
              <a:gd name="connsiteX32" fmla="*/ 36641 w 77213"/>
              <a:gd name="connsiteY32" fmla="*/ 35133 h 188957"/>
              <a:gd name="connsiteX33" fmla="*/ 27553 w 77213"/>
              <a:gd name="connsiteY33" fmla="*/ 16944 h 188957"/>
              <a:gd name="connsiteX34" fmla="*/ 21639 w 77213"/>
              <a:gd name="connsiteY34" fmla="*/ 7849 h 188957"/>
              <a:gd name="connsiteX35" fmla="*/ 19763 w 77213"/>
              <a:gd name="connsiteY35" fmla="*/ 5587 h 188957"/>
              <a:gd name="connsiteX36" fmla="*/ 18705 w 77213"/>
              <a:gd name="connsiteY36" fmla="*/ 4432 h 188957"/>
              <a:gd name="connsiteX37" fmla="*/ 17119 w 77213"/>
              <a:gd name="connsiteY37" fmla="*/ 2989 h 188957"/>
              <a:gd name="connsiteX38" fmla="*/ 12839 w 77213"/>
              <a:gd name="connsiteY38" fmla="*/ 535 h 188957"/>
              <a:gd name="connsiteX39" fmla="*/ 8222 w 77213"/>
              <a:gd name="connsiteY39" fmla="*/ 102 h 188957"/>
              <a:gd name="connsiteX40" fmla="*/ 1346 w 77213"/>
              <a:gd name="connsiteY40" fmla="*/ 6069 h 188957"/>
              <a:gd name="connsiteX41" fmla="*/ 192 w 77213"/>
              <a:gd name="connsiteY41" fmla="*/ 10736 h 188957"/>
              <a:gd name="connsiteX42" fmla="*/ 0 w 77213"/>
              <a:gd name="connsiteY42" fmla="*/ 13816 h 188957"/>
              <a:gd name="connsiteX43" fmla="*/ 866 w 77213"/>
              <a:gd name="connsiteY43" fmla="*/ 24787 h 188957"/>
              <a:gd name="connsiteX44" fmla="*/ 5049 w 77213"/>
              <a:gd name="connsiteY44" fmla="*/ 44757 h 188957"/>
              <a:gd name="connsiteX45" fmla="*/ 10771 w 77213"/>
              <a:gd name="connsiteY45" fmla="*/ 11506 h 188957"/>
              <a:gd name="connsiteX46" fmla="*/ 10771 w 77213"/>
              <a:gd name="connsiteY46" fmla="*/ 11506 h 188957"/>
              <a:gd name="connsiteX47" fmla="*/ 10771 w 77213"/>
              <a:gd name="connsiteY47" fmla="*/ 11506 h 18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7213" h="188957">
                <a:moveTo>
                  <a:pt x="5049" y="44516"/>
                </a:moveTo>
                <a:cubicBezTo>
                  <a:pt x="8367" y="57316"/>
                  <a:pt x="12214" y="69395"/>
                  <a:pt x="16109" y="80799"/>
                </a:cubicBezTo>
                <a:cubicBezTo>
                  <a:pt x="23995" y="103560"/>
                  <a:pt x="32218" y="123626"/>
                  <a:pt x="39863" y="140179"/>
                </a:cubicBezTo>
                <a:cubicBezTo>
                  <a:pt x="47509" y="156733"/>
                  <a:pt x="54625" y="169725"/>
                  <a:pt x="60588" y="178146"/>
                </a:cubicBezTo>
                <a:cubicBezTo>
                  <a:pt x="63569" y="182381"/>
                  <a:pt x="66310" y="185412"/>
                  <a:pt x="68570" y="187145"/>
                </a:cubicBezTo>
                <a:cubicBezTo>
                  <a:pt x="70878" y="188925"/>
                  <a:pt x="72754" y="188877"/>
                  <a:pt x="72706" y="188492"/>
                </a:cubicBezTo>
                <a:cubicBezTo>
                  <a:pt x="72706" y="188107"/>
                  <a:pt x="71600" y="187626"/>
                  <a:pt x="70061" y="185605"/>
                </a:cubicBezTo>
                <a:cubicBezTo>
                  <a:pt x="68474" y="183632"/>
                  <a:pt x="66455" y="180360"/>
                  <a:pt x="64098" y="175981"/>
                </a:cubicBezTo>
                <a:cubicBezTo>
                  <a:pt x="59386" y="167175"/>
                  <a:pt x="53471" y="153894"/>
                  <a:pt x="46787" y="137196"/>
                </a:cubicBezTo>
                <a:cubicBezTo>
                  <a:pt x="40152" y="120498"/>
                  <a:pt x="32698" y="100336"/>
                  <a:pt x="25437" y="77719"/>
                </a:cubicBezTo>
                <a:cubicBezTo>
                  <a:pt x="21831" y="66411"/>
                  <a:pt x="18224" y="54429"/>
                  <a:pt x="15195" y="42014"/>
                </a:cubicBezTo>
                <a:cubicBezTo>
                  <a:pt x="13656" y="35807"/>
                  <a:pt x="12262" y="29455"/>
                  <a:pt x="11348" y="23103"/>
                </a:cubicBezTo>
                <a:cubicBezTo>
                  <a:pt x="10915" y="19927"/>
                  <a:pt x="10579" y="16751"/>
                  <a:pt x="10627" y="13864"/>
                </a:cubicBezTo>
                <a:cubicBezTo>
                  <a:pt x="10627" y="13190"/>
                  <a:pt x="10627" y="12420"/>
                  <a:pt x="10771" y="11843"/>
                </a:cubicBezTo>
                <a:cubicBezTo>
                  <a:pt x="10771" y="11650"/>
                  <a:pt x="10771" y="11602"/>
                  <a:pt x="10771" y="11602"/>
                </a:cubicBezTo>
                <a:lnTo>
                  <a:pt x="10771" y="11602"/>
                </a:lnTo>
                <a:cubicBezTo>
                  <a:pt x="10771" y="11602"/>
                  <a:pt x="10771" y="11602"/>
                  <a:pt x="10771" y="11602"/>
                </a:cubicBezTo>
                <a:lnTo>
                  <a:pt x="11060" y="11891"/>
                </a:lnTo>
                <a:lnTo>
                  <a:pt x="11733" y="12661"/>
                </a:lnTo>
                <a:cubicBezTo>
                  <a:pt x="12214" y="13142"/>
                  <a:pt x="12647" y="13768"/>
                  <a:pt x="13127" y="14345"/>
                </a:cubicBezTo>
                <a:cubicBezTo>
                  <a:pt x="14955" y="16703"/>
                  <a:pt x="16686" y="19446"/>
                  <a:pt x="18273" y="22237"/>
                </a:cubicBezTo>
                <a:cubicBezTo>
                  <a:pt x="21494" y="27819"/>
                  <a:pt x="24380" y="33689"/>
                  <a:pt x="27072" y="39464"/>
                </a:cubicBezTo>
                <a:cubicBezTo>
                  <a:pt x="32458" y="51109"/>
                  <a:pt x="37122" y="62706"/>
                  <a:pt x="41354" y="73774"/>
                </a:cubicBezTo>
                <a:cubicBezTo>
                  <a:pt x="49817" y="96005"/>
                  <a:pt x="56645" y="116360"/>
                  <a:pt x="61983" y="133539"/>
                </a:cubicBezTo>
                <a:cubicBezTo>
                  <a:pt x="67272" y="150718"/>
                  <a:pt x="71023" y="164817"/>
                  <a:pt x="72946" y="174585"/>
                </a:cubicBezTo>
                <a:cubicBezTo>
                  <a:pt x="73908" y="179445"/>
                  <a:pt x="74340" y="183295"/>
                  <a:pt x="74196" y="185701"/>
                </a:cubicBezTo>
                <a:cubicBezTo>
                  <a:pt x="74196" y="188300"/>
                  <a:pt x="72850" y="188155"/>
                  <a:pt x="72706" y="188588"/>
                </a:cubicBezTo>
                <a:cubicBezTo>
                  <a:pt x="72706" y="188684"/>
                  <a:pt x="73042" y="189070"/>
                  <a:pt x="73908" y="188925"/>
                </a:cubicBezTo>
                <a:cubicBezTo>
                  <a:pt x="74918" y="188781"/>
                  <a:pt x="75831" y="187578"/>
                  <a:pt x="76264" y="186182"/>
                </a:cubicBezTo>
                <a:cubicBezTo>
                  <a:pt x="77226" y="183343"/>
                  <a:pt x="77370" y="179205"/>
                  <a:pt x="77081" y="174056"/>
                </a:cubicBezTo>
                <a:cubicBezTo>
                  <a:pt x="76408" y="163710"/>
                  <a:pt x="73716" y="149178"/>
                  <a:pt x="69292" y="131518"/>
                </a:cubicBezTo>
                <a:cubicBezTo>
                  <a:pt x="64868" y="113858"/>
                  <a:pt x="58713" y="93070"/>
                  <a:pt x="50634" y="70357"/>
                </a:cubicBezTo>
                <a:cubicBezTo>
                  <a:pt x="46547" y="59001"/>
                  <a:pt x="42027" y="47211"/>
                  <a:pt x="36641" y="35133"/>
                </a:cubicBezTo>
                <a:cubicBezTo>
                  <a:pt x="33949" y="29118"/>
                  <a:pt x="31015" y="23007"/>
                  <a:pt x="27553" y="16944"/>
                </a:cubicBezTo>
                <a:cubicBezTo>
                  <a:pt x="25822" y="13912"/>
                  <a:pt x="23947" y="10881"/>
                  <a:pt x="21639" y="7849"/>
                </a:cubicBezTo>
                <a:cubicBezTo>
                  <a:pt x="21013" y="7079"/>
                  <a:pt x="20485" y="6357"/>
                  <a:pt x="19763" y="5587"/>
                </a:cubicBezTo>
                <a:lnTo>
                  <a:pt x="18705" y="4432"/>
                </a:lnTo>
                <a:lnTo>
                  <a:pt x="17119" y="2989"/>
                </a:lnTo>
                <a:cubicBezTo>
                  <a:pt x="15724" y="2074"/>
                  <a:pt x="14378" y="968"/>
                  <a:pt x="12839" y="535"/>
                </a:cubicBezTo>
                <a:cubicBezTo>
                  <a:pt x="11348" y="-43"/>
                  <a:pt x="9761" y="-91"/>
                  <a:pt x="8222" y="102"/>
                </a:cubicBezTo>
                <a:cubicBezTo>
                  <a:pt x="5145" y="727"/>
                  <a:pt x="2645" y="3085"/>
                  <a:pt x="1346" y="6069"/>
                </a:cubicBezTo>
                <a:cubicBezTo>
                  <a:pt x="817" y="7512"/>
                  <a:pt x="289" y="9485"/>
                  <a:pt x="192" y="10736"/>
                </a:cubicBezTo>
                <a:cubicBezTo>
                  <a:pt x="48" y="11843"/>
                  <a:pt x="48" y="12805"/>
                  <a:pt x="0" y="13816"/>
                </a:cubicBezTo>
                <a:cubicBezTo>
                  <a:pt x="0" y="17714"/>
                  <a:pt x="385" y="21323"/>
                  <a:pt x="866" y="24787"/>
                </a:cubicBezTo>
                <a:cubicBezTo>
                  <a:pt x="1923" y="31717"/>
                  <a:pt x="3414" y="38309"/>
                  <a:pt x="5049" y="44757"/>
                </a:cubicBezTo>
                <a:close/>
                <a:moveTo>
                  <a:pt x="10771" y="11506"/>
                </a:moveTo>
                <a:lnTo>
                  <a:pt x="10771" y="11506"/>
                </a:lnTo>
                <a:cubicBezTo>
                  <a:pt x="10771" y="11506"/>
                  <a:pt x="10771" y="11506"/>
                  <a:pt x="10771" y="11506"/>
                </a:cubicBezTo>
                <a:close/>
              </a:path>
            </a:pathLst>
          </a:custGeom>
          <a:solidFill>
            <a:srgbClr val="29C8C1"/>
          </a:solidFill>
          <a:ln w="0" cap="flat">
            <a:noFill/>
            <a:prstDash val="solid"/>
            <a:miter/>
          </a:ln>
        </p:spPr>
        <p:txBody>
          <a:bodyPr rtlCol="0" anchor="ctr"/>
          <a:lstStyle/>
          <a:p>
            <a:pPr rtl="0"/>
            <a:endParaRPr lang="en-AU" dirty="0"/>
          </a:p>
        </p:txBody>
      </p:sp>
      <p:sp>
        <p:nvSpPr>
          <p:cNvPr id="52" name="Freeform: Shape 51">
            <a:extLst>
              <a:ext uri="{FF2B5EF4-FFF2-40B4-BE49-F238E27FC236}">
                <a16:creationId xmlns:a16="http://schemas.microsoft.com/office/drawing/2014/main" id="{049CEE2C-76CE-9C61-0311-39ECBF9C71AA}"/>
              </a:ext>
            </a:extLst>
          </p:cNvPr>
          <p:cNvSpPr/>
          <p:nvPr/>
        </p:nvSpPr>
        <p:spPr>
          <a:xfrm>
            <a:off x="7579148" y="2268376"/>
            <a:ext cx="450665" cy="254512"/>
          </a:xfrm>
          <a:custGeom>
            <a:avLst/>
            <a:gdLst>
              <a:gd name="connsiteX0" fmla="*/ 425649 w 450665"/>
              <a:gd name="connsiteY0" fmla="*/ 162805 h 254512"/>
              <a:gd name="connsiteX1" fmla="*/ 441709 w 450665"/>
              <a:gd name="connsiteY1" fmla="*/ 144327 h 254512"/>
              <a:gd name="connsiteX2" fmla="*/ 444402 w 450665"/>
              <a:gd name="connsiteY2" fmla="*/ 138552 h 254512"/>
              <a:gd name="connsiteX3" fmla="*/ 446133 w 450665"/>
              <a:gd name="connsiteY3" fmla="*/ 132874 h 254512"/>
              <a:gd name="connsiteX4" fmla="*/ 448778 w 450665"/>
              <a:gd name="connsiteY4" fmla="*/ 121710 h 254512"/>
              <a:gd name="connsiteX5" fmla="*/ 447239 w 450665"/>
              <a:gd name="connsiteY5" fmla="*/ 77825 h 254512"/>
              <a:gd name="connsiteX6" fmla="*/ 438680 w 450665"/>
              <a:gd name="connsiteY6" fmla="*/ 58721 h 254512"/>
              <a:gd name="connsiteX7" fmla="*/ 426322 w 450665"/>
              <a:gd name="connsiteY7" fmla="*/ 43130 h 254512"/>
              <a:gd name="connsiteX8" fmla="*/ 396797 w 450665"/>
              <a:gd name="connsiteY8" fmla="*/ 21813 h 254512"/>
              <a:gd name="connsiteX9" fmla="*/ 366936 w 450665"/>
              <a:gd name="connsiteY9" fmla="*/ 9831 h 254512"/>
              <a:gd name="connsiteX10" fmla="*/ 316638 w 450665"/>
              <a:gd name="connsiteY10" fmla="*/ 736 h 254512"/>
              <a:gd name="connsiteX11" fmla="*/ 284469 w 450665"/>
              <a:gd name="connsiteY11" fmla="*/ 351 h 254512"/>
              <a:gd name="connsiteX12" fmla="*/ 273313 w 450665"/>
              <a:gd name="connsiteY12" fmla="*/ 1747 h 254512"/>
              <a:gd name="connsiteX13" fmla="*/ 316254 w 450665"/>
              <a:gd name="connsiteY13" fmla="*/ 4875 h 254512"/>
              <a:gd name="connsiteX14" fmla="*/ 365157 w 450665"/>
              <a:gd name="connsiteY14" fmla="*/ 15509 h 254512"/>
              <a:gd name="connsiteX15" fmla="*/ 393624 w 450665"/>
              <a:gd name="connsiteY15" fmla="*/ 27780 h 254512"/>
              <a:gd name="connsiteX16" fmla="*/ 420936 w 450665"/>
              <a:gd name="connsiteY16" fmla="*/ 48375 h 254512"/>
              <a:gd name="connsiteX17" fmla="*/ 431948 w 450665"/>
              <a:gd name="connsiteY17" fmla="*/ 62811 h 254512"/>
              <a:gd name="connsiteX18" fmla="*/ 439353 w 450665"/>
              <a:gd name="connsiteY18" fmla="*/ 80135 h 254512"/>
              <a:gd name="connsiteX19" fmla="*/ 440074 w 450665"/>
              <a:gd name="connsiteY19" fmla="*/ 120074 h 254512"/>
              <a:gd name="connsiteX20" fmla="*/ 437526 w 450665"/>
              <a:gd name="connsiteY20" fmla="*/ 130420 h 254512"/>
              <a:gd name="connsiteX21" fmla="*/ 433871 w 450665"/>
              <a:gd name="connsiteY21" fmla="*/ 139852 h 254512"/>
              <a:gd name="connsiteX22" fmla="*/ 419638 w 450665"/>
              <a:gd name="connsiteY22" fmla="*/ 155731 h 254512"/>
              <a:gd name="connsiteX23" fmla="*/ 379823 w 450665"/>
              <a:gd name="connsiteY23" fmla="*/ 180321 h 254512"/>
              <a:gd name="connsiteX24" fmla="*/ 284036 w 450665"/>
              <a:gd name="connsiteY24" fmla="*/ 215545 h 254512"/>
              <a:gd name="connsiteX25" fmla="*/ 176516 w 450665"/>
              <a:gd name="connsiteY25" fmla="*/ 238257 h 254512"/>
              <a:gd name="connsiteX26" fmla="*/ 67650 w 450665"/>
              <a:gd name="connsiteY26" fmla="*/ 241818 h 254512"/>
              <a:gd name="connsiteX27" fmla="*/ 42837 w 450665"/>
              <a:gd name="connsiteY27" fmla="*/ 236092 h 254512"/>
              <a:gd name="connsiteX28" fmla="*/ 23219 w 450665"/>
              <a:gd name="connsiteY28" fmla="*/ 223725 h 254512"/>
              <a:gd name="connsiteX29" fmla="*/ 16342 w 450665"/>
              <a:gd name="connsiteY29" fmla="*/ 214197 h 254512"/>
              <a:gd name="connsiteX30" fmla="*/ 13650 w 450665"/>
              <a:gd name="connsiteY30" fmla="*/ 209097 h 254512"/>
              <a:gd name="connsiteX31" fmla="*/ 11726 w 450665"/>
              <a:gd name="connsiteY31" fmla="*/ 203707 h 254512"/>
              <a:gd name="connsiteX32" fmla="*/ 10764 w 450665"/>
              <a:gd name="connsiteY32" fmla="*/ 181235 h 254512"/>
              <a:gd name="connsiteX33" fmla="*/ 30383 w 450665"/>
              <a:gd name="connsiteY33" fmla="*/ 140381 h 254512"/>
              <a:gd name="connsiteX34" fmla="*/ 60629 w 450665"/>
              <a:gd name="connsiteY34" fmla="*/ 107948 h 254512"/>
              <a:gd name="connsiteX35" fmla="*/ 125545 w 450665"/>
              <a:gd name="connsiteY35" fmla="*/ 60502 h 254512"/>
              <a:gd name="connsiteX36" fmla="*/ 231526 w 450665"/>
              <a:gd name="connsiteY36" fmla="*/ 11611 h 254512"/>
              <a:gd name="connsiteX37" fmla="*/ 262397 w 450665"/>
              <a:gd name="connsiteY37" fmla="*/ 3960 h 254512"/>
              <a:gd name="connsiteX38" fmla="*/ 273361 w 450665"/>
              <a:gd name="connsiteY38" fmla="*/ 1795 h 254512"/>
              <a:gd name="connsiteX39" fmla="*/ 262109 w 450665"/>
              <a:gd name="connsiteY39" fmla="*/ 1795 h 254512"/>
              <a:gd name="connsiteX40" fmla="*/ 230420 w 450665"/>
              <a:gd name="connsiteY40" fmla="*/ 7569 h 254512"/>
              <a:gd name="connsiteX41" fmla="*/ 121746 w 450665"/>
              <a:gd name="connsiteY41" fmla="*/ 53957 h 254512"/>
              <a:gd name="connsiteX42" fmla="*/ 54763 w 450665"/>
              <a:gd name="connsiteY42" fmla="*/ 101259 h 254512"/>
              <a:gd name="connsiteX43" fmla="*/ 22930 w 450665"/>
              <a:gd name="connsiteY43" fmla="*/ 134655 h 254512"/>
              <a:gd name="connsiteX44" fmla="*/ 1147 w 450665"/>
              <a:gd name="connsiteY44" fmla="*/ 179455 h 254512"/>
              <a:gd name="connsiteX45" fmla="*/ 2157 w 450665"/>
              <a:gd name="connsiteY45" fmla="*/ 206402 h 254512"/>
              <a:gd name="connsiteX46" fmla="*/ 4465 w 450665"/>
              <a:gd name="connsiteY46" fmla="*/ 212946 h 254512"/>
              <a:gd name="connsiteX47" fmla="*/ 7639 w 450665"/>
              <a:gd name="connsiteY47" fmla="*/ 219106 h 254512"/>
              <a:gd name="connsiteX48" fmla="*/ 15621 w 450665"/>
              <a:gd name="connsiteY48" fmla="*/ 230414 h 254512"/>
              <a:gd name="connsiteX49" fmla="*/ 26633 w 450665"/>
              <a:gd name="connsiteY49" fmla="*/ 239749 h 254512"/>
              <a:gd name="connsiteX50" fmla="*/ 39375 w 450665"/>
              <a:gd name="connsiteY50" fmla="*/ 245764 h 254512"/>
              <a:gd name="connsiteX51" fmla="*/ 66255 w 450665"/>
              <a:gd name="connsiteY51" fmla="*/ 252116 h 254512"/>
              <a:gd name="connsiteX52" fmla="*/ 178055 w 450665"/>
              <a:gd name="connsiteY52" fmla="*/ 248796 h 254512"/>
              <a:gd name="connsiteX53" fmla="*/ 286969 w 450665"/>
              <a:gd name="connsiteY53" fmla="*/ 225554 h 254512"/>
              <a:gd name="connsiteX54" fmla="*/ 384295 w 450665"/>
              <a:gd name="connsiteY54" fmla="*/ 189079 h 254512"/>
              <a:gd name="connsiteX55" fmla="*/ 425793 w 450665"/>
              <a:gd name="connsiteY55" fmla="*/ 162853 h 25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50665" h="254512">
                <a:moveTo>
                  <a:pt x="425649" y="162805"/>
                </a:moveTo>
                <a:cubicBezTo>
                  <a:pt x="431756" y="157512"/>
                  <a:pt x="437526" y="151593"/>
                  <a:pt x="441709" y="144327"/>
                </a:cubicBezTo>
                <a:cubicBezTo>
                  <a:pt x="442719" y="142450"/>
                  <a:pt x="443681" y="140573"/>
                  <a:pt x="444402" y="138552"/>
                </a:cubicBezTo>
                <a:cubicBezTo>
                  <a:pt x="445220" y="136483"/>
                  <a:pt x="445508" y="134751"/>
                  <a:pt x="446133" y="132874"/>
                </a:cubicBezTo>
                <a:cubicBezTo>
                  <a:pt x="447239" y="129217"/>
                  <a:pt x="448057" y="125464"/>
                  <a:pt x="448778" y="121710"/>
                </a:cubicBezTo>
                <a:cubicBezTo>
                  <a:pt x="451759" y="106841"/>
                  <a:pt x="451182" y="91587"/>
                  <a:pt x="447239" y="77825"/>
                </a:cubicBezTo>
                <a:cubicBezTo>
                  <a:pt x="445123" y="70992"/>
                  <a:pt x="442238" y="64544"/>
                  <a:pt x="438680" y="58721"/>
                </a:cubicBezTo>
                <a:cubicBezTo>
                  <a:pt x="434977" y="52995"/>
                  <a:pt x="430986" y="47605"/>
                  <a:pt x="426322" y="43130"/>
                </a:cubicBezTo>
                <a:cubicBezTo>
                  <a:pt x="417282" y="33843"/>
                  <a:pt x="406943" y="27106"/>
                  <a:pt x="396797" y="21813"/>
                </a:cubicBezTo>
                <a:cubicBezTo>
                  <a:pt x="386603" y="16520"/>
                  <a:pt x="376505" y="12766"/>
                  <a:pt x="366936" y="9831"/>
                </a:cubicBezTo>
                <a:cubicBezTo>
                  <a:pt x="347750" y="4057"/>
                  <a:pt x="330583" y="1843"/>
                  <a:pt x="316638" y="736"/>
                </a:cubicBezTo>
                <a:cubicBezTo>
                  <a:pt x="302645" y="-274"/>
                  <a:pt x="291778" y="-82"/>
                  <a:pt x="284469" y="351"/>
                </a:cubicBezTo>
                <a:cubicBezTo>
                  <a:pt x="277112" y="833"/>
                  <a:pt x="273313" y="1410"/>
                  <a:pt x="273313" y="1747"/>
                </a:cubicBezTo>
                <a:cubicBezTo>
                  <a:pt x="273313" y="2757"/>
                  <a:pt x="288797" y="1747"/>
                  <a:pt x="316254" y="4875"/>
                </a:cubicBezTo>
                <a:cubicBezTo>
                  <a:pt x="329910" y="6607"/>
                  <a:pt x="346644" y="9350"/>
                  <a:pt x="365157" y="15509"/>
                </a:cubicBezTo>
                <a:cubicBezTo>
                  <a:pt x="374389" y="18589"/>
                  <a:pt x="384055" y="22487"/>
                  <a:pt x="393624" y="27780"/>
                </a:cubicBezTo>
                <a:cubicBezTo>
                  <a:pt x="403145" y="33073"/>
                  <a:pt x="412762" y="39666"/>
                  <a:pt x="420936" y="48375"/>
                </a:cubicBezTo>
                <a:cubicBezTo>
                  <a:pt x="425168" y="52610"/>
                  <a:pt x="428678" y="57614"/>
                  <a:pt x="431948" y="62811"/>
                </a:cubicBezTo>
                <a:cubicBezTo>
                  <a:pt x="435074" y="68153"/>
                  <a:pt x="437526" y="73975"/>
                  <a:pt x="439353" y="80135"/>
                </a:cubicBezTo>
                <a:cubicBezTo>
                  <a:pt x="442671" y="92550"/>
                  <a:pt x="443056" y="106264"/>
                  <a:pt x="440074" y="120074"/>
                </a:cubicBezTo>
                <a:cubicBezTo>
                  <a:pt x="439401" y="123539"/>
                  <a:pt x="438584" y="127004"/>
                  <a:pt x="437526" y="130420"/>
                </a:cubicBezTo>
                <a:cubicBezTo>
                  <a:pt x="436516" y="134077"/>
                  <a:pt x="435603" y="136964"/>
                  <a:pt x="433871" y="139852"/>
                </a:cubicBezTo>
                <a:cubicBezTo>
                  <a:pt x="430457" y="145674"/>
                  <a:pt x="425312" y="150919"/>
                  <a:pt x="419638" y="155731"/>
                </a:cubicBezTo>
                <a:cubicBezTo>
                  <a:pt x="408145" y="165307"/>
                  <a:pt x="394345" y="173151"/>
                  <a:pt x="379823" y="180321"/>
                </a:cubicBezTo>
                <a:cubicBezTo>
                  <a:pt x="350683" y="194564"/>
                  <a:pt x="318177" y="205873"/>
                  <a:pt x="284036" y="215545"/>
                </a:cubicBezTo>
                <a:cubicBezTo>
                  <a:pt x="249847" y="225121"/>
                  <a:pt x="213783" y="233012"/>
                  <a:pt x="176516" y="238257"/>
                </a:cubicBezTo>
                <a:cubicBezTo>
                  <a:pt x="139346" y="243310"/>
                  <a:pt x="102272" y="246245"/>
                  <a:pt x="67650" y="241818"/>
                </a:cubicBezTo>
                <a:cubicBezTo>
                  <a:pt x="59042" y="240663"/>
                  <a:pt x="50627" y="238883"/>
                  <a:pt x="42837" y="236092"/>
                </a:cubicBezTo>
                <a:cubicBezTo>
                  <a:pt x="35096" y="233253"/>
                  <a:pt x="27931" y="229596"/>
                  <a:pt x="23219" y="223725"/>
                </a:cubicBezTo>
                <a:cubicBezTo>
                  <a:pt x="20766" y="220597"/>
                  <a:pt x="18025" y="217710"/>
                  <a:pt x="16342" y="214197"/>
                </a:cubicBezTo>
                <a:cubicBezTo>
                  <a:pt x="15477" y="212465"/>
                  <a:pt x="14178" y="210925"/>
                  <a:pt x="13650" y="209097"/>
                </a:cubicBezTo>
                <a:lnTo>
                  <a:pt x="11726" y="203707"/>
                </a:lnTo>
                <a:cubicBezTo>
                  <a:pt x="9899" y="196393"/>
                  <a:pt x="9129" y="188742"/>
                  <a:pt x="10764" y="181235"/>
                </a:cubicBezTo>
                <a:cubicBezTo>
                  <a:pt x="13217" y="166173"/>
                  <a:pt x="21439" y="152459"/>
                  <a:pt x="30383" y="140381"/>
                </a:cubicBezTo>
                <a:cubicBezTo>
                  <a:pt x="39520" y="128303"/>
                  <a:pt x="49858" y="117524"/>
                  <a:pt x="60629" y="107948"/>
                </a:cubicBezTo>
                <a:cubicBezTo>
                  <a:pt x="82124" y="88700"/>
                  <a:pt x="104484" y="73301"/>
                  <a:pt x="125545" y="60502"/>
                </a:cubicBezTo>
                <a:cubicBezTo>
                  <a:pt x="167813" y="34902"/>
                  <a:pt x="205223" y="19840"/>
                  <a:pt x="231526" y="11611"/>
                </a:cubicBezTo>
                <a:cubicBezTo>
                  <a:pt x="244750" y="7569"/>
                  <a:pt x="255233" y="5308"/>
                  <a:pt x="262397" y="3960"/>
                </a:cubicBezTo>
                <a:cubicBezTo>
                  <a:pt x="269562" y="2757"/>
                  <a:pt x="273361" y="2228"/>
                  <a:pt x="273361" y="1795"/>
                </a:cubicBezTo>
                <a:cubicBezTo>
                  <a:pt x="273361" y="1458"/>
                  <a:pt x="269466" y="1314"/>
                  <a:pt x="262109" y="1795"/>
                </a:cubicBezTo>
                <a:cubicBezTo>
                  <a:pt x="254752" y="2469"/>
                  <a:pt x="243981" y="4105"/>
                  <a:pt x="230420" y="7569"/>
                </a:cubicBezTo>
                <a:cubicBezTo>
                  <a:pt x="203396" y="14691"/>
                  <a:pt x="165072" y="28838"/>
                  <a:pt x="121746" y="53957"/>
                </a:cubicBezTo>
                <a:cubicBezTo>
                  <a:pt x="100108" y="66517"/>
                  <a:pt x="77123" y="81771"/>
                  <a:pt x="54763" y="101259"/>
                </a:cubicBezTo>
                <a:cubicBezTo>
                  <a:pt x="43559" y="110980"/>
                  <a:pt x="32740" y="121999"/>
                  <a:pt x="22930" y="134655"/>
                </a:cubicBezTo>
                <a:cubicBezTo>
                  <a:pt x="13361" y="147358"/>
                  <a:pt x="4273" y="161891"/>
                  <a:pt x="1147" y="179455"/>
                </a:cubicBezTo>
                <a:cubicBezTo>
                  <a:pt x="-824" y="188068"/>
                  <a:pt x="-103" y="197500"/>
                  <a:pt x="2157" y="206402"/>
                </a:cubicBezTo>
                <a:lnTo>
                  <a:pt x="4465" y="212946"/>
                </a:lnTo>
                <a:cubicBezTo>
                  <a:pt x="5138" y="215160"/>
                  <a:pt x="6581" y="217036"/>
                  <a:pt x="7639" y="219106"/>
                </a:cubicBezTo>
                <a:cubicBezTo>
                  <a:pt x="9658" y="223340"/>
                  <a:pt x="12784" y="226757"/>
                  <a:pt x="15621" y="230414"/>
                </a:cubicBezTo>
                <a:cubicBezTo>
                  <a:pt x="18554" y="234071"/>
                  <a:pt x="22593" y="237391"/>
                  <a:pt x="26633" y="239749"/>
                </a:cubicBezTo>
                <a:cubicBezTo>
                  <a:pt x="30720" y="242203"/>
                  <a:pt x="34999" y="244224"/>
                  <a:pt x="39375" y="245764"/>
                </a:cubicBezTo>
                <a:cubicBezTo>
                  <a:pt x="48127" y="248940"/>
                  <a:pt x="57167" y="250817"/>
                  <a:pt x="66255" y="252116"/>
                </a:cubicBezTo>
                <a:cubicBezTo>
                  <a:pt x="102704" y="256880"/>
                  <a:pt x="140259" y="253896"/>
                  <a:pt x="178055" y="248796"/>
                </a:cubicBezTo>
                <a:cubicBezTo>
                  <a:pt x="215898" y="243454"/>
                  <a:pt x="252347" y="235418"/>
                  <a:pt x="286969" y="225554"/>
                </a:cubicBezTo>
                <a:cubicBezTo>
                  <a:pt x="321543" y="215593"/>
                  <a:pt x="354434" y="203948"/>
                  <a:pt x="384295" y="189079"/>
                </a:cubicBezTo>
                <a:cubicBezTo>
                  <a:pt x="399153" y="181572"/>
                  <a:pt x="413387" y="173343"/>
                  <a:pt x="425793" y="162853"/>
                </a:cubicBezTo>
                <a:close/>
              </a:path>
            </a:pathLst>
          </a:custGeom>
          <a:solidFill>
            <a:srgbClr val="29C8C1"/>
          </a:solidFill>
          <a:ln w="0" cap="flat">
            <a:noFill/>
            <a:prstDash val="solid"/>
            <a:miter/>
          </a:ln>
        </p:spPr>
        <p:txBody>
          <a:bodyPr rtlCol="0" anchor="ctr"/>
          <a:lstStyle/>
          <a:p>
            <a:pPr rtl="0"/>
            <a:endParaRPr lang="en-AU" dirty="0"/>
          </a:p>
        </p:txBody>
      </p:sp>
      <p:sp>
        <p:nvSpPr>
          <p:cNvPr id="53" name="Freeform: Shape 52">
            <a:extLst>
              <a:ext uri="{FF2B5EF4-FFF2-40B4-BE49-F238E27FC236}">
                <a16:creationId xmlns:a16="http://schemas.microsoft.com/office/drawing/2014/main" id="{018D9CB8-C596-C20B-4275-B16685B17D10}"/>
              </a:ext>
            </a:extLst>
          </p:cNvPr>
          <p:cNvSpPr/>
          <p:nvPr/>
        </p:nvSpPr>
        <p:spPr>
          <a:xfrm>
            <a:off x="7448885" y="2169534"/>
            <a:ext cx="923138" cy="488854"/>
          </a:xfrm>
          <a:custGeom>
            <a:avLst/>
            <a:gdLst>
              <a:gd name="connsiteX0" fmla="*/ 20477 w 923138"/>
              <a:gd name="connsiteY0" fmla="*/ 452925 h 488854"/>
              <a:gd name="connsiteX1" fmla="*/ 57983 w 923138"/>
              <a:gd name="connsiteY1" fmla="*/ 480546 h 488854"/>
              <a:gd name="connsiteX2" fmla="*/ 101501 w 923138"/>
              <a:gd name="connsiteY2" fmla="*/ 488678 h 488854"/>
              <a:gd name="connsiteX3" fmla="*/ 182959 w 923138"/>
              <a:gd name="connsiteY3" fmla="*/ 480594 h 488854"/>
              <a:gd name="connsiteX4" fmla="*/ 317935 w 923138"/>
              <a:gd name="connsiteY4" fmla="*/ 444311 h 488854"/>
              <a:gd name="connsiteX5" fmla="*/ 418916 w 923138"/>
              <a:gd name="connsiteY5" fmla="*/ 414765 h 488854"/>
              <a:gd name="connsiteX6" fmla="*/ 483735 w 923138"/>
              <a:gd name="connsiteY6" fmla="*/ 400522 h 488854"/>
              <a:gd name="connsiteX7" fmla="*/ 500806 w 923138"/>
              <a:gd name="connsiteY7" fmla="*/ 398020 h 488854"/>
              <a:gd name="connsiteX8" fmla="*/ 506624 w 923138"/>
              <a:gd name="connsiteY8" fmla="*/ 396961 h 488854"/>
              <a:gd name="connsiteX9" fmla="*/ 500710 w 923138"/>
              <a:gd name="connsiteY9" fmla="*/ 396961 h 488854"/>
              <a:gd name="connsiteX10" fmla="*/ 483399 w 923138"/>
              <a:gd name="connsiteY10" fmla="*/ 398453 h 488854"/>
              <a:gd name="connsiteX11" fmla="*/ 417858 w 923138"/>
              <a:gd name="connsiteY11" fmla="*/ 410771 h 488854"/>
              <a:gd name="connsiteX12" fmla="*/ 316204 w 923138"/>
              <a:gd name="connsiteY12" fmla="*/ 438585 h 488854"/>
              <a:gd name="connsiteX13" fmla="*/ 181516 w 923138"/>
              <a:gd name="connsiteY13" fmla="*/ 473183 h 488854"/>
              <a:gd name="connsiteX14" fmla="*/ 101886 w 923138"/>
              <a:gd name="connsiteY14" fmla="*/ 480449 h 488854"/>
              <a:gd name="connsiteX15" fmla="*/ 61013 w 923138"/>
              <a:gd name="connsiteY15" fmla="*/ 472558 h 488854"/>
              <a:gd name="connsiteX16" fmla="*/ 27545 w 923138"/>
              <a:gd name="connsiteY16" fmla="*/ 447680 h 488854"/>
              <a:gd name="connsiteX17" fmla="*/ 11533 w 923138"/>
              <a:gd name="connsiteY17" fmla="*/ 406874 h 488854"/>
              <a:gd name="connsiteX18" fmla="*/ 9994 w 923138"/>
              <a:gd name="connsiteY18" fmla="*/ 360245 h 488854"/>
              <a:gd name="connsiteX19" fmla="*/ 16870 w 923138"/>
              <a:gd name="connsiteY19" fmla="*/ 312125 h 488854"/>
              <a:gd name="connsiteX20" fmla="*/ 19467 w 923138"/>
              <a:gd name="connsiteY20" fmla="*/ 299999 h 488854"/>
              <a:gd name="connsiteX21" fmla="*/ 22641 w 923138"/>
              <a:gd name="connsiteY21" fmla="*/ 288113 h 488854"/>
              <a:gd name="connsiteX22" fmla="*/ 26535 w 923138"/>
              <a:gd name="connsiteY22" fmla="*/ 276324 h 488854"/>
              <a:gd name="connsiteX23" fmla="*/ 31152 w 923138"/>
              <a:gd name="connsiteY23" fmla="*/ 264679 h 488854"/>
              <a:gd name="connsiteX24" fmla="*/ 88037 w 923138"/>
              <a:gd name="connsiteY24" fmla="*/ 179073 h 488854"/>
              <a:gd name="connsiteX25" fmla="*/ 170120 w 923138"/>
              <a:gd name="connsiteY25" fmla="*/ 108866 h 488854"/>
              <a:gd name="connsiteX26" fmla="*/ 379389 w 923138"/>
              <a:gd name="connsiteY26" fmla="*/ 22394 h 488854"/>
              <a:gd name="connsiteX27" fmla="*/ 436996 w 923138"/>
              <a:gd name="connsiteY27" fmla="*/ 15079 h 488854"/>
              <a:gd name="connsiteX28" fmla="*/ 440602 w 923138"/>
              <a:gd name="connsiteY28" fmla="*/ 14839 h 488854"/>
              <a:gd name="connsiteX29" fmla="*/ 442382 w 923138"/>
              <a:gd name="connsiteY29" fmla="*/ 14694 h 488854"/>
              <a:gd name="connsiteX30" fmla="*/ 444642 w 923138"/>
              <a:gd name="connsiteY30" fmla="*/ 14406 h 488854"/>
              <a:gd name="connsiteX31" fmla="*/ 451806 w 923138"/>
              <a:gd name="connsiteY31" fmla="*/ 13491 h 488854"/>
              <a:gd name="connsiteX32" fmla="*/ 466088 w 923138"/>
              <a:gd name="connsiteY32" fmla="*/ 12000 h 488854"/>
              <a:gd name="connsiteX33" fmla="*/ 494555 w 923138"/>
              <a:gd name="connsiteY33" fmla="*/ 10604 h 488854"/>
              <a:gd name="connsiteX34" fmla="*/ 550190 w 923138"/>
              <a:gd name="connsiteY34" fmla="*/ 15464 h 488854"/>
              <a:gd name="connsiteX35" fmla="*/ 602075 w 923138"/>
              <a:gd name="connsiteY35" fmla="*/ 33846 h 488854"/>
              <a:gd name="connsiteX36" fmla="*/ 696756 w 923138"/>
              <a:gd name="connsiteY36" fmla="*/ 86923 h 488854"/>
              <a:gd name="connsiteX37" fmla="*/ 780665 w 923138"/>
              <a:gd name="connsiteY37" fmla="*/ 148902 h 488854"/>
              <a:gd name="connsiteX38" fmla="*/ 852265 w 923138"/>
              <a:gd name="connsiteY38" fmla="*/ 217377 h 488854"/>
              <a:gd name="connsiteX39" fmla="*/ 904053 w 923138"/>
              <a:gd name="connsiteY39" fmla="*/ 293888 h 488854"/>
              <a:gd name="connsiteX40" fmla="*/ 914584 w 923138"/>
              <a:gd name="connsiteY40" fmla="*/ 335511 h 488854"/>
              <a:gd name="connsiteX41" fmla="*/ 904967 w 923138"/>
              <a:gd name="connsiteY41" fmla="*/ 374489 h 488854"/>
              <a:gd name="connsiteX42" fmla="*/ 892561 w 923138"/>
              <a:gd name="connsiteY42" fmla="*/ 389935 h 488854"/>
              <a:gd name="connsiteX43" fmla="*/ 890830 w 923138"/>
              <a:gd name="connsiteY43" fmla="*/ 391668 h 488854"/>
              <a:gd name="connsiteX44" fmla="*/ 888954 w 923138"/>
              <a:gd name="connsiteY44" fmla="*/ 393111 h 488854"/>
              <a:gd name="connsiteX45" fmla="*/ 885204 w 923138"/>
              <a:gd name="connsiteY45" fmla="*/ 395950 h 488854"/>
              <a:gd name="connsiteX46" fmla="*/ 876741 w 923138"/>
              <a:gd name="connsiteY46" fmla="*/ 400426 h 488854"/>
              <a:gd name="connsiteX47" fmla="*/ 839571 w 923138"/>
              <a:gd name="connsiteY47" fmla="*/ 410242 h 488854"/>
              <a:gd name="connsiteX48" fmla="*/ 766624 w 923138"/>
              <a:gd name="connsiteY48" fmla="*/ 413899 h 488854"/>
              <a:gd name="connsiteX49" fmla="*/ 701131 w 923138"/>
              <a:gd name="connsiteY49" fmla="*/ 410964 h 488854"/>
              <a:gd name="connsiteX50" fmla="*/ 596304 w 923138"/>
              <a:gd name="connsiteY50" fmla="*/ 401677 h 488854"/>
              <a:gd name="connsiteX51" fmla="*/ 529898 w 923138"/>
              <a:gd name="connsiteY51" fmla="*/ 396384 h 488854"/>
              <a:gd name="connsiteX52" fmla="*/ 512539 w 923138"/>
              <a:gd name="connsiteY52" fmla="*/ 396287 h 488854"/>
              <a:gd name="connsiteX53" fmla="*/ 506672 w 923138"/>
              <a:gd name="connsiteY53" fmla="*/ 397009 h 488854"/>
              <a:gd name="connsiteX54" fmla="*/ 512587 w 923138"/>
              <a:gd name="connsiteY54" fmla="*/ 397346 h 488854"/>
              <a:gd name="connsiteX55" fmla="*/ 529802 w 923138"/>
              <a:gd name="connsiteY55" fmla="*/ 398501 h 488854"/>
              <a:gd name="connsiteX56" fmla="*/ 595871 w 923138"/>
              <a:gd name="connsiteY56" fmla="*/ 405767 h 488854"/>
              <a:gd name="connsiteX57" fmla="*/ 700651 w 923138"/>
              <a:gd name="connsiteY57" fmla="*/ 416883 h 488854"/>
              <a:gd name="connsiteX58" fmla="*/ 766480 w 923138"/>
              <a:gd name="connsiteY58" fmla="*/ 420684 h 488854"/>
              <a:gd name="connsiteX59" fmla="*/ 840628 w 923138"/>
              <a:gd name="connsiteY59" fmla="*/ 417749 h 488854"/>
              <a:gd name="connsiteX60" fmla="*/ 879962 w 923138"/>
              <a:gd name="connsiteY60" fmla="*/ 407692 h 488854"/>
              <a:gd name="connsiteX61" fmla="*/ 889531 w 923138"/>
              <a:gd name="connsiteY61" fmla="*/ 402735 h 488854"/>
              <a:gd name="connsiteX62" fmla="*/ 894003 w 923138"/>
              <a:gd name="connsiteY62" fmla="*/ 399415 h 488854"/>
              <a:gd name="connsiteX63" fmla="*/ 896215 w 923138"/>
              <a:gd name="connsiteY63" fmla="*/ 397731 h 488854"/>
              <a:gd name="connsiteX64" fmla="*/ 898139 w 923138"/>
              <a:gd name="connsiteY64" fmla="*/ 395854 h 488854"/>
              <a:gd name="connsiteX65" fmla="*/ 911988 w 923138"/>
              <a:gd name="connsiteY65" fmla="*/ 378868 h 488854"/>
              <a:gd name="connsiteX66" fmla="*/ 923096 w 923138"/>
              <a:gd name="connsiteY66" fmla="*/ 335319 h 488854"/>
              <a:gd name="connsiteX67" fmla="*/ 912132 w 923138"/>
              <a:gd name="connsiteY67" fmla="*/ 290471 h 488854"/>
              <a:gd name="connsiteX68" fmla="*/ 859237 w 923138"/>
              <a:gd name="connsiteY68" fmla="*/ 211217 h 488854"/>
              <a:gd name="connsiteX69" fmla="*/ 786916 w 923138"/>
              <a:gd name="connsiteY69" fmla="*/ 141443 h 488854"/>
              <a:gd name="connsiteX70" fmla="*/ 702285 w 923138"/>
              <a:gd name="connsiteY70" fmla="*/ 78454 h 488854"/>
              <a:gd name="connsiteX71" fmla="*/ 606306 w 923138"/>
              <a:gd name="connsiteY71" fmla="*/ 24367 h 488854"/>
              <a:gd name="connsiteX72" fmla="*/ 552354 w 923138"/>
              <a:gd name="connsiteY72" fmla="*/ 5215 h 488854"/>
              <a:gd name="connsiteX73" fmla="*/ 494362 w 923138"/>
              <a:gd name="connsiteY73" fmla="*/ 18 h 488854"/>
              <a:gd name="connsiteX74" fmla="*/ 465126 w 923138"/>
              <a:gd name="connsiteY74" fmla="*/ 1461 h 488854"/>
              <a:gd name="connsiteX75" fmla="*/ 450508 w 923138"/>
              <a:gd name="connsiteY75" fmla="*/ 2953 h 488854"/>
              <a:gd name="connsiteX76" fmla="*/ 443199 w 923138"/>
              <a:gd name="connsiteY76" fmla="*/ 3916 h 488854"/>
              <a:gd name="connsiteX77" fmla="*/ 441853 w 923138"/>
              <a:gd name="connsiteY77" fmla="*/ 4108 h 488854"/>
              <a:gd name="connsiteX78" fmla="*/ 440025 w 923138"/>
              <a:gd name="connsiteY78" fmla="*/ 4252 h 488854"/>
              <a:gd name="connsiteX79" fmla="*/ 436323 w 923138"/>
              <a:gd name="connsiteY79" fmla="*/ 4541 h 488854"/>
              <a:gd name="connsiteX80" fmla="*/ 377418 w 923138"/>
              <a:gd name="connsiteY80" fmla="*/ 12000 h 488854"/>
              <a:gd name="connsiteX81" fmla="*/ 164205 w 923138"/>
              <a:gd name="connsiteY81" fmla="*/ 100300 h 488854"/>
              <a:gd name="connsiteX82" fmla="*/ 80488 w 923138"/>
              <a:gd name="connsiteY82" fmla="*/ 172288 h 488854"/>
              <a:gd name="connsiteX83" fmla="*/ 22112 w 923138"/>
              <a:gd name="connsiteY83" fmla="*/ 260925 h 488854"/>
              <a:gd name="connsiteX84" fmla="*/ 17351 w 923138"/>
              <a:gd name="connsiteY84" fmla="*/ 273052 h 488854"/>
              <a:gd name="connsiteX85" fmla="*/ 13312 w 923138"/>
              <a:gd name="connsiteY85" fmla="*/ 285370 h 488854"/>
              <a:gd name="connsiteX86" fmla="*/ 10042 w 923138"/>
              <a:gd name="connsiteY86" fmla="*/ 297882 h 488854"/>
              <a:gd name="connsiteX87" fmla="*/ 7445 w 923138"/>
              <a:gd name="connsiteY87" fmla="*/ 310297 h 488854"/>
              <a:gd name="connsiteX88" fmla="*/ 617 w 923138"/>
              <a:gd name="connsiteY88" fmla="*/ 359668 h 488854"/>
              <a:gd name="connsiteX89" fmla="*/ 2493 w 923138"/>
              <a:gd name="connsiteY89" fmla="*/ 408462 h 488854"/>
              <a:gd name="connsiteX90" fmla="*/ 20380 w 923138"/>
              <a:gd name="connsiteY90" fmla="*/ 453021 h 48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923138" h="488854">
                <a:moveTo>
                  <a:pt x="20477" y="452925"/>
                </a:moveTo>
                <a:cubicBezTo>
                  <a:pt x="30094" y="465869"/>
                  <a:pt x="43654" y="475301"/>
                  <a:pt x="57983" y="480546"/>
                </a:cubicBezTo>
                <a:cubicBezTo>
                  <a:pt x="72313" y="486031"/>
                  <a:pt x="87172" y="487956"/>
                  <a:pt x="101501" y="488678"/>
                </a:cubicBezTo>
                <a:cubicBezTo>
                  <a:pt x="130305" y="489785"/>
                  <a:pt x="157473" y="485502"/>
                  <a:pt x="182959" y="480594"/>
                </a:cubicBezTo>
                <a:cubicBezTo>
                  <a:pt x="233881" y="470152"/>
                  <a:pt x="278601" y="456053"/>
                  <a:pt x="317935" y="444311"/>
                </a:cubicBezTo>
                <a:cubicBezTo>
                  <a:pt x="357222" y="432329"/>
                  <a:pt x="390978" y="422080"/>
                  <a:pt x="418916" y="414765"/>
                </a:cubicBezTo>
                <a:cubicBezTo>
                  <a:pt x="446805" y="407355"/>
                  <a:pt x="468733" y="402928"/>
                  <a:pt x="483735" y="400522"/>
                </a:cubicBezTo>
                <a:cubicBezTo>
                  <a:pt x="491237" y="399271"/>
                  <a:pt x="496959" y="398501"/>
                  <a:pt x="500806" y="398020"/>
                </a:cubicBezTo>
                <a:cubicBezTo>
                  <a:pt x="504653" y="397490"/>
                  <a:pt x="506624" y="397153"/>
                  <a:pt x="506624" y="396961"/>
                </a:cubicBezTo>
                <a:cubicBezTo>
                  <a:pt x="506624" y="396769"/>
                  <a:pt x="504605" y="396769"/>
                  <a:pt x="500710" y="396961"/>
                </a:cubicBezTo>
                <a:cubicBezTo>
                  <a:pt x="496815" y="397105"/>
                  <a:pt x="490996" y="397538"/>
                  <a:pt x="483399" y="398453"/>
                </a:cubicBezTo>
                <a:cubicBezTo>
                  <a:pt x="468252" y="400185"/>
                  <a:pt x="446036" y="403987"/>
                  <a:pt x="417858" y="410771"/>
                </a:cubicBezTo>
                <a:cubicBezTo>
                  <a:pt x="389679" y="417460"/>
                  <a:pt x="355635" y="427180"/>
                  <a:pt x="316204" y="438585"/>
                </a:cubicBezTo>
                <a:cubicBezTo>
                  <a:pt x="276774" y="449797"/>
                  <a:pt x="231958" y="463367"/>
                  <a:pt x="181516" y="473183"/>
                </a:cubicBezTo>
                <a:cubicBezTo>
                  <a:pt x="156319" y="477803"/>
                  <a:pt x="129535" y="481701"/>
                  <a:pt x="101886" y="480449"/>
                </a:cubicBezTo>
                <a:cubicBezTo>
                  <a:pt x="88133" y="479680"/>
                  <a:pt x="74092" y="477707"/>
                  <a:pt x="61013" y="472558"/>
                </a:cubicBezTo>
                <a:cubicBezTo>
                  <a:pt x="47886" y="467650"/>
                  <a:pt x="36008" y="459229"/>
                  <a:pt x="27545" y="447680"/>
                </a:cubicBezTo>
                <a:cubicBezTo>
                  <a:pt x="19082" y="436131"/>
                  <a:pt x="13889" y="421887"/>
                  <a:pt x="11533" y="406874"/>
                </a:cubicBezTo>
                <a:cubicBezTo>
                  <a:pt x="9032" y="391860"/>
                  <a:pt x="8888" y="376125"/>
                  <a:pt x="9994" y="360245"/>
                </a:cubicBezTo>
                <a:cubicBezTo>
                  <a:pt x="11148" y="344366"/>
                  <a:pt x="13648" y="328293"/>
                  <a:pt x="16870" y="312125"/>
                </a:cubicBezTo>
                <a:cubicBezTo>
                  <a:pt x="17736" y="308083"/>
                  <a:pt x="18601" y="304041"/>
                  <a:pt x="19467" y="299999"/>
                </a:cubicBezTo>
                <a:cubicBezTo>
                  <a:pt x="20525" y="296053"/>
                  <a:pt x="21583" y="292059"/>
                  <a:pt x="22641" y="288113"/>
                </a:cubicBezTo>
                <a:cubicBezTo>
                  <a:pt x="23843" y="284167"/>
                  <a:pt x="25237" y="280270"/>
                  <a:pt x="26535" y="276324"/>
                </a:cubicBezTo>
                <a:cubicBezTo>
                  <a:pt x="27834" y="272378"/>
                  <a:pt x="29613" y="268576"/>
                  <a:pt x="31152" y="264679"/>
                </a:cubicBezTo>
                <a:cubicBezTo>
                  <a:pt x="44375" y="233930"/>
                  <a:pt x="64090" y="205010"/>
                  <a:pt x="88037" y="179073"/>
                </a:cubicBezTo>
                <a:cubicBezTo>
                  <a:pt x="111840" y="152944"/>
                  <a:pt x="139778" y="129654"/>
                  <a:pt x="170120" y="108866"/>
                </a:cubicBezTo>
                <a:cubicBezTo>
                  <a:pt x="231092" y="67723"/>
                  <a:pt x="302692" y="36926"/>
                  <a:pt x="379389" y="22394"/>
                </a:cubicBezTo>
                <a:cubicBezTo>
                  <a:pt x="398575" y="18833"/>
                  <a:pt x="417810" y="16186"/>
                  <a:pt x="436996" y="15079"/>
                </a:cubicBezTo>
                <a:lnTo>
                  <a:pt x="440602" y="14839"/>
                </a:lnTo>
                <a:lnTo>
                  <a:pt x="442382" y="14694"/>
                </a:lnTo>
                <a:lnTo>
                  <a:pt x="444642" y="14406"/>
                </a:lnTo>
                <a:lnTo>
                  <a:pt x="451806" y="13491"/>
                </a:lnTo>
                <a:cubicBezTo>
                  <a:pt x="456567" y="12914"/>
                  <a:pt x="461327" y="12433"/>
                  <a:pt x="466088" y="12000"/>
                </a:cubicBezTo>
                <a:cubicBezTo>
                  <a:pt x="475609" y="11182"/>
                  <a:pt x="485082" y="10700"/>
                  <a:pt x="494555" y="10604"/>
                </a:cubicBezTo>
                <a:cubicBezTo>
                  <a:pt x="513452" y="10364"/>
                  <a:pt x="532206" y="11663"/>
                  <a:pt x="550190" y="15464"/>
                </a:cubicBezTo>
                <a:cubicBezTo>
                  <a:pt x="568030" y="19410"/>
                  <a:pt x="585341" y="26340"/>
                  <a:pt x="602075" y="33846"/>
                </a:cubicBezTo>
                <a:cubicBezTo>
                  <a:pt x="635542" y="49100"/>
                  <a:pt x="666990" y="67482"/>
                  <a:pt x="696756" y="86923"/>
                </a:cubicBezTo>
                <a:cubicBezTo>
                  <a:pt x="726473" y="106411"/>
                  <a:pt x="754555" y="127151"/>
                  <a:pt x="780665" y="148902"/>
                </a:cubicBezTo>
                <a:cubicBezTo>
                  <a:pt x="806776" y="170652"/>
                  <a:pt x="830915" y="193413"/>
                  <a:pt x="852265" y="217377"/>
                </a:cubicBezTo>
                <a:cubicBezTo>
                  <a:pt x="873423" y="241388"/>
                  <a:pt x="892128" y="266652"/>
                  <a:pt x="904053" y="293888"/>
                </a:cubicBezTo>
                <a:cubicBezTo>
                  <a:pt x="909968" y="307457"/>
                  <a:pt x="913911" y="321557"/>
                  <a:pt x="914584" y="335511"/>
                </a:cubicBezTo>
                <a:cubicBezTo>
                  <a:pt x="915065" y="349418"/>
                  <a:pt x="912084" y="363133"/>
                  <a:pt x="904967" y="374489"/>
                </a:cubicBezTo>
                <a:cubicBezTo>
                  <a:pt x="901505" y="380167"/>
                  <a:pt x="897369" y="385460"/>
                  <a:pt x="892561" y="389935"/>
                </a:cubicBezTo>
                <a:lnTo>
                  <a:pt x="890830" y="391668"/>
                </a:lnTo>
                <a:lnTo>
                  <a:pt x="888954" y="393111"/>
                </a:lnTo>
                <a:lnTo>
                  <a:pt x="885204" y="395950"/>
                </a:lnTo>
                <a:cubicBezTo>
                  <a:pt x="882319" y="397394"/>
                  <a:pt x="879770" y="399271"/>
                  <a:pt x="876741" y="400426"/>
                </a:cubicBezTo>
                <a:cubicBezTo>
                  <a:pt x="864912" y="405623"/>
                  <a:pt x="852073" y="408317"/>
                  <a:pt x="839571" y="410242"/>
                </a:cubicBezTo>
                <a:cubicBezTo>
                  <a:pt x="814325" y="413803"/>
                  <a:pt x="789753" y="414140"/>
                  <a:pt x="766624" y="413899"/>
                </a:cubicBezTo>
                <a:cubicBezTo>
                  <a:pt x="743447" y="413562"/>
                  <a:pt x="721568" y="412359"/>
                  <a:pt x="701131" y="410964"/>
                </a:cubicBezTo>
                <a:cubicBezTo>
                  <a:pt x="660258" y="408077"/>
                  <a:pt x="625108" y="404420"/>
                  <a:pt x="596304" y="401677"/>
                </a:cubicBezTo>
                <a:cubicBezTo>
                  <a:pt x="567549" y="398886"/>
                  <a:pt x="545141" y="396961"/>
                  <a:pt x="529898" y="396384"/>
                </a:cubicBezTo>
                <a:cubicBezTo>
                  <a:pt x="522300" y="396047"/>
                  <a:pt x="516434" y="396143"/>
                  <a:pt x="512539" y="396287"/>
                </a:cubicBezTo>
                <a:cubicBezTo>
                  <a:pt x="508644" y="396576"/>
                  <a:pt x="506624" y="396865"/>
                  <a:pt x="506672" y="397009"/>
                </a:cubicBezTo>
                <a:cubicBezTo>
                  <a:pt x="506672" y="397202"/>
                  <a:pt x="508692" y="397298"/>
                  <a:pt x="512587" y="397346"/>
                </a:cubicBezTo>
                <a:cubicBezTo>
                  <a:pt x="516482" y="397538"/>
                  <a:pt x="522252" y="397827"/>
                  <a:pt x="529802" y="398501"/>
                </a:cubicBezTo>
                <a:cubicBezTo>
                  <a:pt x="544949" y="399752"/>
                  <a:pt x="567212" y="402350"/>
                  <a:pt x="595871" y="405767"/>
                </a:cubicBezTo>
                <a:cubicBezTo>
                  <a:pt x="624579" y="409135"/>
                  <a:pt x="659681" y="413418"/>
                  <a:pt x="700651" y="416883"/>
                </a:cubicBezTo>
                <a:cubicBezTo>
                  <a:pt x="721135" y="418567"/>
                  <a:pt x="743110" y="420059"/>
                  <a:pt x="766480" y="420684"/>
                </a:cubicBezTo>
                <a:cubicBezTo>
                  <a:pt x="789850" y="421213"/>
                  <a:pt x="814662" y="421117"/>
                  <a:pt x="840628" y="417749"/>
                </a:cubicBezTo>
                <a:cubicBezTo>
                  <a:pt x="853563" y="415872"/>
                  <a:pt x="866931" y="413274"/>
                  <a:pt x="879962" y="407692"/>
                </a:cubicBezTo>
                <a:cubicBezTo>
                  <a:pt x="883280" y="406489"/>
                  <a:pt x="886310" y="404371"/>
                  <a:pt x="889531" y="402735"/>
                </a:cubicBezTo>
                <a:cubicBezTo>
                  <a:pt x="891022" y="401677"/>
                  <a:pt x="892513" y="400522"/>
                  <a:pt x="894003" y="399415"/>
                </a:cubicBezTo>
                <a:lnTo>
                  <a:pt x="896215" y="397731"/>
                </a:lnTo>
                <a:lnTo>
                  <a:pt x="898139" y="395854"/>
                </a:lnTo>
                <a:cubicBezTo>
                  <a:pt x="903428" y="390946"/>
                  <a:pt x="908045" y="385172"/>
                  <a:pt x="911988" y="378868"/>
                </a:cubicBezTo>
                <a:cubicBezTo>
                  <a:pt x="920018" y="366260"/>
                  <a:pt x="923576" y="350621"/>
                  <a:pt x="923096" y="335319"/>
                </a:cubicBezTo>
                <a:cubicBezTo>
                  <a:pt x="922470" y="319921"/>
                  <a:pt x="918287" y="304763"/>
                  <a:pt x="912132" y="290471"/>
                </a:cubicBezTo>
                <a:cubicBezTo>
                  <a:pt x="899774" y="261792"/>
                  <a:pt x="880684" y="235855"/>
                  <a:pt x="859237" y="211217"/>
                </a:cubicBezTo>
                <a:cubicBezTo>
                  <a:pt x="837599" y="186676"/>
                  <a:pt x="813267" y="163530"/>
                  <a:pt x="786916" y="141443"/>
                </a:cubicBezTo>
                <a:cubicBezTo>
                  <a:pt x="760613" y="119356"/>
                  <a:pt x="732339" y="98279"/>
                  <a:pt x="702285" y="78454"/>
                </a:cubicBezTo>
                <a:cubicBezTo>
                  <a:pt x="672232" y="58724"/>
                  <a:pt x="640495" y="40054"/>
                  <a:pt x="606306" y="24367"/>
                </a:cubicBezTo>
                <a:cubicBezTo>
                  <a:pt x="589188" y="16667"/>
                  <a:pt x="571492" y="9497"/>
                  <a:pt x="552354" y="5215"/>
                </a:cubicBezTo>
                <a:cubicBezTo>
                  <a:pt x="533312" y="1173"/>
                  <a:pt x="513837" y="-175"/>
                  <a:pt x="494362" y="18"/>
                </a:cubicBezTo>
                <a:cubicBezTo>
                  <a:pt x="484601" y="114"/>
                  <a:pt x="474888" y="595"/>
                  <a:pt x="465126" y="1461"/>
                </a:cubicBezTo>
                <a:cubicBezTo>
                  <a:pt x="460269" y="1894"/>
                  <a:pt x="455365" y="2376"/>
                  <a:pt x="450508" y="2953"/>
                </a:cubicBezTo>
                <a:lnTo>
                  <a:pt x="443199" y="3916"/>
                </a:lnTo>
                <a:lnTo>
                  <a:pt x="441853" y="4108"/>
                </a:lnTo>
                <a:lnTo>
                  <a:pt x="440025" y="4252"/>
                </a:lnTo>
                <a:lnTo>
                  <a:pt x="436323" y="4541"/>
                </a:lnTo>
                <a:cubicBezTo>
                  <a:pt x="416656" y="5696"/>
                  <a:pt x="396988" y="8343"/>
                  <a:pt x="377418" y="12000"/>
                </a:cubicBezTo>
                <a:cubicBezTo>
                  <a:pt x="299086" y="26821"/>
                  <a:pt x="226332" y="58195"/>
                  <a:pt x="164205" y="100300"/>
                </a:cubicBezTo>
                <a:cubicBezTo>
                  <a:pt x="133286" y="121569"/>
                  <a:pt x="104819" y="145437"/>
                  <a:pt x="80488" y="172288"/>
                </a:cubicBezTo>
                <a:cubicBezTo>
                  <a:pt x="56012" y="198947"/>
                  <a:pt x="35768" y="228829"/>
                  <a:pt x="22112" y="260925"/>
                </a:cubicBezTo>
                <a:cubicBezTo>
                  <a:pt x="20525" y="265015"/>
                  <a:pt x="18697" y="268961"/>
                  <a:pt x="17351" y="273052"/>
                </a:cubicBezTo>
                <a:cubicBezTo>
                  <a:pt x="16005" y="277190"/>
                  <a:pt x="14562" y="281280"/>
                  <a:pt x="13312" y="285370"/>
                </a:cubicBezTo>
                <a:cubicBezTo>
                  <a:pt x="12206" y="289557"/>
                  <a:pt x="11148" y="293743"/>
                  <a:pt x="10042" y="297882"/>
                </a:cubicBezTo>
                <a:cubicBezTo>
                  <a:pt x="9176" y="302020"/>
                  <a:pt x="8311" y="306158"/>
                  <a:pt x="7445" y="310297"/>
                </a:cubicBezTo>
                <a:cubicBezTo>
                  <a:pt x="4224" y="326802"/>
                  <a:pt x="1723" y="343259"/>
                  <a:pt x="617" y="359668"/>
                </a:cubicBezTo>
                <a:cubicBezTo>
                  <a:pt x="-489" y="376077"/>
                  <a:pt x="-248" y="392486"/>
                  <a:pt x="2493" y="408462"/>
                </a:cubicBezTo>
                <a:cubicBezTo>
                  <a:pt x="5089" y="424389"/>
                  <a:pt x="10763" y="440077"/>
                  <a:pt x="20380" y="453021"/>
                </a:cubicBezTo>
                <a:close/>
              </a:path>
            </a:pathLst>
          </a:custGeom>
          <a:solidFill>
            <a:srgbClr val="29C8C1"/>
          </a:solidFill>
          <a:ln w="0" cap="flat">
            <a:noFill/>
            <a:prstDash val="solid"/>
            <a:miter/>
          </a:ln>
        </p:spPr>
        <p:txBody>
          <a:bodyPr rtlCol="0" anchor="ctr"/>
          <a:lstStyle/>
          <a:p>
            <a:pPr rtl="0"/>
            <a:endParaRPr lang="en-AU" dirty="0"/>
          </a:p>
        </p:txBody>
      </p:sp>
      <p:sp>
        <p:nvSpPr>
          <p:cNvPr id="54" name="Freeform: Shape 53">
            <a:extLst>
              <a:ext uri="{FF2B5EF4-FFF2-40B4-BE49-F238E27FC236}">
                <a16:creationId xmlns:a16="http://schemas.microsoft.com/office/drawing/2014/main" id="{CB0EA832-8DA1-CA42-14D4-4B4EC8E1B983}"/>
              </a:ext>
            </a:extLst>
          </p:cNvPr>
          <p:cNvSpPr/>
          <p:nvPr/>
        </p:nvSpPr>
        <p:spPr>
          <a:xfrm>
            <a:off x="8957286" y="2415599"/>
            <a:ext cx="445353" cy="659335"/>
          </a:xfrm>
          <a:custGeom>
            <a:avLst/>
            <a:gdLst>
              <a:gd name="connsiteX0" fmla="*/ 329431 w 445353"/>
              <a:gd name="connsiteY0" fmla="*/ 606739 h 659335"/>
              <a:gd name="connsiteX1" fmla="*/ 392616 w 445353"/>
              <a:gd name="connsiteY1" fmla="*/ 538745 h 659335"/>
              <a:gd name="connsiteX2" fmla="*/ 403339 w 445353"/>
              <a:gd name="connsiteY2" fmla="*/ 518342 h 659335"/>
              <a:gd name="connsiteX3" fmla="*/ 411850 w 445353"/>
              <a:gd name="connsiteY3" fmla="*/ 497362 h 659335"/>
              <a:gd name="connsiteX4" fmla="*/ 425169 w 445353"/>
              <a:gd name="connsiteY4" fmla="*/ 454920 h 659335"/>
              <a:gd name="connsiteX5" fmla="*/ 441182 w 445353"/>
              <a:gd name="connsiteY5" fmla="*/ 370132 h 659335"/>
              <a:gd name="connsiteX6" fmla="*/ 445029 w 445353"/>
              <a:gd name="connsiteY6" fmla="*/ 287462 h 659335"/>
              <a:gd name="connsiteX7" fmla="*/ 435604 w 445353"/>
              <a:gd name="connsiteY7" fmla="*/ 209122 h 659335"/>
              <a:gd name="connsiteX8" fmla="*/ 409446 w 445353"/>
              <a:gd name="connsiteY8" fmla="*/ 138963 h 659335"/>
              <a:gd name="connsiteX9" fmla="*/ 361408 w 445353"/>
              <a:gd name="connsiteY9" fmla="*/ 88196 h 659335"/>
              <a:gd name="connsiteX10" fmla="*/ 348184 w 445353"/>
              <a:gd name="connsiteY10" fmla="*/ 78235 h 659335"/>
              <a:gd name="connsiteX11" fmla="*/ 334816 w 445353"/>
              <a:gd name="connsiteY11" fmla="*/ 69044 h 659335"/>
              <a:gd name="connsiteX12" fmla="*/ 321449 w 445353"/>
              <a:gd name="connsiteY12" fmla="*/ 60575 h 659335"/>
              <a:gd name="connsiteX13" fmla="*/ 307984 w 445353"/>
              <a:gd name="connsiteY13" fmla="*/ 52972 h 659335"/>
              <a:gd name="connsiteX14" fmla="*/ 206187 w 445353"/>
              <a:gd name="connsiteY14" fmla="*/ 12359 h 659335"/>
              <a:gd name="connsiteX15" fmla="*/ 124201 w 445353"/>
              <a:gd name="connsiteY15" fmla="*/ 1291 h 659335"/>
              <a:gd name="connsiteX16" fmla="*/ 94243 w 445353"/>
              <a:gd name="connsiteY16" fmla="*/ 88 h 659335"/>
              <a:gd name="connsiteX17" fmla="*/ 72075 w 445353"/>
              <a:gd name="connsiteY17" fmla="*/ 954 h 659335"/>
              <a:gd name="connsiteX18" fmla="*/ 58804 w 445353"/>
              <a:gd name="connsiteY18" fmla="*/ 4419 h 659335"/>
              <a:gd name="connsiteX19" fmla="*/ 54813 w 445353"/>
              <a:gd name="connsiteY19" fmla="*/ 6825 h 659335"/>
              <a:gd name="connsiteX20" fmla="*/ 72316 w 445353"/>
              <a:gd name="connsiteY20" fmla="*/ 3072 h 659335"/>
              <a:gd name="connsiteX21" fmla="*/ 94099 w 445353"/>
              <a:gd name="connsiteY21" fmla="*/ 3264 h 659335"/>
              <a:gd name="connsiteX22" fmla="*/ 124104 w 445353"/>
              <a:gd name="connsiteY22" fmla="*/ 5429 h 659335"/>
              <a:gd name="connsiteX23" fmla="*/ 204648 w 445353"/>
              <a:gd name="connsiteY23" fmla="*/ 18085 h 659335"/>
              <a:gd name="connsiteX24" fmla="*/ 304330 w 445353"/>
              <a:gd name="connsiteY24" fmla="*/ 59516 h 659335"/>
              <a:gd name="connsiteX25" fmla="*/ 317457 w 445353"/>
              <a:gd name="connsiteY25" fmla="*/ 67119 h 659335"/>
              <a:gd name="connsiteX26" fmla="*/ 330489 w 445353"/>
              <a:gd name="connsiteY26" fmla="*/ 75589 h 659335"/>
              <a:gd name="connsiteX27" fmla="*/ 343472 w 445353"/>
              <a:gd name="connsiteY27" fmla="*/ 84731 h 659335"/>
              <a:gd name="connsiteX28" fmla="*/ 356311 w 445353"/>
              <a:gd name="connsiteY28" fmla="*/ 94596 h 659335"/>
              <a:gd name="connsiteX29" fmla="*/ 401992 w 445353"/>
              <a:gd name="connsiteY29" fmla="*/ 143631 h 659335"/>
              <a:gd name="connsiteX30" fmla="*/ 406128 w 445353"/>
              <a:gd name="connsiteY30" fmla="*/ 151185 h 659335"/>
              <a:gd name="connsiteX31" fmla="*/ 408195 w 445353"/>
              <a:gd name="connsiteY31" fmla="*/ 154987 h 659335"/>
              <a:gd name="connsiteX32" fmla="*/ 409878 w 445353"/>
              <a:gd name="connsiteY32" fmla="*/ 159077 h 659335"/>
              <a:gd name="connsiteX33" fmla="*/ 416562 w 445353"/>
              <a:gd name="connsiteY33" fmla="*/ 175727 h 659335"/>
              <a:gd name="connsiteX34" fmla="*/ 421948 w 445353"/>
              <a:gd name="connsiteY34" fmla="*/ 193194 h 659335"/>
              <a:gd name="connsiteX35" fmla="*/ 424544 w 445353"/>
              <a:gd name="connsiteY35" fmla="*/ 202048 h 659335"/>
              <a:gd name="connsiteX36" fmla="*/ 426468 w 445353"/>
              <a:gd name="connsiteY36" fmla="*/ 211191 h 659335"/>
              <a:gd name="connsiteX37" fmla="*/ 435220 w 445353"/>
              <a:gd name="connsiteY37" fmla="*/ 287750 h 659335"/>
              <a:gd name="connsiteX38" fmla="*/ 431084 w 445353"/>
              <a:gd name="connsiteY38" fmla="*/ 368929 h 659335"/>
              <a:gd name="connsiteX39" fmla="*/ 415072 w 445353"/>
              <a:gd name="connsiteY39" fmla="*/ 452225 h 659335"/>
              <a:gd name="connsiteX40" fmla="*/ 401944 w 445353"/>
              <a:gd name="connsiteY40" fmla="*/ 493705 h 659335"/>
              <a:gd name="connsiteX41" fmla="*/ 393673 w 445353"/>
              <a:gd name="connsiteY41" fmla="*/ 513963 h 659335"/>
              <a:gd name="connsiteX42" fmla="*/ 383479 w 445353"/>
              <a:gd name="connsiteY42" fmla="*/ 533259 h 659335"/>
              <a:gd name="connsiteX43" fmla="*/ 322939 w 445353"/>
              <a:gd name="connsiteY43" fmla="*/ 598270 h 659335"/>
              <a:gd name="connsiteX44" fmla="*/ 244271 w 445353"/>
              <a:gd name="connsiteY44" fmla="*/ 639942 h 659335"/>
              <a:gd name="connsiteX45" fmla="*/ 159448 w 445353"/>
              <a:gd name="connsiteY45" fmla="*/ 645764 h 659335"/>
              <a:gd name="connsiteX46" fmla="*/ 120834 w 445353"/>
              <a:gd name="connsiteY46" fmla="*/ 630895 h 659335"/>
              <a:gd name="connsiteX47" fmla="*/ 103908 w 445353"/>
              <a:gd name="connsiteY47" fmla="*/ 619346 h 659335"/>
              <a:gd name="connsiteX48" fmla="*/ 89338 w 445353"/>
              <a:gd name="connsiteY48" fmla="*/ 605344 h 659335"/>
              <a:gd name="connsiteX49" fmla="*/ 49619 w 445353"/>
              <a:gd name="connsiteY49" fmla="*/ 536002 h 659335"/>
              <a:gd name="connsiteX50" fmla="*/ 27740 w 445353"/>
              <a:gd name="connsiteY50" fmla="*/ 461897 h 659335"/>
              <a:gd name="connsiteX51" fmla="*/ 15526 w 445353"/>
              <a:gd name="connsiteY51" fmla="*/ 389669 h 659335"/>
              <a:gd name="connsiteX52" fmla="*/ 7544 w 445353"/>
              <a:gd name="connsiteY52" fmla="*/ 258253 h 659335"/>
              <a:gd name="connsiteX53" fmla="*/ 25673 w 445353"/>
              <a:gd name="connsiteY53" fmla="*/ 68707 h 659335"/>
              <a:gd name="connsiteX54" fmla="*/ 43320 w 445353"/>
              <a:gd name="connsiteY54" fmla="*/ 20395 h 659335"/>
              <a:gd name="connsiteX55" fmla="*/ 54813 w 445353"/>
              <a:gd name="connsiteY55" fmla="*/ 6777 h 659335"/>
              <a:gd name="connsiteX56" fmla="*/ 50725 w 445353"/>
              <a:gd name="connsiteY56" fmla="*/ 9038 h 659335"/>
              <a:gd name="connsiteX57" fmla="*/ 41541 w 445353"/>
              <a:gd name="connsiteY57" fmla="*/ 19240 h 659335"/>
              <a:gd name="connsiteX58" fmla="*/ 21682 w 445353"/>
              <a:gd name="connsiteY58" fmla="*/ 67649 h 659335"/>
              <a:gd name="connsiteX59" fmla="*/ 43 w 445353"/>
              <a:gd name="connsiteY59" fmla="*/ 258205 h 659335"/>
              <a:gd name="connsiteX60" fmla="*/ 6823 w 445353"/>
              <a:gd name="connsiteY60" fmla="*/ 390728 h 659335"/>
              <a:gd name="connsiteX61" fmla="*/ 18652 w 445353"/>
              <a:gd name="connsiteY61" fmla="*/ 463870 h 659335"/>
              <a:gd name="connsiteX62" fmla="*/ 40531 w 445353"/>
              <a:gd name="connsiteY62" fmla="*/ 539563 h 659335"/>
              <a:gd name="connsiteX63" fmla="*/ 81789 w 445353"/>
              <a:gd name="connsiteY63" fmla="*/ 612080 h 659335"/>
              <a:gd name="connsiteX64" fmla="*/ 97513 w 445353"/>
              <a:gd name="connsiteY64" fmla="*/ 627334 h 659335"/>
              <a:gd name="connsiteX65" fmla="*/ 115689 w 445353"/>
              <a:gd name="connsiteY65" fmla="*/ 639846 h 659335"/>
              <a:gd name="connsiteX66" fmla="*/ 157332 w 445353"/>
              <a:gd name="connsiteY66" fmla="*/ 655966 h 659335"/>
              <a:gd name="connsiteX67" fmla="*/ 247493 w 445353"/>
              <a:gd name="connsiteY67" fmla="*/ 650047 h 659335"/>
              <a:gd name="connsiteX68" fmla="*/ 329479 w 445353"/>
              <a:gd name="connsiteY68" fmla="*/ 606739 h 65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5353" h="659335">
                <a:moveTo>
                  <a:pt x="329431" y="606739"/>
                </a:moveTo>
                <a:cubicBezTo>
                  <a:pt x="354291" y="587635"/>
                  <a:pt x="376411" y="565163"/>
                  <a:pt x="392616" y="538745"/>
                </a:cubicBezTo>
                <a:cubicBezTo>
                  <a:pt x="396799" y="532201"/>
                  <a:pt x="399828" y="525127"/>
                  <a:pt x="403339" y="518342"/>
                </a:cubicBezTo>
                <a:cubicBezTo>
                  <a:pt x="406176" y="511317"/>
                  <a:pt x="409349" y="504436"/>
                  <a:pt x="411850" y="497362"/>
                </a:cubicBezTo>
                <a:cubicBezTo>
                  <a:pt x="417043" y="483263"/>
                  <a:pt x="421419" y="469115"/>
                  <a:pt x="425169" y="454920"/>
                </a:cubicBezTo>
                <a:cubicBezTo>
                  <a:pt x="432719" y="426529"/>
                  <a:pt x="438009" y="398138"/>
                  <a:pt x="441182" y="370132"/>
                </a:cubicBezTo>
                <a:cubicBezTo>
                  <a:pt x="444308" y="342126"/>
                  <a:pt x="446135" y="314457"/>
                  <a:pt x="445029" y="287462"/>
                </a:cubicBezTo>
                <a:cubicBezTo>
                  <a:pt x="444019" y="260514"/>
                  <a:pt x="441615" y="234145"/>
                  <a:pt x="435604" y="209122"/>
                </a:cubicBezTo>
                <a:cubicBezTo>
                  <a:pt x="429738" y="184100"/>
                  <a:pt x="422188" y="160280"/>
                  <a:pt x="409446" y="138963"/>
                </a:cubicBezTo>
                <a:cubicBezTo>
                  <a:pt x="396222" y="118127"/>
                  <a:pt x="378815" y="102103"/>
                  <a:pt x="361408" y="88196"/>
                </a:cubicBezTo>
                <a:cubicBezTo>
                  <a:pt x="357176" y="84539"/>
                  <a:pt x="352608" y="81459"/>
                  <a:pt x="348184" y="78235"/>
                </a:cubicBezTo>
                <a:cubicBezTo>
                  <a:pt x="343760" y="75059"/>
                  <a:pt x="339433" y="71787"/>
                  <a:pt x="334816" y="69044"/>
                </a:cubicBezTo>
                <a:cubicBezTo>
                  <a:pt x="330296" y="66205"/>
                  <a:pt x="325824" y="63366"/>
                  <a:pt x="321449" y="60575"/>
                </a:cubicBezTo>
                <a:cubicBezTo>
                  <a:pt x="316880" y="58025"/>
                  <a:pt x="312408" y="55474"/>
                  <a:pt x="307984" y="52972"/>
                </a:cubicBezTo>
                <a:cubicBezTo>
                  <a:pt x="272353" y="33147"/>
                  <a:pt x="237443" y="20539"/>
                  <a:pt x="206187" y="12359"/>
                </a:cubicBezTo>
                <a:cubicBezTo>
                  <a:pt x="174883" y="4226"/>
                  <a:pt x="146897" y="1387"/>
                  <a:pt x="124201" y="1291"/>
                </a:cubicBezTo>
                <a:cubicBezTo>
                  <a:pt x="113045" y="1195"/>
                  <a:pt x="102995" y="280"/>
                  <a:pt x="94243" y="88"/>
                </a:cubicBezTo>
                <a:cubicBezTo>
                  <a:pt x="85492" y="-153"/>
                  <a:pt x="78038" y="88"/>
                  <a:pt x="72075" y="954"/>
                </a:cubicBezTo>
                <a:cubicBezTo>
                  <a:pt x="66113" y="1772"/>
                  <a:pt x="61641" y="3120"/>
                  <a:pt x="58804" y="4419"/>
                </a:cubicBezTo>
                <a:cubicBezTo>
                  <a:pt x="56015" y="5718"/>
                  <a:pt x="54716" y="6729"/>
                  <a:pt x="54813" y="6825"/>
                </a:cubicBezTo>
                <a:cubicBezTo>
                  <a:pt x="55053" y="7306"/>
                  <a:pt x="60487" y="3890"/>
                  <a:pt x="72316" y="3072"/>
                </a:cubicBezTo>
                <a:cubicBezTo>
                  <a:pt x="78182" y="2590"/>
                  <a:pt x="85492" y="2687"/>
                  <a:pt x="94099" y="3264"/>
                </a:cubicBezTo>
                <a:cubicBezTo>
                  <a:pt x="102754" y="3793"/>
                  <a:pt x="112660" y="4996"/>
                  <a:pt x="124104" y="5429"/>
                </a:cubicBezTo>
                <a:cubicBezTo>
                  <a:pt x="146560" y="6151"/>
                  <a:pt x="173921" y="9568"/>
                  <a:pt x="204648" y="18085"/>
                </a:cubicBezTo>
                <a:cubicBezTo>
                  <a:pt x="235279" y="26650"/>
                  <a:pt x="269516" y="39595"/>
                  <a:pt x="304330" y="59516"/>
                </a:cubicBezTo>
                <a:cubicBezTo>
                  <a:pt x="308658" y="62019"/>
                  <a:pt x="313034" y="64569"/>
                  <a:pt x="317457" y="67119"/>
                </a:cubicBezTo>
                <a:cubicBezTo>
                  <a:pt x="321737" y="69910"/>
                  <a:pt x="326113" y="72749"/>
                  <a:pt x="330489" y="75589"/>
                </a:cubicBezTo>
                <a:cubicBezTo>
                  <a:pt x="334961" y="78331"/>
                  <a:pt x="339144" y="81556"/>
                  <a:pt x="343472" y="84731"/>
                </a:cubicBezTo>
                <a:cubicBezTo>
                  <a:pt x="347751" y="87907"/>
                  <a:pt x="352223" y="90987"/>
                  <a:pt x="356311" y="94596"/>
                </a:cubicBezTo>
                <a:cubicBezTo>
                  <a:pt x="373141" y="108262"/>
                  <a:pt x="389875" y="124094"/>
                  <a:pt x="401992" y="143631"/>
                </a:cubicBezTo>
                <a:cubicBezTo>
                  <a:pt x="403387" y="146133"/>
                  <a:pt x="404733" y="148635"/>
                  <a:pt x="406128" y="151185"/>
                </a:cubicBezTo>
                <a:lnTo>
                  <a:pt x="408195" y="154987"/>
                </a:lnTo>
                <a:cubicBezTo>
                  <a:pt x="408820" y="156286"/>
                  <a:pt x="409301" y="157730"/>
                  <a:pt x="409878" y="159077"/>
                </a:cubicBezTo>
                <a:cubicBezTo>
                  <a:pt x="412090" y="164563"/>
                  <a:pt x="414302" y="170145"/>
                  <a:pt x="416562" y="175727"/>
                </a:cubicBezTo>
                <a:cubicBezTo>
                  <a:pt x="418726" y="181357"/>
                  <a:pt x="420121" y="187324"/>
                  <a:pt x="421948" y="193194"/>
                </a:cubicBezTo>
                <a:cubicBezTo>
                  <a:pt x="422813" y="196130"/>
                  <a:pt x="423679" y="199113"/>
                  <a:pt x="424544" y="202048"/>
                </a:cubicBezTo>
                <a:cubicBezTo>
                  <a:pt x="425169" y="205080"/>
                  <a:pt x="425795" y="208111"/>
                  <a:pt x="426468" y="211191"/>
                </a:cubicBezTo>
                <a:cubicBezTo>
                  <a:pt x="432190" y="235492"/>
                  <a:pt x="434354" y="261332"/>
                  <a:pt x="435220" y="287750"/>
                </a:cubicBezTo>
                <a:cubicBezTo>
                  <a:pt x="436181" y="314217"/>
                  <a:pt x="434210" y="341404"/>
                  <a:pt x="431084" y="368929"/>
                </a:cubicBezTo>
                <a:cubicBezTo>
                  <a:pt x="427862" y="396502"/>
                  <a:pt x="422573" y="424412"/>
                  <a:pt x="415072" y="452225"/>
                </a:cubicBezTo>
                <a:cubicBezTo>
                  <a:pt x="411369" y="466132"/>
                  <a:pt x="406993" y="479990"/>
                  <a:pt x="401944" y="493705"/>
                </a:cubicBezTo>
                <a:cubicBezTo>
                  <a:pt x="399492" y="500586"/>
                  <a:pt x="396414" y="507178"/>
                  <a:pt x="393673" y="513963"/>
                </a:cubicBezTo>
                <a:cubicBezTo>
                  <a:pt x="390307" y="520363"/>
                  <a:pt x="387422" y="527148"/>
                  <a:pt x="383479" y="533259"/>
                </a:cubicBezTo>
                <a:cubicBezTo>
                  <a:pt x="368188" y="558138"/>
                  <a:pt x="346886" y="579888"/>
                  <a:pt x="322939" y="598270"/>
                </a:cubicBezTo>
                <a:cubicBezTo>
                  <a:pt x="298848" y="616604"/>
                  <a:pt x="272209" y="631088"/>
                  <a:pt x="244271" y="639942"/>
                </a:cubicBezTo>
                <a:cubicBezTo>
                  <a:pt x="216381" y="648796"/>
                  <a:pt x="186904" y="651683"/>
                  <a:pt x="159448" y="645764"/>
                </a:cubicBezTo>
                <a:cubicBezTo>
                  <a:pt x="145743" y="642877"/>
                  <a:pt x="132712" y="637825"/>
                  <a:pt x="120834" y="630895"/>
                </a:cubicBezTo>
                <a:cubicBezTo>
                  <a:pt x="114872" y="627527"/>
                  <a:pt x="109246" y="623533"/>
                  <a:pt x="103908" y="619346"/>
                </a:cubicBezTo>
                <a:cubicBezTo>
                  <a:pt x="98619" y="615160"/>
                  <a:pt x="93858" y="610300"/>
                  <a:pt x="89338" y="605344"/>
                </a:cubicBezTo>
                <a:cubicBezTo>
                  <a:pt x="71450" y="584940"/>
                  <a:pt x="59237" y="560447"/>
                  <a:pt x="49619" y="536002"/>
                </a:cubicBezTo>
                <a:cubicBezTo>
                  <a:pt x="40002" y="511413"/>
                  <a:pt x="33174" y="486438"/>
                  <a:pt x="27740" y="461897"/>
                </a:cubicBezTo>
                <a:cubicBezTo>
                  <a:pt x="22355" y="437356"/>
                  <a:pt x="18460" y="413152"/>
                  <a:pt x="15526" y="389669"/>
                </a:cubicBezTo>
                <a:cubicBezTo>
                  <a:pt x="9708" y="342704"/>
                  <a:pt x="7641" y="298529"/>
                  <a:pt x="7544" y="258253"/>
                </a:cubicBezTo>
                <a:cubicBezTo>
                  <a:pt x="7448" y="177651"/>
                  <a:pt x="15094" y="112401"/>
                  <a:pt x="25673" y="68707"/>
                </a:cubicBezTo>
                <a:cubicBezTo>
                  <a:pt x="30962" y="46861"/>
                  <a:pt x="37213" y="30452"/>
                  <a:pt x="43320" y="20395"/>
                </a:cubicBezTo>
                <a:cubicBezTo>
                  <a:pt x="49283" y="10193"/>
                  <a:pt x="55101" y="7210"/>
                  <a:pt x="54813" y="6777"/>
                </a:cubicBezTo>
                <a:cubicBezTo>
                  <a:pt x="54765" y="6681"/>
                  <a:pt x="53274" y="7210"/>
                  <a:pt x="50725" y="9038"/>
                </a:cubicBezTo>
                <a:cubicBezTo>
                  <a:pt x="48177" y="10867"/>
                  <a:pt x="44955" y="14235"/>
                  <a:pt x="41541" y="19240"/>
                </a:cubicBezTo>
                <a:cubicBezTo>
                  <a:pt x="34617" y="29201"/>
                  <a:pt x="27644" y="45754"/>
                  <a:pt x="21682" y="67649"/>
                </a:cubicBezTo>
                <a:cubicBezTo>
                  <a:pt x="9708" y="111534"/>
                  <a:pt x="908" y="177074"/>
                  <a:pt x="43" y="258205"/>
                </a:cubicBezTo>
                <a:cubicBezTo>
                  <a:pt x="-294" y="298770"/>
                  <a:pt x="1293" y="343281"/>
                  <a:pt x="6823" y="390728"/>
                </a:cubicBezTo>
                <a:cubicBezTo>
                  <a:pt x="9612" y="414451"/>
                  <a:pt x="13315" y="438896"/>
                  <a:pt x="18652" y="463870"/>
                </a:cubicBezTo>
                <a:cubicBezTo>
                  <a:pt x="23990" y="488796"/>
                  <a:pt x="30818" y="514300"/>
                  <a:pt x="40531" y="539563"/>
                </a:cubicBezTo>
                <a:cubicBezTo>
                  <a:pt x="50341" y="564730"/>
                  <a:pt x="62747" y="590186"/>
                  <a:pt x="81789" y="612080"/>
                </a:cubicBezTo>
                <a:cubicBezTo>
                  <a:pt x="86646" y="617470"/>
                  <a:pt x="91743" y="622715"/>
                  <a:pt x="97513" y="627334"/>
                </a:cubicBezTo>
                <a:cubicBezTo>
                  <a:pt x="103283" y="631906"/>
                  <a:pt x="109246" y="636188"/>
                  <a:pt x="115689" y="639846"/>
                </a:cubicBezTo>
                <a:cubicBezTo>
                  <a:pt x="128480" y="647304"/>
                  <a:pt x="142569" y="652838"/>
                  <a:pt x="157332" y="655966"/>
                </a:cubicBezTo>
                <a:cubicBezTo>
                  <a:pt x="186904" y="662366"/>
                  <a:pt x="218256" y="659238"/>
                  <a:pt x="247493" y="650047"/>
                </a:cubicBezTo>
                <a:cubicBezTo>
                  <a:pt x="276825" y="640760"/>
                  <a:pt x="304474" y="625698"/>
                  <a:pt x="329479" y="606739"/>
                </a:cubicBezTo>
                <a:close/>
              </a:path>
            </a:pathLst>
          </a:custGeom>
          <a:solidFill>
            <a:srgbClr val="29C8C1"/>
          </a:solidFill>
          <a:ln w="0"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8C3504EF-A181-16F0-B789-E67F0370DDB4}"/>
              </a:ext>
            </a:extLst>
          </p:cNvPr>
          <p:cNvSpPr/>
          <p:nvPr/>
        </p:nvSpPr>
        <p:spPr>
          <a:xfrm>
            <a:off x="8909108" y="2347897"/>
            <a:ext cx="566309" cy="793267"/>
          </a:xfrm>
          <a:custGeom>
            <a:avLst/>
            <a:gdLst>
              <a:gd name="connsiteX0" fmla="*/ 2346 w 566309"/>
              <a:gd name="connsiteY0" fmla="*/ 298958 h 793267"/>
              <a:gd name="connsiteX1" fmla="*/ 6049 w 566309"/>
              <a:gd name="connsiteY1" fmla="*/ 347416 h 793267"/>
              <a:gd name="connsiteX2" fmla="*/ 13069 w 566309"/>
              <a:gd name="connsiteY2" fmla="*/ 440047 h 793267"/>
              <a:gd name="connsiteX3" fmla="*/ 33650 w 566309"/>
              <a:gd name="connsiteY3" fmla="*/ 605917 h 793267"/>
              <a:gd name="connsiteX4" fmla="*/ 53606 w 566309"/>
              <a:gd name="connsiteY4" fmla="*/ 676365 h 793267"/>
              <a:gd name="connsiteX5" fmla="*/ 85390 w 566309"/>
              <a:gd name="connsiteY5" fmla="*/ 733676 h 793267"/>
              <a:gd name="connsiteX6" fmla="*/ 128523 w 566309"/>
              <a:gd name="connsiteY6" fmla="*/ 771065 h 793267"/>
              <a:gd name="connsiteX7" fmla="*/ 140016 w 566309"/>
              <a:gd name="connsiteY7" fmla="*/ 777032 h 793267"/>
              <a:gd name="connsiteX8" fmla="*/ 151412 w 566309"/>
              <a:gd name="connsiteY8" fmla="*/ 781796 h 793267"/>
              <a:gd name="connsiteX9" fmla="*/ 162568 w 566309"/>
              <a:gd name="connsiteY9" fmla="*/ 785309 h 793267"/>
              <a:gd name="connsiteX10" fmla="*/ 167954 w 566309"/>
              <a:gd name="connsiteY10" fmla="*/ 786897 h 793267"/>
              <a:gd name="connsiteX11" fmla="*/ 173291 w 566309"/>
              <a:gd name="connsiteY11" fmla="*/ 788052 h 793267"/>
              <a:gd name="connsiteX12" fmla="*/ 238928 w 566309"/>
              <a:gd name="connsiteY12" fmla="*/ 792960 h 793267"/>
              <a:gd name="connsiteX13" fmla="*/ 255951 w 566309"/>
              <a:gd name="connsiteY13" fmla="*/ 791420 h 793267"/>
              <a:gd name="connsiteX14" fmla="*/ 261721 w 566309"/>
              <a:gd name="connsiteY14" fmla="*/ 790506 h 793267"/>
              <a:gd name="connsiteX15" fmla="*/ 255855 w 566309"/>
              <a:gd name="connsiteY15" fmla="*/ 790314 h 793267"/>
              <a:gd name="connsiteX16" fmla="*/ 238832 w 566309"/>
              <a:gd name="connsiteY16" fmla="*/ 790795 h 793267"/>
              <a:gd name="connsiteX17" fmla="*/ 174205 w 566309"/>
              <a:gd name="connsiteY17" fmla="*/ 783962 h 793267"/>
              <a:gd name="connsiteX18" fmla="*/ 169012 w 566309"/>
              <a:gd name="connsiteY18" fmla="*/ 782710 h 793267"/>
              <a:gd name="connsiteX19" fmla="*/ 163770 w 566309"/>
              <a:gd name="connsiteY19" fmla="*/ 781026 h 793267"/>
              <a:gd name="connsiteX20" fmla="*/ 152951 w 566309"/>
              <a:gd name="connsiteY20" fmla="*/ 777369 h 793267"/>
              <a:gd name="connsiteX21" fmla="*/ 141987 w 566309"/>
              <a:gd name="connsiteY21" fmla="*/ 772509 h 793267"/>
              <a:gd name="connsiteX22" fmla="*/ 131024 w 566309"/>
              <a:gd name="connsiteY22" fmla="*/ 766542 h 793267"/>
              <a:gd name="connsiteX23" fmla="*/ 90055 w 566309"/>
              <a:gd name="connsiteY23" fmla="*/ 729875 h 793267"/>
              <a:gd name="connsiteX24" fmla="*/ 59905 w 566309"/>
              <a:gd name="connsiteY24" fmla="*/ 673815 h 793267"/>
              <a:gd name="connsiteX25" fmla="*/ 41007 w 566309"/>
              <a:gd name="connsiteY25" fmla="*/ 604329 h 793267"/>
              <a:gd name="connsiteX26" fmla="*/ 21869 w 566309"/>
              <a:gd name="connsiteY26" fmla="*/ 439277 h 793267"/>
              <a:gd name="connsiteX27" fmla="*/ 15377 w 566309"/>
              <a:gd name="connsiteY27" fmla="*/ 346646 h 793267"/>
              <a:gd name="connsiteX28" fmla="*/ 11915 w 566309"/>
              <a:gd name="connsiteY28" fmla="*/ 298237 h 793267"/>
              <a:gd name="connsiteX29" fmla="*/ 9896 w 566309"/>
              <a:gd name="connsiteY29" fmla="*/ 248625 h 793267"/>
              <a:gd name="connsiteX30" fmla="*/ 14608 w 566309"/>
              <a:gd name="connsiteY30" fmla="*/ 145985 h 793267"/>
              <a:gd name="connsiteX31" fmla="*/ 24033 w 566309"/>
              <a:gd name="connsiteY31" fmla="*/ 94063 h 793267"/>
              <a:gd name="connsiteX32" fmla="*/ 43363 w 566309"/>
              <a:gd name="connsiteY32" fmla="*/ 44980 h 793267"/>
              <a:gd name="connsiteX33" fmla="*/ 60145 w 566309"/>
              <a:gd name="connsiteY33" fmla="*/ 25877 h 793267"/>
              <a:gd name="connsiteX34" fmla="*/ 71205 w 566309"/>
              <a:gd name="connsiteY34" fmla="*/ 19910 h 793267"/>
              <a:gd name="connsiteX35" fmla="*/ 77360 w 566309"/>
              <a:gd name="connsiteY35" fmla="*/ 17648 h 793267"/>
              <a:gd name="connsiteX36" fmla="*/ 83756 w 566309"/>
              <a:gd name="connsiteY36" fmla="*/ 15771 h 793267"/>
              <a:gd name="connsiteX37" fmla="*/ 138189 w 566309"/>
              <a:gd name="connsiteY37" fmla="*/ 10622 h 793267"/>
              <a:gd name="connsiteX38" fmla="*/ 251094 w 566309"/>
              <a:gd name="connsiteY38" fmla="*/ 25877 h 793267"/>
              <a:gd name="connsiteX39" fmla="*/ 362172 w 566309"/>
              <a:gd name="connsiteY39" fmla="*/ 54508 h 793267"/>
              <a:gd name="connsiteX40" fmla="*/ 389293 w 566309"/>
              <a:gd name="connsiteY40" fmla="*/ 62496 h 793267"/>
              <a:gd name="connsiteX41" fmla="*/ 402757 w 566309"/>
              <a:gd name="connsiteY41" fmla="*/ 66490 h 793267"/>
              <a:gd name="connsiteX42" fmla="*/ 406123 w 566309"/>
              <a:gd name="connsiteY42" fmla="*/ 67500 h 793267"/>
              <a:gd name="connsiteX43" fmla="*/ 409056 w 566309"/>
              <a:gd name="connsiteY43" fmla="*/ 68367 h 793267"/>
              <a:gd name="connsiteX44" fmla="*/ 410691 w 566309"/>
              <a:gd name="connsiteY44" fmla="*/ 68511 h 793267"/>
              <a:gd name="connsiteX45" fmla="*/ 411412 w 566309"/>
              <a:gd name="connsiteY45" fmla="*/ 68174 h 793267"/>
              <a:gd name="connsiteX46" fmla="*/ 412133 w 566309"/>
              <a:gd name="connsiteY46" fmla="*/ 67982 h 793267"/>
              <a:gd name="connsiteX47" fmla="*/ 415067 w 566309"/>
              <a:gd name="connsiteY47" fmla="*/ 66538 h 793267"/>
              <a:gd name="connsiteX48" fmla="*/ 416028 w 566309"/>
              <a:gd name="connsiteY48" fmla="*/ 65864 h 793267"/>
              <a:gd name="connsiteX49" fmla="*/ 416605 w 566309"/>
              <a:gd name="connsiteY49" fmla="*/ 65480 h 793267"/>
              <a:gd name="connsiteX50" fmla="*/ 418866 w 566309"/>
              <a:gd name="connsiteY50" fmla="*/ 64277 h 793267"/>
              <a:gd name="connsiteX51" fmla="*/ 420645 w 566309"/>
              <a:gd name="connsiteY51" fmla="*/ 63795 h 793267"/>
              <a:gd name="connsiteX52" fmla="*/ 421222 w 566309"/>
              <a:gd name="connsiteY52" fmla="*/ 63795 h 793267"/>
              <a:gd name="connsiteX53" fmla="*/ 421414 w 566309"/>
              <a:gd name="connsiteY53" fmla="*/ 63795 h 793267"/>
              <a:gd name="connsiteX54" fmla="*/ 422135 w 566309"/>
              <a:gd name="connsiteY54" fmla="*/ 64036 h 793267"/>
              <a:gd name="connsiteX55" fmla="*/ 428387 w 566309"/>
              <a:gd name="connsiteY55" fmla="*/ 66153 h 793267"/>
              <a:gd name="connsiteX56" fmla="*/ 434494 w 566309"/>
              <a:gd name="connsiteY56" fmla="*/ 68703 h 793267"/>
              <a:gd name="connsiteX57" fmla="*/ 440408 w 566309"/>
              <a:gd name="connsiteY57" fmla="*/ 71639 h 793267"/>
              <a:gd name="connsiteX58" fmla="*/ 461950 w 566309"/>
              <a:gd name="connsiteY58" fmla="*/ 86797 h 793267"/>
              <a:gd name="connsiteX59" fmla="*/ 494889 w 566309"/>
              <a:gd name="connsiteY59" fmla="*/ 127891 h 793267"/>
              <a:gd name="connsiteX60" fmla="*/ 517297 w 566309"/>
              <a:gd name="connsiteY60" fmla="*/ 175338 h 793267"/>
              <a:gd name="connsiteX61" fmla="*/ 543264 w 566309"/>
              <a:gd name="connsiteY61" fmla="*/ 274417 h 793267"/>
              <a:gd name="connsiteX62" fmla="*/ 557160 w 566309"/>
              <a:gd name="connsiteY62" fmla="*/ 464155 h 793267"/>
              <a:gd name="connsiteX63" fmla="*/ 552304 w 566309"/>
              <a:gd name="connsiteY63" fmla="*/ 550338 h 793267"/>
              <a:gd name="connsiteX64" fmla="*/ 546582 w 566309"/>
              <a:gd name="connsiteY64" fmla="*/ 590471 h 793267"/>
              <a:gd name="connsiteX65" fmla="*/ 542206 w 566309"/>
              <a:gd name="connsiteY65" fmla="*/ 609430 h 793267"/>
              <a:gd name="connsiteX66" fmla="*/ 539176 w 566309"/>
              <a:gd name="connsiteY66" fmla="*/ 618284 h 793267"/>
              <a:gd name="connsiteX67" fmla="*/ 535426 w 566309"/>
              <a:gd name="connsiteY67" fmla="*/ 626753 h 793267"/>
              <a:gd name="connsiteX68" fmla="*/ 514941 w 566309"/>
              <a:gd name="connsiteY68" fmla="*/ 656684 h 793267"/>
              <a:gd name="connsiteX69" fmla="*/ 490225 w 566309"/>
              <a:gd name="connsiteY69" fmla="*/ 681273 h 793267"/>
              <a:gd name="connsiteX70" fmla="*/ 438340 w 566309"/>
              <a:gd name="connsiteY70" fmla="*/ 719192 h 793267"/>
              <a:gd name="connsiteX71" fmla="*/ 346208 w 566309"/>
              <a:gd name="connsiteY71" fmla="*/ 765724 h 793267"/>
              <a:gd name="connsiteX72" fmla="*/ 284081 w 566309"/>
              <a:gd name="connsiteY72" fmla="*/ 785886 h 793267"/>
              <a:gd name="connsiteX73" fmla="*/ 261721 w 566309"/>
              <a:gd name="connsiteY73" fmla="*/ 790554 h 793267"/>
              <a:gd name="connsiteX74" fmla="*/ 267588 w 566309"/>
              <a:gd name="connsiteY74" fmla="*/ 790410 h 793267"/>
              <a:gd name="connsiteX75" fmla="*/ 284562 w 566309"/>
              <a:gd name="connsiteY75" fmla="*/ 788004 h 793267"/>
              <a:gd name="connsiteX76" fmla="*/ 347747 w 566309"/>
              <a:gd name="connsiteY76" fmla="*/ 769574 h 793267"/>
              <a:gd name="connsiteX77" fmla="*/ 441514 w 566309"/>
              <a:gd name="connsiteY77" fmla="*/ 724244 h 793267"/>
              <a:gd name="connsiteX78" fmla="*/ 494697 w 566309"/>
              <a:gd name="connsiteY78" fmla="*/ 686422 h 793267"/>
              <a:gd name="connsiteX79" fmla="*/ 520375 w 566309"/>
              <a:gd name="connsiteY79" fmla="*/ 661400 h 793267"/>
              <a:gd name="connsiteX80" fmla="*/ 542206 w 566309"/>
              <a:gd name="connsiteY80" fmla="*/ 630170 h 793267"/>
              <a:gd name="connsiteX81" fmla="*/ 546341 w 566309"/>
              <a:gd name="connsiteY81" fmla="*/ 621123 h 793267"/>
              <a:gd name="connsiteX82" fmla="*/ 549707 w 566309"/>
              <a:gd name="connsiteY82" fmla="*/ 611643 h 793267"/>
              <a:gd name="connsiteX83" fmla="*/ 554420 w 566309"/>
              <a:gd name="connsiteY83" fmla="*/ 592058 h 793267"/>
              <a:gd name="connsiteX84" fmla="*/ 560574 w 566309"/>
              <a:gd name="connsiteY84" fmla="*/ 551301 h 793267"/>
              <a:gd name="connsiteX85" fmla="*/ 566104 w 566309"/>
              <a:gd name="connsiteY85" fmla="*/ 464396 h 793267"/>
              <a:gd name="connsiteX86" fmla="*/ 553025 w 566309"/>
              <a:gd name="connsiteY86" fmla="*/ 272829 h 793267"/>
              <a:gd name="connsiteX87" fmla="*/ 526914 w 566309"/>
              <a:gd name="connsiteY87" fmla="*/ 171825 h 793267"/>
              <a:gd name="connsiteX88" fmla="*/ 503881 w 566309"/>
              <a:gd name="connsiteY88" fmla="*/ 122646 h 793267"/>
              <a:gd name="connsiteX89" fmla="*/ 468971 w 566309"/>
              <a:gd name="connsiteY89" fmla="*/ 79001 h 793267"/>
              <a:gd name="connsiteX90" fmla="*/ 445505 w 566309"/>
              <a:gd name="connsiteY90" fmla="*/ 62400 h 793267"/>
              <a:gd name="connsiteX91" fmla="*/ 439014 w 566309"/>
              <a:gd name="connsiteY91" fmla="*/ 59128 h 793267"/>
              <a:gd name="connsiteX92" fmla="*/ 432281 w 566309"/>
              <a:gd name="connsiteY92" fmla="*/ 56289 h 793267"/>
              <a:gd name="connsiteX93" fmla="*/ 425357 w 566309"/>
              <a:gd name="connsiteY93" fmla="*/ 53931 h 793267"/>
              <a:gd name="connsiteX94" fmla="*/ 424395 w 566309"/>
              <a:gd name="connsiteY94" fmla="*/ 53642 h 793267"/>
              <a:gd name="connsiteX95" fmla="*/ 422857 w 566309"/>
              <a:gd name="connsiteY95" fmla="*/ 53305 h 793267"/>
              <a:gd name="connsiteX96" fmla="*/ 419923 w 566309"/>
              <a:gd name="connsiteY96" fmla="*/ 53257 h 793267"/>
              <a:gd name="connsiteX97" fmla="*/ 414971 w 566309"/>
              <a:gd name="connsiteY97" fmla="*/ 54508 h 793267"/>
              <a:gd name="connsiteX98" fmla="*/ 411076 w 566309"/>
              <a:gd name="connsiteY98" fmla="*/ 56577 h 793267"/>
              <a:gd name="connsiteX99" fmla="*/ 409729 w 566309"/>
              <a:gd name="connsiteY99" fmla="*/ 57492 h 793267"/>
              <a:gd name="connsiteX100" fmla="*/ 405931 w 566309"/>
              <a:gd name="connsiteY100" fmla="*/ 56385 h 793267"/>
              <a:gd name="connsiteX101" fmla="*/ 392467 w 566309"/>
              <a:gd name="connsiteY101" fmla="*/ 52391 h 793267"/>
              <a:gd name="connsiteX102" fmla="*/ 365298 w 566309"/>
              <a:gd name="connsiteY102" fmla="*/ 44355 h 793267"/>
              <a:gd name="connsiteX103" fmla="*/ 253498 w 566309"/>
              <a:gd name="connsiteY103" fmla="*/ 15483 h 793267"/>
              <a:gd name="connsiteX104" fmla="*/ 138573 w 566309"/>
              <a:gd name="connsiteY104" fmla="*/ 36 h 793267"/>
              <a:gd name="connsiteX105" fmla="*/ 81207 w 566309"/>
              <a:gd name="connsiteY105" fmla="*/ 5618 h 793267"/>
              <a:gd name="connsiteX106" fmla="*/ 74187 w 566309"/>
              <a:gd name="connsiteY106" fmla="*/ 7735 h 793267"/>
              <a:gd name="connsiteX107" fmla="*/ 67310 w 566309"/>
              <a:gd name="connsiteY107" fmla="*/ 10286 h 793267"/>
              <a:gd name="connsiteX108" fmla="*/ 60530 w 566309"/>
              <a:gd name="connsiteY108" fmla="*/ 13413 h 793267"/>
              <a:gd name="connsiteX109" fmla="*/ 54039 w 566309"/>
              <a:gd name="connsiteY109" fmla="*/ 17552 h 793267"/>
              <a:gd name="connsiteX110" fmla="*/ 34564 w 566309"/>
              <a:gd name="connsiteY110" fmla="*/ 39639 h 793267"/>
              <a:gd name="connsiteX111" fmla="*/ 14127 w 566309"/>
              <a:gd name="connsiteY111" fmla="*/ 91657 h 793267"/>
              <a:gd name="connsiteX112" fmla="*/ 4606 w 566309"/>
              <a:gd name="connsiteY112" fmla="*/ 144926 h 793267"/>
              <a:gd name="connsiteX113" fmla="*/ 182 w 566309"/>
              <a:gd name="connsiteY113" fmla="*/ 248962 h 793267"/>
              <a:gd name="connsiteX114" fmla="*/ 2394 w 566309"/>
              <a:gd name="connsiteY114" fmla="*/ 299055 h 79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66309" h="793267">
                <a:moveTo>
                  <a:pt x="2346" y="298958"/>
                </a:moveTo>
                <a:cubicBezTo>
                  <a:pt x="3596" y="315319"/>
                  <a:pt x="4798" y="331488"/>
                  <a:pt x="6049" y="347416"/>
                </a:cubicBezTo>
                <a:cubicBezTo>
                  <a:pt x="8453" y="379271"/>
                  <a:pt x="10809" y="410164"/>
                  <a:pt x="13069" y="440047"/>
                </a:cubicBezTo>
                <a:cubicBezTo>
                  <a:pt x="17974" y="499812"/>
                  <a:pt x="23408" y="555631"/>
                  <a:pt x="33650" y="605917"/>
                </a:cubicBezTo>
                <a:cubicBezTo>
                  <a:pt x="38795" y="631036"/>
                  <a:pt x="45191" y="654711"/>
                  <a:pt x="53606" y="676365"/>
                </a:cubicBezTo>
                <a:cubicBezTo>
                  <a:pt x="62021" y="697971"/>
                  <a:pt x="72551" y="717556"/>
                  <a:pt x="85390" y="733676"/>
                </a:cubicBezTo>
                <a:cubicBezTo>
                  <a:pt x="98133" y="749844"/>
                  <a:pt x="113184" y="762356"/>
                  <a:pt x="128523" y="771065"/>
                </a:cubicBezTo>
                <a:cubicBezTo>
                  <a:pt x="132467" y="773086"/>
                  <a:pt x="136073" y="775444"/>
                  <a:pt x="140016" y="777032"/>
                </a:cubicBezTo>
                <a:cubicBezTo>
                  <a:pt x="143911" y="778668"/>
                  <a:pt x="147710" y="780256"/>
                  <a:pt x="151412" y="781796"/>
                </a:cubicBezTo>
                <a:cubicBezTo>
                  <a:pt x="155211" y="783096"/>
                  <a:pt x="158962" y="784154"/>
                  <a:pt x="162568" y="785309"/>
                </a:cubicBezTo>
                <a:cubicBezTo>
                  <a:pt x="164395" y="785838"/>
                  <a:pt x="166174" y="786512"/>
                  <a:pt x="167954" y="786897"/>
                </a:cubicBezTo>
                <a:cubicBezTo>
                  <a:pt x="169781" y="787282"/>
                  <a:pt x="171560" y="787667"/>
                  <a:pt x="173291" y="788052"/>
                </a:cubicBezTo>
                <a:cubicBezTo>
                  <a:pt x="201470" y="794163"/>
                  <a:pt x="223974" y="793441"/>
                  <a:pt x="238928" y="792960"/>
                </a:cubicBezTo>
                <a:cubicBezTo>
                  <a:pt x="246430" y="792479"/>
                  <a:pt x="252152" y="791805"/>
                  <a:pt x="255951" y="791420"/>
                </a:cubicBezTo>
                <a:cubicBezTo>
                  <a:pt x="259798" y="790987"/>
                  <a:pt x="261721" y="790698"/>
                  <a:pt x="261721" y="790506"/>
                </a:cubicBezTo>
                <a:cubicBezTo>
                  <a:pt x="261721" y="790314"/>
                  <a:pt x="259701" y="790265"/>
                  <a:pt x="255855" y="790314"/>
                </a:cubicBezTo>
                <a:cubicBezTo>
                  <a:pt x="252008" y="790410"/>
                  <a:pt x="246334" y="790554"/>
                  <a:pt x="238832" y="790795"/>
                </a:cubicBezTo>
                <a:cubicBezTo>
                  <a:pt x="223926" y="790602"/>
                  <a:pt x="201662" y="790602"/>
                  <a:pt x="174205" y="783962"/>
                </a:cubicBezTo>
                <a:cubicBezTo>
                  <a:pt x="172474" y="783577"/>
                  <a:pt x="170743" y="783144"/>
                  <a:pt x="169012" y="782710"/>
                </a:cubicBezTo>
                <a:cubicBezTo>
                  <a:pt x="167281" y="782277"/>
                  <a:pt x="165550" y="781604"/>
                  <a:pt x="163770" y="781026"/>
                </a:cubicBezTo>
                <a:cubicBezTo>
                  <a:pt x="160260" y="779823"/>
                  <a:pt x="156605" y="778717"/>
                  <a:pt x="152951" y="777369"/>
                </a:cubicBezTo>
                <a:cubicBezTo>
                  <a:pt x="149393" y="775781"/>
                  <a:pt x="145738" y="774193"/>
                  <a:pt x="141987" y="772509"/>
                </a:cubicBezTo>
                <a:cubicBezTo>
                  <a:pt x="138237" y="770921"/>
                  <a:pt x="134775" y="768563"/>
                  <a:pt x="131024" y="766542"/>
                </a:cubicBezTo>
                <a:cubicBezTo>
                  <a:pt x="116406" y="757880"/>
                  <a:pt x="102124" y="745658"/>
                  <a:pt x="90055" y="729875"/>
                </a:cubicBezTo>
                <a:cubicBezTo>
                  <a:pt x="77889" y="714139"/>
                  <a:pt x="67887" y="695036"/>
                  <a:pt x="59905" y="673815"/>
                </a:cubicBezTo>
                <a:cubicBezTo>
                  <a:pt x="51923" y="652545"/>
                  <a:pt x="45864" y="629159"/>
                  <a:pt x="41007" y="604329"/>
                </a:cubicBezTo>
                <a:cubicBezTo>
                  <a:pt x="31390" y="554525"/>
                  <a:pt x="26341" y="498946"/>
                  <a:pt x="21869" y="439277"/>
                </a:cubicBezTo>
                <a:cubicBezTo>
                  <a:pt x="19753" y="409394"/>
                  <a:pt x="17589" y="378453"/>
                  <a:pt x="15377" y="346646"/>
                </a:cubicBezTo>
                <a:cubicBezTo>
                  <a:pt x="14223" y="330718"/>
                  <a:pt x="13117" y="314598"/>
                  <a:pt x="11915" y="298237"/>
                </a:cubicBezTo>
                <a:cubicBezTo>
                  <a:pt x="10905" y="281924"/>
                  <a:pt x="10184" y="265371"/>
                  <a:pt x="9896" y="248625"/>
                </a:cubicBezTo>
                <a:cubicBezTo>
                  <a:pt x="9415" y="215133"/>
                  <a:pt x="10377" y="180679"/>
                  <a:pt x="14608" y="145985"/>
                </a:cubicBezTo>
                <a:cubicBezTo>
                  <a:pt x="16676" y="128661"/>
                  <a:pt x="19657" y="111242"/>
                  <a:pt x="24033" y="94063"/>
                </a:cubicBezTo>
                <a:cubicBezTo>
                  <a:pt x="28505" y="77028"/>
                  <a:pt x="34227" y="59898"/>
                  <a:pt x="43363" y="44980"/>
                </a:cubicBezTo>
                <a:cubicBezTo>
                  <a:pt x="47883" y="37570"/>
                  <a:pt x="53413" y="30737"/>
                  <a:pt x="60145" y="25877"/>
                </a:cubicBezTo>
                <a:cubicBezTo>
                  <a:pt x="63367" y="23278"/>
                  <a:pt x="67118" y="21642"/>
                  <a:pt x="71205" y="19910"/>
                </a:cubicBezTo>
                <a:cubicBezTo>
                  <a:pt x="73128" y="18947"/>
                  <a:pt x="75292" y="18370"/>
                  <a:pt x="77360" y="17648"/>
                </a:cubicBezTo>
                <a:cubicBezTo>
                  <a:pt x="79428" y="16926"/>
                  <a:pt x="81543" y="16204"/>
                  <a:pt x="83756" y="15771"/>
                </a:cubicBezTo>
                <a:cubicBezTo>
                  <a:pt x="101066" y="11200"/>
                  <a:pt x="119627" y="10334"/>
                  <a:pt x="138189" y="10622"/>
                </a:cubicBezTo>
                <a:cubicBezTo>
                  <a:pt x="175503" y="11585"/>
                  <a:pt x="213299" y="17889"/>
                  <a:pt x="251094" y="25877"/>
                </a:cubicBezTo>
                <a:cubicBezTo>
                  <a:pt x="288890" y="34009"/>
                  <a:pt x="325916" y="43970"/>
                  <a:pt x="362172" y="54508"/>
                </a:cubicBezTo>
                <a:cubicBezTo>
                  <a:pt x="371261" y="57155"/>
                  <a:pt x="380253" y="59849"/>
                  <a:pt x="389293" y="62496"/>
                </a:cubicBezTo>
                <a:cubicBezTo>
                  <a:pt x="393813" y="63843"/>
                  <a:pt x="398285" y="65191"/>
                  <a:pt x="402757" y="66490"/>
                </a:cubicBezTo>
                <a:lnTo>
                  <a:pt x="406123" y="67500"/>
                </a:lnTo>
                <a:lnTo>
                  <a:pt x="409056" y="68367"/>
                </a:lnTo>
                <a:cubicBezTo>
                  <a:pt x="409633" y="68511"/>
                  <a:pt x="410162" y="68559"/>
                  <a:pt x="410691" y="68511"/>
                </a:cubicBezTo>
                <a:cubicBezTo>
                  <a:pt x="410931" y="68367"/>
                  <a:pt x="411268" y="68800"/>
                  <a:pt x="411412" y="68174"/>
                </a:cubicBezTo>
                <a:lnTo>
                  <a:pt x="412133" y="67982"/>
                </a:lnTo>
                <a:cubicBezTo>
                  <a:pt x="413143" y="67837"/>
                  <a:pt x="414153" y="67260"/>
                  <a:pt x="415067" y="66538"/>
                </a:cubicBezTo>
                <a:lnTo>
                  <a:pt x="416028" y="65864"/>
                </a:lnTo>
                <a:lnTo>
                  <a:pt x="416605" y="65480"/>
                </a:lnTo>
                <a:cubicBezTo>
                  <a:pt x="417375" y="64998"/>
                  <a:pt x="418144" y="64565"/>
                  <a:pt x="418866" y="64277"/>
                </a:cubicBezTo>
                <a:cubicBezTo>
                  <a:pt x="419587" y="63940"/>
                  <a:pt x="420212" y="63843"/>
                  <a:pt x="420645" y="63795"/>
                </a:cubicBezTo>
                <a:lnTo>
                  <a:pt x="421222" y="63795"/>
                </a:lnTo>
                <a:cubicBezTo>
                  <a:pt x="421222" y="63795"/>
                  <a:pt x="421414" y="63795"/>
                  <a:pt x="421414" y="63795"/>
                </a:cubicBezTo>
                <a:lnTo>
                  <a:pt x="422135" y="64036"/>
                </a:lnTo>
                <a:lnTo>
                  <a:pt x="428387" y="66153"/>
                </a:lnTo>
                <a:lnTo>
                  <a:pt x="434494" y="68703"/>
                </a:lnTo>
                <a:cubicBezTo>
                  <a:pt x="436513" y="69570"/>
                  <a:pt x="438437" y="70676"/>
                  <a:pt x="440408" y="71639"/>
                </a:cubicBezTo>
                <a:cubicBezTo>
                  <a:pt x="448150" y="75825"/>
                  <a:pt x="455314" y="80974"/>
                  <a:pt x="461950" y="86797"/>
                </a:cubicBezTo>
                <a:cubicBezTo>
                  <a:pt x="475174" y="98442"/>
                  <a:pt x="485897" y="112782"/>
                  <a:pt x="494889" y="127891"/>
                </a:cubicBezTo>
                <a:cubicBezTo>
                  <a:pt x="503881" y="143001"/>
                  <a:pt x="511142" y="159073"/>
                  <a:pt x="517297" y="175338"/>
                </a:cubicBezTo>
                <a:cubicBezTo>
                  <a:pt x="529511" y="207963"/>
                  <a:pt x="537445" y="241455"/>
                  <a:pt x="543264" y="274417"/>
                </a:cubicBezTo>
                <a:cubicBezTo>
                  <a:pt x="554660" y="340438"/>
                  <a:pt x="557833" y="404486"/>
                  <a:pt x="557160" y="464155"/>
                </a:cubicBezTo>
                <a:cubicBezTo>
                  <a:pt x="556728" y="493989"/>
                  <a:pt x="555189" y="522814"/>
                  <a:pt x="552304" y="550338"/>
                </a:cubicBezTo>
                <a:cubicBezTo>
                  <a:pt x="550813" y="564101"/>
                  <a:pt x="549034" y="577526"/>
                  <a:pt x="546582" y="590471"/>
                </a:cubicBezTo>
                <a:cubicBezTo>
                  <a:pt x="545331" y="596919"/>
                  <a:pt x="543937" y="603319"/>
                  <a:pt x="542206" y="609430"/>
                </a:cubicBezTo>
                <a:cubicBezTo>
                  <a:pt x="541340" y="612509"/>
                  <a:pt x="540330" y="615445"/>
                  <a:pt x="539176" y="618284"/>
                </a:cubicBezTo>
                <a:cubicBezTo>
                  <a:pt x="538167" y="621219"/>
                  <a:pt x="536820" y="624010"/>
                  <a:pt x="535426" y="626753"/>
                </a:cubicBezTo>
                <a:cubicBezTo>
                  <a:pt x="529896" y="637773"/>
                  <a:pt x="522683" y="647685"/>
                  <a:pt x="514941" y="656684"/>
                </a:cubicBezTo>
                <a:cubicBezTo>
                  <a:pt x="507151" y="665682"/>
                  <a:pt x="498832" y="673911"/>
                  <a:pt x="490225" y="681273"/>
                </a:cubicBezTo>
                <a:cubicBezTo>
                  <a:pt x="473058" y="696142"/>
                  <a:pt x="455411" y="708557"/>
                  <a:pt x="438340" y="719192"/>
                </a:cubicBezTo>
                <a:cubicBezTo>
                  <a:pt x="404103" y="740413"/>
                  <a:pt x="372511" y="755186"/>
                  <a:pt x="346208" y="765724"/>
                </a:cubicBezTo>
                <a:cubicBezTo>
                  <a:pt x="319857" y="776262"/>
                  <a:pt x="298651" y="782518"/>
                  <a:pt x="284081" y="785886"/>
                </a:cubicBezTo>
                <a:cubicBezTo>
                  <a:pt x="269511" y="789303"/>
                  <a:pt x="261673" y="790073"/>
                  <a:pt x="261721" y="790554"/>
                </a:cubicBezTo>
                <a:cubicBezTo>
                  <a:pt x="261721" y="790747"/>
                  <a:pt x="263693" y="790698"/>
                  <a:pt x="267588" y="790410"/>
                </a:cubicBezTo>
                <a:cubicBezTo>
                  <a:pt x="271434" y="790073"/>
                  <a:pt x="277157" y="789399"/>
                  <a:pt x="284562" y="788004"/>
                </a:cubicBezTo>
                <a:cubicBezTo>
                  <a:pt x="299372" y="785261"/>
                  <a:pt x="320915" y="779583"/>
                  <a:pt x="347747" y="769574"/>
                </a:cubicBezTo>
                <a:cubicBezTo>
                  <a:pt x="374482" y="759517"/>
                  <a:pt x="406603" y="745225"/>
                  <a:pt x="441514" y="724244"/>
                </a:cubicBezTo>
                <a:cubicBezTo>
                  <a:pt x="458921" y="713754"/>
                  <a:pt x="477001" y="701387"/>
                  <a:pt x="494697" y="686422"/>
                </a:cubicBezTo>
                <a:cubicBezTo>
                  <a:pt x="503593" y="678963"/>
                  <a:pt x="512200" y="670639"/>
                  <a:pt x="520375" y="661400"/>
                </a:cubicBezTo>
                <a:cubicBezTo>
                  <a:pt x="528501" y="652160"/>
                  <a:pt x="536195" y="641911"/>
                  <a:pt x="542206" y="630170"/>
                </a:cubicBezTo>
                <a:cubicBezTo>
                  <a:pt x="543696" y="627234"/>
                  <a:pt x="545187" y="624251"/>
                  <a:pt x="546341" y="621123"/>
                </a:cubicBezTo>
                <a:cubicBezTo>
                  <a:pt x="547639" y="618043"/>
                  <a:pt x="548745" y="614867"/>
                  <a:pt x="549707" y="611643"/>
                </a:cubicBezTo>
                <a:cubicBezTo>
                  <a:pt x="551582" y="605243"/>
                  <a:pt x="553073" y="598699"/>
                  <a:pt x="554420" y="592058"/>
                </a:cubicBezTo>
                <a:cubicBezTo>
                  <a:pt x="557064" y="578825"/>
                  <a:pt x="558987" y="565207"/>
                  <a:pt x="560574" y="551301"/>
                </a:cubicBezTo>
                <a:cubicBezTo>
                  <a:pt x="563700" y="523487"/>
                  <a:pt x="565479" y="494471"/>
                  <a:pt x="566104" y="464396"/>
                </a:cubicBezTo>
                <a:cubicBezTo>
                  <a:pt x="567162" y="404245"/>
                  <a:pt x="564325" y="339764"/>
                  <a:pt x="553025" y="272829"/>
                </a:cubicBezTo>
                <a:cubicBezTo>
                  <a:pt x="547255" y="239434"/>
                  <a:pt x="539369" y="205365"/>
                  <a:pt x="526914" y="171825"/>
                </a:cubicBezTo>
                <a:cubicBezTo>
                  <a:pt x="520663" y="155079"/>
                  <a:pt x="513258" y="138478"/>
                  <a:pt x="503881" y="122646"/>
                </a:cubicBezTo>
                <a:cubicBezTo>
                  <a:pt x="494553" y="106863"/>
                  <a:pt x="483252" y="91657"/>
                  <a:pt x="468971" y="79001"/>
                </a:cubicBezTo>
                <a:cubicBezTo>
                  <a:pt x="461854" y="72698"/>
                  <a:pt x="454016" y="67019"/>
                  <a:pt x="445505" y="62400"/>
                </a:cubicBezTo>
                <a:cubicBezTo>
                  <a:pt x="443341" y="61293"/>
                  <a:pt x="441225" y="60138"/>
                  <a:pt x="439014" y="59128"/>
                </a:cubicBezTo>
                <a:lnTo>
                  <a:pt x="432281" y="56289"/>
                </a:lnTo>
                <a:lnTo>
                  <a:pt x="425357" y="53931"/>
                </a:lnTo>
                <a:cubicBezTo>
                  <a:pt x="425020" y="53834"/>
                  <a:pt x="424876" y="53738"/>
                  <a:pt x="424395" y="53642"/>
                </a:cubicBezTo>
                <a:lnTo>
                  <a:pt x="422857" y="53305"/>
                </a:lnTo>
                <a:cubicBezTo>
                  <a:pt x="421847" y="53209"/>
                  <a:pt x="420837" y="53161"/>
                  <a:pt x="419923" y="53257"/>
                </a:cubicBezTo>
                <a:cubicBezTo>
                  <a:pt x="418048" y="53401"/>
                  <a:pt x="416413" y="53883"/>
                  <a:pt x="414971" y="54508"/>
                </a:cubicBezTo>
                <a:cubicBezTo>
                  <a:pt x="413528" y="55086"/>
                  <a:pt x="412230" y="55807"/>
                  <a:pt x="411076" y="56577"/>
                </a:cubicBezTo>
                <a:lnTo>
                  <a:pt x="409729" y="57492"/>
                </a:lnTo>
                <a:lnTo>
                  <a:pt x="405931" y="56385"/>
                </a:lnTo>
                <a:cubicBezTo>
                  <a:pt x="401459" y="55037"/>
                  <a:pt x="396938" y="53690"/>
                  <a:pt x="392467" y="52391"/>
                </a:cubicBezTo>
                <a:cubicBezTo>
                  <a:pt x="383426" y="49744"/>
                  <a:pt x="374386" y="47049"/>
                  <a:pt x="365298" y="44355"/>
                </a:cubicBezTo>
                <a:cubicBezTo>
                  <a:pt x="328897" y="33720"/>
                  <a:pt x="291679" y="23711"/>
                  <a:pt x="253498" y="15483"/>
                </a:cubicBezTo>
                <a:cubicBezTo>
                  <a:pt x="215318" y="7398"/>
                  <a:pt x="176994" y="998"/>
                  <a:pt x="138573" y="36"/>
                </a:cubicBezTo>
                <a:cubicBezTo>
                  <a:pt x="119387" y="-205"/>
                  <a:pt x="100056" y="662"/>
                  <a:pt x="81207" y="5618"/>
                </a:cubicBezTo>
                <a:cubicBezTo>
                  <a:pt x="78851" y="6147"/>
                  <a:pt x="76543" y="6917"/>
                  <a:pt x="74187" y="7735"/>
                </a:cubicBezTo>
                <a:cubicBezTo>
                  <a:pt x="71878" y="8553"/>
                  <a:pt x="69522" y="9179"/>
                  <a:pt x="67310" y="10286"/>
                </a:cubicBezTo>
                <a:cubicBezTo>
                  <a:pt x="65050" y="11344"/>
                  <a:pt x="62790" y="12162"/>
                  <a:pt x="60530" y="13413"/>
                </a:cubicBezTo>
                <a:cubicBezTo>
                  <a:pt x="58270" y="14713"/>
                  <a:pt x="56010" y="15964"/>
                  <a:pt x="54039" y="17552"/>
                </a:cubicBezTo>
                <a:cubicBezTo>
                  <a:pt x="45816" y="23615"/>
                  <a:pt x="39565" y="31459"/>
                  <a:pt x="34564" y="39639"/>
                </a:cubicBezTo>
                <a:cubicBezTo>
                  <a:pt x="24562" y="56096"/>
                  <a:pt x="18743" y="73949"/>
                  <a:pt x="14127" y="91657"/>
                </a:cubicBezTo>
                <a:cubicBezTo>
                  <a:pt x="9655" y="109413"/>
                  <a:pt x="6674" y="127218"/>
                  <a:pt x="4606" y="144926"/>
                </a:cubicBezTo>
                <a:cubicBezTo>
                  <a:pt x="423" y="180294"/>
                  <a:pt x="-443" y="215085"/>
                  <a:pt x="182" y="248962"/>
                </a:cubicBezTo>
                <a:cubicBezTo>
                  <a:pt x="519" y="265900"/>
                  <a:pt x="1288" y="282598"/>
                  <a:pt x="2394" y="299055"/>
                </a:cubicBezTo>
                <a:close/>
              </a:path>
            </a:pathLst>
          </a:custGeom>
          <a:solidFill>
            <a:srgbClr val="29C8C1"/>
          </a:solidFill>
          <a:ln w="0" cap="flat">
            <a:noFill/>
            <a:prstDash val="solid"/>
            <a:miter/>
          </a:ln>
        </p:spPr>
        <p:txBody>
          <a:bodyPr rtlCol="0" anchor="ctr"/>
          <a:lstStyle/>
          <a:p>
            <a:pPr rtl="0"/>
            <a:endParaRPr lang="en-AU" dirty="0"/>
          </a:p>
        </p:txBody>
      </p:sp>
      <p:sp>
        <p:nvSpPr>
          <p:cNvPr id="56" name="Freeform: Shape 55">
            <a:extLst>
              <a:ext uri="{FF2B5EF4-FFF2-40B4-BE49-F238E27FC236}">
                <a16:creationId xmlns:a16="http://schemas.microsoft.com/office/drawing/2014/main" id="{C43C6B4F-0BA5-F9A1-83A8-C7CD5BD0496B}"/>
              </a:ext>
            </a:extLst>
          </p:cNvPr>
          <p:cNvSpPr/>
          <p:nvPr/>
        </p:nvSpPr>
        <p:spPr>
          <a:xfrm>
            <a:off x="9135050" y="2655604"/>
            <a:ext cx="48445" cy="75613"/>
          </a:xfrm>
          <a:custGeom>
            <a:avLst/>
            <a:gdLst>
              <a:gd name="connsiteX0" fmla="*/ 14141 w 48445"/>
              <a:gd name="connsiteY0" fmla="*/ 69399 h 75613"/>
              <a:gd name="connsiteX1" fmla="*/ 22700 w 48445"/>
              <a:gd name="connsiteY1" fmla="*/ 74211 h 75613"/>
              <a:gd name="connsiteX2" fmla="*/ 34193 w 48445"/>
              <a:gd name="connsiteY2" fmla="*/ 75077 h 75613"/>
              <a:gd name="connsiteX3" fmla="*/ 43810 w 48445"/>
              <a:gd name="connsiteY3" fmla="*/ 67330 h 75613"/>
              <a:gd name="connsiteX4" fmla="*/ 48426 w 48445"/>
              <a:gd name="connsiteY4" fmla="*/ 48226 h 75613"/>
              <a:gd name="connsiteX5" fmla="*/ 46791 w 48445"/>
              <a:gd name="connsiteY5" fmla="*/ 31240 h 75613"/>
              <a:gd name="connsiteX6" fmla="*/ 34385 w 48445"/>
              <a:gd name="connsiteY6" fmla="*/ 4870 h 75613"/>
              <a:gd name="connsiteX7" fmla="*/ 22460 w 48445"/>
              <a:gd name="connsiteY7" fmla="*/ 106 h 75613"/>
              <a:gd name="connsiteX8" fmla="*/ 14237 w 48445"/>
              <a:gd name="connsiteY8" fmla="*/ 4485 h 75613"/>
              <a:gd name="connsiteX9" fmla="*/ 11208 w 48445"/>
              <a:gd name="connsiteY9" fmla="*/ 8912 h 75613"/>
              <a:gd name="connsiteX10" fmla="*/ 10871 w 48445"/>
              <a:gd name="connsiteY10" fmla="*/ 10933 h 75613"/>
              <a:gd name="connsiteX11" fmla="*/ 12843 w 48445"/>
              <a:gd name="connsiteY11" fmla="*/ 10356 h 75613"/>
              <a:gd name="connsiteX12" fmla="*/ 16834 w 48445"/>
              <a:gd name="connsiteY12" fmla="*/ 7805 h 75613"/>
              <a:gd name="connsiteX13" fmla="*/ 22748 w 48445"/>
              <a:gd name="connsiteY13" fmla="*/ 6121 h 75613"/>
              <a:gd name="connsiteX14" fmla="*/ 28855 w 48445"/>
              <a:gd name="connsiteY14" fmla="*/ 10067 h 75613"/>
              <a:gd name="connsiteX15" fmla="*/ 37126 w 48445"/>
              <a:gd name="connsiteY15" fmla="*/ 33068 h 75613"/>
              <a:gd name="connsiteX16" fmla="*/ 37992 w 48445"/>
              <a:gd name="connsiteY16" fmla="*/ 47937 h 75613"/>
              <a:gd name="connsiteX17" fmla="*/ 34722 w 48445"/>
              <a:gd name="connsiteY17" fmla="*/ 61892 h 75613"/>
              <a:gd name="connsiteX18" fmla="*/ 31308 w 48445"/>
              <a:gd name="connsiteY18" fmla="*/ 64972 h 75613"/>
              <a:gd name="connsiteX19" fmla="*/ 26259 w 48445"/>
              <a:gd name="connsiteY19" fmla="*/ 64491 h 75613"/>
              <a:gd name="connsiteX20" fmla="*/ 16064 w 48445"/>
              <a:gd name="connsiteY20" fmla="*/ 56936 h 75613"/>
              <a:gd name="connsiteX21" fmla="*/ 7601 w 48445"/>
              <a:gd name="connsiteY21" fmla="*/ 34320 h 75613"/>
              <a:gd name="connsiteX22" fmla="*/ 10919 w 48445"/>
              <a:gd name="connsiteY22" fmla="*/ 11029 h 75613"/>
              <a:gd name="connsiteX23" fmla="*/ 9044 w 48445"/>
              <a:gd name="connsiteY23" fmla="*/ 11847 h 75613"/>
              <a:gd name="connsiteX24" fmla="*/ 5534 w 48445"/>
              <a:gd name="connsiteY24" fmla="*/ 15841 h 75613"/>
              <a:gd name="connsiteX25" fmla="*/ 4 w 48445"/>
              <a:gd name="connsiteY25" fmla="*/ 34560 h 75613"/>
              <a:gd name="connsiteX26" fmla="*/ 8034 w 48445"/>
              <a:gd name="connsiteY26" fmla="*/ 62759 h 75613"/>
              <a:gd name="connsiteX27" fmla="*/ 14189 w 48445"/>
              <a:gd name="connsiteY27" fmla="*/ 69592 h 7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445" h="75613">
                <a:moveTo>
                  <a:pt x="14141" y="69399"/>
                </a:moveTo>
                <a:cubicBezTo>
                  <a:pt x="16834" y="71516"/>
                  <a:pt x="19431" y="73008"/>
                  <a:pt x="22700" y="74211"/>
                </a:cubicBezTo>
                <a:cubicBezTo>
                  <a:pt x="25778" y="75510"/>
                  <a:pt x="29961" y="76136"/>
                  <a:pt x="34193" y="75077"/>
                </a:cubicBezTo>
                <a:cubicBezTo>
                  <a:pt x="38665" y="73970"/>
                  <a:pt x="41887" y="70506"/>
                  <a:pt x="43810" y="67330"/>
                </a:cubicBezTo>
                <a:cubicBezTo>
                  <a:pt x="47705" y="60641"/>
                  <a:pt x="48138" y="54193"/>
                  <a:pt x="48426" y="48226"/>
                </a:cubicBezTo>
                <a:cubicBezTo>
                  <a:pt x="48571" y="42211"/>
                  <a:pt x="47897" y="36533"/>
                  <a:pt x="46791" y="31240"/>
                </a:cubicBezTo>
                <a:cubicBezTo>
                  <a:pt x="44531" y="20701"/>
                  <a:pt x="40829" y="11366"/>
                  <a:pt x="34385" y="4870"/>
                </a:cubicBezTo>
                <a:cubicBezTo>
                  <a:pt x="31260" y="1694"/>
                  <a:pt x="26595" y="-519"/>
                  <a:pt x="22460" y="106"/>
                </a:cubicBezTo>
                <a:cubicBezTo>
                  <a:pt x="18421" y="684"/>
                  <a:pt x="15824" y="2801"/>
                  <a:pt x="14237" y="4485"/>
                </a:cubicBezTo>
                <a:cubicBezTo>
                  <a:pt x="12554" y="6217"/>
                  <a:pt x="11689" y="7757"/>
                  <a:pt x="11208" y="8912"/>
                </a:cubicBezTo>
                <a:cubicBezTo>
                  <a:pt x="10679" y="10019"/>
                  <a:pt x="10583" y="10692"/>
                  <a:pt x="10871" y="10933"/>
                </a:cubicBezTo>
                <a:cubicBezTo>
                  <a:pt x="11160" y="11174"/>
                  <a:pt x="11833" y="10933"/>
                  <a:pt x="12843" y="10356"/>
                </a:cubicBezTo>
                <a:cubicBezTo>
                  <a:pt x="13805" y="9730"/>
                  <a:pt x="15103" y="8720"/>
                  <a:pt x="16834" y="7805"/>
                </a:cubicBezTo>
                <a:cubicBezTo>
                  <a:pt x="18469" y="6795"/>
                  <a:pt x="20681" y="5977"/>
                  <a:pt x="22748" y="6121"/>
                </a:cubicBezTo>
                <a:cubicBezTo>
                  <a:pt x="24816" y="6265"/>
                  <a:pt x="26884" y="7565"/>
                  <a:pt x="28855" y="10067"/>
                </a:cubicBezTo>
                <a:cubicBezTo>
                  <a:pt x="32798" y="15120"/>
                  <a:pt x="35684" y="23637"/>
                  <a:pt x="37126" y="33068"/>
                </a:cubicBezTo>
                <a:cubicBezTo>
                  <a:pt x="37847" y="37784"/>
                  <a:pt x="38184" y="42837"/>
                  <a:pt x="37992" y="47937"/>
                </a:cubicBezTo>
                <a:cubicBezTo>
                  <a:pt x="37751" y="52894"/>
                  <a:pt x="36886" y="58331"/>
                  <a:pt x="34722" y="61892"/>
                </a:cubicBezTo>
                <a:cubicBezTo>
                  <a:pt x="33616" y="63625"/>
                  <a:pt x="32558" y="64731"/>
                  <a:pt x="31308" y="64972"/>
                </a:cubicBezTo>
                <a:cubicBezTo>
                  <a:pt x="30009" y="65213"/>
                  <a:pt x="28278" y="65309"/>
                  <a:pt x="26259" y="64491"/>
                </a:cubicBezTo>
                <a:cubicBezTo>
                  <a:pt x="21979" y="62951"/>
                  <a:pt x="18709" y="60593"/>
                  <a:pt x="16064" y="56936"/>
                </a:cubicBezTo>
                <a:cubicBezTo>
                  <a:pt x="10679" y="49862"/>
                  <a:pt x="8371" y="41297"/>
                  <a:pt x="7601" y="34320"/>
                </a:cubicBezTo>
                <a:cubicBezTo>
                  <a:pt x="6303" y="19980"/>
                  <a:pt x="12410" y="11992"/>
                  <a:pt x="10919" y="11029"/>
                </a:cubicBezTo>
                <a:cubicBezTo>
                  <a:pt x="10631" y="10789"/>
                  <a:pt x="10006" y="11029"/>
                  <a:pt x="9044" y="11847"/>
                </a:cubicBezTo>
                <a:cubicBezTo>
                  <a:pt x="8082" y="12617"/>
                  <a:pt x="6784" y="13868"/>
                  <a:pt x="5534" y="15841"/>
                </a:cubicBezTo>
                <a:cubicBezTo>
                  <a:pt x="2937" y="19643"/>
                  <a:pt x="292" y="26139"/>
                  <a:pt x="4" y="34560"/>
                </a:cubicBezTo>
                <a:cubicBezTo>
                  <a:pt x="-92" y="42885"/>
                  <a:pt x="1542" y="53086"/>
                  <a:pt x="8034" y="62759"/>
                </a:cubicBezTo>
                <a:cubicBezTo>
                  <a:pt x="9669" y="65165"/>
                  <a:pt x="11689" y="67474"/>
                  <a:pt x="14189" y="69592"/>
                </a:cubicBezTo>
                <a:close/>
              </a:path>
            </a:pathLst>
          </a:custGeom>
          <a:solidFill>
            <a:srgbClr val="29C8C1"/>
          </a:solidFill>
          <a:ln w="0" cap="flat">
            <a:noFill/>
            <a:prstDash val="solid"/>
            <a:miter/>
          </a:ln>
        </p:spPr>
        <p:txBody>
          <a:bodyPr rtlCol="0" anchor="ctr"/>
          <a:lstStyle/>
          <a:p>
            <a:pPr rtl="0"/>
            <a:endParaRPr lang="en-AU" dirty="0"/>
          </a:p>
        </p:txBody>
      </p:sp>
      <p:sp>
        <p:nvSpPr>
          <p:cNvPr id="57" name="Freeform: Shape 56">
            <a:extLst>
              <a:ext uri="{FF2B5EF4-FFF2-40B4-BE49-F238E27FC236}">
                <a16:creationId xmlns:a16="http://schemas.microsoft.com/office/drawing/2014/main" id="{F2B2AFB1-0FC6-38F2-D7C9-D4AEFD71CFE0}"/>
              </a:ext>
            </a:extLst>
          </p:cNvPr>
          <p:cNvSpPr/>
          <p:nvPr/>
        </p:nvSpPr>
        <p:spPr>
          <a:xfrm>
            <a:off x="9019016" y="2480736"/>
            <a:ext cx="273028" cy="491037"/>
          </a:xfrm>
          <a:custGeom>
            <a:avLst/>
            <a:gdLst>
              <a:gd name="connsiteX0" fmla="*/ 27223 w 273028"/>
              <a:gd name="connsiteY0" fmla="*/ 384826 h 491037"/>
              <a:gd name="connsiteX1" fmla="*/ 54392 w 273028"/>
              <a:gd name="connsiteY1" fmla="*/ 434534 h 491037"/>
              <a:gd name="connsiteX2" fmla="*/ 79589 w 273028"/>
              <a:gd name="connsiteY2" fmla="*/ 459990 h 491037"/>
              <a:gd name="connsiteX3" fmla="*/ 87379 w 273028"/>
              <a:gd name="connsiteY3" fmla="*/ 465090 h 491037"/>
              <a:gd name="connsiteX4" fmla="*/ 90264 w 273028"/>
              <a:gd name="connsiteY4" fmla="*/ 466438 h 491037"/>
              <a:gd name="connsiteX5" fmla="*/ 87956 w 273028"/>
              <a:gd name="connsiteY5" fmla="*/ 464224 h 491037"/>
              <a:gd name="connsiteX6" fmla="*/ 80935 w 273028"/>
              <a:gd name="connsiteY6" fmla="*/ 458353 h 491037"/>
              <a:gd name="connsiteX7" fmla="*/ 57758 w 273028"/>
              <a:gd name="connsiteY7" fmla="*/ 432128 h 491037"/>
              <a:gd name="connsiteX8" fmla="*/ 32801 w 273028"/>
              <a:gd name="connsiteY8" fmla="*/ 382757 h 491037"/>
              <a:gd name="connsiteX9" fmla="*/ 15058 w 273028"/>
              <a:gd name="connsiteY9" fmla="*/ 311346 h 491037"/>
              <a:gd name="connsiteX10" fmla="*/ 8759 w 273028"/>
              <a:gd name="connsiteY10" fmla="*/ 222180 h 491037"/>
              <a:gd name="connsiteX11" fmla="*/ 17847 w 273028"/>
              <a:gd name="connsiteY11" fmla="*/ 120069 h 491037"/>
              <a:gd name="connsiteX12" fmla="*/ 31407 w 273028"/>
              <a:gd name="connsiteY12" fmla="*/ 66607 h 491037"/>
              <a:gd name="connsiteX13" fmla="*/ 42370 w 273028"/>
              <a:gd name="connsiteY13" fmla="*/ 40767 h 491037"/>
              <a:gd name="connsiteX14" fmla="*/ 58623 w 273028"/>
              <a:gd name="connsiteY14" fmla="*/ 18824 h 491037"/>
              <a:gd name="connsiteX15" fmla="*/ 69443 w 273028"/>
              <a:gd name="connsiteY15" fmla="*/ 13098 h 491037"/>
              <a:gd name="connsiteX16" fmla="*/ 83724 w 273028"/>
              <a:gd name="connsiteY16" fmla="*/ 11125 h 491037"/>
              <a:gd name="connsiteX17" fmla="*/ 98342 w 273028"/>
              <a:gd name="connsiteY17" fmla="*/ 10547 h 491037"/>
              <a:gd name="connsiteX18" fmla="*/ 113009 w 273028"/>
              <a:gd name="connsiteY18" fmla="*/ 11462 h 491037"/>
              <a:gd name="connsiteX19" fmla="*/ 168019 w 273028"/>
              <a:gd name="connsiteY19" fmla="*/ 32923 h 491037"/>
              <a:gd name="connsiteX20" fmla="*/ 190763 w 273028"/>
              <a:gd name="connsiteY20" fmla="*/ 52749 h 491037"/>
              <a:gd name="connsiteX21" fmla="*/ 200669 w 273028"/>
              <a:gd name="connsiteY21" fmla="*/ 64105 h 491037"/>
              <a:gd name="connsiteX22" fmla="*/ 209517 w 273028"/>
              <a:gd name="connsiteY22" fmla="*/ 76231 h 491037"/>
              <a:gd name="connsiteX23" fmla="*/ 236637 w 273028"/>
              <a:gd name="connsiteY23" fmla="*/ 128827 h 491037"/>
              <a:gd name="connsiteX24" fmla="*/ 261498 w 273028"/>
              <a:gd name="connsiteY24" fmla="*/ 238589 h 491037"/>
              <a:gd name="connsiteX25" fmla="*/ 259478 w 273028"/>
              <a:gd name="connsiteY25" fmla="*/ 340748 h 491037"/>
              <a:gd name="connsiteX26" fmla="*/ 235002 w 273028"/>
              <a:gd name="connsiteY26" fmla="*/ 425728 h 491037"/>
              <a:gd name="connsiteX27" fmla="*/ 187397 w 273028"/>
              <a:gd name="connsiteY27" fmla="*/ 478275 h 491037"/>
              <a:gd name="connsiteX28" fmla="*/ 159219 w 273028"/>
              <a:gd name="connsiteY28" fmla="*/ 485878 h 491037"/>
              <a:gd name="connsiteX29" fmla="*/ 134406 w 273028"/>
              <a:gd name="connsiteY29" fmla="*/ 483761 h 491037"/>
              <a:gd name="connsiteX30" fmla="*/ 101564 w 273028"/>
              <a:gd name="connsiteY30" fmla="*/ 471827 h 491037"/>
              <a:gd name="connsiteX31" fmla="*/ 90360 w 273028"/>
              <a:gd name="connsiteY31" fmla="*/ 466534 h 491037"/>
              <a:gd name="connsiteX32" fmla="*/ 100506 w 273028"/>
              <a:gd name="connsiteY32" fmla="*/ 473752 h 491037"/>
              <a:gd name="connsiteX33" fmla="*/ 133445 w 273028"/>
              <a:gd name="connsiteY33" fmla="*/ 487851 h 491037"/>
              <a:gd name="connsiteX34" fmla="*/ 159459 w 273028"/>
              <a:gd name="connsiteY34" fmla="*/ 491027 h 491037"/>
              <a:gd name="connsiteX35" fmla="*/ 189994 w 273028"/>
              <a:gd name="connsiteY35" fmla="*/ 483713 h 491037"/>
              <a:gd name="connsiteX36" fmla="*/ 218941 w 273028"/>
              <a:gd name="connsiteY36" fmla="*/ 462251 h 491037"/>
              <a:gd name="connsiteX37" fmla="*/ 241782 w 273028"/>
              <a:gd name="connsiteY37" fmla="*/ 429241 h 491037"/>
              <a:gd name="connsiteX38" fmla="*/ 268278 w 273028"/>
              <a:gd name="connsiteY38" fmla="*/ 342095 h 491037"/>
              <a:gd name="connsiteX39" fmla="*/ 271355 w 273028"/>
              <a:gd name="connsiteY39" fmla="*/ 237819 h 491037"/>
              <a:gd name="connsiteX40" fmla="*/ 246447 w 273028"/>
              <a:gd name="connsiteY40" fmla="*/ 125121 h 491037"/>
              <a:gd name="connsiteX41" fmla="*/ 218364 w 273028"/>
              <a:gd name="connsiteY41" fmla="*/ 70361 h 491037"/>
              <a:gd name="connsiteX42" fmla="*/ 209084 w 273028"/>
              <a:gd name="connsiteY42" fmla="*/ 57561 h 491037"/>
              <a:gd name="connsiteX43" fmla="*/ 198601 w 273028"/>
              <a:gd name="connsiteY43" fmla="*/ 45531 h 491037"/>
              <a:gd name="connsiteX44" fmla="*/ 174222 w 273028"/>
              <a:gd name="connsiteY44" fmla="*/ 24262 h 491037"/>
              <a:gd name="connsiteX45" fmla="*/ 114403 w 273028"/>
              <a:gd name="connsiteY45" fmla="*/ 1019 h 491037"/>
              <a:gd name="connsiteX46" fmla="*/ 98535 w 273028"/>
              <a:gd name="connsiteY46" fmla="*/ 57 h 491037"/>
              <a:gd name="connsiteX47" fmla="*/ 82810 w 273028"/>
              <a:gd name="connsiteY47" fmla="*/ 731 h 491037"/>
              <a:gd name="connsiteX48" fmla="*/ 67327 w 273028"/>
              <a:gd name="connsiteY48" fmla="*/ 2944 h 491037"/>
              <a:gd name="connsiteX49" fmla="*/ 51988 w 273028"/>
              <a:gd name="connsiteY49" fmla="*/ 10980 h 491037"/>
              <a:gd name="connsiteX50" fmla="*/ 33330 w 273028"/>
              <a:gd name="connsiteY50" fmla="*/ 36051 h 491037"/>
              <a:gd name="connsiteX51" fmla="*/ 21886 w 273028"/>
              <a:gd name="connsiteY51" fmla="*/ 63431 h 491037"/>
              <a:gd name="connsiteX52" fmla="*/ 8277 w 273028"/>
              <a:gd name="connsiteY52" fmla="*/ 118481 h 491037"/>
              <a:gd name="connsiteX53" fmla="*/ 7 w 273028"/>
              <a:gd name="connsiteY53" fmla="*/ 222324 h 491037"/>
              <a:gd name="connsiteX54" fmla="*/ 7700 w 273028"/>
              <a:gd name="connsiteY54" fmla="*/ 312742 h 491037"/>
              <a:gd name="connsiteX55" fmla="*/ 27320 w 273028"/>
              <a:gd name="connsiteY55" fmla="*/ 385066 h 49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3028" h="491037">
                <a:moveTo>
                  <a:pt x="27223" y="384826"/>
                </a:moveTo>
                <a:cubicBezTo>
                  <a:pt x="35398" y="405373"/>
                  <a:pt x="44871" y="422167"/>
                  <a:pt x="54392" y="434534"/>
                </a:cubicBezTo>
                <a:cubicBezTo>
                  <a:pt x="63769" y="447045"/>
                  <a:pt x="73049" y="455081"/>
                  <a:pt x="79589" y="459990"/>
                </a:cubicBezTo>
                <a:cubicBezTo>
                  <a:pt x="82859" y="462444"/>
                  <a:pt x="85503" y="464080"/>
                  <a:pt x="87379" y="465090"/>
                </a:cubicBezTo>
                <a:cubicBezTo>
                  <a:pt x="89206" y="466101"/>
                  <a:pt x="90168" y="466582"/>
                  <a:pt x="90264" y="466438"/>
                </a:cubicBezTo>
                <a:cubicBezTo>
                  <a:pt x="90360" y="466293"/>
                  <a:pt x="89591" y="465523"/>
                  <a:pt x="87956" y="464224"/>
                </a:cubicBezTo>
                <a:cubicBezTo>
                  <a:pt x="86321" y="462973"/>
                  <a:pt x="83916" y="461048"/>
                  <a:pt x="80935" y="458353"/>
                </a:cubicBezTo>
                <a:cubicBezTo>
                  <a:pt x="74924" y="453012"/>
                  <a:pt x="66365" y="444735"/>
                  <a:pt x="57758" y="432128"/>
                </a:cubicBezTo>
                <a:cubicBezTo>
                  <a:pt x="49006" y="419713"/>
                  <a:pt x="40255" y="403063"/>
                  <a:pt x="32801" y="382757"/>
                </a:cubicBezTo>
                <a:cubicBezTo>
                  <a:pt x="25348" y="362402"/>
                  <a:pt x="19193" y="338342"/>
                  <a:pt x="15058" y="311346"/>
                </a:cubicBezTo>
                <a:cubicBezTo>
                  <a:pt x="10874" y="284351"/>
                  <a:pt x="8614" y="254324"/>
                  <a:pt x="8759" y="222180"/>
                </a:cubicBezTo>
                <a:cubicBezTo>
                  <a:pt x="8999" y="190035"/>
                  <a:pt x="11403" y="155581"/>
                  <a:pt x="17847" y="120069"/>
                </a:cubicBezTo>
                <a:cubicBezTo>
                  <a:pt x="21116" y="102360"/>
                  <a:pt x="25348" y="84315"/>
                  <a:pt x="31407" y="66607"/>
                </a:cubicBezTo>
                <a:cubicBezTo>
                  <a:pt x="34484" y="57801"/>
                  <a:pt x="38043" y="49043"/>
                  <a:pt x="42370" y="40767"/>
                </a:cubicBezTo>
                <a:cubicBezTo>
                  <a:pt x="46746" y="32586"/>
                  <a:pt x="51988" y="24550"/>
                  <a:pt x="58623" y="18824"/>
                </a:cubicBezTo>
                <a:cubicBezTo>
                  <a:pt x="61941" y="16033"/>
                  <a:pt x="65644" y="13916"/>
                  <a:pt x="69443" y="13098"/>
                </a:cubicBezTo>
                <a:cubicBezTo>
                  <a:pt x="73963" y="12376"/>
                  <a:pt x="78964" y="11510"/>
                  <a:pt x="83724" y="11125"/>
                </a:cubicBezTo>
                <a:cubicBezTo>
                  <a:pt x="88581" y="10836"/>
                  <a:pt x="93438" y="10307"/>
                  <a:pt x="98342" y="10547"/>
                </a:cubicBezTo>
                <a:cubicBezTo>
                  <a:pt x="103247" y="10451"/>
                  <a:pt x="108104" y="10980"/>
                  <a:pt x="113009" y="11462"/>
                </a:cubicBezTo>
                <a:cubicBezTo>
                  <a:pt x="132483" y="13868"/>
                  <a:pt x="151525" y="21182"/>
                  <a:pt x="168019" y="32923"/>
                </a:cubicBezTo>
                <a:cubicBezTo>
                  <a:pt x="176241" y="38746"/>
                  <a:pt x="183983" y="45338"/>
                  <a:pt x="190763" y="52749"/>
                </a:cubicBezTo>
                <a:cubicBezTo>
                  <a:pt x="194322" y="56261"/>
                  <a:pt x="197399" y="60303"/>
                  <a:pt x="200669" y="64105"/>
                </a:cubicBezTo>
                <a:cubicBezTo>
                  <a:pt x="203602" y="68147"/>
                  <a:pt x="206824" y="71997"/>
                  <a:pt x="209517" y="76231"/>
                </a:cubicBezTo>
                <a:cubicBezTo>
                  <a:pt x="220769" y="92785"/>
                  <a:pt x="229617" y="110589"/>
                  <a:pt x="236637" y="128827"/>
                </a:cubicBezTo>
                <a:cubicBezTo>
                  <a:pt x="250774" y="165254"/>
                  <a:pt x="258180" y="202739"/>
                  <a:pt x="261498" y="238589"/>
                </a:cubicBezTo>
                <a:cubicBezTo>
                  <a:pt x="264767" y="274486"/>
                  <a:pt x="263854" y="308988"/>
                  <a:pt x="259478" y="340748"/>
                </a:cubicBezTo>
                <a:cubicBezTo>
                  <a:pt x="255006" y="372459"/>
                  <a:pt x="247024" y="401524"/>
                  <a:pt x="235002" y="425728"/>
                </a:cubicBezTo>
                <a:cubicBezTo>
                  <a:pt x="223125" y="449884"/>
                  <a:pt x="206439" y="468988"/>
                  <a:pt x="187397" y="478275"/>
                </a:cubicBezTo>
                <a:cubicBezTo>
                  <a:pt x="177973" y="482991"/>
                  <a:pt x="168259" y="485204"/>
                  <a:pt x="159219" y="485878"/>
                </a:cubicBezTo>
                <a:cubicBezTo>
                  <a:pt x="150131" y="486311"/>
                  <a:pt x="141764" y="485349"/>
                  <a:pt x="134406" y="483761"/>
                </a:cubicBezTo>
                <a:cubicBezTo>
                  <a:pt x="119596" y="480537"/>
                  <a:pt x="108873" y="475099"/>
                  <a:pt x="101564" y="471827"/>
                </a:cubicBezTo>
                <a:cubicBezTo>
                  <a:pt x="94447" y="468026"/>
                  <a:pt x="90600" y="466197"/>
                  <a:pt x="90360" y="466534"/>
                </a:cubicBezTo>
                <a:cubicBezTo>
                  <a:pt x="90120" y="466871"/>
                  <a:pt x="93630" y="469325"/>
                  <a:pt x="100506" y="473752"/>
                </a:cubicBezTo>
                <a:cubicBezTo>
                  <a:pt x="107623" y="477650"/>
                  <a:pt x="118202" y="483857"/>
                  <a:pt x="133445" y="487851"/>
                </a:cubicBezTo>
                <a:cubicBezTo>
                  <a:pt x="141042" y="489824"/>
                  <a:pt x="149794" y="491171"/>
                  <a:pt x="159459" y="491027"/>
                </a:cubicBezTo>
                <a:cubicBezTo>
                  <a:pt x="169125" y="490642"/>
                  <a:pt x="179655" y="488525"/>
                  <a:pt x="189994" y="483713"/>
                </a:cubicBezTo>
                <a:cubicBezTo>
                  <a:pt x="200332" y="478949"/>
                  <a:pt x="210238" y="471586"/>
                  <a:pt x="218941" y="462251"/>
                </a:cubicBezTo>
                <a:cubicBezTo>
                  <a:pt x="227693" y="452916"/>
                  <a:pt x="235291" y="441704"/>
                  <a:pt x="241782" y="429241"/>
                </a:cubicBezTo>
                <a:cubicBezTo>
                  <a:pt x="254717" y="404266"/>
                  <a:pt x="263373" y="374480"/>
                  <a:pt x="268278" y="342095"/>
                </a:cubicBezTo>
                <a:cubicBezTo>
                  <a:pt x="273182" y="309662"/>
                  <a:pt x="274433" y="274486"/>
                  <a:pt x="271355" y="237819"/>
                </a:cubicBezTo>
                <a:cubicBezTo>
                  <a:pt x="268229" y="201151"/>
                  <a:pt x="260872" y="162799"/>
                  <a:pt x="246447" y="125121"/>
                </a:cubicBezTo>
                <a:cubicBezTo>
                  <a:pt x="239282" y="106306"/>
                  <a:pt x="230145" y="87732"/>
                  <a:pt x="218364" y="70361"/>
                </a:cubicBezTo>
                <a:cubicBezTo>
                  <a:pt x="215575" y="65934"/>
                  <a:pt x="212210" y="61843"/>
                  <a:pt x="209084" y="57561"/>
                </a:cubicBezTo>
                <a:cubicBezTo>
                  <a:pt x="205622" y="53567"/>
                  <a:pt x="202400" y="49284"/>
                  <a:pt x="198601" y="45531"/>
                </a:cubicBezTo>
                <a:cubicBezTo>
                  <a:pt x="191388" y="37639"/>
                  <a:pt x="183117" y="30565"/>
                  <a:pt x="174222" y="24262"/>
                </a:cubicBezTo>
                <a:cubicBezTo>
                  <a:pt x="156430" y="11606"/>
                  <a:pt x="135561" y="3618"/>
                  <a:pt x="114403" y="1019"/>
                </a:cubicBezTo>
                <a:cubicBezTo>
                  <a:pt x="109114" y="442"/>
                  <a:pt x="103824" y="-87"/>
                  <a:pt x="98535" y="57"/>
                </a:cubicBezTo>
                <a:cubicBezTo>
                  <a:pt x="93245" y="-184"/>
                  <a:pt x="88052" y="394"/>
                  <a:pt x="82810" y="731"/>
                </a:cubicBezTo>
                <a:cubicBezTo>
                  <a:pt x="77569" y="1212"/>
                  <a:pt x="72616" y="2078"/>
                  <a:pt x="67327" y="2944"/>
                </a:cubicBezTo>
                <a:cubicBezTo>
                  <a:pt x="61316" y="4292"/>
                  <a:pt x="56219" y="7419"/>
                  <a:pt x="51988" y="10980"/>
                </a:cubicBezTo>
                <a:cubicBezTo>
                  <a:pt x="43573" y="18246"/>
                  <a:pt x="38043" y="27197"/>
                  <a:pt x="33330" y="36051"/>
                </a:cubicBezTo>
                <a:cubicBezTo>
                  <a:pt x="28666" y="45001"/>
                  <a:pt x="25011" y="54192"/>
                  <a:pt x="21886" y="63431"/>
                </a:cubicBezTo>
                <a:cubicBezTo>
                  <a:pt x="15635" y="81861"/>
                  <a:pt x="11451" y="100339"/>
                  <a:pt x="8277" y="118481"/>
                </a:cubicBezTo>
                <a:cubicBezTo>
                  <a:pt x="1978" y="154763"/>
                  <a:pt x="-138" y="189699"/>
                  <a:pt x="7" y="222324"/>
                </a:cubicBezTo>
                <a:cubicBezTo>
                  <a:pt x="247" y="254950"/>
                  <a:pt x="2988" y="285361"/>
                  <a:pt x="7700" y="312742"/>
                </a:cubicBezTo>
                <a:cubicBezTo>
                  <a:pt x="12413" y="340122"/>
                  <a:pt x="19145" y="364471"/>
                  <a:pt x="27320" y="385066"/>
                </a:cubicBezTo>
                <a:close/>
              </a:path>
            </a:pathLst>
          </a:custGeom>
          <a:solidFill>
            <a:srgbClr val="29C8C1"/>
          </a:solidFill>
          <a:ln w="0" cap="flat">
            <a:noFill/>
            <a:prstDash val="solid"/>
            <a:miter/>
          </a:ln>
        </p:spPr>
        <p:txBody>
          <a:bodyPr rtlCol="0" anchor="ctr"/>
          <a:lstStyle/>
          <a:p>
            <a:pPr rtl="0"/>
            <a:endParaRPr lang="en-AU" dirty="0"/>
          </a:p>
        </p:txBody>
      </p:sp>
      <p:sp>
        <p:nvSpPr>
          <p:cNvPr id="58" name="Freeform: Shape 57">
            <a:extLst>
              <a:ext uri="{FF2B5EF4-FFF2-40B4-BE49-F238E27FC236}">
                <a16:creationId xmlns:a16="http://schemas.microsoft.com/office/drawing/2014/main" id="{B2D79121-091A-F1D5-535F-0F0D28ED553F}"/>
              </a:ext>
            </a:extLst>
          </p:cNvPr>
          <p:cNvSpPr/>
          <p:nvPr/>
        </p:nvSpPr>
        <p:spPr>
          <a:xfrm>
            <a:off x="9865767" y="2969738"/>
            <a:ext cx="140601" cy="228169"/>
          </a:xfrm>
          <a:custGeom>
            <a:avLst/>
            <a:gdLst>
              <a:gd name="connsiteX0" fmla="*/ 75253 w 140601"/>
              <a:gd name="connsiteY0" fmla="*/ 5153 h 228169"/>
              <a:gd name="connsiteX1" fmla="*/ 59385 w 140601"/>
              <a:gd name="connsiteY1" fmla="*/ 4 h 228169"/>
              <a:gd name="connsiteX2" fmla="*/ 53711 w 140601"/>
              <a:gd name="connsiteY2" fmla="*/ 725 h 228169"/>
              <a:gd name="connsiteX3" fmla="*/ 59144 w 140601"/>
              <a:gd name="connsiteY3" fmla="*/ 2121 h 228169"/>
              <a:gd name="connsiteX4" fmla="*/ 72753 w 140601"/>
              <a:gd name="connsiteY4" fmla="*/ 8473 h 228169"/>
              <a:gd name="connsiteX5" fmla="*/ 86938 w 140601"/>
              <a:gd name="connsiteY5" fmla="*/ 28058 h 228169"/>
              <a:gd name="connsiteX6" fmla="*/ 92468 w 140601"/>
              <a:gd name="connsiteY6" fmla="*/ 42349 h 228169"/>
              <a:gd name="connsiteX7" fmla="*/ 97853 w 140601"/>
              <a:gd name="connsiteY7" fmla="*/ 59143 h 228169"/>
              <a:gd name="connsiteX8" fmla="*/ 120502 w 140601"/>
              <a:gd name="connsiteY8" fmla="*/ 143161 h 228169"/>
              <a:gd name="connsiteX9" fmla="*/ 129398 w 140601"/>
              <a:gd name="connsiteY9" fmla="*/ 193254 h 228169"/>
              <a:gd name="connsiteX10" fmla="*/ 129975 w 140601"/>
              <a:gd name="connsiteY10" fmla="*/ 206102 h 228169"/>
              <a:gd name="connsiteX11" fmla="*/ 127763 w 140601"/>
              <a:gd name="connsiteY11" fmla="*/ 216448 h 228169"/>
              <a:gd name="connsiteX12" fmla="*/ 125935 w 140601"/>
              <a:gd name="connsiteY12" fmla="*/ 217603 h 228169"/>
              <a:gd name="connsiteX13" fmla="*/ 121608 w 140601"/>
              <a:gd name="connsiteY13" fmla="*/ 216593 h 228169"/>
              <a:gd name="connsiteX14" fmla="*/ 110885 w 140601"/>
              <a:gd name="connsiteY14" fmla="*/ 209904 h 228169"/>
              <a:gd name="connsiteX15" fmla="*/ 71983 w 140601"/>
              <a:gd name="connsiteY15" fmla="*/ 171793 h 228169"/>
              <a:gd name="connsiteX16" fmla="*/ 53711 w 140601"/>
              <a:gd name="connsiteY16" fmla="*/ 152545 h 228169"/>
              <a:gd name="connsiteX17" fmla="*/ 35679 w 140601"/>
              <a:gd name="connsiteY17" fmla="*/ 135173 h 228169"/>
              <a:gd name="connsiteX18" fmla="*/ 12357 w 140601"/>
              <a:gd name="connsiteY18" fmla="*/ 97447 h 228169"/>
              <a:gd name="connsiteX19" fmla="*/ 8270 w 140601"/>
              <a:gd name="connsiteY19" fmla="*/ 77814 h 228169"/>
              <a:gd name="connsiteX20" fmla="*/ 8943 w 140601"/>
              <a:gd name="connsiteY20" fmla="*/ 59288 h 228169"/>
              <a:gd name="connsiteX21" fmla="*/ 19714 w 140601"/>
              <a:gd name="connsiteY21" fmla="*/ 29116 h 228169"/>
              <a:gd name="connsiteX22" fmla="*/ 35246 w 140601"/>
              <a:gd name="connsiteY22" fmla="*/ 10349 h 228169"/>
              <a:gd name="connsiteX23" fmla="*/ 48421 w 140601"/>
              <a:gd name="connsiteY23" fmla="*/ 2506 h 228169"/>
              <a:gd name="connsiteX24" fmla="*/ 53663 w 140601"/>
              <a:gd name="connsiteY24" fmla="*/ 725 h 228169"/>
              <a:gd name="connsiteX25" fmla="*/ 47892 w 140601"/>
              <a:gd name="connsiteY25" fmla="*/ 389 h 228169"/>
              <a:gd name="connsiteX26" fmla="*/ 32745 w 140601"/>
              <a:gd name="connsiteY26" fmla="*/ 6981 h 228169"/>
              <a:gd name="connsiteX27" fmla="*/ 14713 w 140601"/>
              <a:gd name="connsiteY27" fmla="*/ 25844 h 228169"/>
              <a:gd name="connsiteX28" fmla="*/ 1537 w 140601"/>
              <a:gd name="connsiteY28" fmla="*/ 57940 h 228169"/>
              <a:gd name="connsiteX29" fmla="*/ 95 w 140601"/>
              <a:gd name="connsiteY29" fmla="*/ 78295 h 228169"/>
              <a:gd name="connsiteX30" fmla="*/ 3990 w 140601"/>
              <a:gd name="connsiteY30" fmla="*/ 100094 h 228169"/>
              <a:gd name="connsiteX31" fmla="*/ 28466 w 140601"/>
              <a:gd name="connsiteY31" fmla="*/ 141766 h 228169"/>
              <a:gd name="connsiteX32" fmla="*/ 46546 w 140601"/>
              <a:gd name="connsiteY32" fmla="*/ 159666 h 228169"/>
              <a:gd name="connsiteX33" fmla="*/ 64337 w 140601"/>
              <a:gd name="connsiteY33" fmla="*/ 178818 h 228169"/>
              <a:gd name="connsiteX34" fmla="*/ 104393 w 140601"/>
              <a:gd name="connsiteY34" fmla="*/ 218277 h 228169"/>
              <a:gd name="connsiteX35" fmla="*/ 117665 w 140601"/>
              <a:gd name="connsiteY35" fmla="*/ 226409 h 228169"/>
              <a:gd name="connsiteX36" fmla="*/ 126897 w 140601"/>
              <a:gd name="connsiteY36" fmla="*/ 228141 h 228169"/>
              <a:gd name="connsiteX37" fmla="*/ 129734 w 140601"/>
              <a:gd name="connsiteY37" fmla="*/ 227612 h 228169"/>
              <a:gd name="connsiteX38" fmla="*/ 132475 w 140601"/>
              <a:gd name="connsiteY38" fmla="*/ 226313 h 228169"/>
              <a:gd name="connsiteX39" fmla="*/ 134783 w 140601"/>
              <a:gd name="connsiteY39" fmla="*/ 224484 h 228169"/>
              <a:gd name="connsiteX40" fmla="*/ 136562 w 140601"/>
              <a:gd name="connsiteY40" fmla="*/ 222415 h 228169"/>
              <a:gd name="connsiteX41" fmla="*/ 140602 w 140601"/>
              <a:gd name="connsiteY41" fmla="*/ 206343 h 228169"/>
              <a:gd name="connsiteX42" fmla="*/ 139880 w 140601"/>
              <a:gd name="connsiteY42" fmla="*/ 192147 h 228169"/>
              <a:gd name="connsiteX43" fmla="*/ 130119 w 140601"/>
              <a:gd name="connsiteY43" fmla="*/ 140803 h 228169"/>
              <a:gd name="connsiteX44" fmla="*/ 105066 w 140601"/>
              <a:gd name="connsiteY44" fmla="*/ 56689 h 228169"/>
              <a:gd name="connsiteX45" fmla="*/ 98863 w 140601"/>
              <a:gd name="connsiteY45" fmla="*/ 39943 h 228169"/>
              <a:gd name="connsiteX46" fmla="*/ 92179 w 140601"/>
              <a:gd name="connsiteY46" fmla="*/ 25074 h 228169"/>
              <a:gd name="connsiteX47" fmla="*/ 75301 w 140601"/>
              <a:gd name="connsiteY47" fmla="*/ 5056 h 22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40601" h="228169">
                <a:moveTo>
                  <a:pt x="75253" y="5153"/>
                </a:moveTo>
                <a:cubicBezTo>
                  <a:pt x="69098" y="870"/>
                  <a:pt x="63087" y="100"/>
                  <a:pt x="59385" y="4"/>
                </a:cubicBezTo>
                <a:cubicBezTo>
                  <a:pt x="55634" y="-44"/>
                  <a:pt x="53711" y="389"/>
                  <a:pt x="53711" y="725"/>
                </a:cubicBezTo>
                <a:cubicBezTo>
                  <a:pt x="53711" y="1111"/>
                  <a:pt x="55634" y="1399"/>
                  <a:pt x="59144" y="2121"/>
                </a:cubicBezTo>
                <a:cubicBezTo>
                  <a:pt x="62606" y="2891"/>
                  <a:pt x="67752" y="4238"/>
                  <a:pt x="72753" y="8473"/>
                </a:cubicBezTo>
                <a:cubicBezTo>
                  <a:pt x="77754" y="12611"/>
                  <a:pt x="82514" y="19444"/>
                  <a:pt x="86938" y="28058"/>
                </a:cubicBezTo>
                <a:cubicBezTo>
                  <a:pt x="89006" y="32196"/>
                  <a:pt x="90688" y="37056"/>
                  <a:pt x="92468" y="42349"/>
                </a:cubicBezTo>
                <a:cubicBezTo>
                  <a:pt x="94247" y="47595"/>
                  <a:pt x="96026" y="53225"/>
                  <a:pt x="97853" y="59143"/>
                </a:cubicBezTo>
                <a:cubicBezTo>
                  <a:pt x="105066" y="82818"/>
                  <a:pt x="113193" y="111306"/>
                  <a:pt x="120502" y="143161"/>
                </a:cubicBezTo>
                <a:cubicBezTo>
                  <a:pt x="124060" y="159089"/>
                  <a:pt x="127715" y="175931"/>
                  <a:pt x="129398" y="193254"/>
                </a:cubicBezTo>
                <a:cubicBezTo>
                  <a:pt x="129927" y="197633"/>
                  <a:pt x="129927" y="201820"/>
                  <a:pt x="129975" y="206102"/>
                </a:cubicBezTo>
                <a:cubicBezTo>
                  <a:pt x="129830" y="210145"/>
                  <a:pt x="129109" y="214475"/>
                  <a:pt x="127763" y="216448"/>
                </a:cubicBezTo>
                <a:cubicBezTo>
                  <a:pt x="126993" y="217266"/>
                  <a:pt x="126897" y="217603"/>
                  <a:pt x="125935" y="217603"/>
                </a:cubicBezTo>
                <a:cubicBezTo>
                  <a:pt x="124926" y="217603"/>
                  <a:pt x="123339" y="217411"/>
                  <a:pt x="121608" y="216593"/>
                </a:cubicBezTo>
                <a:cubicBezTo>
                  <a:pt x="118097" y="215149"/>
                  <a:pt x="114395" y="212599"/>
                  <a:pt x="110885" y="209904"/>
                </a:cubicBezTo>
                <a:cubicBezTo>
                  <a:pt x="96651" y="198596"/>
                  <a:pt x="84197" y="184737"/>
                  <a:pt x="71983" y="171793"/>
                </a:cubicBezTo>
                <a:cubicBezTo>
                  <a:pt x="65876" y="165248"/>
                  <a:pt x="59962" y="158752"/>
                  <a:pt x="53711" y="152545"/>
                </a:cubicBezTo>
                <a:cubicBezTo>
                  <a:pt x="47267" y="146048"/>
                  <a:pt x="40968" y="141140"/>
                  <a:pt x="35679" y="135173"/>
                </a:cubicBezTo>
                <a:cubicBezTo>
                  <a:pt x="24859" y="123576"/>
                  <a:pt x="16829" y="110632"/>
                  <a:pt x="12357" y="97447"/>
                </a:cubicBezTo>
                <a:cubicBezTo>
                  <a:pt x="10193" y="90855"/>
                  <a:pt x="8847" y="84262"/>
                  <a:pt x="8270" y="77814"/>
                </a:cubicBezTo>
                <a:cubicBezTo>
                  <a:pt x="7740" y="71366"/>
                  <a:pt x="8077" y="65158"/>
                  <a:pt x="8943" y="59288"/>
                </a:cubicBezTo>
                <a:cubicBezTo>
                  <a:pt x="10722" y="47546"/>
                  <a:pt x="14809" y="37249"/>
                  <a:pt x="19714" y="29116"/>
                </a:cubicBezTo>
                <a:cubicBezTo>
                  <a:pt x="24523" y="20840"/>
                  <a:pt x="30149" y="14728"/>
                  <a:pt x="35246" y="10349"/>
                </a:cubicBezTo>
                <a:cubicBezTo>
                  <a:pt x="40391" y="6019"/>
                  <a:pt x="45103" y="3709"/>
                  <a:pt x="48421" y="2506"/>
                </a:cubicBezTo>
                <a:cubicBezTo>
                  <a:pt x="51739" y="1303"/>
                  <a:pt x="53711" y="1255"/>
                  <a:pt x="53663" y="725"/>
                </a:cubicBezTo>
                <a:cubicBezTo>
                  <a:pt x="53663" y="485"/>
                  <a:pt x="51691" y="-189"/>
                  <a:pt x="47892" y="389"/>
                </a:cubicBezTo>
                <a:cubicBezTo>
                  <a:pt x="44141" y="966"/>
                  <a:pt x="38660" y="2843"/>
                  <a:pt x="32745" y="6981"/>
                </a:cubicBezTo>
                <a:cubicBezTo>
                  <a:pt x="26879" y="11168"/>
                  <a:pt x="20339" y="17279"/>
                  <a:pt x="14713" y="25844"/>
                </a:cubicBezTo>
                <a:cubicBezTo>
                  <a:pt x="8991" y="34313"/>
                  <a:pt x="3990" y="45140"/>
                  <a:pt x="1537" y="57940"/>
                </a:cubicBezTo>
                <a:cubicBezTo>
                  <a:pt x="335" y="64340"/>
                  <a:pt x="-242" y="71173"/>
                  <a:pt x="95" y="78295"/>
                </a:cubicBezTo>
                <a:cubicBezTo>
                  <a:pt x="480" y="85417"/>
                  <a:pt x="1778" y="92779"/>
                  <a:pt x="3990" y="100094"/>
                </a:cubicBezTo>
                <a:cubicBezTo>
                  <a:pt x="8510" y="114770"/>
                  <a:pt x="17069" y="129110"/>
                  <a:pt x="28466" y="141766"/>
                </a:cubicBezTo>
                <a:cubicBezTo>
                  <a:pt x="34043" y="148214"/>
                  <a:pt x="40920" y="153844"/>
                  <a:pt x="46546" y="159666"/>
                </a:cubicBezTo>
                <a:cubicBezTo>
                  <a:pt x="52412" y="165681"/>
                  <a:pt x="58327" y="172226"/>
                  <a:pt x="64337" y="178818"/>
                </a:cubicBezTo>
                <a:cubicBezTo>
                  <a:pt x="76551" y="191955"/>
                  <a:pt x="88861" y="205910"/>
                  <a:pt x="104393" y="218277"/>
                </a:cubicBezTo>
                <a:cubicBezTo>
                  <a:pt x="108384" y="221308"/>
                  <a:pt x="112471" y="224244"/>
                  <a:pt x="117665" y="226409"/>
                </a:cubicBezTo>
                <a:cubicBezTo>
                  <a:pt x="120165" y="227516"/>
                  <a:pt x="123291" y="228334"/>
                  <a:pt x="126897" y="228141"/>
                </a:cubicBezTo>
                <a:cubicBezTo>
                  <a:pt x="127859" y="227997"/>
                  <a:pt x="128821" y="227853"/>
                  <a:pt x="129734" y="227612"/>
                </a:cubicBezTo>
                <a:cubicBezTo>
                  <a:pt x="130648" y="227275"/>
                  <a:pt x="131610" y="226794"/>
                  <a:pt x="132475" y="226313"/>
                </a:cubicBezTo>
                <a:cubicBezTo>
                  <a:pt x="133437" y="225880"/>
                  <a:pt x="134014" y="225158"/>
                  <a:pt x="134783" y="224484"/>
                </a:cubicBezTo>
                <a:cubicBezTo>
                  <a:pt x="135504" y="223811"/>
                  <a:pt x="136178" y="223137"/>
                  <a:pt x="136562" y="222415"/>
                </a:cubicBezTo>
                <a:cubicBezTo>
                  <a:pt x="140217" y="216496"/>
                  <a:pt x="140265" y="211251"/>
                  <a:pt x="140602" y="206343"/>
                </a:cubicBezTo>
                <a:cubicBezTo>
                  <a:pt x="140554" y="201483"/>
                  <a:pt x="140457" y="196671"/>
                  <a:pt x="139880" y="192147"/>
                </a:cubicBezTo>
                <a:cubicBezTo>
                  <a:pt x="137909" y="173814"/>
                  <a:pt x="134014" y="156875"/>
                  <a:pt x="130119" y="140803"/>
                </a:cubicBezTo>
                <a:cubicBezTo>
                  <a:pt x="122185" y="108659"/>
                  <a:pt x="113241" y="80316"/>
                  <a:pt x="105066" y="56689"/>
                </a:cubicBezTo>
                <a:cubicBezTo>
                  <a:pt x="102951" y="50819"/>
                  <a:pt x="100979" y="45189"/>
                  <a:pt x="98863" y="39943"/>
                </a:cubicBezTo>
                <a:cubicBezTo>
                  <a:pt x="96844" y="34746"/>
                  <a:pt x="94776" y="29646"/>
                  <a:pt x="92179" y="25074"/>
                </a:cubicBezTo>
                <a:cubicBezTo>
                  <a:pt x="87082" y="16413"/>
                  <a:pt x="81456" y="9291"/>
                  <a:pt x="75301" y="5056"/>
                </a:cubicBezTo>
                <a:close/>
              </a:path>
            </a:pathLst>
          </a:custGeom>
          <a:solidFill>
            <a:srgbClr val="29C8C1"/>
          </a:solidFill>
          <a:ln w="0" cap="flat">
            <a:noFill/>
            <a:prstDash val="solid"/>
            <a:miter/>
          </a:ln>
        </p:spPr>
        <p:txBody>
          <a:bodyPr rtlCol="0" anchor="ctr"/>
          <a:lstStyle/>
          <a:p>
            <a:pPr rtl="0"/>
            <a:endParaRPr lang="en-AU" dirty="0"/>
          </a:p>
        </p:txBody>
      </p:sp>
      <p:sp>
        <p:nvSpPr>
          <p:cNvPr id="59" name="Freeform: Shape 58">
            <a:extLst>
              <a:ext uri="{FF2B5EF4-FFF2-40B4-BE49-F238E27FC236}">
                <a16:creationId xmlns:a16="http://schemas.microsoft.com/office/drawing/2014/main" id="{601590B9-D8B5-8C2B-F07F-5B191BE32929}"/>
              </a:ext>
            </a:extLst>
          </p:cNvPr>
          <p:cNvSpPr/>
          <p:nvPr/>
        </p:nvSpPr>
        <p:spPr>
          <a:xfrm>
            <a:off x="6017819" y="2935247"/>
            <a:ext cx="469871" cy="1256027"/>
          </a:xfrm>
          <a:custGeom>
            <a:avLst/>
            <a:gdLst>
              <a:gd name="connsiteX0" fmla="*/ 468716 w 469871"/>
              <a:gd name="connsiteY0" fmla="*/ 673050 h 1256027"/>
              <a:gd name="connsiteX1" fmla="*/ 467802 w 469871"/>
              <a:gd name="connsiteY1" fmla="*/ 538072 h 1256027"/>
              <a:gd name="connsiteX2" fmla="*/ 453905 w 469871"/>
              <a:gd name="connsiteY2" fmla="*/ 254163 h 1256027"/>
              <a:gd name="connsiteX3" fmla="*/ 426496 w 469871"/>
              <a:gd name="connsiteY3" fmla="*/ 111968 h 1256027"/>
              <a:gd name="connsiteX4" fmla="*/ 413994 w 469871"/>
              <a:gd name="connsiteY4" fmla="*/ 78284 h 1256027"/>
              <a:gd name="connsiteX5" fmla="*/ 397068 w 469871"/>
              <a:gd name="connsiteY5" fmla="*/ 46573 h 1256027"/>
              <a:gd name="connsiteX6" fmla="*/ 373265 w 469871"/>
              <a:gd name="connsiteY6" fmla="*/ 19289 h 1256027"/>
              <a:gd name="connsiteX7" fmla="*/ 340856 w 469871"/>
              <a:gd name="connsiteY7" fmla="*/ 2447 h 1256027"/>
              <a:gd name="connsiteX8" fmla="*/ 304791 w 469871"/>
              <a:gd name="connsiteY8" fmla="*/ 1388 h 1256027"/>
              <a:gd name="connsiteX9" fmla="*/ 271324 w 469871"/>
              <a:gd name="connsiteY9" fmla="*/ 11975 h 1256027"/>
              <a:gd name="connsiteX10" fmla="*/ 263534 w 469871"/>
              <a:gd name="connsiteY10" fmla="*/ 15728 h 1256027"/>
              <a:gd name="connsiteX11" fmla="*/ 255936 w 469871"/>
              <a:gd name="connsiteY11" fmla="*/ 19866 h 1256027"/>
              <a:gd name="connsiteX12" fmla="*/ 248579 w 469871"/>
              <a:gd name="connsiteY12" fmla="*/ 24630 h 1256027"/>
              <a:gd name="connsiteX13" fmla="*/ 241510 w 469871"/>
              <a:gd name="connsiteY13" fmla="*/ 29683 h 1256027"/>
              <a:gd name="connsiteX14" fmla="*/ 234874 w 469871"/>
              <a:gd name="connsiteY14" fmla="*/ 35217 h 1256027"/>
              <a:gd name="connsiteX15" fmla="*/ 228527 w 469871"/>
              <a:gd name="connsiteY15" fmla="*/ 40943 h 1256027"/>
              <a:gd name="connsiteX16" fmla="*/ 216794 w 469871"/>
              <a:gd name="connsiteY16" fmla="*/ 53262 h 1256027"/>
              <a:gd name="connsiteX17" fmla="*/ 179335 w 469871"/>
              <a:gd name="connsiteY17" fmla="*/ 107974 h 1256027"/>
              <a:gd name="connsiteX18" fmla="*/ 150484 w 469871"/>
              <a:gd name="connsiteY18" fmla="*/ 165526 h 1256027"/>
              <a:gd name="connsiteX19" fmla="*/ 103360 w 469871"/>
              <a:gd name="connsiteY19" fmla="*/ 279475 h 1256027"/>
              <a:gd name="connsiteX20" fmla="*/ 59265 w 469871"/>
              <a:gd name="connsiteY20" fmla="*/ 386831 h 1256027"/>
              <a:gd name="connsiteX21" fmla="*/ 21566 w 469871"/>
              <a:gd name="connsiteY21" fmla="*/ 488846 h 1256027"/>
              <a:gd name="connsiteX22" fmla="*/ 1225 w 469871"/>
              <a:gd name="connsiteY22" fmla="*/ 587396 h 1256027"/>
              <a:gd name="connsiteX23" fmla="*/ 15988 w 469871"/>
              <a:gd name="connsiteY23" fmla="*/ 759137 h 1256027"/>
              <a:gd name="connsiteX24" fmla="*/ 63593 w 469871"/>
              <a:gd name="connsiteY24" fmla="*/ 880255 h 1256027"/>
              <a:gd name="connsiteX25" fmla="*/ 103504 w 469871"/>
              <a:gd name="connsiteY25" fmla="*/ 952002 h 1256027"/>
              <a:gd name="connsiteX26" fmla="*/ 114179 w 469871"/>
              <a:gd name="connsiteY26" fmla="*/ 970480 h 1256027"/>
              <a:gd name="connsiteX27" fmla="*/ 118122 w 469871"/>
              <a:gd name="connsiteY27" fmla="*/ 976592 h 1256027"/>
              <a:gd name="connsiteX28" fmla="*/ 115141 w 469871"/>
              <a:gd name="connsiteY28" fmla="*/ 969951 h 1256027"/>
              <a:gd name="connsiteX29" fmla="*/ 105379 w 469871"/>
              <a:gd name="connsiteY29" fmla="*/ 950943 h 1256027"/>
              <a:gd name="connsiteX30" fmla="*/ 67295 w 469871"/>
              <a:gd name="connsiteY30" fmla="*/ 878330 h 1256027"/>
              <a:gd name="connsiteX31" fmla="*/ 21758 w 469871"/>
              <a:gd name="connsiteY31" fmla="*/ 757693 h 1256027"/>
              <a:gd name="connsiteX32" fmla="*/ 9160 w 469871"/>
              <a:gd name="connsiteY32" fmla="*/ 678198 h 1256027"/>
              <a:gd name="connsiteX33" fmla="*/ 7861 w 469871"/>
              <a:gd name="connsiteY33" fmla="*/ 656544 h 1256027"/>
              <a:gd name="connsiteX34" fmla="*/ 7332 w 469871"/>
              <a:gd name="connsiteY34" fmla="*/ 645477 h 1256027"/>
              <a:gd name="connsiteX35" fmla="*/ 7236 w 469871"/>
              <a:gd name="connsiteY35" fmla="*/ 634265 h 1256027"/>
              <a:gd name="connsiteX36" fmla="*/ 8727 w 469871"/>
              <a:gd name="connsiteY36" fmla="*/ 588069 h 1256027"/>
              <a:gd name="connsiteX37" fmla="*/ 29404 w 469871"/>
              <a:gd name="connsiteY37" fmla="*/ 491252 h 1256027"/>
              <a:gd name="connsiteX38" fmla="*/ 67392 w 469871"/>
              <a:gd name="connsiteY38" fmla="*/ 390151 h 1256027"/>
              <a:gd name="connsiteX39" fmla="*/ 112015 w 469871"/>
              <a:gd name="connsiteY39" fmla="*/ 282939 h 1256027"/>
              <a:gd name="connsiteX40" fmla="*/ 159380 w 469871"/>
              <a:gd name="connsiteY40" fmla="*/ 169568 h 1256027"/>
              <a:gd name="connsiteX41" fmla="*/ 187991 w 469871"/>
              <a:gd name="connsiteY41" fmla="*/ 112883 h 1256027"/>
              <a:gd name="connsiteX42" fmla="*/ 224440 w 469871"/>
              <a:gd name="connsiteY42" fmla="*/ 59902 h 1256027"/>
              <a:gd name="connsiteX43" fmla="*/ 235596 w 469871"/>
              <a:gd name="connsiteY43" fmla="*/ 48257 h 1256027"/>
              <a:gd name="connsiteX44" fmla="*/ 241558 w 469871"/>
              <a:gd name="connsiteY44" fmla="*/ 42868 h 1256027"/>
              <a:gd name="connsiteX45" fmla="*/ 247761 w 469871"/>
              <a:gd name="connsiteY45" fmla="*/ 37719 h 1256027"/>
              <a:gd name="connsiteX46" fmla="*/ 254301 w 469871"/>
              <a:gd name="connsiteY46" fmla="*/ 33099 h 1256027"/>
              <a:gd name="connsiteX47" fmla="*/ 261033 w 469871"/>
              <a:gd name="connsiteY47" fmla="*/ 28769 h 1256027"/>
              <a:gd name="connsiteX48" fmla="*/ 268198 w 469871"/>
              <a:gd name="connsiteY48" fmla="*/ 24871 h 1256027"/>
              <a:gd name="connsiteX49" fmla="*/ 275555 w 469871"/>
              <a:gd name="connsiteY49" fmla="*/ 21310 h 1256027"/>
              <a:gd name="connsiteX50" fmla="*/ 338259 w 469871"/>
              <a:gd name="connsiteY50" fmla="*/ 12504 h 1256027"/>
              <a:gd name="connsiteX51" fmla="*/ 388220 w 469871"/>
              <a:gd name="connsiteY51" fmla="*/ 52347 h 1256027"/>
              <a:gd name="connsiteX52" fmla="*/ 416302 w 469871"/>
              <a:gd name="connsiteY52" fmla="*/ 115144 h 1256027"/>
              <a:gd name="connsiteX53" fmla="*/ 443230 w 469871"/>
              <a:gd name="connsiteY53" fmla="*/ 255318 h 1256027"/>
              <a:gd name="connsiteX54" fmla="*/ 457271 w 469871"/>
              <a:gd name="connsiteY54" fmla="*/ 538169 h 1256027"/>
              <a:gd name="connsiteX55" fmla="*/ 458425 w 469871"/>
              <a:gd name="connsiteY55" fmla="*/ 673098 h 1256027"/>
              <a:gd name="connsiteX56" fmla="*/ 460012 w 469871"/>
              <a:gd name="connsiteY56" fmla="*/ 802445 h 1256027"/>
              <a:gd name="connsiteX57" fmla="*/ 446837 w 469871"/>
              <a:gd name="connsiteY57" fmla="*/ 1040447 h 1256027"/>
              <a:gd name="connsiteX58" fmla="*/ 437893 w 469871"/>
              <a:gd name="connsiteY58" fmla="*/ 1094630 h 1256027"/>
              <a:gd name="connsiteX59" fmla="*/ 425294 w 469871"/>
              <a:gd name="connsiteY59" fmla="*/ 1145878 h 1256027"/>
              <a:gd name="connsiteX60" fmla="*/ 407358 w 469871"/>
              <a:gd name="connsiteY60" fmla="*/ 1192940 h 1256027"/>
              <a:gd name="connsiteX61" fmla="*/ 380574 w 469871"/>
              <a:gd name="connsiteY61" fmla="*/ 1231869 h 1256027"/>
              <a:gd name="connsiteX62" fmla="*/ 341385 w 469871"/>
              <a:gd name="connsiteY62" fmla="*/ 1248855 h 1256027"/>
              <a:gd name="connsiteX63" fmla="*/ 330806 w 469871"/>
              <a:gd name="connsiteY63" fmla="*/ 1247989 h 1256027"/>
              <a:gd name="connsiteX64" fmla="*/ 320660 w 469871"/>
              <a:gd name="connsiteY64" fmla="*/ 1245102 h 1256027"/>
              <a:gd name="connsiteX65" fmla="*/ 301906 w 469871"/>
              <a:gd name="connsiteY65" fmla="*/ 1235622 h 1256027"/>
              <a:gd name="connsiteX66" fmla="*/ 270506 w 469871"/>
              <a:gd name="connsiteY66" fmla="*/ 1209301 h 1256027"/>
              <a:gd name="connsiteX67" fmla="*/ 244780 w 469871"/>
              <a:gd name="connsiteY67" fmla="*/ 1180140 h 1256027"/>
              <a:gd name="connsiteX68" fmla="*/ 204100 w 469871"/>
              <a:gd name="connsiteY68" fmla="*/ 1122925 h 1256027"/>
              <a:gd name="connsiteX69" fmla="*/ 173132 w 469871"/>
              <a:gd name="connsiteY69" fmla="*/ 1072495 h 1256027"/>
              <a:gd name="connsiteX70" fmla="*/ 132644 w 469871"/>
              <a:gd name="connsiteY70" fmla="*/ 1001181 h 1256027"/>
              <a:gd name="connsiteX71" fmla="*/ 122113 w 469871"/>
              <a:gd name="connsiteY71" fmla="*/ 982607 h 1256027"/>
              <a:gd name="connsiteX72" fmla="*/ 118170 w 469871"/>
              <a:gd name="connsiteY72" fmla="*/ 976447 h 1256027"/>
              <a:gd name="connsiteX73" fmla="*/ 121152 w 469871"/>
              <a:gd name="connsiteY73" fmla="*/ 983088 h 1256027"/>
              <a:gd name="connsiteX74" fmla="*/ 130769 w 469871"/>
              <a:gd name="connsiteY74" fmla="*/ 1002143 h 1256027"/>
              <a:gd name="connsiteX75" fmla="*/ 169574 w 469871"/>
              <a:gd name="connsiteY75" fmla="*/ 1074516 h 1256027"/>
              <a:gd name="connsiteX76" fmla="*/ 199868 w 469871"/>
              <a:gd name="connsiteY76" fmla="*/ 1125620 h 1256027"/>
              <a:gd name="connsiteX77" fmla="*/ 240164 w 469871"/>
              <a:gd name="connsiteY77" fmla="*/ 1183797 h 1256027"/>
              <a:gd name="connsiteX78" fmla="*/ 266034 w 469871"/>
              <a:gd name="connsiteY78" fmla="*/ 1213728 h 1256027"/>
              <a:gd name="connsiteX79" fmla="*/ 298348 w 469871"/>
              <a:gd name="connsiteY79" fmla="*/ 1241253 h 1256027"/>
              <a:gd name="connsiteX80" fmla="*/ 318400 w 469871"/>
              <a:gd name="connsiteY80" fmla="*/ 1251598 h 1256027"/>
              <a:gd name="connsiteX81" fmla="*/ 329603 w 469871"/>
              <a:gd name="connsiteY81" fmla="*/ 1254918 h 1256027"/>
              <a:gd name="connsiteX82" fmla="*/ 341481 w 469871"/>
              <a:gd name="connsiteY82" fmla="*/ 1256025 h 1256027"/>
              <a:gd name="connsiteX83" fmla="*/ 385816 w 469871"/>
              <a:gd name="connsiteY83" fmla="*/ 1237355 h 1256027"/>
              <a:gd name="connsiteX84" fmla="*/ 414523 w 469871"/>
              <a:gd name="connsiteY84" fmla="*/ 1196405 h 1256027"/>
              <a:gd name="connsiteX85" fmla="*/ 433228 w 469871"/>
              <a:gd name="connsiteY85" fmla="*/ 1148236 h 1256027"/>
              <a:gd name="connsiteX86" fmla="*/ 446308 w 469871"/>
              <a:gd name="connsiteY86" fmla="*/ 1096266 h 1256027"/>
              <a:gd name="connsiteX87" fmla="*/ 455636 w 469871"/>
              <a:gd name="connsiteY87" fmla="*/ 1041602 h 1256027"/>
              <a:gd name="connsiteX88" fmla="*/ 469870 w 469871"/>
              <a:gd name="connsiteY88" fmla="*/ 802348 h 1256027"/>
              <a:gd name="connsiteX89" fmla="*/ 468620 w 469871"/>
              <a:gd name="connsiteY89" fmla="*/ 672953 h 12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69871" h="1256027">
                <a:moveTo>
                  <a:pt x="468716" y="673050"/>
                </a:moveTo>
                <a:cubicBezTo>
                  <a:pt x="468427" y="628923"/>
                  <a:pt x="468091" y="583883"/>
                  <a:pt x="467802" y="538072"/>
                </a:cubicBezTo>
                <a:cubicBezTo>
                  <a:pt x="466552" y="446355"/>
                  <a:pt x="464580" y="351222"/>
                  <a:pt x="453905" y="254163"/>
                </a:cubicBezTo>
                <a:cubicBezTo>
                  <a:pt x="448231" y="205707"/>
                  <a:pt x="440730" y="157779"/>
                  <a:pt x="426496" y="111968"/>
                </a:cubicBezTo>
                <a:cubicBezTo>
                  <a:pt x="422986" y="100516"/>
                  <a:pt x="418755" y="89256"/>
                  <a:pt x="413994" y="78284"/>
                </a:cubicBezTo>
                <a:cubicBezTo>
                  <a:pt x="409234" y="67313"/>
                  <a:pt x="403752" y="56582"/>
                  <a:pt x="397068" y="46573"/>
                </a:cubicBezTo>
                <a:cubicBezTo>
                  <a:pt x="390432" y="36564"/>
                  <a:pt x="382642" y="27133"/>
                  <a:pt x="373265" y="19289"/>
                </a:cubicBezTo>
                <a:cubicBezTo>
                  <a:pt x="363937" y="11397"/>
                  <a:pt x="352829" y="5382"/>
                  <a:pt x="340856" y="2447"/>
                </a:cubicBezTo>
                <a:cubicBezTo>
                  <a:pt x="328930" y="-585"/>
                  <a:pt x="316524" y="-633"/>
                  <a:pt x="304791" y="1388"/>
                </a:cubicBezTo>
                <a:cubicBezTo>
                  <a:pt x="293058" y="3409"/>
                  <a:pt x="281806" y="7115"/>
                  <a:pt x="271324" y="11975"/>
                </a:cubicBezTo>
                <a:cubicBezTo>
                  <a:pt x="268631" y="13081"/>
                  <a:pt x="266082" y="14429"/>
                  <a:pt x="263534" y="15728"/>
                </a:cubicBezTo>
                <a:cubicBezTo>
                  <a:pt x="260985" y="17124"/>
                  <a:pt x="258340" y="18182"/>
                  <a:pt x="255936" y="19866"/>
                </a:cubicBezTo>
                <a:lnTo>
                  <a:pt x="248579" y="24630"/>
                </a:lnTo>
                <a:cubicBezTo>
                  <a:pt x="246127" y="26218"/>
                  <a:pt x="243626" y="27710"/>
                  <a:pt x="241510" y="29683"/>
                </a:cubicBezTo>
                <a:lnTo>
                  <a:pt x="234874" y="35217"/>
                </a:lnTo>
                <a:cubicBezTo>
                  <a:pt x="232663" y="37093"/>
                  <a:pt x="230402" y="38826"/>
                  <a:pt x="228527" y="40943"/>
                </a:cubicBezTo>
                <a:cubicBezTo>
                  <a:pt x="224632" y="45081"/>
                  <a:pt x="220497" y="48979"/>
                  <a:pt x="216794" y="53262"/>
                </a:cubicBezTo>
                <a:cubicBezTo>
                  <a:pt x="201840" y="70248"/>
                  <a:pt x="190155" y="89111"/>
                  <a:pt x="179335" y="107974"/>
                </a:cubicBezTo>
                <a:cubicBezTo>
                  <a:pt x="168516" y="126886"/>
                  <a:pt x="159284" y="146278"/>
                  <a:pt x="150484" y="165526"/>
                </a:cubicBezTo>
                <a:cubicBezTo>
                  <a:pt x="133077" y="204119"/>
                  <a:pt x="118170" y="242470"/>
                  <a:pt x="103360" y="279475"/>
                </a:cubicBezTo>
                <a:cubicBezTo>
                  <a:pt x="88694" y="316527"/>
                  <a:pt x="73450" y="352088"/>
                  <a:pt x="59265" y="386831"/>
                </a:cubicBezTo>
                <a:cubicBezTo>
                  <a:pt x="45032" y="421525"/>
                  <a:pt x="32000" y="455450"/>
                  <a:pt x="21566" y="488846"/>
                </a:cubicBezTo>
                <a:cubicBezTo>
                  <a:pt x="11420" y="522289"/>
                  <a:pt x="3822" y="555300"/>
                  <a:pt x="1225" y="587396"/>
                </a:cubicBezTo>
                <a:cubicBezTo>
                  <a:pt x="-2862" y="651588"/>
                  <a:pt x="3582" y="709717"/>
                  <a:pt x="15988" y="759137"/>
                </a:cubicBezTo>
                <a:cubicBezTo>
                  <a:pt x="28442" y="808604"/>
                  <a:pt x="47340" y="848544"/>
                  <a:pt x="63593" y="880255"/>
                </a:cubicBezTo>
                <a:cubicBezTo>
                  <a:pt x="80182" y="911870"/>
                  <a:pt x="94223" y="935737"/>
                  <a:pt x="103504" y="952002"/>
                </a:cubicBezTo>
                <a:cubicBezTo>
                  <a:pt x="108216" y="960134"/>
                  <a:pt x="111775" y="966294"/>
                  <a:pt x="114179" y="970480"/>
                </a:cubicBezTo>
                <a:cubicBezTo>
                  <a:pt x="116631" y="974619"/>
                  <a:pt x="117978" y="976688"/>
                  <a:pt x="118122" y="976592"/>
                </a:cubicBezTo>
                <a:cubicBezTo>
                  <a:pt x="118266" y="976495"/>
                  <a:pt x="117257" y="974233"/>
                  <a:pt x="115141" y="969951"/>
                </a:cubicBezTo>
                <a:cubicBezTo>
                  <a:pt x="112977" y="965668"/>
                  <a:pt x="109755" y="959268"/>
                  <a:pt x="105379" y="950943"/>
                </a:cubicBezTo>
                <a:cubicBezTo>
                  <a:pt x="96724" y="934294"/>
                  <a:pt x="83260" y="910090"/>
                  <a:pt x="67295" y="878330"/>
                </a:cubicBezTo>
                <a:cubicBezTo>
                  <a:pt x="51619" y="846475"/>
                  <a:pt x="33491" y="806679"/>
                  <a:pt x="21758" y="757693"/>
                </a:cubicBezTo>
                <a:cubicBezTo>
                  <a:pt x="15988" y="733248"/>
                  <a:pt x="11420" y="706637"/>
                  <a:pt x="9160" y="678198"/>
                </a:cubicBezTo>
                <a:cubicBezTo>
                  <a:pt x="8535" y="671077"/>
                  <a:pt x="8342" y="663859"/>
                  <a:pt x="7861" y="656544"/>
                </a:cubicBezTo>
                <a:cubicBezTo>
                  <a:pt x="7669" y="652887"/>
                  <a:pt x="7429" y="649182"/>
                  <a:pt x="7332" y="645477"/>
                </a:cubicBezTo>
                <a:cubicBezTo>
                  <a:pt x="7332" y="641771"/>
                  <a:pt x="7284" y="638018"/>
                  <a:pt x="7236" y="634265"/>
                </a:cubicBezTo>
                <a:cubicBezTo>
                  <a:pt x="7044" y="619155"/>
                  <a:pt x="6996" y="603756"/>
                  <a:pt x="8727" y="588069"/>
                </a:cubicBezTo>
                <a:cubicBezTo>
                  <a:pt x="11516" y="556647"/>
                  <a:pt x="19210" y="524262"/>
                  <a:pt x="29404" y="491252"/>
                </a:cubicBezTo>
                <a:cubicBezTo>
                  <a:pt x="39935" y="458289"/>
                  <a:pt x="53014" y="424701"/>
                  <a:pt x="67392" y="390151"/>
                </a:cubicBezTo>
                <a:cubicBezTo>
                  <a:pt x="81721" y="355601"/>
                  <a:pt x="97157" y="320040"/>
                  <a:pt x="112015" y="282939"/>
                </a:cubicBezTo>
                <a:cubicBezTo>
                  <a:pt x="126970" y="245935"/>
                  <a:pt x="141973" y="207728"/>
                  <a:pt x="159380" y="169568"/>
                </a:cubicBezTo>
                <a:cubicBezTo>
                  <a:pt x="168131" y="150513"/>
                  <a:pt x="177316" y="131409"/>
                  <a:pt x="187991" y="112883"/>
                </a:cubicBezTo>
                <a:cubicBezTo>
                  <a:pt x="198618" y="94453"/>
                  <a:pt x="210110" y="76023"/>
                  <a:pt x="224440" y="59902"/>
                </a:cubicBezTo>
                <a:cubicBezTo>
                  <a:pt x="227950" y="55812"/>
                  <a:pt x="231893" y="52155"/>
                  <a:pt x="235596" y="48257"/>
                </a:cubicBezTo>
                <a:cubicBezTo>
                  <a:pt x="237375" y="46236"/>
                  <a:pt x="239539" y="44600"/>
                  <a:pt x="241558" y="42868"/>
                </a:cubicBezTo>
                <a:lnTo>
                  <a:pt x="247761" y="37719"/>
                </a:lnTo>
                <a:cubicBezTo>
                  <a:pt x="249733" y="35890"/>
                  <a:pt x="252041" y="34543"/>
                  <a:pt x="254301" y="33099"/>
                </a:cubicBezTo>
                <a:lnTo>
                  <a:pt x="261033" y="28769"/>
                </a:lnTo>
                <a:cubicBezTo>
                  <a:pt x="263197" y="27229"/>
                  <a:pt x="265794" y="26170"/>
                  <a:pt x="268198" y="24871"/>
                </a:cubicBezTo>
                <a:cubicBezTo>
                  <a:pt x="270650" y="23668"/>
                  <a:pt x="273055" y="22321"/>
                  <a:pt x="275555" y="21310"/>
                </a:cubicBezTo>
                <a:cubicBezTo>
                  <a:pt x="295270" y="12312"/>
                  <a:pt x="317486" y="7211"/>
                  <a:pt x="338259" y="12504"/>
                </a:cubicBezTo>
                <a:cubicBezTo>
                  <a:pt x="359176" y="17509"/>
                  <a:pt x="376006" y="33677"/>
                  <a:pt x="388220" y="52347"/>
                </a:cubicBezTo>
                <a:cubicBezTo>
                  <a:pt x="400578" y="71211"/>
                  <a:pt x="409234" y="92913"/>
                  <a:pt x="416302" y="115144"/>
                </a:cubicBezTo>
                <a:cubicBezTo>
                  <a:pt x="430151" y="159848"/>
                  <a:pt x="437652" y="207294"/>
                  <a:pt x="443230" y="255318"/>
                </a:cubicBezTo>
                <a:cubicBezTo>
                  <a:pt x="453809" y="351655"/>
                  <a:pt x="455925" y="446596"/>
                  <a:pt x="457271" y="538169"/>
                </a:cubicBezTo>
                <a:cubicBezTo>
                  <a:pt x="457656" y="583979"/>
                  <a:pt x="458041" y="629020"/>
                  <a:pt x="458425" y="673098"/>
                </a:cubicBezTo>
                <a:cubicBezTo>
                  <a:pt x="458954" y="717176"/>
                  <a:pt x="459483" y="760340"/>
                  <a:pt x="460012" y="802445"/>
                </a:cubicBezTo>
                <a:cubicBezTo>
                  <a:pt x="460397" y="886511"/>
                  <a:pt x="456742" y="966486"/>
                  <a:pt x="446837" y="1040447"/>
                </a:cubicBezTo>
                <a:cubicBezTo>
                  <a:pt x="444336" y="1058925"/>
                  <a:pt x="441307" y="1077018"/>
                  <a:pt x="437893" y="1094630"/>
                </a:cubicBezTo>
                <a:cubicBezTo>
                  <a:pt x="434286" y="1112242"/>
                  <a:pt x="430199" y="1129373"/>
                  <a:pt x="425294" y="1145878"/>
                </a:cubicBezTo>
                <a:cubicBezTo>
                  <a:pt x="420390" y="1162384"/>
                  <a:pt x="414523" y="1178215"/>
                  <a:pt x="407358" y="1192940"/>
                </a:cubicBezTo>
                <a:cubicBezTo>
                  <a:pt x="400194" y="1207616"/>
                  <a:pt x="391586" y="1221283"/>
                  <a:pt x="380574" y="1231869"/>
                </a:cubicBezTo>
                <a:cubicBezTo>
                  <a:pt x="369755" y="1242696"/>
                  <a:pt x="355570" y="1248711"/>
                  <a:pt x="341385" y="1248855"/>
                </a:cubicBezTo>
                <a:cubicBezTo>
                  <a:pt x="337826" y="1248952"/>
                  <a:pt x="334316" y="1248230"/>
                  <a:pt x="330806" y="1247989"/>
                </a:cubicBezTo>
                <a:cubicBezTo>
                  <a:pt x="327392" y="1247123"/>
                  <a:pt x="323929" y="1246449"/>
                  <a:pt x="320660" y="1245102"/>
                </a:cubicBezTo>
                <a:cubicBezTo>
                  <a:pt x="314024" y="1242792"/>
                  <a:pt x="307821" y="1239328"/>
                  <a:pt x="301906" y="1235622"/>
                </a:cubicBezTo>
                <a:cubicBezTo>
                  <a:pt x="290173" y="1228019"/>
                  <a:pt x="279883" y="1218780"/>
                  <a:pt x="270506" y="1209301"/>
                </a:cubicBezTo>
                <a:cubicBezTo>
                  <a:pt x="261129" y="1199773"/>
                  <a:pt x="252666" y="1189908"/>
                  <a:pt x="244780" y="1180140"/>
                </a:cubicBezTo>
                <a:cubicBezTo>
                  <a:pt x="229152" y="1160459"/>
                  <a:pt x="215833" y="1141066"/>
                  <a:pt x="204100" y="1122925"/>
                </a:cubicBezTo>
                <a:cubicBezTo>
                  <a:pt x="192319" y="1104784"/>
                  <a:pt x="182124" y="1087845"/>
                  <a:pt x="173132" y="1072495"/>
                </a:cubicBezTo>
                <a:cubicBezTo>
                  <a:pt x="155148" y="1041794"/>
                  <a:pt x="141828" y="1017542"/>
                  <a:pt x="132644" y="1001181"/>
                </a:cubicBezTo>
                <a:cubicBezTo>
                  <a:pt x="128028" y="993049"/>
                  <a:pt x="124469" y="986793"/>
                  <a:pt x="122113" y="982607"/>
                </a:cubicBezTo>
                <a:cubicBezTo>
                  <a:pt x="119661" y="978468"/>
                  <a:pt x="118363" y="976351"/>
                  <a:pt x="118170" y="976447"/>
                </a:cubicBezTo>
                <a:cubicBezTo>
                  <a:pt x="118026" y="976543"/>
                  <a:pt x="119036" y="978805"/>
                  <a:pt x="121152" y="983088"/>
                </a:cubicBezTo>
                <a:cubicBezTo>
                  <a:pt x="123315" y="987370"/>
                  <a:pt x="126537" y="993770"/>
                  <a:pt x="130769" y="1002143"/>
                </a:cubicBezTo>
                <a:cubicBezTo>
                  <a:pt x="139376" y="1018841"/>
                  <a:pt x="152071" y="1043430"/>
                  <a:pt x="169574" y="1074516"/>
                </a:cubicBezTo>
                <a:cubicBezTo>
                  <a:pt x="178326" y="1090059"/>
                  <a:pt x="188279" y="1107238"/>
                  <a:pt x="199868" y="1125620"/>
                </a:cubicBezTo>
                <a:cubicBezTo>
                  <a:pt x="211457" y="1144002"/>
                  <a:pt x="224584" y="1163683"/>
                  <a:pt x="240164" y="1183797"/>
                </a:cubicBezTo>
                <a:cubicBezTo>
                  <a:pt x="248050" y="1193806"/>
                  <a:pt x="256513" y="1203911"/>
                  <a:pt x="266034" y="1213728"/>
                </a:cubicBezTo>
                <a:cubicBezTo>
                  <a:pt x="275555" y="1223544"/>
                  <a:pt x="286038" y="1233120"/>
                  <a:pt x="298348" y="1241253"/>
                </a:cubicBezTo>
                <a:cubicBezTo>
                  <a:pt x="304551" y="1245198"/>
                  <a:pt x="311090" y="1249000"/>
                  <a:pt x="318400" y="1251598"/>
                </a:cubicBezTo>
                <a:cubicBezTo>
                  <a:pt x="321958" y="1253090"/>
                  <a:pt x="325805" y="1253908"/>
                  <a:pt x="329603" y="1254918"/>
                </a:cubicBezTo>
                <a:cubicBezTo>
                  <a:pt x="333547" y="1255304"/>
                  <a:pt x="337442" y="1256073"/>
                  <a:pt x="341481" y="1256025"/>
                </a:cubicBezTo>
                <a:cubicBezTo>
                  <a:pt x="357589" y="1256122"/>
                  <a:pt x="374083" y="1249048"/>
                  <a:pt x="385816" y="1237355"/>
                </a:cubicBezTo>
                <a:cubicBezTo>
                  <a:pt x="397885" y="1225902"/>
                  <a:pt x="406974" y="1211562"/>
                  <a:pt x="414523" y="1196405"/>
                </a:cubicBezTo>
                <a:cubicBezTo>
                  <a:pt x="422024" y="1181198"/>
                  <a:pt x="428131" y="1164982"/>
                  <a:pt x="433228" y="1148236"/>
                </a:cubicBezTo>
                <a:cubicBezTo>
                  <a:pt x="438277" y="1131442"/>
                  <a:pt x="442557" y="1114071"/>
                  <a:pt x="446308" y="1096266"/>
                </a:cubicBezTo>
                <a:cubicBezTo>
                  <a:pt x="449866" y="1078462"/>
                  <a:pt x="453040" y="1060224"/>
                  <a:pt x="455636" y="1041602"/>
                </a:cubicBezTo>
                <a:cubicBezTo>
                  <a:pt x="465975" y="967064"/>
                  <a:pt x="469966" y="886751"/>
                  <a:pt x="469870" y="802348"/>
                </a:cubicBezTo>
                <a:cubicBezTo>
                  <a:pt x="469485" y="760243"/>
                  <a:pt x="469052" y="717031"/>
                  <a:pt x="468620" y="672953"/>
                </a:cubicBezTo>
                <a:close/>
              </a:path>
            </a:pathLst>
          </a:custGeom>
          <a:solidFill>
            <a:srgbClr val="29C8C1"/>
          </a:solidFill>
          <a:ln w="0" cap="flat">
            <a:noFill/>
            <a:prstDash val="solid"/>
            <a:miter/>
          </a:ln>
        </p:spPr>
        <p:txBody>
          <a:bodyPr rtlCol="0" anchor="ctr"/>
          <a:lstStyle/>
          <a:p>
            <a:pPr rtl="0"/>
            <a:endParaRPr lang="en-AU" dirty="0"/>
          </a:p>
        </p:txBody>
      </p:sp>
      <p:sp>
        <p:nvSpPr>
          <p:cNvPr id="60" name="Freeform: Shape 59">
            <a:extLst>
              <a:ext uri="{FF2B5EF4-FFF2-40B4-BE49-F238E27FC236}">
                <a16:creationId xmlns:a16="http://schemas.microsoft.com/office/drawing/2014/main" id="{5D5CB6D0-A67B-FD3A-15A5-E707BB6616E1}"/>
              </a:ext>
            </a:extLst>
          </p:cNvPr>
          <p:cNvSpPr/>
          <p:nvPr/>
        </p:nvSpPr>
        <p:spPr>
          <a:xfrm>
            <a:off x="6060145" y="3185609"/>
            <a:ext cx="334981" cy="822999"/>
          </a:xfrm>
          <a:custGeom>
            <a:avLst/>
            <a:gdLst>
              <a:gd name="connsiteX0" fmla="*/ 198031 w 334981"/>
              <a:gd name="connsiteY0" fmla="*/ 96 h 822999"/>
              <a:gd name="connsiteX1" fmla="*/ 191395 w 334981"/>
              <a:gd name="connsiteY1" fmla="*/ 1299 h 822999"/>
              <a:gd name="connsiteX2" fmla="*/ 179230 w 334981"/>
              <a:gd name="connsiteY2" fmla="*/ 5871 h 822999"/>
              <a:gd name="connsiteX3" fmla="*/ 168218 w 334981"/>
              <a:gd name="connsiteY3" fmla="*/ 12174 h 822999"/>
              <a:gd name="connsiteX4" fmla="*/ 158264 w 334981"/>
              <a:gd name="connsiteY4" fmla="*/ 19729 h 822999"/>
              <a:gd name="connsiteX5" fmla="*/ 124604 w 334981"/>
              <a:gd name="connsiteY5" fmla="*/ 55049 h 822999"/>
              <a:gd name="connsiteX6" fmla="*/ 97195 w 334981"/>
              <a:gd name="connsiteY6" fmla="*/ 94027 h 822999"/>
              <a:gd name="connsiteX7" fmla="*/ 52860 w 334981"/>
              <a:gd name="connsiteY7" fmla="*/ 175446 h 822999"/>
              <a:gd name="connsiteX8" fmla="*/ 19200 w 334981"/>
              <a:gd name="connsiteY8" fmla="*/ 258309 h 822999"/>
              <a:gd name="connsiteX9" fmla="*/ 6986 w 334981"/>
              <a:gd name="connsiteY9" fmla="*/ 300125 h 822999"/>
              <a:gd name="connsiteX10" fmla="*/ 639 w 334981"/>
              <a:gd name="connsiteY10" fmla="*/ 342567 h 822999"/>
              <a:gd name="connsiteX11" fmla="*/ 4774 w 334981"/>
              <a:gd name="connsiteY11" fmla="*/ 424420 h 822999"/>
              <a:gd name="connsiteX12" fmla="*/ 20835 w 334981"/>
              <a:gd name="connsiteY12" fmla="*/ 499728 h 822999"/>
              <a:gd name="connsiteX13" fmla="*/ 68680 w 334981"/>
              <a:gd name="connsiteY13" fmla="*/ 628979 h 822999"/>
              <a:gd name="connsiteX14" fmla="*/ 180095 w 334981"/>
              <a:gd name="connsiteY14" fmla="*/ 793550 h 822999"/>
              <a:gd name="connsiteX15" fmla="*/ 226738 w 334981"/>
              <a:gd name="connsiteY15" fmla="*/ 821267 h 822999"/>
              <a:gd name="connsiteX16" fmla="*/ 240876 w 334981"/>
              <a:gd name="connsiteY16" fmla="*/ 822999 h 822999"/>
              <a:gd name="connsiteX17" fmla="*/ 245684 w 334981"/>
              <a:gd name="connsiteY17" fmla="*/ 822325 h 822999"/>
              <a:gd name="connsiteX18" fmla="*/ 227363 w 334981"/>
              <a:gd name="connsiteY18" fmla="*/ 819197 h 822999"/>
              <a:gd name="connsiteX19" fmla="*/ 182932 w 334981"/>
              <a:gd name="connsiteY19" fmla="*/ 790470 h 822999"/>
              <a:gd name="connsiteX20" fmla="*/ 75557 w 334981"/>
              <a:gd name="connsiteY20" fmla="*/ 625803 h 822999"/>
              <a:gd name="connsiteX21" fmla="*/ 29394 w 334981"/>
              <a:gd name="connsiteY21" fmla="*/ 497370 h 822999"/>
              <a:gd name="connsiteX22" fmla="*/ 14103 w 334981"/>
              <a:gd name="connsiteY22" fmla="*/ 423024 h 822999"/>
              <a:gd name="connsiteX23" fmla="*/ 10496 w 334981"/>
              <a:gd name="connsiteY23" fmla="*/ 343145 h 822999"/>
              <a:gd name="connsiteX24" fmla="*/ 28865 w 334981"/>
              <a:gd name="connsiteY24" fmla="*/ 261485 h 822999"/>
              <a:gd name="connsiteX25" fmla="*/ 62333 w 334981"/>
              <a:gd name="connsiteY25" fmla="*/ 179777 h 822999"/>
              <a:gd name="connsiteX26" fmla="*/ 106187 w 334981"/>
              <a:gd name="connsiteY26" fmla="*/ 99560 h 822999"/>
              <a:gd name="connsiteX27" fmla="*/ 132971 w 334981"/>
              <a:gd name="connsiteY27" fmla="*/ 61498 h 822999"/>
              <a:gd name="connsiteX28" fmla="*/ 165044 w 334981"/>
              <a:gd name="connsiteY28" fmla="*/ 27813 h 822999"/>
              <a:gd name="connsiteX29" fmla="*/ 174181 w 334981"/>
              <a:gd name="connsiteY29" fmla="*/ 20884 h 822999"/>
              <a:gd name="connsiteX30" fmla="*/ 183894 w 334981"/>
              <a:gd name="connsiteY30" fmla="*/ 15350 h 822999"/>
              <a:gd name="connsiteX31" fmla="*/ 204090 w 334981"/>
              <a:gd name="connsiteY31" fmla="*/ 10586 h 822999"/>
              <a:gd name="connsiteX32" fmla="*/ 223180 w 334981"/>
              <a:gd name="connsiteY32" fmla="*/ 17949 h 822999"/>
              <a:gd name="connsiteX33" fmla="*/ 238760 w 334981"/>
              <a:gd name="connsiteY33" fmla="*/ 33251 h 822999"/>
              <a:gd name="connsiteX34" fmla="*/ 261216 w 334981"/>
              <a:gd name="connsiteY34" fmla="*/ 72276 h 822999"/>
              <a:gd name="connsiteX35" fmla="*/ 277084 w 334981"/>
              <a:gd name="connsiteY35" fmla="*/ 114478 h 822999"/>
              <a:gd name="connsiteX36" fmla="*/ 298627 w 334981"/>
              <a:gd name="connsiteY36" fmla="*/ 200084 h 822999"/>
              <a:gd name="connsiteX37" fmla="*/ 312283 w 334981"/>
              <a:gd name="connsiteY37" fmla="*/ 283861 h 822999"/>
              <a:gd name="connsiteX38" fmla="*/ 325314 w 334981"/>
              <a:gd name="connsiteY38" fmla="*/ 440444 h 822999"/>
              <a:gd name="connsiteX39" fmla="*/ 324978 w 334981"/>
              <a:gd name="connsiteY39" fmla="*/ 577394 h 822999"/>
              <a:gd name="connsiteX40" fmla="*/ 292472 w 334981"/>
              <a:gd name="connsiteY40" fmla="*/ 771751 h 822999"/>
              <a:gd name="connsiteX41" fmla="*/ 278094 w 334981"/>
              <a:gd name="connsiteY41" fmla="*/ 798891 h 822999"/>
              <a:gd name="connsiteX42" fmla="*/ 262658 w 334981"/>
              <a:gd name="connsiteY42" fmla="*/ 814963 h 822999"/>
              <a:gd name="connsiteX43" fmla="*/ 245732 w 334981"/>
              <a:gd name="connsiteY43" fmla="*/ 822277 h 822999"/>
              <a:gd name="connsiteX44" fmla="*/ 250541 w 334981"/>
              <a:gd name="connsiteY44" fmla="*/ 821940 h 822999"/>
              <a:gd name="connsiteX45" fmla="*/ 256311 w 334981"/>
              <a:gd name="connsiteY45" fmla="*/ 820353 h 822999"/>
              <a:gd name="connsiteX46" fmla="*/ 263813 w 334981"/>
              <a:gd name="connsiteY46" fmla="*/ 816744 h 822999"/>
              <a:gd name="connsiteX47" fmla="*/ 280594 w 334981"/>
              <a:gd name="connsiteY47" fmla="*/ 800768 h 822999"/>
              <a:gd name="connsiteX48" fmla="*/ 296270 w 334981"/>
              <a:gd name="connsiteY48" fmla="*/ 773387 h 822999"/>
              <a:gd name="connsiteX49" fmla="*/ 332527 w 334981"/>
              <a:gd name="connsiteY49" fmla="*/ 577779 h 822999"/>
              <a:gd name="connsiteX50" fmla="*/ 334162 w 334981"/>
              <a:gd name="connsiteY50" fmla="*/ 440155 h 822999"/>
              <a:gd name="connsiteX51" fmla="*/ 322044 w 334981"/>
              <a:gd name="connsiteY51" fmla="*/ 282610 h 822999"/>
              <a:gd name="connsiteX52" fmla="*/ 308677 w 334981"/>
              <a:gd name="connsiteY52" fmla="*/ 198111 h 822999"/>
              <a:gd name="connsiteX53" fmla="*/ 287134 w 334981"/>
              <a:gd name="connsiteY53" fmla="*/ 111302 h 822999"/>
              <a:gd name="connsiteX54" fmla="*/ 270929 w 334981"/>
              <a:gd name="connsiteY54" fmla="*/ 67994 h 822999"/>
              <a:gd name="connsiteX55" fmla="*/ 247175 w 334981"/>
              <a:gd name="connsiteY55" fmla="*/ 26707 h 822999"/>
              <a:gd name="connsiteX56" fmla="*/ 229335 w 334981"/>
              <a:gd name="connsiteY56" fmla="*/ 9287 h 822999"/>
              <a:gd name="connsiteX57" fmla="*/ 204859 w 334981"/>
              <a:gd name="connsiteY57" fmla="*/ 0 h 822999"/>
              <a:gd name="connsiteX58" fmla="*/ 198079 w 334981"/>
              <a:gd name="connsiteY58" fmla="*/ 0 h 82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4981" h="822999">
                <a:moveTo>
                  <a:pt x="198031" y="96"/>
                </a:moveTo>
                <a:lnTo>
                  <a:pt x="191395" y="1299"/>
                </a:lnTo>
                <a:cubicBezTo>
                  <a:pt x="187164" y="2454"/>
                  <a:pt x="182980" y="3898"/>
                  <a:pt x="179230" y="5871"/>
                </a:cubicBezTo>
                <a:cubicBezTo>
                  <a:pt x="175287" y="7603"/>
                  <a:pt x="171824" y="10009"/>
                  <a:pt x="168218" y="12174"/>
                </a:cubicBezTo>
                <a:cubicBezTo>
                  <a:pt x="164900" y="14677"/>
                  <a:pt x="161342" y="16986"/>
                  <a:pt x="158264" y="19729"/>
                </a:cubicBezTo>
                <a:cubicBezTo>
                  <a:pt x="145473" y="30364"/>
                  <a:pt x="134606" y="42490"/>
                  <a:pt x="124604" y="55049"/>
                </a:cubicBezTo>
                <a:cubicBezTo>
                  <a:pt x="114650" y="67657"/>
                  <a:pt x="105610" y="80746"/>
                  <a:pt x="97195" y="94027"/>
                </a:cubicBezTo>
                <a:cubicBezTo>
                  <a:pt x="80413" y="120637"/>
                  <a:pt x="65795" y="147970"/>
                  <a:pt x="52860" y="175446"/>
                </a:cubicBezTo>
                <a:cubicBezTo>
                  <a:pt x="39973" y="202971"/>
                  <a:pt x="28529" y="230592"/>
                  <a:pt x="19200" y="258309"/>
                </a:cubicBezTo>
                <a:cubicBezTo>
                  <a:pt x="14536" y="272168"/>
                  <a:pt x="10352" y="286074"/>
                  <a:pt x="6986" y="300125"/>
                </a:cubicBezTo>
                <a:cubicBezTo>
                  <a:pt x="3524" y="314128"/>
                  <a:pt x="1552" y="328516"/>
                  <a:pt x="639" y="342567"/>
                </a:cubicBezTo>
                <a:cubicBezTo>
                  <a:pt x="-1140" y="370766"/>
                  <a:pt x="975" y="398194"/>
                  <a:pt x="4774" y="424420"/>
                </a:cubicBezTo>
                <a:cubicBezTo>
                  <a:pt x="8621" y="450693"/>
                  <a:pt x="14247" y="475812"/>
                  <a:pt x="20835" y="499728"/>
                </a:cubicBezTo>
                <a:cubicBezTo>
                  <a:pt x="34058" y="547607"/>
                  <a:pt x="50889" y="590771"/>
                  <a:pt x="68680" y="628979"/>
                </a:cubicBezTo>
                <a:cubicBezTo>
                  <a:pt x="104504" y="705249"/>
                  <a:pt x="144560" y="762079"/>
                  <a:pt x="180095" y="793550"/>
                </a:cubicBezTo>
                <a:cubicBezTo>
                  <a:pt x="197695" y="809429"/>
                  <a:pt x="214525" y="818235"/>
                  <a:pt x="226738" y="821267"/>
                </a:cubicBezTo>
                <a:cubicBezTo>
                  <a:pt x="232797" y="822951"/>
                  <a:pt x="237654" y="822951"/>
                  <a:pt x="240876" y="822999"/>
                </a:cubicBezTo>
                <a:cubicBezTo>
                  <a:pt x="244097" y="822710"/>
                  <a:pt x="245684" y="822518"/>
                  <a:pt x="245684" y="822325"/>
                </a:cubicBezTo>
                <a:cubicBezTo>
                  <a:pt x="245684" y="821700"/>
                  <a:pt x="239048" y="822855"/>
                  <a:pt x="227363" y="819197"/>
                </a:cubicBezTo>
                <a:cubicBezTo>
                  <a:pt x="215775" y="815637"/>
                  <a:pt x="199810" y="806494"/>
                  <a:pt x="182932" y="790470"/>
                </a:cubicBezTo>
                <a:cubicBezTo>
                  <a:pt x="148936" y="758662"/>
                  <a:pt x="110178" y="701833"/>
                  <a:pt x="75557" y="625803"/>
                </a:cubicBezTo>
                <a:cubicBezTo>
                  <a:pt x="58342" y="587740"/>
                  <a:pt x="42089" y="544768"/>
                  <a:pt x="29394" y="497370"/>
                </a:cubicBezTo>
                <a:cubicBezTo>
                  <a:pt x="23095" y="473647"/>
                  <a:pt x="17709" y="448817"/>
                  <a:pt x="14103" y="423024"/>
                </a:cubicBezTo>
                <a:cubicBezTo>
                  <a:pt x="10496" y="397232"/>
                  <a:pt x="8621" y="370381"/>
                  <a:pt x="10496" y="343145"/>
                </a:cubicBezTo>
                <a:cubicBezTo>
                  <a:pt x="11987" y="315909"/>
                  <a:pt x="19633" y="288865"/>
                  <a:pt x="28865" y="261485"/>
                </a:cubicBezTo>
                <a:cubicBezTo>
                  <a:pt x="38194" y="234201"/>
                  <a:pt x="49542" y="206917"/>
                  <a:pt x="62333" y="179777"/>
                </a:cubicBezTo>
                <a:cubicBezTo>
                  <a:pt x="75172" y="152637"/>
                  <a:pt x="89646" y="125690"/>
                  <a:pt x="106187" y="99560"/>
                </a:cubicBezTo>
                <a:cubicBezTo>
                  <a:pt x="114458" y="86520"/>
                  <a:pt x="123306" y="73720"/>
                  <a:pt x="132971" y="61498"/>
                </a:cubicBezTo>
                <a:cubicBezTo>
                  <a:pt x="142636" y="49323"/>
                  <a:pt x="153167" y="37678"/>
                  <a:pt x="165044" y="27813"/>
                </a:cubicBezTo>
                <a:cubicBezTo>
                  <a:pt x="167929" y="25215"/>
                  <a:pt x="171151" y="23194"/>
                  <a:pt x="174181" y="20884"/>
                </a:cubicBezTo>
                <a:cubicBezTo>
                  <a:pt x="177402" y="18959"/>
                  <a:pt x="180528" y="16794"/>
                  <a:pt x="183894" y="15350"/>
                </a:cubicBezTo>
                <a:cubicBezTo>
                  <a:pt x="190530" y="12174"/>
                  <a:pt x="197358" y="9913"/>
                  <a:pt x="204090" y="10586"/>
                </a:cubicBezTo>
                <a:cubicBezTo>
                  <a:pt x="210822" y="11068"/>
                  <a:pt x="217314" y="13858"/>
                  <a:pt x="223180" y="17949"/>
                </a:cubicBezTo>
                <a:cubicBezTo>
                  <a:pt x="229143" y="21895"/>
                  <a:pt x="234047" y="27573"/>
                  <a:pt x="238760" y="33251"/>
                </a:cubicBezTo>
                <a:cubicBezTo>
                  <a:pt x="247896" y="45089"/>
                  <a:pt x="255061" y="58514"/>
                  <a:pt x="261216" y="72276"/>
                </a:cubicBezTo>
                <a:cubicBezTo>
                  <a:pt x="267371" y="86087"/>
                  <a:pt x="272612" y="100186"/>
                  <a:pt x="277084" y="114478"/>
                </a:cubicBezTo>
                <a:cubicBezTo>
                  <a:pt x="286124" y="143013"/>
                  <a:pt x="293001" y="171741"/>
                  <a:pt x="298627" y="200084"/>
                </a:cubicBezTo>
                <a:cubicBezTo>
                  <a:pt x="304253" y="228426"/>
                  <a:pt x="308725" y="256432"/>
                  <a:pt x="312283" y="283861"/>
                </a:cubicBezTo>
                <a:cubicBezTo>
                  <a:pt x="319400" y="338718"/>
                  <a:pt x="323391" y="391265"/>
                  <a:pt x="325314" y="440444"/>
                </a:cubicBezTo>
                <a:cubicBezTo>
                  <a:pt x="327190" y="489671"/>
                  <a:pt x="326997" y="535577"/>
                  <a:pt x="324978" y="577394"/>
                </a:cubicBezTo>
                <a:cubicBezTo>
                  <a:pt x="321035" y="660930"/>
                  <a:pt x="309975" y="728539"/>
                  <a:pt x="292472" y="771751"/>
                </a:cubicBezTo>
                <a:cubicBezTo>
                  <a:pt x="288048" y="782482"/>
                  <a:pt x="283143" y="791577"/>
                  <a:pt x="278094" y="798891"/>
                </a:cubicBezTo>
                <a:cubicBezTo>
                  <a:pt x="273141" y="806349"/>
                  <a:pt x="267515" y="811354"/>
                  <a:pt x="262658" y="814963"/>
                </a:cubicBezTo>
                <a:cubicBezTo>
                  <a:pt x="252560" y="821748"/>
                  <a:pt x="245540" y="821556"/>
                  <a:pt x="245732" y="822277"/>
                </a:cubicBezTo>
                <a:cubicBezTo>
                  <a:pt x="245732" y="822470"/>
                  <a:pt x="247367" y="822325"/>
                  <a:pt x="250541" y="821940"/>
                </a:cubicBezTo>
                <a:cubicBezTo>
                  <a:pt x="252176" y="821892"/>
                  <a:pt x="254051" y="821122"/>
                  <a:pt x="256311" y="820353"/>
                </a:cubicBezTo>
                <a:cubicBezTo>
                  <a:pt x="258667" y="819727"/>
                  <a:pt x="261024" y="818235"/>
                  <a:pt x="263813" y="816744"/>
                </a:cubicBezTo>
                <a:cubicBezTo>
                  <a:pt x="269054" y="813327"/>
                  <a:pt x="275257" y="808226"/>
                  <a:pt x="280594" y="800768"/>
                </a:cubicBezTo>
                <a:cubicBezTo>
                  <a:pt x="286124" y="793405"/>
                  <a:pt x="291414" y="784214"/>
                  <a:pt x="296270" y="773387"/>
                </a:cubicBezTo>
                <a:cubicBezTo>
                  <a:pt x="315361" y="729790"/>
                  <a:pt x="327526" y="661748"/>
                  <a:pt x="332527" y="577779"/>
                </a:cubicBezTo>
                <a:cubicBezTo>
                  <a:pt x="335028" y="535770"/>
                  <a:pt x="335701" y="489622"/>
                  <a:pt x="334162" y="440155"/>
                </a:cubicBezTo>
                <a:cubicBezTo>
                  <a:pt x="332623" y="390687"/>
                  <a:pt x="328969" y="337900"/>
                  <a:pt x="322044" y="282610"/>
                </a:cubicBezTo>
                <a:cubicBezTo>
                  <a:pt x="318582" y="254989"/>
                  <a:pt x="314206" y="226742"/>
                  <a:pt x="308677" y="198111"/>
                </a:cubicBezTo>
                <a:cubicBezTo>
                  <a:pt x="303099" y="169479"/>
                  <a:pt x="296270" y="140366"/>
                  <a:pt x="287134" y="111302"/>
                </a:cubicBezTo>
                <a:cubicBezTo>
                  <a:pt x="282566" y="96770"/>
                  <a:pt x="277228" y="82285"/>
                  <a:pt x="270929" y="67994"/>
                </a:cubicBezTo>
                <a:cubicBezTo>
                  <a:pt x="264534" y="53750"/>
                  <a:pt x="257129" y="39651"/>
                  <a:pt x="247175" y="26707"/>
                </a:cubicBezTo>
                <a:cubicBezTo>
                  <a:pt x="241933" y="20451"/>
                  <a:pt x="236500" y="14099"/>
                  <a:pt x="229335" y="9287"/>
                </a:cubicBezTo>
                <a:cubicBezTo>
                  <a:pt x="222363" y="4379"/>
                  <a:pt x="213947" y="674"/>
                  <a:pt x="204859" y="0"/>
                </a:cubicBezTo>
                <a:lnTo>
                  <a:pt x="198079" y="0"/>
                </a:lnTo>
                <a:close/>
              </a:path>
            </a:pathLst>
          </a:custGeom>
          <a:solidFill>
            <a:srgbClr val="29C8C1"/>
          </a:solidFill>
          <a:ln w="0" cap="flat">
            <a:noFill/>
            <a:prstDash val="solid"/>
            <a:miter/>
          </a:ln>
        </p:spPr>
        <p:txBody>
          <a:bodyPr rtlCol="0" anchor="ctr"/>
          <a:lstStyle/>
          <a:p>
            <a:pPr rtl="0"/>
            <a:endParaRPr lang="en-AU" dirty="0"/>
          </a:p>
        </p:txBody>
      </p:sp>
      <p:sp>
        <p:nvSpPr>
          <p:cNvPr id="61" name="Freeform: Shape 60">
            <a:extLst>
              <a:ext uri="{FF2B5EF4-FFF2-40B4-BE49-F238E27FC236}">
                <a16:creationId xmlns:a16="http://schemas.microsoft.com/office/drawing/2014/main" id="{0EA3B4F2-D483-7C31-858A-2C045615AAD6}"/>
              </a:ext>
            </a:extLst>
          </p:cNvPr>
          <p:cNvSpPr/>
          <p:nvPr/>
        </p:nvSpPr>
        <p:spPr>
          <a:xfrm>
            <a:off x="6035671" y="3057466"/>
            <a:ext cx="392101" cy="1046497"/>
          </a:xfrm>
          <a:custGeom>
            <a:avLst/>
            <a:gdLst>
              <a:gd name="connsiteX0" fmla="*/ 166918 w 392101"/>
              <a:gd name="connsiteY0" fmla="*/ 938391 h 1046497"/>
              <a:gd name="connsiteX1" fmla="*/ 203896 w 392101"/>
              <a:gd name="connsiteY1" fmla="*/ 985356 h 1046497"/>
              <a:gd name="connsiteX2" fmla="*/ 248231 w 392101"/>
              <a:gd name="connsiteY2" fmla="*/ 1027365 h 1046497"/>
              <a:gd name="connsiteX3" fmla="*/ 275688 w 392101"/>
              <a:gd name="connsiteY3" fmla="*/ 1042812 h 1046497"/>
              <a:gd name="connsiteX4" fmla="*/ 308242 w 392101"/>
              <a:gd name="connsiteY4" fmla="*/ 1044881 h 1046497"/>
              <a:gd name="connsiteX5" fmla="*/ 335507 w 392101"/>
              <a:gd name="connsiteY5" fmla="*/ 1027606 h 1046497"/>
              <a:gd name="connsiteX6" fmla="*/ 352577 w 392101"/>
              <a:gd name="connsiteY6" fmla="*/ 1001813 h 1046497"/>
              <a:gd name="connsiteX7" fmla="*/ 371619 w 392101"/>
              <a:gd name="connsiteY7" fmla="*/ 945416 h 1046497"/>
              <a:gd name="connsiteX8" fmla="*/ 381669 w 392101"/>
              <a:gd name="connsiteY8" fmla="*/ 888346 h 1046497"/>
              <a:gd name="connsiteX9" fmla="*/ 390469 w 392101"/>
              <a:gd name="connsiteY9" fmla="*/ 776418 h 1046497"/>
              <a:gd name="connsiteX10" fmla="*/ 392056 w 392101"/>
              <a:gd name="connsiteY10" fmla="*/ 668966 h 1046497"/>
              <a:gd name="connsiteX11" fmla="*/ 386141 w 392101"/>
              <a:gd name="connsiteY11" fmla="*/ 470615 h 1046497"/>
              <a:gd name="connsiteX12" fmla="*/ 373831 w 392101"/>
              <a:gd name="connsiteY12" fmla="*/ 298152 h 1046497"/>
              <a:gd name="connsiteX13" fmla="*/ 354116 w 392101"/>
              <a:gd name="connsiteY13" fmla="*/ 156727 h 1046497"/>
              <a:gd name="connsiteX14" fmla="*/ 324062 w 392101"/>
              <a:gd name="connsiteY14" fmla="*/ 53076 h 1046497"/>
              <a:gd name="connsiteX15" fmla="*/ 303578 w 392101"/>
              <a:gd name="connsiteY15" fmla="*/ 19200 h 1046497"/>
              <a:gd name="connsiteX16" fmla="*/ 280112 w 392101"/>
              <a:gd name="connsiteY16" fmla="*/ 2021 h 1046497"/>
              <a:gd name="connsiteX17" fmla="*/ 262272 w 392101"/>
              <a:gd name="connsiteY17" fmla="*/ 433 h 1046497"/>
              <a:gd name="connsiteX18" fmla="*/ 257848 w 392101"/>
              <a:gd name="connsiteY18" fmla="*/ 1395 h 1046497"/>
              <a:gd name="connsiteX19" fmla="*/ 256406 w 392101"/>
              <a:gd name="connsiteY19" fmla="*/ 1973 h 1046497"/>
              <a:gd name="connsiteX20" fmla="*/ 262416 w 392101"/>
              <a:gd name="connsiteY20" fmla="*/ 1491 h 1046497"/>
              <a:gd name="connsiteX21" fmla="*/ 279391 w 392101"/>
              <a:gd name="connsiteY21" fmla="*/ 3994 h 1046497"/>
              <a:gd name="connsiteX22" fmla="*/ 301173 w 392101"/>
              <a:gd name="connsiteY22" fmla="*/ 21172 h 1046497"/>
              <a:gd name="connsiteX23" fmla="*/ 320312 w 392101"/>
              <a:gd name="connsiteY23" fmla="*/ 54712 h 1046497"/>
              <a:gd name="connsiteX24" fmla="*/ 348298 w 392101"/>
              <a:gd name="connsiteY24" fmla="*/ 157834 h 1046497"/>
              <a:gd name="connsiteX25" fmla="*/ 366378 w 392101"/>
              <a:gd name="connsiteY25" fmla="*/ 298826 h 1046497"/>
              <a:gd name="connsiteX26" fmla="*/ 377341 w 392101"/>
              <a:gd name="connsiteY26" fmla="*/ 471000 h 1046497"/>
              <a:gd name="connsiteX27" fmla="*/ 382294 w 392101"/>
              <a:gd name="connsiteY27" fmla="*/ 668966 h 1046497"/>
              <a:gd name="connsiteX28" fmla="*/ 380371 w 392101"/>
              <a:gd name="connsiteY28" fmla="*/ 775937 h 1046497"/>
              <a:gd name="connsiteX29" fmla="*/ 371379 w 392101"/>
              <a:gd name="connsiteY29" fmla="*/ 886902 h 1046497"/>
              <a:gd name="connsiteX30" fmla="*/ 361377 w 392101"/>
              <a:gd name="connsiteY30" fmla="*/ 942962 h 1046497"/>
              <a:gd name="connsiteX31" fmla="*/ 343104 w 392101"/>
              <a:gd name="connsiteY31" fmla="*/ 997001 h 1046497"/>
              <a:gd name="connsiteX32" fmla="*/ 327717 w 392101"/>
              <a:gd name="connsiteY32" fmla="*/ 1020291 h 1046497"/>
              <a:gd name="connsiteX33" fmla="*/ 305549 w 392101"/>
              <a:gd name="connsiteY33" fmla="*/ 1034487 h 1046497"/>
              <a:gd name="connsiteX34" fmla="*/ 292470 w 392101"/>
              <a:gd name="connsiteY34" fmla="*/ 1035642 h 1046497"/>
              <a:gd name="connsiteX35" fmla="*/ 279391 w 392101"/>
              <a:gd name="connsiteY35" fmla="*/ 1032707 h 1046497"/>
              <a:gd name="connsiteX36" fmla="*/ 254578 w 392101"/>
              <a:gd name="connsiteY36" fmla="*/ 1018703 h 1046497"/>
              <a:gd name="connsiteX37" fmla="*/ 211926 w 392101"/>
              <a:gd name="connsiteY37" fmla="*/ 978234 h 1046497"/>
              <a:gd name="connsiteX38" fmla="*/ 175621 w 392101"/>
              <a:gd name="connsiteY38" fmla="*/ 932135 h 1046497"/>
              <a:gd name="connsiteX39" fmla="*/ 114841 w 392101"/>
              <a:gd name="connsiteY39" fmla="*/ 834307 h 1046497"/>
              <a:gd name="connsiteX40" fmla="*/ 30258 w 392101"/>
              <a:gd name="connsiteY40" fmla="*/ 633838 h 1046497"/>
              <a:gd name="connsiteX41" fmla="*/ 10351 w 392101"/>
              <a:gd name="connsiteY41" fmla="*/ 534903 h 1046497"/>
              <a:gd name="connsiteX42" fmla="*/ 15544 w 392101"/>
              <a:gd name="connsiteY42" fmla="*/ 440347 h 1046497"/>
              <a:gd name="connsiteX43" fmla="*/ 72141 w 392101"/>
              <a:gd name="connsiteY43" fmla="*/ 278808 h 1046497"/>
              <a:gd name="connsiteX44" fmla="*/ 104454 w 392101"/>
              <a:gd name="connsiteY44" fmla="*/ 210766 h 1046497"/>
              <a:gd name="connsiteX45" fmla="*/ 132921 w 392101"/>
              <a:gd name="connsiteY45" fmla="*/ 149942 h 1046497"/>
              <a:gd name="connsiteX46" fmla="*/ 186345 w 392101"/>
              <a:gd name="connsiteY46" fmla="*/ 57311 h 1046497"/>
              <a:gd name="connsiteX47" fmla="*/ 235055 w 392101"/>
              <a:gd name="connsiteY47" fmla="*/ 11452 h 1046497"/>
              <a:gd name="connsiteX48" fmla="*/ 256502 w 392101"/>
              <a:gd name="connsiteY48" fmla="*/ 1780 h 1046497"/>
              <a:gd name="connsiteX49" fmla="*/ 250539 w 392101"/>
              <a:gd name="connsiteY49" fmla="*/ 2983 h 1046497"/>
              <a:gd name="connsiteX50" fmla="*/ 233998 w 392101"/>
              <a:gd name="connsiteY50" fmla="*/ 9576 h 1046497"/>
              <a:gd name="connsiteX51" fmla="*/ 183027 w 392101"/>
              <a:gd name="connsiteY51" fmla="*/ 54760 h 1046497"/>
              <a:gd name="connsiteX52" fmla="*/ 127536 w 392101"/>
              <a:gd name="connsiteY52" fmla="*/ 147295 h 1046497"/>
              <a:gd name="connsiteX53" fmla="*/ 65313 w 392101"/>
              <a:gd name="connsiteY53" fmla="*/ 275536 h 1046497"/>
              <a:gd name="connsiteX54" fmla="*/ 6840 w 392101"/>
              <a:gd name="connsiteY54" fmla="*/ 438663 h 1046497"/>
              <a:gd name="connsiteX55" fmla="*/ 1022 w 392101"/>
              <a:gd name="connsiteY55" fmla="*/ 535673 h 1046497"/>
              <a:gd name="connsiteX56" fmla="*/ 20833 w 392101"/>
              <a:gd name="connsiteY56" fmla="*/ 636533 h 1046497"/>
              <a:gd name="connsiteX57" fmla="*/ 105657 w 392101"/>
              <a:gd name="connsiteY57" fmla="*/ 839263 h 1046497"/>
              <a:gd name="connsiteX58" fmla="*/ 166966 w 392101"/>
              <a:gd name="connsiteY58" fmla="*/ 938247 h 104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92101" h="1046497">
                <a:moveTo>
                  <a:pt x="166918" y="938391"/>
                </a:moveTo>
                <a:cubicBezTo>
                  <a:pt x="178410" y="954463"/>
                  <a:pt x="190576" y="970246"/>
                  <a:pt x="203896" y="985356"/>
                </a:cubicBezTo>
                <a:cubicBezTo>
                  <a:pt x="217216" y="1000418"/>
                  <a:pt x="231545" y="1014998"/>
                  <a:pt x="248231" y="1027365"/>
                </a:cubicBezTo>
                <a:cubicBezTo>
                  <a:pt x="256598" y="1033476"/>
                  <a:pt x="265590" y="1039010"/>
                  <a:pt x="275688" y="1042812"/>
                </a:cubicBezTo>
                <a:cubicBezTo>
                  <a:pt x="285786" y="1046613"/>
                  <a:pt x="297471" y="1047768"/>
                  <a:pt x="308242" y="1044881"/>
                </a:cubicBezTo>
                <a:cubicBezTo>
                  <a:pt x="319110" y="1042042"/>
                  <a:pt x="328438" y="1035401"/>
                  <a:pt x="335507" y="1027606"/>
                </a:cubicBezTo>
                <a:cubicBezTo>
                  <a:pt x="342672" y="1019762"/>
                  <a:pt x="348105" y="1010908"/>
                  <a:pt x="352577" y="1001813"/>
                </a:cubicBezTo>
                <a:cubicBezTo>
                  <a:pt x="361521" y="983576"/>
                  <a:pt x="367099" y="964472"/>
                  <a:pt x="371619" y="945416"/>
                </a:cubicBezTo>
                <a:cubicBezTo>
                  <a:pt x="376043" y="926361"/>
                  <a:pt x="379169" y="907257"/>
                  <a:pt x="381669" y="888346"/>
                </a:cubicBezTo>
                <a:cubicBezTo>
                  <a:pt x="386622" y="850427"/>
                  <a:pt x="389026" y="813038"/>
                  <a:pt x="390469" y="776418"/>
                </a:cubicBezTo>
                <a:cubicBezTo>
                  <a:pt x="391863" y="739799"/>
                  <a:pt x="392248" y="703950"/>
                  <a:pt x="392056" y="668966"/>
                </a:cubicBezTo>
                <a:cubicBezTo>
                  <a:pt x="391575" y="599048"/>
                  <a:pt x="389171" y="532690"/>
                  <a:pt x="386141" y="470615"/>
                </a:cubicBezTo>
                <a:cubicBezTo>
                  <a:pt x="383064" y="408540"/>
                  <a:pt x="379073" y="350747"/>
                  <a:pt x="373831" y="298152"/>
                </a:cubicBezTo>
                <a:cubicBezTo>
                  <a:pt x="368638" y="245509"/>
                  <a:pt x="362194" y="198062"/>
                  <a:pt x="354116" y="156727"/>
                </a:cubicBezTo>
                <a:cubicBezTo>
                  <a:pt x="345990" y="115488"/>
                  <a:pt x="336372" y="80216"/>
                  <a:pt x="324062" y="53076"/>
                </a:cubicBezTo>
                <a:cubicBezTo>
                  <a:pt x="317955" y="39506"/>
                  <a:pt x="311079" y="27957"/>
                  <a:pt x="303578" y="19200"/>
                </a:cubicBezTo>
                <a:cubicBezTo>
                  <a:pt x="296124" y="10297"/>
                  <a:pt x="287661" y="4619"/>
                  <a:pt x="280112" y="2021"/>
                </a:cubicBezTo>
                <a:cubicBezTo>
                  <a:pt x="272466" y="-482"/>
                  <a:pt x="266215" y="-193"/>
                  <a:pt x="262272" y="433"/>
                </a:cubicBezTo>
                <a:cubicBezTo>
                  <a:pt x="260252" y="673"/>
                  <a:pt x="258810" y="1154"/>
                  <a:pt x="257848" y="1395"/>
                </a:cubicBezTo>
                <a:cubicBezTo>
                  <a:pt x="256886" y="1684"/>
                  <a:pt x="256406" y="1876"/>
                  <a:pt x="256406" y="1973"/>
                </a:cubicBezTo>
                <a:cubicBezTo>
                  <a:pt x="256454" y="2213"/>
                  <a:pt x="258473" y="1780"/>
                  <a:pt x="262416" y="1491"/>
                </a:cubicBezTo>
                <a:cubicBezTo>
                  <a:pt x="266311" y="1203"/>
                  <a:pt x="272274" y="1347"/>
                  <a:pt x="279391" y="3994"/>
                </a:cubicBezTo>
                <a:cubicBezTo>
                  <a:pt x="286411" y="6785"/>
                  <a:pt x="294249" y="12415"/>
                  <a:pt x="301173" y="21172"/>
                </a:cubicBezTo>
                <a:cubicBezTo>
                  <a:pt x="308194" y="29834"/>
                  <a:pt x="314589" y="41239"/>
                  <a:pt x="320312" y="54712"/>
                </a:cubicBezTo>
                <a:cubicBezTo>
                  <a:pt x="331804" y="81660"/>
                  <a:pt x="340796" y="116739"/>
                  <a:pt x="348298" y="157834"/>
                </a:cubicBezTo>
                <a:cubicBezTo>
                  <a:pt x="355751" y="198977"/>
                  <a:pt x="361665" y="246327"/>
                  <a:pt x="366378" y="298826"/>
                </a:cubicBezTo>
                <a:cubicBezTo>
                  <a:pt x="371090" y="351325"/>
                  <a:pt x="374649" y="409021"/>
                  <a:pt x="377341" y="471000"/>
                </a:cubicBezTo>
                <a:cubicBezTo>
                  <a:pt x="379986" y="532978"/>
                  <a:pt x="382102" y="599288"/>
                  <a:pt x="382294" y="668966"/>
                </a:cubicBezTo>
                <a:cubicBezTo>
                  <a:pt x="382342" y="703805"/>
                  <a:pt x="381861" y="739558"/>
                  <a:pt x="380371" y="775937"/>
                </a:cubicBezTo>
                <a:cubicBezTo>
                  <a:pt x="378784" y="812316"/>
                  <a:pt x="376332" y="849465"/>
                  <a:pt x="371379" y="886902"/>
                </a:cubicBezTo>
                <a:cubicBezTo>
                  <a:pt x="368878" y="905621"/>
                  <a:pt x="365753" y="924388"/>
                  <a:pt x="361377" y="942962"/>
                </a:cubicBezTo>
                <a:cubicBezTo>
                  <a:pt x="356953" y="961488"/>
                  <a:pt x="351519" y="980015"/>
                  <a:pt x="343104" y="997001"/>
                </a:cubicBezTo>
                <a:cubicBezTo>
                  <a:pt x="338921" y="1005470"/>
                  <a:pt x="333920" y="1013506"/>
                  <a:pt x="327717" y="1020291"/>
                </a:cubicBezTo>
                <a:cubicBezTo>
                  <a:pt x="321562" y="1027028"/>
                  <a:pt x="314012" y="1032225"/>
                  <a:pt x="305549" y="1034487"/>
                </a:cubicBezTo>
                <a:cubicBezTo>
                  <a:pt x="301318" y="1035642"/>
                  <a:pt x="296894" y="1035930"/>
                  <a:pt x="292470" y="1035642"/>
                </a:cubicBezTo>
                <a:cubicBezTo>
                  <a:pt x="288094" y="1035305"/>
                  <a:pt x="283718" y="1034342"/>
                  <a:pt x="279391" y="1032707"/>
                </a:cubicBezTo>
                <a:cubicBezTo>
                  <a:pt x="270735" y="1029482"/>
                  <a:pt x="262416" y="1024430"/>
                  <a:pt x="254578" y="1018703"/>
                </a:cubicBezTo>
                <a:cubicBezTo>
                  <a:pt x="238902" y="1007058"/>
                  <a:pt x="224958" y="992959"/>
                  <a:pt x="211926" y="978234"/>
                </a:cubicBezTo>
                <a:cubicBezTo>
                  <a:pt x="198943" y="963462"/>
                  <a:pt x="186970" y="947967"/>
                  <a:pt x="175621" y="932135"/>
                </a:cubicBezTo>
                <a:cubicBezTo>
                  <a:pt x="152973" y="900424"/>
                  <a:pt x="132969" y="867510"/>
                  <a:pt x="114841" y="834307"/>
                </a:cubicBezTo>
                <a:cubicBezTo>
                  <a:pt x="78825" y="767853"/>
                  <a:pt x="49829" y="700437"/>
                  <a:pt x="30258" y="633838"/>
                </a:cubicBezTo>
                <a:cubicBezTo>
                  <a:pt x="20593" y="600587"/>
                  <a:pt x="13284" y="567433"/>
                  <a:pt x="10351" y="534903"/>
                </a:cubicBezTo>
                <a:cubicBezTo>
                  <a:pt x="7706" y="502422"/>
                  <a:pt x="9918" y="470519"/>
                  <a:pt x="15544" y="440347"/>
                </a:cubicBezTo>
                <a:cubicBezTo>
                  <a:pt x="27036" y="379812"/>
                  <a:pt x="50021" y="326447"/>
                  <a:pt x="72141" y="278808"/>
                </a:cubicBezTo>
                <a:cubicBezTo>
                  <a:pt x="83489" y="254988"/>
                  <a:pt x="94260" y="232276"/>
                  <a:pt x="104454" y="210766"/>
                </a:cubicBezTo>
                <a:cubicBezTo>
                  <a:pt x="114504" y="189208"/>
                  <a:pt x="123785" y="168805"/>
                  <a:pt x="132921" y="149942"/>
                </a:cubicBezTo>
                <a:cubicBezTo>
                  <a:pt x="151098" y="112264"/>
                  <a:pt x="168601" y="80649"/>
                  <a:pt x="186345" y="57311"/>
                </a:cubicBezTo>
                <a:cubicBezTo>
                  <a:pt x="203800" y="33732"/>
                  <a:pt x="221591" y="18959"/>
                  <a:pt x="235055" y="11452"/>
                </a:cubicBezTo>
                <a:cubicBezTo>
                  <a:pt x="248471" y="3897"/>
                  <a:pt x="256694" y="2406"/>
                  <a:pt x="256502" y="1780"/>
                </a:cubicBezTo>
                <a:cubicBezTo>
                  <a:pt x="256502" y="1588"/>
                  <a:pt x="254434" y="2021"/>
                  <a:pt x="250539" y="2983"/>
                </a:cubicBezTo>
                <a:cubicBezTo>
                  <a:pt x="246692" y="4042"/>
                  <a:pt x="241018" y="6015"/>
                  <a:pt x="233998" y="9576"/>
                </a:cubicBezTo>
                <a:cubicBezTo>
                  <a:pt x="219957" y="16601"/>
                  <a:pt x="201251" y="31230"/>
                  <a:pt x="183027" y="54760"/>
                </a:cubicBezTo>
                <a:cubicBezTo>
                  <a:pt x="164514" y="78099"/>
                  <a:pt x="146289" y="109714"/>
                  <a:pt x="127536" y="147295"/>
                </a:cubicBezTo>
                <a:cubicBezTo>
                  <a:pt x="109215" y="185022"/>
                  <a:pt x="88346" y="228041"/>
                  <a:pt x="65313" y="275536"/>
                </a:cubicBezTo>
                <a:cubicBezTo>
                  <a:pt x="42664" y="323175"/>
                  <a:pt x="18958" y="376925"/>
                  <a:pt x="6840" y="438663"/>
                </a:cubicBezTo>
                <a:cubicBezTo>
                  <a:pt x="926" y="469460"/>
                  <a:pt x="-1575" y="502182"/>
                  <a:pt x="1022" y="535673"/>
                </a:cubicBezTo>
                <a:cubicBezTo>
                  <a:pt x="3907" y="569069"/>
                  <a:pt x="11168" y="602801"/>
                  <a:pt x="20833" y="636533"/>
                </a:cubicBezTo>
                <a:cubicBezTo>
                  <a:pt x="40404" y="704046"/>
                  <a:pt x="69448" y="772088"/>
                  <a:pt x="105657" y="839263"/>
                </a:cubicBezTo>
                <a:cubicBezTo>
                  <a:pt x="123881" y="872755"/>
                  <a:pt x="144029" y="906054"/>
                  <a:pt x="166966" y="938247"/>
                </a:cubicBezTo>
                <a:close/>
              </a:path>
            </a:pathLst>
          </a:custGeom>
          <a:solidFill>
            <a:srgbClr val="29C8C1"/>
          </a:solidFill>
          <a:ln w="0" cap="flat">
            <a:noFill/>
            <a:prstDash val="solid"/>
            <a:miter/>
          </a:ln>
        </p:spPr>
        <p:txBody>
          <a:bodyPr rtlCol="0" anchor="ctr"/>
          <a:lstStyle/>
          <a:p>
            <a:pPr rtl="0"/>
            <a:endParaRPr lang="en-AU" dirty="0"/>
          </a:p>
        </p:txBody>
      </p:sp>
      <p:sp>
        <p:nvSpPr>
          <p:cNvPr id="62" name="Freeform: Shape 61">
            <a:extLst>
              <a:ext uri="{FF2B5EF4-FFF2-40B4-BE49-F238E27FC236}">
                <a16:creationId xmlns:a16="http://schemas.microsoft.com/office/drawing/2014/main" id="{957BC36A-CCD8-ED04-0CE3-0FF47F14B669}"/>
              </a:ext>
            </a:extLst>
          </p:cNvPr>
          <p:cNvSpPr/>
          <p:nvPr/>
        </p:nvSpPr>
        <p:spPr>
          <a:xfrm>
            <a:off x="5620157" y="3499401"/>
            <a:ext cx="16365" cy="73947"/>
          </a:xfrm>
          <a:custGeom>
            <a:avLst/>
            <a:gdLst>
              <a:gd name="connsiteX0" fmla="*/ 11316 w 16365"/>
              <a:gd name="connsiteY0" fmla="*/ 72661 h 73947"/>
              <a:gd name="connsiteX1" fmla="*/ 12230 w 16365"/>
              <a:gd name="connsiteY1" fmla="*/ 71747 h 73947"/>
              <a:gd name="connsiteX2" fmla="*/ 12759 w 16365"/>
              <a:gd name="connsiteY2" fmla="*/ 71025 h 73947"/>
              <a:gd name="connsiteX3" fmla="*/ 13625 w 16365"/>
              <a:gd name="connsiteY3" fmla="*/ 69245 h 73947"/>
              <a:gd name="connsiteX4" fmla="*/ 14298 w 16365"/>
              <a:gd name="connsiteY4" fmla="*/ 66935 h 73947"/>
              <a:gd name="connsiteX5" fmla="*/ 15981 w 16365"/>
              <a:gd name="connsiteY5" fmla="*/ 52499 h 73947"/>
              <a:gd name="connsiteX6" fmla="*/ 16365 w 16365"/>
              <a:gd name="connsiteY6" fmla="*/ 39507 h 73947"/>
              <a:gd name="connsiteX7" fmla="*/ 15356 w 16365"/>
              <a:gd name="connsiteY7" fmla="*/ 17516 h 73947"/>
              <a:gd name="connsiteX8" fmla="*/ 12134 w 16365"/>
              <a:gd name="connsiteY8" fmla="*/ 2502 h 73947"/>
              <a:gd name="connsiteX9" fmla="*/ 11124 w 16365"/>
              <a:gd name="connsiteY9" fmla="*/ 914 h 73947"/>
              <a:gd name="connsiteX10" fmla="*/ 9585 w 16365"/>
              <a:gd name="connsiteY10" fmla="*/ 0 h 73947"/>
              <a:gd name="connsiteX11" fmla="*/ 8431 w 16365"/>
              <a:gd name="connsiteY11" fmla="*/ 96 h 73947"/>
              <a:gd name="connsiteX12" fmla="*/ 7758 w 16365"/>
              <a:gd name="connsiteY12" fmla="*/ 529 h 73947"/>
              <a:gd name="connsiteX13" fmla="*/ 6796 w 16365"/>
              <a:gd name="connsiteY13" fmla="*/ 2743 h 73947"/>
              <a:gd name="connsiteX14" fmla="*/ 7277 w 16365"/>
              <a:gd name="connsiteY14" fmla="*/ 4475 h 73947"/>
              <a:gd name="connsiteX15" fmla="*/ 8143 w 16365"/>
              <a:gd name="connsiteY15" fmla="*/ 4138 h 73947"/>
              <a:gd name="connsiteX16" fmla="*/ 8143 w 16365"/>
              <a:gd name="connsiteY16" fmla="*/ 7892 h 73947"/>
              <a:gd name="connsiteX17" fmla="*/ 7277 w 16365"/>
              <a:gd name="connsiteY17" fmla="*/ 4475 h 73947"/>
              <a:gd name="connsiteX18" fmla="*/ 4152 w 16365"/>
              <a:gd name="connsiteY18" fmla="*/ 9432 h 73947"/>
              <a:gd name="connsiteX19" fmla="*/ 1363 w 16365"/>
              <a:gd name="connsiteY19" fmla="*/ 24108 h 73947"/>
              <a:gd name="connsiteX20" fmla="*/ 16 w 16365"/>
              <a:gd name="connsiteY20" fmla="*/ 46051 h 73947"/>
              <a:gd name="connsiteX21" fmla="*/ 305 w 16365"/>
              <a:gd name="connsiteY21" fmla="*/ 59140 h 73947"/>
              <a:gd name="connsiteX22" fmla="*/ 1074 w 16365"/>
              <a:gd name="connsiteY22" fmla="*/ 66454 h 73947"/>
              <a:gd name="connsiteX23" fmla="*/ 1555 w 16365"/>
              <a:gd name="connsiteY23" fmla="*/ 68667 h 73947"/>
              <a:gd name="connsiteX24" fmla="*/ 2132 w 16365"/>
              <a:gd name="connsiteY24" fmla="*/ 70207 h 73947"/>
              <a:gd name="connsiteX25" fmla="*/ 2998 w 16365"/>
              <a:gd name="connsiteY25" fmla="*/ 71603 h 73947"/>
              <a:gd name="connsiteX26" fmla="*/ 6315 w 16365"/>
              <a:gd name="connsiteY26" fmla="*/ 73768 h 73947"/>
              <a:gd name="connsiteX27" fmla="*/ 11268 w 16365"/>
              <a:gd name="connsiteY27" fmla="*/ 72661 h 7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365" h="73947">
                <a:moveTo>
                  <a:pt x="11316" y="72661"/>
                </a:moveTo>
                <a:cubicBezTo>
                  <a:pt x="11942" y="72132"/>
                  <a:pt x="11942" y="72084"/>
                  <a:pt x="12230" y="71747"/>
                </a:cubicBezTo>
                <a:lnTo>
                  <a:pt x="12759" y="71025"/>
                </a:lnTo>
                <a:cubicBezTo>
                  <a:pt x="13240" y="70255"/>
                  <a:pt x="13432" y="69726"/>
                  <a:pt x="13625" y="69245"/>
                </a:cubicBezTo>
                <a:cubicBezTo>
                  <a:pt x="13961" y="68331"/>
                  <a:pt x="14105" y="67609"/>
                  <a:pt x="14298" y="66935"/>
                </a:cubicBezTo>
                <a:cubicBezTo>
                  <a:pt x="15404" y="61594"/>
                  <a:pt x="15692" y="57070"/>
                  <a:pt x="15981" y="52499"/>
                </a:cubicBezTo>
                <a:cubicBezTo>
                  <a:pt x="16269" y="47976"/>
                  <a:pt x="16365" y="43645"/>
                  <a:pt x="16365" y="39507"/>
                </a:cubicBezTo>
                <a:cubicBezTo>
                  <a:pt x="16365" y="31230"/>
                  <a:pt x="16029" y="23819"/>
                  <a:pt x="15356" y="17516"/>
                </a:cubicBezTo>
                <a:cubicBezTo>
                  <a:pt x="14634" y="11212"/>
                  <a:pt x="13817" y="6256"/>
                  <a:pt x="12134" y="2502"/>
                </a:cubicBezTo>
                <a:cubicBezTo>
                  <a:pt x="11845" y="1973"/>
                  <a:pt x="11653" y="1540"/>
                  <a:pt x="11124" y="914"/>
                </a:cubicBezTo>
                <a:cubicBezTo>
                  <a:pt x="10836" y="626"/>
                  <a:pt x="10451" y="193"/>
                  <a:pt x="9585" y="0"/>
                </a:cubicBezTo>
                <a:lnTo>
                  <a:pt x="8431" y="96"/>
                </a:lnTo>
                <a:lnTo>
                  <a:pt x="7758" y="529"/>
                </a:lnTo>
                <a:cubicBezTo>
                  <a:pt x="6796" y="1636"/>
                  <a:pt x="6941" y="2213"/>
                  <a:pt x="6796" y="2743"/>
                </a:cubicBezTo>
                <a:cubicBezTo>
                  <a:pt x="6700" y="3802"/>
                  <a:pt x="6941" y="4331"/>
                  <a:pt x="7277" y="4475"/>
                </a:cubicBezTo>
                <a:cubicBezTo>
                  <a:pt x="7518" y="4571"/>
                  <a:pt x="7806" y="4379"/>
                  <a:pt x="8143" y="4138"/>
                </a:cubicBezTo>
                <a:cubicBezTo>
                  <a:pt x="8143" y="5149"/>
                  <a:pt x="8143" y="6448"/>
                  <a:pt x="8143" y="7892"/>
                </a:cubicBezTo>
                <a:cubicBezTo>
                  <a:pt x="7950" y="5822"/>
                  <a:pt x="7710" y="4619"/>
                  <a:pt x="7277" y="4475"/>
                </a:cubicBezTo>
                <a:cubicBezTo>
                  <a:pt x="6604" y="4186"/>
                  <a:pt x="5210" y="6015"/>
                  <a:pt x="4152" y="9432"/>
                </a:cubicBezTo>
                <a:cubicBezTo>
                  <a:pt x="3046" y="12896"/>
                  <a:pt x="2084" y="17901"/>
                  <a:pt x="1363" y="24108"/>
                </a:cubicBezTo>
                <a:cubicBezTo>
                  <a:pt x="641" y="30316"/>
                  <a:pt x="161" y="37774"/>
                  <a:pt x="16" y="46051"/>
                </a:cubicBezTo>
                <a:cubicBezTo>
                  <a:pt x="-32" y="50189"/>
                  <a:pt x="16" y="54568"/>
                  <a:pt x="305" y="59140"/>
                </a:cubicBezTo>
                <a:cubicBezTo>
                  <a:pt x="449" y="61449"/>
                  <a:pt x="641" y="63759"/>
                  <a:pt x="1074" y="66454"/>
                </a:cubicBezTo>
                <a:cubicBezTo>
                  <a:pt x="1170" y="67080"/>
                  <a:pt x="1363" y="67897"/>
                  <a:pt x="1555" y="68667"/>
                </a:cubicBezTo>
                <a:cubicBezTo>
                  <a:pt x="1747" y="69197"/>
                  <a:pt x="1892" y="69678"/>
                  <a:pt x="2132" y="70207"/>
                </a:cubicBezTo>
                <a:cubicBezTo>
                  <a:pt x="2372" y="70689"/>
                  <a:pt x="2661" y="71170"/>
                  <a:pt x="2998" y="71603"/>
                </a:cubicBezTo>
                <a:cubicBezTo>
                  <a:pt x="2901" y="71699"/>
                  <a:pt x="4584" y="73431"/>
                  <a:pt x="6315" y="73768"/>
                </a:cubicBezTo>
                <a:cubicBezTo>
                  <a:pt x="7758" y="74249"/>
                  <a:pt x="9922" y="73720"/>
                  <a:pt x="11268" y="72661"/>
                </a:cubicBezTo>
                <a:close/>
              </a:path>
            </a:pathLst>
          </a:custGeom>
          <a:solidFill>
            <a:srgbClr val="29C8C1"/>
          </a:solidFill>
          <a:ln w="0" cap="flat">
            <a:noFill/>
            <a:prstDash val="solid"/>
            <a:miter/>
          </a:ln>
        </p:spPr>
        <p:txBody>
          <a:bodyPr rtlCol="0" anchor="ctr"/>
          <a:lstStyle/>
          <a:p>
            <a:pPr rtl="0"/>
            <a:endParaRPr lang="en-AU" dirty="0"/>
          </a:p>
        </p:txBody>
      </p:sp>
      <p:sp>
        <p:nvSpPr>
          <p:cNvPr id="63" name="Freeform: Shape 62">
            <a:extLst>
              <a:ext uri="{FF2B5EF4-FFF2-40B4-BE49-F238E27FC236}">
                <a16:creationId xmlns:a16="http://schemas.microsoft.com/office/drawing/2014/main" id="{850DC44B-CDB2-FC23-B362-9C5218F8CE92}"/>
              </a:ext>
            </a:extLst>
          </p:cNvPr>
          <p:cNvSpPr/>
          <p:nvPr/>
        </p:nvSpPr>
        <p:spPr>
          <a:xfrm>
            <a:off x="7001647" y="3320994"/>
            <a:ext cx="352017" cy="528784"/>
          </a:xfrm>
          <a:custGeom>
            <a:avLst/>
            <a:gdLst>
              <a:gd name="connsiteX0" fmla="*/ 286286 w 352017"/>
              <a:gd name="connsiteY0" fmla="*/ 449660 h 528784"/>
              <a:gd name="connsiteX1" fmla="*/ 334613 w 352017"/>
              <a:gd name="connsiteY1" fmla="*/ 327916 h 528784"/>
              <a:gd name="connsiteX2" fmla="*/ 351731 w 352017"/>
              <a:gd name="connsiteY2" fmla="*/ 210791 h 528784"/>
              <a:gd name="connsiteX3" fmla="*/ 341826 w 352017"/>
              <a:gd name="connsiteY3" fmla="*/ 107958 h 528784"/>
              <a:gd name="connsiteX4" fmla="*/ 302155 w 352017"/>
              <a:gd name="connsiteY4" fmla="*/ 32458 h 528784"/>
              <a:gd name="connsiteX5" fmla="*/ 273544 w 352017"/>
              <a:gd name="connsiteY5" fmla="*/ 11574 h 528784"/>
              <a:gd name="connsiteX6" fmla="*/ 245413 w 352017"/>
              <a:gd name="connsiteY6" fmla="*/ 2142 h 528784"/>
              <a:gd name="connsiteX7" fmla="*/ 204781 w 352017"/>
              <a:gd name="connsiteY7" fmla="*/ 1035 h 528784"/>
              <a:gd name="connsiteX8" fmla="*/ 190932 w 352017"/>
              <a:gd name="connsiteY8" fmla="*/ 3730 h 528784"/>
              <a:gd name="connsiteX9" fmla="*/ 204973 w 352017"/>
              <a:gd name="connsiteY9" fmla="*/ 3153 h 528784"/>
              <a:gd name="connsiteX10" fmla="*/ 244596 w 352017"/>
              <a:gd name="connsiteY10" fmla="*/ 6184 h 528784"/>
              <a:gd name="connsiteX11" fmla="*/ 271284 w 352017"/>
              <a:gd name="connsiteY11" fmla="*/ 16049 h 528784"/>
              <a:gd name="connsiteX12" fmla="*/ 297923 w 352017"/>
              <a:gd name="connsiteY12" fmla="*/ 36548 h 528784"/>
              <a:gd name="connsiteX13" fmla="*/ 334613 w 352017"/>
              <a:gd name="connsiteY13" fmla="*/ 109787 h 528784"/>
              <a:gd name="connsiteX14" fmla="*/ 342980 w 352017"/>
              <a:gd name="connsiteY14" fmla="*/ 210406 h 528784"/>
              <a:gd name="connsiteX15" fmla="*/ 325188 w 352017"/>
              <a:gd name="connsiteY15" fmla="*/ 325462 h 528784"/>
              <a:gd name="connsiteX16" fmla="*/ 277391 w 352017"/>
              <a:gd name="connsiteY16" fmla="*/ 444318 h 528784"/>
              <a:gd name="connsiteX17" fmla="*/ 235700 w 352017"/>
              <a:gd name="connsiteY17" fmla="*/ 496384 h 528784"/>
              <a:gd name="connsiteX18" fmla="*/ 207522 w 352017"/>
              <a:gd name="connsiteY18" fmla="*/ 513756 h 528784"/>
              <a:gd name="connsiteX19" fmla="*/ 199684 w 352017"/>
              <a:gd name="connsiteY19" fmla="*/ 516162 h 528784"/>
              <a:gd name="connsiteX20" fmla="*/ 195693 w 352017"/>
              <a:gd name="connsiteY20" fmla="*/ 517076 h 528784"/>
              <a:gd name="connsiteX21" fmla="*/ 191653 w 352017"/>
              <a:gd name="connsiteY21" fmla="*/ 517557 h 528784"/>
              <a:gd name="connsiteX22" fmla="*/ 183142 w 352017"/>
              <a:gd name="connsiteY22" fmla="*/ 518039 h 528784"/>
              <a:gd name="connsiteX23" fmla="*/ 174487 w 352017"/>
              <a:gd name="connsiteY23" fmla="*/ 518039 h 528784"/>
              <a:gd name="connsiteX24" fmla="*/ 108850 w 352017"/>
              <a:gd name="connsiteY24" fmla="*/ 501629 h 528784"/>
              <a:gd name="connsiteX25" fmla="*/ 59033 w 352017"/>
              <a:gd name="connsiteY25" fmla="*/ 458514 h 528784"/>
              <a:gd name="connsiteX26" fmla="*/ 28546 w 352017"/>
              <a:gd name="connsiteY26" fmla="*/ 401588 h 528784"/>
              <a:gd name="connsiteX27" fmla="*/ 13303 w 352017"/>
              <a:gd name="connsiteY27" fmla="*/ 341004 h 528784"/>
              <a:gd name="connsiteX28" fmla="*/ 14265 w 352017"/>
              <a:gd name="connsiteY28" fmla="*/ 225275 h 528784"/>
              <a:gd name="connsiteX29" fmla="*/ 43645 w 352017"/>
              <a:gd name="connsiteY29" fmla="*/ 128698 h 528784"/>
              <a:gd name="connsiteX30" fmla="*/ 90337 w 352017"/>
              <a:gd name="connsiteY30" fmla="*/ 59983 h 528784"/>
              <a:gd name="connsiteX31" fmla="*/ 140394 w 352017"/>
              <a:gd name="connsiteY31" fmla="*/ 22160 h 528784"/>
              <a:gd name="connsiteX32" fmla="*/ 177516 w 352017"/>
              <a:gd name="connsiteY32" fmla="*/ 7532 h 528784"/>
              <a:gd name="connsiteX33" fmla="*/ 191028 w 352017"/>
              <a:gd name="connsiteY33" fmla="*/ 3634 h 528784"/>
              <a:gd name="connsiteX34" fmla="*/ 177035 w 352017"/>
              <a:gd name="connsiteY34" fmla="*/ 5462 h 528784"/>
              <a:gd name="connsiteX35" fmla="*/ 138567 w 352017"/>
              <a:gd name="connsiteY35" fmla="*/ 18455 h 528784"/>
              <a:gd name="connsiteX36" fmla="*/ 86153 w 352017"/>
              <a:gd name="connsiteY36" fmla="*/ 55796 h 528784"/>
              <a:gd name="connsiteX37" fmla="*/ 36913 w 352017"/>
              <a:gd name="connsiteY37" fmla="*/ 125378 h 528784"/>
              <a:gd name="connsiteX38" fmla="*/ 5561 w 352017"/>
              <a:gd name="connsiteY38" fmla="*/ 223832 h 528784"/>
              <a:gd name="connsiteX39" fmla="*/ 3590 w 352017"/>
              <a:gd name="connsiteY39" fmla="*/ 342400 h 528784"/>
              <a:gd name="connsiteX40" fmla="*/ 18977 w 352017"/>
              <a:gd name="connsiteY40" fmla="*/ 405052 h 528784"/>
              <a:gd name="connsiteX41" fmla="*/ 50714 w 352017"/>
              <a:gd name="connsiteY41" fmla="*/ 464769 h 528784"/>
              <a:gd name="connsiteX42" fmla="*/ 103897 w 352017"/>
              <a:gd name="connsiteY42" fmla="*/ 510965 h 528784"/>
              <a:gd name="connsiteX43" fmla="*/ 174246 w 352017"/>
              <a:gd name="connsiteY43" fmla="*/ 528673 h 528784"/>
              <a:gd name="connsiteX44" fmla="*/ 183479 w 352017"/>
              <a:gd name="connsiteY44" fmla="*/ 528673 h 528784"/>
              <a:gd name="connsiteX45" fmla="*/ 192760 w 352017"/>
              <a:gd name="connsiteY45" fmla="*/ 528144 h 528784"/>
              <a:gd name="connsiteX46" fmla="*/ 197568 w 352017"/>
              <a:gd name="connsiteY46" fmla="*/ 527566 h 528784"/>
              <a:gd name="connsiteX47" fmla="*/ 202232 w 352017"/>
              <a:gd name="connsiteY47" fmla="*/ 526507 h 528784"/>
              <a:gd name="connsiteX48" fmla="*/ 211321 w 352017"/>
              <a:gd name="connsiteY48" fmla="*/ 523717 h 528784"/>
              <a:gd name="connsiteX49" fmla="*/ 242673 w 352017"/>
              <a:gd name="connsiteY49" fmla="*/ 504420 h 528784"/>
              <a:gd name="connsiteX50" fmla="*/ 286431 w 352017"/>
              <a:gd name="connsiteY50" fmla="*/ 449611 h 52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52017" h="528784">
                <a:moveTo>
                  <a:pt x="286286" y="449660"/>
                </a:moveTo>
                <a:cubicBezTo>
                  <a:pt x="309416" y="410057"/>
                  <a:pt x="324226" y="368336"/>
                  <a:pt x="334613" y="327916"/>
                </a:cubicBezTo>
                <a:cubicBezTo>
                  <a:pt x="344951" y="287447"/>
                  <a:pt x="350433" y="247940"/>
                  <a:pt x="351731" y="210791"/>
                </a:cubicBezTo>
                <a:cubicBezTo>
                  <a:pt x="353029" y="173642"/>
                  <a:pt x="349952" y="138755"/>
                  <a:pt x="341826" y="107958"/>
                </a:cubicBezTo>
                <a:cubicBezTo>
                  <a:pt x="333795" y="77258"/>
                  <a:pt x="320283" y="50551"/>
                  <a:pt x="302155" y="32458"/>
                </a:cubicBezTo>
                <a:cubicBezTo>
                  <a:pt x="293163" y="23363"/>
                  <a:pt x="283353" y="16434"/>
                  <a:pt x="273544" y="11574"/>
                </a:cubicBezTo>
                <a:cubicBezTo>
                  <a:pt x="263734" y="6762"/>
                  <a:pt x="254117" y="3971"/>
                  <a:pt x="245413" y="2142"/>
                </a:cubicBezTo>
                <a:cubicBezTo>
                  <a:pt x="227814" y="-986"/>
                  <a:pt x="213965" y="-71"/>
                  <a:pt x="204781" y="1035"/>
                </a:cubicBezTo>
                <a:cubicBezTo>
                  <a:pt x="195597" y="2287"/>
                  <a:pt x="190836" y="3441"/>
                  <a:pt x="190932" y="3730"/>
                </a:cubicBezTo>
                <a:cubicBezTo>
                  <a:pt x="190980" y="4163"/>
                  <a:pt x="195837" y="3730"/>
                  <a:pt x="204973" y="3153"/>
                </a:cubicBezTo>
                <a:cubicBezTo>
                  <a:pt x="214110" y="2768"/>
                  <a:pt x="227718" y="2575"/>
                  <a:pt x="244596" y="6184"/>
                </a:cubicBezTo>
                <a:cubicBezTo>
                  <a:pt x="252915" y="8253"/>
                  <a:pt x="262051" y="11189"/>
                  <a:pt x="271284" y="16049"/>
                </a:cubicBezTo>
                <a:cubicBezTo>
                  <a:pt x="280468" y="20957"/>
                  <a:pt x="289604" y="27742"/>
                  <a:pt x="297923" y="36548"/>
                </a:cubicBezTo>
                <a:cubicBezTo>
                  <a:pt x="314753" y="54112"/>
                  <a:pt x="327256" y="79856"/>
                  <a:pt x="334613" y="109787"/>
                </a:cubicBezTo>
                <a:cubicBezTo>
                  <a:pt x="342018" y="139766"/>
                  <a:pt x="344663" y="173931"/>
                  <a:pt x="342980" y="210406"/>
                </a:cubicBezTo>
                <a:cubicBezTo>
                  <a:pt x="341297" y="246881"/>
                  <a:pt x="335574" y="285714"/>
                  <a:pt x="325188" y="325462"/>
                </a:cubicBezTo>
                <a:cubicBezTo>
                  <a:pt x="314753" y="365113"/>
                  <a:pt x="299943" y="406063"/>
                  <a:pt x="277391" y="444318"/>
                </a:cubicBezTo>
                <a:cubicBezTo>
                  <a:pt x="266090" y="463326"/>
                  <a:pt x="252674" y="481756"/>
                  <a:pt x="235700" y="496384"/>
                </a:cubicBezTo>
                <a:cubicBezTo>
                  <a:pt x="227237" y="503602"/>
                  <a:pt x="217860" y="510002"/>
                  <a:pt x="207522" y="513756"/>
                </a:cubicBezTo>
                <a:cubicBezTo>
                  <a:pt x="204925" y="514622"/>
                  <a:pt x="202377" y="515680"/>
                  <a:pt x="199684" y="516162"/>
                </a:cubicBezTo>
                <a:lnTo>
                  <a:pt x="195693" y="517076"/>
                </a:lnTo>
                <a:lnTo>
                  <a:pt x="191653" y="517557"/>
                </a:lnTo>
                <a:cubicBezTo>
                  <a:pt x="189057" y="518039"/>
                  <a:pt x="185979" y="517846"/>
                  <a:pt x="183142" y="518039"/>
                </a:cubicBezTo>
                <a:cubicBezTo>
                  <a:pt x="180257" y="518135"/>
                  <a:pt x="177372" y="518231"/>
                  <a:pt x="174487" y="518039"/>
                </a:cubicBezTo>
                <a:cubicBezTo>
                  <a:pt x="151310" y="517750"/>
                  <a:pt x="128709" y="511975"/>
                  <a:pt x="108850" y="501629"/>
                </a:cubicBezTo>
                <a:cubicBezTo>
                  <a:pt x="88942" y="491187"/>
                  <a:pt x="72304" y="475837"/>
                  <a:pt x="59033" y="458514"/>
                </a:cubicBezTo>
                <a:cubicBezTo>
                  <a:pt x="45857" y="440998"/>
                  <a:pt x="35807" y="421557"/>
                  <a:pt x="28546" y="401588"/>
                </a:cubicBezTo>
                <a:cubicBezTo>
                  <a:pt x="21141" y="381666"/>
                  <a:pt x="16381" y="361167"/>
                  <a:pt x="13303" y="341004"/>
                </a:cubicBezTo>
                <a:cubicBezTo>
                  <a:pt x="7389" y="300583"/>
                  <a:pt x="8639" y="261221"/>
                  <a:pt x="14265" y="225275"/>
                </a:cubicBezTo>
                <a:cubicBezTo>
                  <a:pt x="20035" y="189330"/>
                  <a:pt x="30374" y="156656"/>
                  <a:pt x="43645" y="128698"/>
                </a:cubicBezTo>
                <a:cubicBezTo>
                  <a:pt x="56917" y="100740"/>
                  <a:pt x="73266" y="77643"/>
                  <a:pt x="90337" y="59983"/>
                </a:cubicBezTo>
                <a:cubicBezTo>
                  <a:pt x="107359" y="42274"/>
                  <a:pt x="125103" y="30196"/>
                  <a:pt x="140394" y="22160"/>
                </a:cubicBezTo>
                <a:cubicBezTo>
                  <a:pt x="155782" y="14220"/>
                  <a:pt x="168668" y="9986"/>
                  <a:pt x="177516" y="7532"/>
                </a:cubicBezTo>
                <a:cubicBezTo>
                  <a:pt x="186364" y="5126"/>
                  <a:pt x="191076" y="4067"/>
                  <a:pt x="191028" y="3634"/>
                </a:cubicBezTo>
                <a:cubicBezTo>
                  <a:pt x="191028" y="3345"/>
                  <a:pt x="186124" y="3682"/>
                  <a:pt x="177035" y="5462"/>
                </a:cubicBezTo>
                <a:cubicBezTo>
                  <a:pt x="167947" y="7243"/>
                  <a:pt x="154628" y="10948"/>
                  <a:pt x="138567" y="18455"/>
                </a:cubicBezTo>
                <a:cubicBezTo>
                  <a:pt x="122650" y="26106"/>
                  <a:pt x="104089" y="37992"/>
                  <a:pt x="86153" y="55796"/>
                </a:cubicBezTo>
                <a:cubicBezTo>
                  <a:pt x="68217" y="73504"/>
                  <a:pt x="50954" y="96939"/>
                  <a:pt x="36913" y="125378"/>
                </a:cubicBezTo>
                <a:cubicBezTo>
                  <a:pt x="22824" y="153769"/>
                  <a:pt x="11861" y="187068"/>
                  <a:pt x="5561" y="223832"/>
                </a:cubicBezTo>
                <a:cubicBezTo>
                  <a:pt x="-546" y="260547"/>
                  <a:pt x="-2229" y="300776"/>
                  <a:pt x="3590" y="342400"/>
                </a:cubicBezTo>
                <a:cubicBezTo>
                  <a:pt x="6619" y="363188"/>
                  <a:pt x="11380" y="384312"/>
                  <a:pt x="18977" y="405052"/>
                </a:cubicBezTo>
                <a:cubicBezTo>
                  <a:pt x="26431" y="425840"/>
                  <a:pt x="36817" y="446243"/>
                  <a:pt x="50714" y="464769"/>
                </a:cubicBezTo>
                <a:cubicBezTo>
                  <a:pt x="64707" y="483151"/>
                  <a:pt x="82499" y="499705"/>
                  <a:pt x="103897" y="510965"/>
                </a:cubicBezTo>
                <a:cubicBezTo>
                  <a:pt x="125247" y="522225"/>
                  <a:pt x="149627" y="528384"/>
                  <a:pt x="174246" y="528673"/>
                </a:cubicBezTo>
                <a:cubicBezTo>
                  <a:pt x="177324" y="528866"/>
                  <a:pt x="180401" y="528769"/>
                  <a:pt x="183479" y="528673"/>
                </a:cubicBezTo>
                <a:cubicBezTo>
                  <a:pt x="186605" y="528481"/>
                  <a:pt x="189490" y="528673"/>
                  <a:pt x="192760" y="528144"/>
                </a:cubicBezTo>
                <a:lnTo>
                  <a:pt x="197568" y="527566"/>
                </a:lnTo>
                <a:cubicBezTo>
                  <a:pt x="199155" y="527278"/>
                  <a:pt x="200694" y="526844"/>
                  <a:pt x="202232" y="526507"/>
                </a:cubicBezTo>
                <a:cubicBezTo>
                  <a:pt x="205358" y="525882"/>
                  <a:pt x="208339" y="524727"/>
                  <a:pt x="211321" y="523717"/>
                </a:cubicBezTo>
                <a:cubicBezTo>
                  <a:pt x="223198" y="519338"/>
                  <a:pt x="233488" y="512216"/>
                  <a:pt x="242673" y="504420"/>
                </a:cubicBezTo>
                <a:cubicBezTo>
                  <a:pt x="260945" y="488541"/>
                  <a:pt x="274794" y="469245"/>
                  <a:pt x="286431" y="449611"/>
                </a:cubicBezTo>
                <a:close/>
              </a:path>
            </a:pathLst>
          </a:custGeom>
          <a:solidFill>
            <a:srgbClr val="29C8C1"/>
          </a:solidFill>
          <a:ln w="0"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94A9CC03-EB20-5365-CCDC-F6FF159D92D6}"/>
              </a:ext>
            </a:extLst>
          </p:cNvPr>
          <p:cNvSpPr/>
          <p:nvPr/>
        </p:nvSpPr>
        <p:spPr>
          <a:xfrm>
            <a:off x="6908392" y="3150481"/>
            <a:ext cx="529997" cy="781540"/>
          </a:xfrm>
          <a:custGeom>
            <a:avLst/>
            <a:gdLst>
              <a:gd name="connsiteX0" fmla="*/ 284908 w 529997"/>
              <a:gd name="connsiteY0" fmla="*/ 32096 h 781540"/>
              <a:gd name="connsiteX1" fmla="*/ 123965 w 529997"/>
              <a:gd name="connsiteY1" fmla="*/ 162406 h 781540"/>
              <a:gd name="connsiteX2" fmla="*/ 22552 w 529997"/>
              <a:gd name="connsiteY2" fmla="*/ 326592 h 781540"/>
              <a:gd name="connsiteX3" fmla="*/ 1202 w 529997"/>
              <a:gd name="connsiteY3" fmla="*/ 414555 h 781540"/>
              <a:gd name="connsiteX4" fmla="*/ 433 w 529997"/>
              <a:gd name="connsiteY4" fmla="*/ 425575 h 781540"/>
              <a:gd name="connsiteX5" fmla="*/ 0 w 529997"/>
              <a:gd name="connsiteY5" fmla="*/ 436546 h 781540"/>
              <a:gd name="connsiteX6" fmla="*/ 673 w 529997"/>
              <a:gd name="connsiteY6" fmla="*/ 458104 h 781540"/>
              <a:gd name="connsiteX7" fmla="*/ 5770 w 529997"/>
              <a:gd name="connsiteY7" fmla="*/ 499824 h 781540"/>
              <a:gd name="connsiteX8" fmla="*/ 63425 w 529997"/>
              <a:gd name="connsiteY8" fmla="*/ 640576 h 781540"/>
              <a:gd name="connsiteX9" fmla="*/ 150509 w 529997"/>
              <a:gd name="connsiteY9" fmla="*/ 730945 h 781540"/>
              <a:gd name="connsiteX10" fmla="*/ 194940 w 529997"/>
              <a:gd name="connsiteY10" fmla="*/ 757315 h 781540"/>
              <a:gd name="connsiteX11" fmla="*/ 215857 w 529997"/>
              <a:gd name="connsiteY11" fmla="*/ 766410 h 781540"/>
              <a:gd name="connsiteX12" fmla="*/ 225859 w 529997"/>
              <a:gd name="connsiteY12" fmla="*/ 769923 h 781540"/>
              <a:gd name="connsiteX13" fmla="*/ 235476 w 529997"/>
              <a:gd name="connsiteY13" fmla="*/ 772906 h 781540"/>
              <a:gd name="connsiteX14" fmla="*/ 294718 w 529997"/>
              <a:gd name="connsiteY14" fmla="*/ 781520 h 781540"/>
              <a:gd name="connsiteX15" fmla="*/ 310250 w 529997"/>
              <a:gd name="connsiteY15" fmla="*/ 780701 h 781540"/>
              <a:gd name="connsiteX16" fmla="*/ 315491 w 529997"/>
              <a:gd name="connsiteY16" fmla="*/ 779884 h 781540"/>
              <a:gd name="connsiteX17" fmla="*/ 310202 w 529997"/>
              <a:gd name="connsiteY17" fmla="*/ 779595 h 781540"/>
              <a:gd name="connsiteX18" fmla="*/ 294766 w 529997"/>
              <a:gd name="connsiteY18" fmla="*/ 779354 h 781540"/>
              <a:gd name="connsiteX19" fmla="*/ 236678 w 529997"/>
              <a:gd name="connsiteY19" fmla="*/ 768912 h 781540"/>
              <a:gd name="connsiteX20" fmla="*/ 227302 w 529997"/>
              <a:gd name="connsiteY20" fmla="*/ 765736 h 781540"/>
              <a:gd name="connsiteX21" fmla="*/ 217540 w 529997"/>
              <a:gd name="connsiteY21" fmla="*/ 762079 h 781540"/>
              <a:gd name="connsiteX22" fmla="*/ 197200 w 529997"/>
              <a:gd name="connsiteY22" fmla="*/ 752744 h 781540"/>
              <a:gd name="connsiteX23" fmla="*/ 154019 w 529997"/>
              <a:gd name="connsiteY23" fmla="*/ 726133 h 781540"/>
              <a:gd name="connsiteX24" fmla="*/ 69676 w 529997"/>
              <a:gd name="connsiteY24" fmla="*/ 636389 h 781540"/>
              <a:gd name="connsiteX25" fmla="*/ 14474 w 529997"/>
              <a:gd name="connsiteY25" fmla="*/ 498284 h 781540"/>
              <a:gd name="connsiteX26" fmla="*/ 9761 w 529997"/>
              <a:gd name="connsiteY26" fmla="*/ 457575 h 781540"/>
              <a:gd name="connsiteX27" fmla="*/ 9233 w 529997"/>
              <a:gd name="connsiteY27" fmla="*/ 436594 h 781540"/>
              <a:gd name="connsiteX28" fmla="*/ 9713 w 529997"/>
              <a:gd name="connsiteY28" fmla="*/ 426056 h 781540"/>
              <a:gd name="connsiteX29" fmla="*/ 10483 w 529997"/>
              <a:gd name="connsiteY29" fmla="*/ 415469 h 781540"/>
              <a:gd name="connsiteX30" fmla="*/ 31689 w 529997"/>
              <a:gd name="connsiteY30" fmla="*/ 330153 h 781540"/>
              <a:gd name="connsiteX31" fmla="*/ 131803 w 529997"/>
              <a:gd name="connsiteY31" fmla="*/ 169335 h 781540"/>
              <a:gd name="connsiteX32" fmla="*/ 289717 w 529997"/>
              <a:gd name="connsiteY32" fmla="*/ 41624 h 781540"/>
              <a:gd name="connsiteX33" fmla="*/ 337418 w 529997"/>
              <a:gd name="connsiteY33" fmla="*/ 21558 h 781540"/>
              <a:gd name="connsiteX34" fmla="*/ 386995 w 529997"/>
              <a:gd name="connsiteY34" fmla="*/ 11308 h 781540"/>
              <a:gd name="connsiteX35" fmla="*/ 399449 w 529997"/>
              <a:gd name="connsiteY35" fmla="*/ 10683 h 781540"/>
              <a:gd name="connsiteX36" fmla="*/ 405508 w 529997"/>
              <a:gd name="connsiteY36" fmla="*/ 10971 h 781540"/>
              <a:gd name="connsiteX37" fmla="*/ 411470 w 529997"/>
              <a:gd name="connsiteY37" fmla="*/ 11549 h 781540"/>
              <a:gd name="connsiteX38" fmla="*/ 417385 w 529997"/>
              <a:gd name="connsiteY38" fmla="*/ 12559 h 781540"/>
              <a:gd name="connsiteX39" fmla="*/ 423155 w 529997"/>
              <a:gd name="connsiteY39" fmla="*/ 14147 h 781540"/>
              <a:gd name="connsiteX40" fmla="*/ 434263 w 529997"/>
              <a:gd name="connsiteY40" fmla="*/ 18382 h 781540"/>
              <a:gd name="connsiteX41" fmla="*/ 470039 w 529997"/>
              <a:gd name="connsiteY41" fmla="*/ 49420 h 781540"/>
              <a:gd name="connsiteX42" fmla="*/ 492639 w 529997"/>
              <a:gd name="connsiteY42" fmla="*/ 91813 h 781540"/>
              <a:gd name="connsiteX43" fmla="*/ 506584 w 529997"/>
              <a:gd name="connsiteY43" fmla="*/ 137528 h 781540"/>
              <a:gd name="connsiteX44" fmla="*/ 519134 w 529997"/>
              <a:gd name="connsiteY44" fmla="*/ 229774 h 781540"/>
              <a:gd name="connsiteX45" fmla="*/ 512162 w 529997"/>
              <a:gd name="connsiteY45" fmla="*/ 402429 h 781540"/>
              <a:gd name="connsiteX46" fmla="*/ 482012 w 529997"/>
              <a:gd name="connsiteY46" fmla="*/ 550110 h 781540"/>
              <a:gd name="connsiteX47" fmla="*/ 437485 w 529997"/>
              <a:gd name="connsiteY47" fmla="*/ 666031 h 781540"/>
              <a:gd name="connsiteX48" fmla="*/ 384206 w 529997"/>
              <a:gd name="connsiteY48" fmla="*/ 742494 h 781540"/>
              <a:gd name="connsiteX49" fmla="*/ 335399 w 529997"/>
              <a:gd name="connsiteY49" fmla="*/ 774638 h 781540"/>
              <a:gd name="connsiteX50" fmla="*/ 320540 w 529997"/>
              <a:gd name="connsiteY50" fmla="*/ 778584 h 781540"/>
              <a:gd name="connsiteX51" fmla="*/ 315395 w 529997"/>
              <a:gd name="connsiteY51" fmla="*/ 779884 h 781540"/>
              <a:gd name="connsiteX52" fmla="*/ 320684 w 529997"/>
              <a:gd name="connsiteY52" fmla="*/ 779691 h 781540"/>
              <a:gd name="connsiteX53" fmla="*/ 336024 w 529997"/>
              <a:gd name="connsiteY53" fmla="*/ 776708 h 781540"/>
              <a:gd name="connsiteX54" fmla="*/ 387043 w 529997"/>
              <a:gd name="connsiteY54" fmla="*/ 745526 h 781540"/>
              <a:gd name="connsiteX55" fmla="*/ 442726 w 529997"/>
              <a:gd name="connsiteY55" fmla="*/ 668822 h 781540"/>
              <a:gd name="connsiteX56" fmla="*/ 489177 w 529997"/>
              <a:gd name="connsiteY56" fmla="*/ 552275 h 781540"/>
              <a:gd name="connsiteX57" fmla="*/ 520866 w 529997"/>
              <a:gd name="connsiteY57" fmla="*/ 403584 h 781540"/>
              <a:gd name="connsiteX58" fmla="*/ 528896 w 529997"/>
              <a:gd name="connsiteY58" fmla="*/ 229196 h 781540"/>
              <a:gd name="connsiteX59" fmla="*/ 516442 w 529997"/>
              <a:gd name="connsiteY59" fmla="*/ 135218 h 781540"/>
              <a:gd name="connsiteX60" fmla="*/ 502160 w 529997"/>
              <a:gd name="connsiteY60" fmla="*/ 88012 h 781540"/>
              <a:gd name="connsiteX61" fmla="*/ 478358 w 529997"/>
              <a:gd name="connsiteY61" fmla="*/ 43212 h 781540"/>
              <a:gd name="connsiteX62" fmla="*/ 438735 w 529997"/>
              <a:gd name="connsiteY62" fmla="*/ 8854 h 781540"/>
              <a:gd name="connsiteX63" fmla="*/ 426088 w 529997"/>
              <a:gd name="connsiteY63" fmla="*/ 3994 h 781540"/>
              <a:gd name="connsiteX64" fmla="*/ 419549 w 529997"/>
              <a:gd name="connsiteY64" fmla="*/ 2165 h 781540"/>
              <a:gd name="connsiteX65" fmla="*/ 412865 w 529997"/>
              <a:gd name="connsiteY65" fmla="*/ 1010 h 781540"/>
              <a:gd name="connsiteX66" fmla="*/ 406133 w 529997"/>
              <a:gd name="connsiteY66" fmla="*/ 337 h 781540"/>
              <a:gd name="connsiteX67" fmla="*/ 399353 w 529997"/>
              <a:gd name="connsiteY67" fmla="*/ 0 h 781540"/>
              <a:gd name="connsiteX68" fmla="*/ 386081 w 529997"/>
              <a:gd name="connsiteY68" fmla="*/ 626 h 781540"/>
              <a:gd name="connsiteX69" fmla="*/ 334100 w 529997"/>
              <a:gd name="connsiteY69" fmla="*/ 11308 h 781540"/>
              <a:gd name="connsiteX70" fmla="*/ 284812 w 529997"/>
              <a:gd name="connsiteY70" fmla="*/ 32048 h 78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29997" h="781540">
                <a:moveTo>
                  <a:pt x="284908" y="32096"/>
                </a:moveTo>
                <a:cubicBezTo>
                  <a:pt x="221339" y="65347"/>
                  <a:pt x="168252" y="112072"/>
                  <a:pt x="123965" y="162406"/>
                </a:cubicBezTo>
                <a:cubicBezTo>
                  <a:pt x="80111" y="213172"/>
                  <a:pt x="44816" y="268703"/>
                  <a:pt x="22552" y="326592"/>
                </a:cubicBezTo>
                <a:cubicBezTo>
                  <a:pt x="11589" y="355560"/>
                  <a:pt x="4039" y="385154"/>
                  <a:pt x="1202" y="414555"/>
                </a:cubicBezTo>
                <a:cubicBezTo>
                  <a:pt x="673" y="418212"/>
                  <a:pt x="577" y="421918"/>
                  <a:pt x="433" y="425575"/>
                </a:cubicBezTo>
                <a:cubicBezTo>
                  <a:pt x="289" y="429232"/>
                  <a:pt x="144" y="432889"/>
                  <a:pt x="0" y="436546"/>
                </a:cubicBezTo>
                <a:cubicBezTo>
                  <a:pt x="192" y="443812"/>
                  <a:pt x="241" y="450982"/>
                  <a:pt x="673" y="458104"/>
                </a:cubicBezTo>
                <a:cubicBezTo>
                  <a:pt x="1683" y="472299"/>
                  <a:pt x="3126" y="486302"/>
                  <a:pt x="5770" y="499824"/>
                </a:cubicBezTo>
                <a:cubicBezTo>
                  <a:pt x="15532" y="554200"/>
                  <a:pt x="37218" y="601935"/>
                  <a:pt x="63425" y="640576"/>
                </a:cubicBezTo>
                <a:cubicBezTo>
                  <a:pt x="89632" y="679360"/>
                  <a:pt x="120407" y="709339"/>
                  <a:pt x="150509" y="730945"/>
                </a:cubicBezTo>
                <a:cubicBezTo>
                  <a:pt x="165608" y="741772"/>
                  <a:pt x="180658" y="750386"/>
                  <a:pt x="194940" y="757315"/>
                </a:cubicBezTo>
                <a:cubicBezTo>
                  <a:pt x="202057" y="760876"/>
                  <a:pt x="209125" y="763667"/>
                  <a:pt x="215857" y="766410"/>
                </a:cubicBezTo>
                <a:cubicBezTo>
                  <a:pt x="219271" y="767661"/>
                  <a:pt x="222637" y="768768"/>
                  <a:pt x="225859" y="769923"/>
                </a:cubicBezTo>
                <a:cubicBezTo>
                  <a:pt x="229081" y="771126"/>
                  <a:pt x="232303" y="772088"/>
                  <a:pt x="235476" y="772906"/>
                </a:cubicBezTo>
                <a:cubicBezTo>
                  <a:pt x="260625" y="780124"/>
                  <a:pt x="281062" y="781616"/>
                  <a:pt x="294718" y="781520"/>
                </a:cubicBezTo>
                <a:cubicBezTo>
                  <a:pt x="301594" y="781664"/>
                  <a:pt x="306788" y="781038"/>
                  <a:pt x="310250" y="780701"/>
                </a:cubicBezTo>
                <a:cubicBezTo>
                  <a:pt x="313760" y="780365"/>
                  <a:pt x="315491" y="780076"/>
                  <a:pt x="315491" y="779884"/>
                </a:cubicBezTo>
                <a:cubicBezTo>
                  <a:pt x="315491" y="779691"/>
                  <a:pt x="313664" y="779595"/>
                  <a:pt x="310202" y="779595"/>
                </a:cubicBezTo>
                <a:cubicBezTo>
                  <a:pt x="306691" y="779595"/>
                  <a:pt x="301546" y="779835"/>
                  <a:pt x="294766" y="779354"/>
                </a:cubicBezTo>
                <a:cubicBezTo>
                  <a:pt x="281254" y="778777"/>
                  <a:pt x="261202" y="776611"/>
                  <a:pt x="236678" y="768912"/>
                </a:cubicBezTo>
                <a:cubicBezTo>
                  <a:pt x="233601" y="768046"/>
                  <a:pt x="230475" y="766987"/>
                  <a:pt x="227302" y="765736"/>
                </a:cubicBezTo>
                <a:cubicBezTo>
                  <a:pt x="224128" y="764533"/>
                  <a:pt x="220858" y="763426"/>
                  <a:pt x="217540" y="762079"/>
                </a:cubicBezTo>
                <a:cubicBezTo>
                  <a:pt x="211001" y="759240"/>
                  <a:pt x="204124" y="756401"/>
                  <a:pt x="197200" y="752744"/>
                </a:cubicBezTo>
                <a:cubicBezTo>
                  <a:pt x="183303" y="745670"/>
                  <a:pt x="168637" y="737009"/>
                  <a:pt x="154019" y="726133"/>
                </a:cubicBezTo>
                <a:cubicBezTo>
                  <a:pt x="124783" y="704431"/>
                  <a:pt x="94969" y="674693"/>
                  <a:pt x="69676" y="636389"/>
                </a:cubicBezTo>
                <a:cubicBezTo>
                  <a:pt x="44383" y="598230"/>
                  <a:pt x="23610" y="551361"/>
                  <a:pt x="14474" y="498284"/>
                </a:cubicBezTo>
                <a:cubicBezTo>
                  <a:pt x="12021" y="485051"/>
                  <a:pt x="10675" y="471433"/>
                  <a:pt x="9761" y="457575"/>
                </a:cubicBezTo>
                <a:cubicBezTo>
                  <a:pt x="9377" y="450645"/>
                  <a:pt x="9377" y="443620"/>
                  <a:pt x="9233" y="436594"/>
                </a:cubicBezTo>
                <a:cubicBezTo>
                  <a:pt x="9377" y="433081"/>
                  <a:pt x="9569" y="429569"/>
                  <a:pt x="9713" y="426056"/>
                </a:cubicBezTo>
                <a:cubicBezTo>
                  <a:pt x="9858" y="422543"/>
                  <a:pt x="10002" y="418982"/>
                  <a:pt x="10483" y="415469"/>
                </a:cubicBezTo>
                <a:cubicBezTo>
                  <a:pt x="13368" y="387127"/>
                  <a:pt x="20869" y="358351"/>
                  <a:pt x="31689" y="330153"/>
                </a:cubicBezTo>
                <a:cubicBezTo>
                  <a:pt x="53664" y="273708"/>
                  <a:pt x="88526" y="219187"/>
                  <a:pt x="131803" y="169335"/>
                </a:cubicBezTo>
                <a:cubicBezTo>
                  <a:pt x="175465" y="119916"/>
                  <a:pt x="227831" y="74009"/>
                  <a:pt x="289717" y="41624"/>
                </a:cubicBezTo>
                <a:cubicBezTo>
                  <a:pt x="305249" y="33780"/>
                  <a:pt x="321165" y="26947"/>
                  <a:pt x="337418" y="21558"/>
                </a:cubicBezTo>
                <a:cubicBezTo>
                  <a:pt x="353719" y="16457"/>
                  <a:pt x="370309" y="12752"/>
                  <a:pt x="386995" y="11308"/>
                </a:cubicBezTo>
                <a:lnTo>
                  <a:pt x="399449" y="10683"/>
                </a:lnTo>
                <a:cubicBezTo>
                  <a:pt x="401468" y="10683"/>
                  <a:pt x="403488" y="10875"/>
                  <a:pt x="405508" y="10971"/>
                </a:cubicBezTo>
                <a:cubicBezTo>
                  <a:pt x="407527" y="11068"/>
                  <a:pt x="409547" y="11116"/>
                  <a:pt x="411470" y="11549"/>
                </a:cubicBezTo>
                <a:lnTo>
                  <a:pt x="417385" y="12559"/>
                </a:lnTo>
                <a:cubicBezTo>
                  <a:pt x="419356" y="12944"/>
                  <a:pt x="421232" y="13618"/>
                  <a:pt x="423155" y="14147"/>
                </a:cubicBezTo>
                <a:cubicBezTo>
                  <a:pt x="427050" y="15062"/>
                  <a:pt x="430609" y="16938"/>
                  <a:pt x="434263" y="18382"/>
                </a:cubicBezTo>
                <a:cubicBezTo>
                  <a:pt x="448544" y="25359"/>
                  <a:pt x="460518" y="36571"/>
                  <a:pt x="470039" y="49420"/>
                </a:cubicBezTo>
                <a:cubicBezTo>
                  <a:pt x="479464" y="62412"/>
                  <a:pt x="486773" y="76896"/>
                  <a:pt x="492639" y="91813"/>
                </a:cubicBezTo>
                <a:cubicBezTo>
                  <a:pt x="498506" y="106730"/>
                  <a:pt x="503026" y="122081"/>
                  <a:pt x="506584" y="137528"/>
                </a:cubicBezTo>
                <a:cubicBezTo>
                  <a:pt x="513653" y="168421"/>
                  <a:pt x="517259" y="199458"/>
                  <a:pt x="519134" y="229774"/>
                </a:cubicBezTo>
                <a:cubicBezTo>
                  <a:pt x="522549" y="290550"/>
                  <a:pt x="518942" y="348631"/>
                  <a:pt x="512162" y="402429"/>
                </a:cubicBezTo>
                <a:cubicBezTo>
                  <a:pt x="505190" y="456227"/>
                  <a:pt x="494707" y="505839"/>
                  <a:pt x="482012" y="550110"/>
                </a:cubicBezTo>
                <a:cubicBezTo>
                  <a:pt x="469269" y="594429"/>
                  <a:pt x="454171" y="633454"/>
                  <a:pt x="437485" y="666031"/>
                </a:cubicBezTo>
                <a:cubicBezTo>
                  <a:pt x="420943" y="698608"/>
                  <a:pt x="402430" y="724497"/>
                  <a:pt x="384206" y="742494"/>
                </a:cubicBezTo>
                <a:cubicBezTo>
                  <a:pt x="366125" y="760780"/>
                  <a:pt x="348045" y="770163"/>
                  <a:pt x="335399" y="774638"/>
                </a:cubicBezTo>
                <a:cubicBezTo>
                  <a:pt x="329003" y="776660"/>
                  <a:pt x="324002" y="778055"/>
                  <a:pt x="320540" y="778584"/>
                </a:cubicBezTo>
                <a:cubicBezTo>
                  <a:pt x="317126" y="779258"/>
                  <a:pt x="315395" y="779691"/>
                  <a:pt x="315395" y="779884"/>
                </a:cubicBezTo>
                <a:cubicBezTo>
                  <a:pt x="315395" y="780076"/>
                  <a:pt x="317222" y="779980"/>
                  <a:pt x="320684" y="779691"/>
                </a:cubicBezTo>
                <a:cubicBezTo>
                  <a:pt x="324195" y="779547"/>
                  <a:pt x="329340" y="778488"/>
                  <a:pt x="336024" y="776708"/>
                </a:cubicBezTo>
                <a:cubicBezTo>
                  <a:pt x="349151" y="772810"/>
                  <a:pt x="368097" y="763715"/>
                  <a:pt x="387043" y="745526"/>
                </a:cubicBezTo>
                <a:cubicBezTo>
                  <a:pt x="406133" y="727577"/>
                  <a:pt x="425463" y="701592"/>
                  <a:pt x="442726" y="668822"/>
                </a:cubicBezTo>
                <a:cubicBezTo>
                  <a:pt x="460085" y="636100"/>
                  <a:pt x="475857" y="596835"/>
                  <a:pt x="489177" y="552275"/>
                </a:cubicBezTo>
                <a:cubicBezTo>
                  <a:pt x="502497" y="507716"/>
                  <a:pt x="513460" y="457815"/>
                  <a:pt x="520866" y="403584"/>
                </a:cubicBezTo>
                <a:cubicBezTo>
                  <a:pt x="528078" y="349401"/>
                  <a:pt x="532070" y="290790"/>
                  <a:pt x="528896" y="229196"/>
                </a:cubicBezTo>
                <a:cubicBezTo>
                  <a:pt x="527117" y="198448"/>
                  <a:pt x="523607" y="166881"/>
                  <a:pt x="516442" y="135218"/>
                </a:cubicBezTo>
                <a:cubicBezTo>
                  <a:pt x="512835" y="119386"/>
                  <a:pt x="508219" y="103555"/>
                  <a:pt x="502160" y="88012"/>
                </a:cubicBezTo>
                <a:cubicBezTo>
                  <a:pt x="496053" y="72517"/>
                  <a:pt x="488504" y="57215"/>
                  <a:pt x="478358" y="43212"/>
                </a:cubicBezTo>
                <a:cubicBezTo>
                  <a:pt x="468115" y="29353"/>
                  <a:pt x="454940" y="16842"/>
                  <a:pt x="438735" y="8854"/>
                </a:cubicBezTo>
                <a:cubicBezTo>
                  <a:pt x="434551" y="7170"/>
                  <a:pt x="430512" y="5101"/>
                  <a:pt x="426088" y="3994"/>
                </a:cubicBezTo>
                <a:cubicBezTo>
                  <a:pt x="423925" y="3416"/>
                  <a:pt x="421761" y="2599"/>
                  <a:pt x="419549" y="2165"/>
                </a:cubicBezTo>
                <a:lnTo>
                  <a:pt x="412865" y="1010"/>
                </a:lnTo>
                <a:cubicBezTo>
                  <a:pt x="410653" y="529"/>
                  <a:pt x="408393" y="433"/>
                  <a:pt x="406133" y="337"/>
                </a:cubicBezTo>
                <a:cubicBezTo>
                  <a:pt x="403873" y="241"/>
                  <a:pt x="401613" y="48"/>
                  <a:pt x="399353" y="0"/>
                </a:cubicBezTo>
                <a:cubicBezTo>
                  <a:pt x="394929" y="193"/>
                  <a:pt x="390505" y="433"/>
                  <a:pt x="386081" y="626"/>
                </a:cubicBezTo>
                <a:cubicBezTo>
                  <a:pt x="368433" y="2165"/>
                  <a:pt x="351075" y="6015"/>
                  <a:pt x="334100" y="11308"/>
                </a:cubicBezTo>
                <a:cubicBezTo>
                  <a:pt x="317222" y="16938"/>
                  <a:pt x="300825" y="23964"/>
                  <a:pt x="284812" y="32048"/>
                </a:cubicBezTo>
                <a:close/>
              </a:path>
            </a:pathLst>
          </a:custGeom>
          <a:solidFill>
            <a:srgbClr val="29C8C1"/>
          </a:solidFill>
          <a:ln w="0"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088AA1A6-D0DA-4D3A-39E1-66436FF2C702}"/>
              </a:ext>
            </a:extLst>
          </p:cNvPr>
          <p:cNvSpPr/>
          <p:nvPr/>
        </p:nvSpPr>
        <p:spPr>
          <a:xfrm>
            <a:off x="8165778" y="3252831"/>
            <a:ext cx="339649" cy="223766"/>
          </a:xfrm>
          <a:custGeom>
            <a:avLst/>
            <a:gdLst>
              <a:gd name="connsiteX0" fmla="*/ 15494 w 339649"/>
              <a:gd name="connsiteY0" fmla="*/ 46631 h 223766"/>
              <a:gd name="connsiteX1" fmla="*/ 3280 w 339649"/>
              <a:gd name="connsiteY1" fmla="*/ 70306 h 223766"/>
              <a:gd name="connsiteX2" fmla="*/ 59 w 339649"/>
              <a:gd name="connsiteY2" fmla="*/ 92922 h 223766"/>
              <a:gd name="connsiteX3" fmla="*/ 251 w 339649"/>
              <a:gd name="connsiteY3" fmla="*/ 102883 h 223766"/>
              <a:gd name="connsiteX4" fmla="*/ 1116 w 339649"/>
              <a:gd name="connsiteY4" fmla="*/ 111834 h 223766"/>
              <a:gd name="connsiteX5" fmla="*/ 6358 w 339649"/>
              <a:gd name="connsiteY5" fmla="*/ 137337 h 223766"/>
              <a:gd name="connsiteX6" fmla="*/ 9531 w 339649"/>
              <a:gd name="connsiteY6" fmla="*/ 145855 h 223766"/>
              <a:gd name="connsiteX7" fmla="*/ 8474 w 339649"/>
              <a:gd name="connsiteY7" fmla="*/ 136856 h 223766"/>
              <a:gd name="connsiteX8" fmla="*/ 5252 w 339649"/>
              <a:gd name="connsiteY8" fmla="*/ 111448 h 223766"/>
              <a:gd name="connsiteX9" fmla="*/ 4915 w 339649"/>
              <a:gd name="connsiteY9" fmla="*/ 102691 h 223766"/>
              <a:gd name="connsiteX10" fmla="*/ 5156 w 339649"/>
              <a:gd name="connsiteY10" fmla="*/ 93115 h 223766"/>
              <a:gd name="connsiteX11" fmla="*/ 9003 w 339649"/>
              <a:gd name="connsiteY11" fmla="*/ 72038 h 223766"/>
              <a:gd name="connsiteX12" fmla="*/ 20687 w 339649"/>
              <a:gd name="connsiteY12" fmla="*/ 51010 h 223766"/>
              <a:gd name="connsiteX13" fmla="*/ 42278 w 339649"/>
              <a:gd name="connsiteY13" fmla="*/ 34697 h 223766"/>
              <a:gd name="connsiteX14" fmla="*/ 104068 w 339649"/>
              <a:gd name="connsiteY14" fmla="*/ 17759 h 223766"/>
              <a:gd name="connsiteX15" fmla="*/ 140132 w 339649"/>
              <a:gd name="connsiteY15" fmla="*/ 12417 h 223766"/>
              <a:gd name="connsiteX16" fmla="*/ 178024 w 339649"/>
              <a:gd name="connsiteY16" fmla="*/ 9915 h 223766"/>
              <a:gd name="connsiteX17" fmla="*/ 258279 w 339649"/>
              <a:gd name="connsiteY17" fmla="*/ 22041 h 223766"/>
              <a:gd name="connsiteX18" fmla="*/ 296027 w 339649"/>
              <a:gd name="connsiteY18" fmla="*/ 40856 h 223766"/>
              <a:gd name="connsiteX19" fmla="*/ 322811 w 339649"/>
              <a:gd name="connsiteY19" fmla="*/ 73145 h 223766"/>
              <a:gd name="connsiteX20" fmla="*/ 328244 w 339649"/>
              <a:gd name="connsiteY20" fmla="*/ 93596 h 223766"/>
              <a:gd name="connsiteX21" fmla="*/ 328917 w 339649"/>
              <a:gd name="connsiteY21" fmla="*/ 104134 h 223766"/>
              <a:gd name="connsiteX22" fmla="*/ 328725 w 339649"/>
              <a:gd name="connsiteY22" fmla="*/ 109379 h 223766"/>
              <a:gd name="connsiteX23" fmla="*/ 328629 w 339649"/>
              <a:gd name="connsiteY23" fmla="*/ 111978 h 223766"/>
              <a:gd name="connsiteX24" fmla="*/ 328148 w 339649"/>
              <a:gd name="connsiteY24" fmla="*/ 114528 h 223766"/>
              <a:gd name="connsiteX25" fmla="*/ 311607 w 339649"/>
              <a:gd name="connsiteY25" fmla="*/ 151821 h 223766"/>
              <a:gd name="connsiteX26" fmla="*/ 245969 w 339649"/>
              <a:gd name="connsiteY26" fmla="*/ 196766 h 223766"/>
              <a:gd name="connsiteX27" fmla="*/ 174273 w 339649"/>
              <a:gd name="connsiteY27" fmla="*/ 213896 h 223766"/>
              <a:gd name="connsiteX28" fmla="*/ 109887 w 339649"/>
              <a:gd name="connsiteY28" fmla="*/ 212982 h 223766"/>
              <a:gd name="connsiteX29" fmla="*/ 59156 w 339649"/>
              <a:gd name="connsiteY29" fmla="*/ 198257 h 223766"/>
              <a:gd name="connsiteX30" fmla="*/ 27083 w 339649"/>
              <a:gd name="connsiteY30" fmla="*/ 175015 h 223766"/>
              <a:gd name="connsiteX31" fmla="*/ 13426 w 339649"/>
              <a:gd name="connsiteY31" fmla="*/ 153842 h 223766"/>
              <a:gd name="connsiteX32" fmla="*/ 9483 w 339649"/>
              <a:gd name="connsiteY32" fmla="*/ 145710 h 223766"/>
              <a:gd name="connsiteX33" fmla="*/ 11407 w 339649"/>
              <a:gd name="connsiteY33" fmla="*/ 154612 h 223766"/>
              <a:gd name="connsiteX34" fmla="*/ 23909 w 339649"/>
              <a:gd name="connsiteY34" fmla="*/ 177710 h 223766"/>
              <a:gd name="connsiteX35" fmla="*/ 56463 w 339649"/>
              <a:gd name="connsiteY35" fmla="*/ 203599 h 223766"/>
              <a:gd name="connsiteX36" fmla="*/ 108732 w 339649"/>
              <a:gd name="connsiteY36" fmla="*/ 220441 h 223766"/>
              <a:gd name="connsiteX37" fmla="*/ 175091 w 339649"/>
              <a:gd name="connsiteY37" fmla="*/ 222702 h 223766"/>
              <a:gd name="connsiteX38" fmla="*/ 249528 w 339649"/>
              <a:gd name="connsiteY38" fmla="*/ 205908 h 223766"/>
              <a:gd name="connsiteX39" fmla="*/ 319829 w 339649"/>
              <a:gd name="connsiteY39" fmla="*/ 158269 h 223766"/>
              <a:gd name="connsiteX40" fmla="*/ 338631 w 339649"/>
              <a:gd name="connsiteY40" fmla="*/ 116068 h 223766"/>
              <a:gd name="connsiteX41" fmla="*/ 339160 w 339649"/>
              <a:gd name="connsiteY41" fmla="*/ 113133 h 223766"/>
              <a:gd name="connsiteX42" fmla="*/ 339304 w 339649"/>
              <a:gd name="connsiteY42" fmla="*/ 110149 h 223766"/>
              <a:gd name="connsiteX43" fmla="*/ 339544 w 339649"/>
              <a:gd name="connsiteY43" fmla="*/ 104182 h 223766"/>
              <a:gd name="connsiteX44" fmla="*/ 338823 w 339649"/>
              <a:gd name="connsiteY44" fmla="*/ 92249 h 223766"/>
              <a:gd name="connsiteX45" fmla="*/ 332620 w 339649"/>
              <a:gd name="connsiteY45" fmla="*/ 68814 h 223766"/>
              <a:gd name="connsiteX46" fmla="*/ 302278 w 339649"/>
              <a:gd name="connsiteY46" fmla="*/ 32195 h 223766"/>
              <a:gd name="connsiteX47" fmla="*/ 261549 w 339649"/>
              <a:gd name="connsiteY47" fmla="*/ 12032 h 223766"/>
              <a:gd name="connsiteX48" fmla="*/ 177976 w 339649"/>
              <a:gd name="connsiteY48" fmla="*/ 2 h 223766"/>
              <a:gd name="connsiteX49" fmla="*/ 138690 w 339649"/>
              <a:gd name="connsiteY49" fmla="*/ 3082 h 223766"/>
              <a:gd name="connsiteX50" fmla="*/ 102577 w 339649"/>
              <a:gd name="connsiteY50" fmla="*/ 8953 h 223766"/>
              <a:gd name="connsiteX51" fmla="*/ 38768 w 339649"/>
              <a:gd name="connsiteY51" fmla="*/ 27912 h 223766"/>
              <a:gd name="connsiteX52" fmla="*/ 15494 w 339649"/>
              <a:gd name="connsiteY52" fmla="*/ 46534 h 22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39649" h="223766">
                <a:moveTo>
                  <a:pt x="15494" y="46631"/>
                </a:moveTo>
                <a:cubicBezTo>
                  <a:pt x="9483" y="54041"/>
                  <a:pt x="5540" y="62318"/>
                  <a:pt x="3280" y="70306"/>
                </a:cubicBezTo>
                <a:cubicBezTo>
                  <a:pt x="924" y="78294"/>
                  <a:pt x="155" y="85945"/>
                  <a:pt x="59" y="92922"/>
                </a:cubicBezTo>
                <a:cubicBezTo>
                  <a:pt x="-86" y="96435"/>
                  <a:pt x="59" y="99755"/>
                  <a:pt x="251" y="102883"/>
                </a:cubicBezTo>
                <a:cubicBezTo>
                  <a:pt x="347" y="106059"/>
                  <a:pt x="780" y="109042"/>
                  <a:pt x="1116" y="111834"/>
                </a:cubicBezTo>
                <a:cubicBezTo>
                  <a:pt x="2559" y="123094"/>
                  <a:pt x="4723" y="131611"/>
                  <a:pt x="6358" y="137337"/>
                </a:cubicBezTo>
                <a:cubicBezTo>
                  <a:pt x="8089" y="143015"/>
                  <a:pt x="9147" y="145951"/>
                  <a:pt x="9531" y="145855"/>
                </a:cubicBezTo>
                <a:cubicBezTo>
                  <a:pt x="9868" y="145758"/>
                  <a:pt x="9531" y="142679"/>
                  <a:pt x="8474" y="136856"/>
                </a:cubicBezTo>
                <a:cubicBezTo>
                  <a:pt x="7512" y="131033"/>
                  <a:pt x="6069" y="122468"/>
                  <a:pt x="5252" y="111448"/>
                </a:cubicBezTo>
                <a:cubicBezTo>
                  <a:pt x="5108" y="108706"/>
                  <a:pt x="4819" y="105770"/>
                  <a:pt x="4915" y="102691"/>
                </a:cubicBezTo>
                <a:cubicBezTo>
                  <a:pt x="4867" y="99611"/>
                  <a:pt x="4915" y="96435"/>
                  <a:pt x="5156" y="93115"/>
                </a:cubicBezTo>
                <a:cubicBezTo>
                  <a:pt x="5540" y="86474"/>
                  <a:pt x="6550" y="79256"/>
                  <a:pt x="9003" y="72038"/>
                </a:cubicBezTo>
                <a:cubicBezTo>
                  <a:pt x="11359" y="64772"/>
                  <a:pt x="15109" y="57506"/>
                  <a:pt x="20687" y="51010"/>
                </a:cubicBezTo>
                <a:cubicBezTo>
                  <a:pt x="26265" y="44561"/>
                  <a:pt x="33719" y="39124"/>
                  <a:pt x="42278" y="34697"/>
                </a:cubicBezTo>
                <a:cubicBezTo>
                  <a:pt x="59541" y="25939"/>
                  <a:pt x="80987" y="21464"/>
                  <a:pt x="104068" y="17759"/>
                </a:cubicBezTo>
                <a:cubicBezTo>
                  <a:pt x="115609" y="15930"/>
                  <a:pt x="127726" y="14246"/>
                  <a:pt x="140132" y="12417"/>
                </a:cubicBezTo>
                <a:cubicBezTo>
                  <a:pt x="152298" y="10685"/>
                  <a:pt x="164993" y="9867"/>
                  <a:pt x="178024" y="9915"/>
                </a:cubicBezTo>
                <a:cubicBezTo>
                  <a:pt x="204039" y="10107"/>
                  <a:pt x="231640" y="13139"/>
                  <a:pt x="258279" y="22041"/>
                </a:cubicBezTo>
                <a:cubicBezTo>
                  <a:pt x="271551" y="26516"/>
                  <a:pt x="284582" y="32531"/>
                  <a:pt x="296027" y="40856"/>
                </a:cubicBezTo>
                <a:cubicBezTo>
                  <a:pt x="307423" y="49181"/>
                  <a:pt x="317233" y="60056"/>
                  <a:pt x="322811" y="73145"/>
                </a:cubicBezTo>
                <a:cubicBezTo>
                  <a:pt x="325552" y="79689"/>
                  <a:pt x="327763" y="86522"/>
                  <a:pt x="328244" y="93596"/>
                </a:cubicBezTo>
                <a:cubicBezTo>
                  <a:pt x="328533" y="97109"/>
                  <a:pt x="329302" y="100621"/>
                  <a:pt x="328917" y="104134"/>
                </a:cubicBezTo>
                <a:lnTo>
                  <a:pt x="328725" y="109379"/>
                </a:lnTo>
                <a:lnTo>
                  <a:pt x="328629" y="111978"/>
                </a:lnTo>
                <a:cubicBezTo>
                  <a:pt x="328533" y="112844"/>
                  <a:pt x="328292" y="113662"/>
                  <a:pt x="328148" y="114528"/>
                </a:cubicBezTo>
                <a:cubicBezTo>
                  <a:pt x="326176" y="128291"/>
                  <a:pt x="320118" y="141091"/>
                  <a:pt x="311607" y="151821"/>
                </a:cubicBezTo>
                <a:cubicBezTo>
                  <a:pt x="294248" y="173235"/>
                  <a:pt x="269916" y="187238"/>
                  <a:pt x="245969" y="196766"/>
                </a:cubicBezTo>
                <a:cubicBezTo>
                  <a:pt x="221734" y="206101"/>
                  <a:pt x="197355" y="211635"/>
                  <a:pt x="174273" y="213896"/>
                </a:cubicBezTo>
                <a:cubicBezTo>
                  <a:pt x="151192" y="216254"/>
                  <a:pt x="129409" y="215773"/>
                  <a:pt x="109887" y="212982"/>
                </a:cubicBezTo>
                <a:cubicBezTo>
                  <a:pt x="90364" y="210239"/>
                  <a:pt x="73149" y="205090"/>
                  <a:pt x="59156" y="198257"/>
                </a:cubicBezTo>
                <a:cubicBezTo>
                  <a:pt x="45115" y="191521"/>
                  <a:pt x="34584" y="183003"/>
                  <a:pt x="27083" y="175015"/>
                </a:cubicBezTo>
                <a:cubicBezTo>
                  <a:pt x="20062" y="166642"/>
                  <a:pt x="15734" y="159184"/>
                  <a:pt x="13426" y="153842"/>
                </a:cubicBezTo>
                <a:cubicBezTo>
                  <a:pt x="11214" y="148453"/>
                  <a:pt x="9820" y="145614"/>
                  <a:pt x="9483" y="145710"/>
                </a:cubicBezTo>
                <a:cubicBezTo>
                  <a:pt x="9147" y="145806"/>
                  <a:pt x="9772" y="148838"/>
                  <a:pt x="11407" y="154612"/>
                </a:cubicBezTo>
                <a:cubicBezTo>
                  <a:pt x="13138" y="160339"/>
                  <a:pt x="16985" y="168471"/>
                  <a:pt x="23909" y="177710"/>
                </a:cubicBezTo>
                <a:cubicBezTo>
                  <a:pt x="31218" y="186564"/>
                  <a:pt x="41989" y="195996"/>
                  <a:pt x="56463" y="203599"/>
                </a:cubicBezTo>
                <a:cubicBezTo>
                  <a:pt x="70841" y="211250"/>
                  <a:pt x="88633" y="217120"/>
                  <a:pt x="108732" y="220441"/>
                </a:cubicBezTo>
                <a:cubicBezTo>
                  <a:pt x="128832" y="223809"/>
                  <a:pt x="151240" y="224723"/>
                  <a:pt x="175091" y="222702"/>
                </a:cubicBezTo>
                <a:cubicBezTo>
                  <a:pt x="198942" y="220729"/>
                  <a:pt x="224187" y="215436"/>
                  <a:pt x="249528" y="205908"/>
                </a:cubicBezTo>
                <a:cubicBezTo>
                  <a:pt x="274580" y="196188"/>
                  <a:pt x="300451" y="181848"/>
                  <a:pt x="319829" y="158269"/>
                </a:cubicBezTo>
                <a:cubicBezTo>
                  <a:pt x="329302" y="146480"/>
                  <a:pt x="336323" y="131852"/>
                  <a:pt x="338631" y="116068"/>
                </a:cubicBezTo>
                <a:cubicBezTo>
                  <a:pt x="338823" y="115106"/>
                  <a:pt x="339016" y="114095"/>
                  <a:pt x="339160" y="113133"/>
                </a:cubicBezTo>
                <a:lnTo>
                  <a:pt x="339304" y="110149"/>
                </a:lnTo>
                <a:lnTo>
                  <a:pt x="339544" y="104182"/>
                </a:lnTo>
                <a:cubicBezTo>
                  <a:pt x="339929" y="100188"/>
                  <a:pt x="339160" y="96194"/>
                  <a:pt x="338823" y="92249"/>
                </a:cubicBezTo>
                <a:cubicBezTo>
                  <a:pt x="338294" y="84261"/>
                  <a:pt x="335794" y="76321"/>
                  <a:pt x="332620" y="68814"/>
                </a:cubicBezTo>
                <a:cubicBezTo>
                  <a:pt x="326176" y="53656"/>
                  <a:pt x="314876" y="41338"/>
                  <a:pt x="302278" y="32195"/>
                </a:cubicBezTo>
                <a:cubicBezTo>
                  <a:pt x="289583" y="23004"/>
                  <a:pt x="275590" y="16652"/>
                  <a:pt x="261549" y="12032"/>
                </a:cubicBezTo>
                <a:cubicBezTo>
                  <a:pt x="233323" y="2793"/>
                  <a:pt x="204856" y="-94"/>
                  <a:pt x="177976" y="2"/>
                </a:cubicBezTo>
                <a:cubicBezTo>
                  <a:pt x="164512" y="99"/>
                  <a:pt x="151385" y="1109"/>
                  <a:pt x="138690" y="3082"/>
                </a:cubicBezTo>
                <a:cubicBezTo>
                  <a:pt x="126284" y="5055"/>
                  <a:pt x="114262" y="6883"/>
                  <a:pt x="102577" y="8953"/>
                </a:cubicBezTo>
                <a:cubicBezTo>
                  <a:pt x="79304" y="13091"/>
                  <a:pt x="57184" y="18047"/>
                  <a:pt x="38768" y="27912"/>
                </a:cubicBezTo>
                <a:cubicBezTo>
                  <a:pt x="29631" y="32868"/>
                  <a:pt x="21505" y="39124"/>
                  <a:pt x="15494" y="46534"/>
                </a:cubicBezTo>
                <a:close/>
              </a:path>
            </a:pathLst>
          </a:custGeom>
          <a:solidFill>
            <a:srgbClr val="29C8C1"/>
          </a:solidFill>
          <a:ln w="0"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6E5767A0-C9F2-56DB-D63E-EF4C77D53A56}"/>
              </a:ext>
            </a:extLst>
          </p:cNvPr>
          <p:cNvSpPr/>
          <p:nvPr/>
        </p:nvSpPr>
        <p:spPr>
          <a:xfrm>
            <a:off x="8014308" y="3164048"/>
            <a:ext cx="645407" cy="430319"/>
          </a:xfrm>
          <a:custGeom>
            <a:avLst/>
            <a:gdLst>
              <a:gd name="connsiteX0" fmla="*/ 641186 w 645407"/>
              <a:gd name="connsiteY0" fmla="*/ 132527 h 430319"/>
              <a:gd name="connsiteX1" fmla="*/ 632482 w 645407"/>
              <a:gd name="connsiteY1" fmla="*/ 115299 h 430319"/>
              <a:gd name="connsiteX2" fmla="*/ 606612 w 645407"/>
              <a:gd name="connsiteY2" fmla="*/ 89507 h 430319"/>
              <a:gd name="connsiteX3" fmla="*/ 577088 w 645407"/>
              <a:gd name="connsiteY3" fmla="*/ 71125 h 430319"/>
              <a:gd name="connsiteX4" fmla="*/ 516884 w 645407"/>
              <a:gd name="connsiteY4" fmla="*/ 45862 h 430319"/>
              <a:gd name="connsiteX5" fmla="*/ 459325 w 645407"/>
              <a:gd name="connsiteY5" fmla="*/ 29020 h 430319"/>
              <a:gd name="connsiteX6" fmla="*/ 358345 w 645407"/>
              <a:gd name="connsiteY6" fmla="*/ 9243 h 430319"/>
              <a:gd name="connsiteX7" fmla="*/ 281119 w 645407"/>
              <a:gd name="connsiteY7" fmla="*/ 1062 h 430319"/>
              <a:gd name="connsiteX8" fmla="*/ 232024 w 645407"/>
              <a:gd name="connsiteY8" fmla="*/ 485 h 430319"/>
              <a:gd name="connsiteX9" fmla="*/ 219281 w 645407"/>
              <a:gd name="connsiteY9" fmla="*/ 1832 h 430319"/>
              <a:gd name="connsiteX10" fmla="*/ 215049 w 645407"/>
              <a:gd name="connsiteY10" fmla="*/ 2939 h 430319"/>
              <a:gd name="connsiteX11" fmla="*/ 232072 w 645407"/>
              <a:gd name="connsiteY11" fmla="*/ 2650 h 430319"/>
              <a:gd name="connsiteX12" fmla="*/ 280783 w 645407"/>
              <a:gd name="connsiteY12" fmla="*/ 5249 h 430319"/>
              <a:gd name="connsiteX13" fmla="*/ 357383 w 645407"/>
              <a:gd name="connsiteY13" fmla="*/ 15210 h 430319"/>
              <a:gd name="connsiteX14" fmla="*/ 457402 w 645407"/>
              <a:gd name="connsiteY14" fmla="*/ 36382 h 430319"/>
              <a:gd name="connsiteX15" fmla="*/ 514143 w 645407"/>
              <a:gd name="connsiteY15" fmla="*/ 53706 h 430319"/>
              <a:gd name="connsiteX16" fmla="*/ 572904 w 645407"/>
              <a:gd name="connsiteY16" fmla="*/ 79017 h 430319"/>
              <a:gd name="connsiteX17" fmla="*/ 601082 w 645407"/>
              <a:gd name="connsiteY17" fmla="*/ 96870 h 430319"/>
              <a:gd name="connsiteX18" fmla="*/ 624692 w 645407"/>
              <a:gd name="connsiteY18" fmla="*/ 120689 h 430319"/>
              <a:gd name="connsiteX19" fmla="*/ 632098 w 645407"/>
              <a:gd name="connsiteY19" fmla="*/ 135510 h 430319"/>
              <a:gd name="connsiteX20" fmla="*/ 635368 w 645407"/>
              <a:gd name="connsiteY20" fmla="*/ 152352 h 430319"/>
              <a:gd name="connsiteX21" fmla="*/ 631809 w 645407"/>
              <a:gd name="connsiteY21" fmla="*/ 187432 h 430319"/>
              <a:gd name="connsiteX22" fmla="*/ 594591 w 645407"/>
              <a:gd name="connsiteY22" fmla="*/ 251913 h 430319"/>
              <a:gd name="connsiteX23" fmla="*/ 536022 w 645407"/>
              <a:gd name="connsiteY23" fmla="*/ 305278 h 430319"/>
              <a:gd name="connsiteX24" fmla="*/ 388399 w 645407"/>
              <a:gd name="connsiteY24" fmla="*/ 384002 h 430319"/>
              <a:gd name="connsiteX25" fmla="*/ 225195 w 645407"/>
              <a:gd name="connsiteY25" fmla="*/ 419515 h 430319"/>
              <a:gd name="connsiteX26" fmla="*/ 146479 w 645407"/>
              <a:gd name="connsiteY26" fmla="*/ 413644 h 430319"/>
              <a:gd name="connsiteX27" fmla="*/ 78149 w 645407"/>
              <a:gd name="connsiteY27" fmla="*/ 383954 h 430319"/>
              <a:gd name="connsiteX28" fmla="*/ 52471 w 645407"/>
              <a:gd name="connsiteY28" fmla="*/ 358980 h 430319"/>
              <a:gd name="connsiteX29" fmla="*/ 42469 w 645407"/>
              <a:gd name="connsiteY29" fmla="*/ 344496 h 430319"/>
              <a:gd name="connsiteX30" fmla="*/ 33958 w 645407"/>
              <a:gd name="connsiteY30" fmla="*/ 329001 h 430319"/>
              <a:gd name="connsiteX31" fmla="*/ 11742 w 645407"/>
              <a:gd name="connsiteY31" fmla="*/ 265001 h 430319"/>
              <a:gd name="connsiteX32" fmla="*/ 10637 w 645407"/>
              <a:gd name="connsiteY32" fmla="*/ 202012 h 430319"/>
              <a:gd name="connsiteX33" fmla="*/ 27755 w 645407"/>
              <a:gd name="connsiteY33" fmla="*/ 146289 h 430319"/>
              <a:gd name="connsiteX34" fmla="*/ 89209 w 645407"/>
              <a:gd name="connsiteY34" fmla="*/ 66746 h 430319"/>
              <a:gd name="connsiteX35" fmla="*/ 122532 w 645407"/>
              <a:gd name="connsiteY35" fmla="*/ 41772 h 430319"/>
              <a:gd name="connsiteX36" fmla="*/ 153163 w 645407"/>
              <a:gd name="connsiteY36" fmla="*/ 24641 h 430319"/>
              <a:gd name="connsiteX37" fmla="*/ 198604 w 645407"/>
              <a:gd name="connsiteY37" fmla="*/ 7462 h 430319"/>
              <a:gd name="connsiteX38" fmla="*/ 215049 w 645407"/>
              <a:gd name="connsiteY38" fmla="*/ 2939 h 430319"/>
              <a:gd name="connsiteX39" fmla="*/ 210674 w 645407"/>
              <a:gd name="connsiteY39" fmla="*/ 3228 h 430319"/>
              <a:gd name="connsiteX40" fmla="*/ 198075 w 645407"/>
              <a:gd name="connsiteY40" fmla="*/ 5393 h 430319"/>
              <a:gd name="connsiteX41" fmla="*/ 151384 w 645407"/>
              <a:gd name="connsiteY41" fmla="*/ 20888 h 430319"/>
              <a:gd name="connsiteX42" fmla="*/ 119839 w 645407"/>
              <a:gd name="connsiteY42" fmla="*/ 37489 h 430319"/>
              <a:gd name="connsiteX43" fmla="*/ 85314 w 645407"/>
              <a:gd name="connsiteY43" fmla="*/ 62223 h 430319"/>
              <a:gd name="connsiteX44" fmla="*/ 20927 w 645407"/>
              <a:gd name="connsiteY44" fmla="*/ 143017 h 430319"/>
              <a:gd name="connsiteX45" fmla="*/ 2462 w 645407"/>
              <a:gd name="connsiteY45" fmla="*/ 200761 h 430319"/>
              <a:gd name="connsiteX46" fmla="*/ 2991 w 645407"/>
              <a:gd name="connsiteY46" fmla="*/ 266589 h 430319"/>
              <a:gd name="connsiteX47" fmla="*/ 25543 w 645407"/>
              <a:gd name="connsiteY47" fmla="*/ 333284 h 430319"/>
              <a:gd name="connsiteX48" fmla="*/ 34247 w 645407"/>
              <a:gd name="connsiteY48" fmla="*/ 349356 h 430319"/>
              <a:gd name="connsiteX49" fmla="*/ 44874 w 645407"/>
              <a:gd name="connsiteY49" fmla="*/ 364947 h 430319"/>
              <a:gd name="connsiteX50" fmla="*/ 72234 w 645407"/>
              <a:gd name="connsiteY50" fmla="*/ 391894 h 430319"/>
              <a:gd name="connsiteX51" fmla="*/ 144267 w 645407"/>
              <a:gd name="connsiteY51" fmla="*/ 423654 h 430319"/>
              <a:gd name="connsiteX52" fmla="*/ 225628 w 645407"/>
              <a:gd name="connsiteY52" fmla="*/ 430005 h 430319"/>
              <a:gd name="connsiteX53" fmla="*/ 392101 w 645407"/>
              <a:gd name="connsiteY53" fmla="*/ 394060 h 430319"/>
              <a:gd name="connsiteX54" fmla="*/ 542273 w 645407"/>
              <a:gd name="connsiteY54" fmla="*/ 313747 h 430319"/>
              <a:gd name="connsiteX55" fmla="*/ 602333 w 645407"/>
              <a:gd name="connsiteY55" fmla="*/ 258601 h 430319"/>
              <a:gd name="connsiteX56" fmla="*/ 641282 w 645407"/>
              <a:gd name="connsiteY56" fmla="*/ 190126 h 430319"/>
              <a:gd name="connsiteX57" fmla="*/ 644937 w 645407"/>
              <a:gd name="connsiteY57" fmla="*/ 151486 h 430319"/>
              <a:gd name="connsiteX58" fmla="*/ 641138 w 645407"/>
              <a:gd name="connsiteY58" fmla="*/ 132575 h 43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45407" h="430319">
                <a:moveTo>
                  <a:pt x="641186" y="132527"/>
                </a:moveTo>
                <a:cubicBezTo>
                  <a:pt x="639118" y="126271"/>
                  <a:pt x="636089" y="120545"/>
                  <a:pt x="632482" y="115299"/>
                </a:cubicBezTo>
                <a:cubicBezTo>
                  <a:pt x="625173" y="104954"/>
                  <a:pt x="616085" y="96629"/>
                  <a:pt x="606612" y="89507"/>
                </a:cubicBezTo>
                <a:cubicBezTo>
                  <a:pt x="597091" y="82433"/>
                  <a:pt x="587137" y="76418"/>
                  <a:pt x="577088" y="71125"/>
                </a:cubicBezTo>
                <a:cubicBezTo>
                  <a:pt x="556987" y="60587"/>
                  <a:pt x="536647" y="52647"/>
                  <a:pt x="516884" y="45862"/>
                </a:cubicBezTo>
                <a:cubicBezTo>
                  <a:pt x="497121" y="39125"/>
                  <a:pt x="477838" y="33688"/>
                  <a:pt x="459325" y="29020"/>
                </a:cubicBezTo>
                <a:cubicBezTo>
                  <a:pt x="422299" y="19733"/>
                  <a:pt x="388303" y="13622"/>
                  <a:pt x="358345" y="9243"/>
                </a:cubicBezTo>
                <a:cubicBezTo>
                  <a:pt x="328388" y="4864"/>
                  <a:pt x="302421" y="2313"/>
                  <a:pt x="281119" y="1062"/>
                </a:cubicBezTo>
                <a:cubicBezTo>
                  <a:pt x="259817" y="-237"/>
                  <a:pt x="243227" y="-237"/>
                  <a:pt x="232024" y="485"/>
                </a:cubicBezTo>
                <a:cubicBezTo>
                  <a:pt x="226397" y="822"/>
                  <a:pt x="222118" y="1351"/>
                  <a:pt x="219281" y="1832"/>
                </a:cubicBezTo>
                <a:cubicBezTo>
                  <a:pt x="216444" y="2313"/>
                  <a:pt x="215001" y="2746"/>
                  <a:pt x="215049" y="2939"/>
                </a:cubicBezTo>
                <a:cubicBezTo>
                  <a:pt x="215097" y="3324"/>
                  <a:pt x="220916" y="2602"/>
                  <a:pt x="232072" y="2650"/>
                </a:cubicBezTo>
                <a:cubicBezTo>
                  <a:pt x="243227" y="2650"/>
                  <a:pt x="259673" y="3324"/>
                  <a:pt x="280783" y="5249"/>
                </a:cubicBezTo>
                <a:cubicBezTo>
                  <a:pt x="301892" y="7173"/>
                  <a:pt x="327666" y="10301"/>
                  <a:pt x="357383" y="15210"/>
                </a:cubicBezTo>
                <a:cubicBezTo>
                  <a:pt x="387100" y="20118"/>
                  <a:pt x="420761" y="26758"/>
                  <a:pt x="457402" y="36382"/>
                </a:cubicBezTo>
                <a:cubicBezTo>
                  <a:pt x="475674" y="41243"/>
                  <a:pt x="494717" y="46825"/>
                  <a:pt x="514143" y="53706"/>
                </a:cubicBezTo>
                <a:cubicBezTo>
                  <a:pt x="533570" y="60587"/>
                  <a:pt x="553429" y="68623"/>
                  <a:pt x="572904" y="79017"/>
                </a:cubicBezTo>
                <a:cubicBezTo>
                  <a:pt x="582569" y="84214"/>
                  <a:pt x="592090" y="90085"/>
                  <a:pt x="601082" y="96870"/>
                </a:cubicBezTo>
                <a:cubicBezTo>
                  <a:pt x="609978" y="103702"/>
                  <a:pt x="618345" y="111498"/>
                  <a:pt x="624692" y="120689"/>
                </a:cubicBezTo>
                <a:cubicBezTo>
                  <a:pt x="627818" y="125309"/>
                  <a:pt x="630415" y="130313"/>
                  <a:pt x="632098" y="135510"/>
                </a:cubicBezTo>
                <a:cubicBezTo>
                  <a:pt x="633733" y="140803"/>
                  <a:pt x="634791" y="146626"/>
                  <a:pt x="635368" y="152352"/>
                </a:cubicBezTo>
                <a:cubicBezTo>
                  <a:pt x="636473" y="163901"/>
                  <a:pt x="635127" y="175835"/>
                  <a:pt x="631809" y="187432"/>
                </a:cubicBezTo>
                <a:cubicBezTo>
                  <a:pt x="625173" y="210674"/>
                  <a:pt x="611421" y="232424"/>
                  <a:pt x="594591" y="251913"/>
                </a:cubicBezTo>
                <a:cubicBezTo>
                  <a:pt x="577665" y="271449"/>
                  <a:pt x="557757" y="289206"/>
                  <a:pt x="536022" y="305278"/>
                </a:cubicBezTo>
                <a:cubicBezTo>
                  <a:pt x="492504" y="337470"/>
                  <a:pt x="442255" y="363792"/>
                  <a:pt x="388399" y="384002"/>
                </a:cubicBezTo>
                <a:cubicBezTo>
                  <a:pt x="334495" y="403972"/>
                  <a:pt x="279196" y="417013"/>
                  <a:pt x="225195" y="419515"/>
                </a:cubicBezTo>
                <a:cubicBezTo>
                  <a:pt x="198267" y="420622"/>
                  <a:pt x="171628" y="419275"/>
                  <a:pt x="146479" y="413644"/>
                </a:cubicBezTo>
                <a:cubicBezTo>
                  <a:pt x="121426" y="408063"/>
                  <a:pt x="97576" y="398679"/>
                  <a:pt x="78149" y="383954"/>
                </a:cubicBezTo>
                <a:cubicBezTo>
                  <a:pt x="68436" y="376688"/>
                  <a:pt x="59780" y="368267"/>
                  <a:pt x="52471" y="358980"/>
                </a:cubicBezTo>
                <a:cubicBezTo>
                  <a:pt x="48721" y="354409"/>
                  <a:pt x="45595" y="349404"/>
                  <a:pt x="42469" y="344496"/>
                </a:cubicBezTo>
                <a:cubicBezTo>
                  <a:pt x="39584" y="339299"/>
                  <a:pt x="36747" y="334102"/>
                  <a:pt x="33958" y="329001"/>
                </a:cubicBezTo>
                <a:cubicBezTo>
                  <a:pt x="23331" y="308165"/>
                  <a:pt x="15637" y="286559"/>
                  <a:pt x="11742" y="265001"/>
                </a:cubicBezTo>
                <a:cubicBezTo>
                  <a:pt x="7848" y="243443"/>
                  <a:pt x="7655" y="222078"/>
                  <a:pt x="10637" y="202012"/>
                </a:cubicBezTo>
                <a:cubicBezTo>
                  <a:pt x="13618" y="181898"/>
                  <a:pt x="19773" y="163131"/>
                  <a:pt x="27755" y="146289"/>
                </a:cubicBezTo>
                <a:cubicBezTo>
                  <a:pt x="43864" y="112460"/>
                  <a:pt x="66849" y="86427"/>
                  <a:pt x="89209" y="66746"/>
                </a:cubicBezTo>
                <a:cubicBezTo>
                  <a:pt x="100557" y="56978"/>
                  <a:pt x="111809" y="48797"/>
                  <a:pt x="122532" y="41772"/>
                </a:cubicBezTo>
                <a:cubicBezTo>
                  <a:pt x="133400" y="34939"/>
                  <a:pt x="143594" y="29164"/>
                  <a:pt x="153163" y="24641"/>
                </a:cubicBezTo>
                <a:cubicBezTo>
                  <a:pt x="172157" y="15402"/>
                  <a:pt x="187881" y="10398"/>
                  <a:pt x="198604" y="7462"/>
                </a:cubicBezTo>
                <a:cubicBezTo>
                  <a:pt x="209327" y="4479"/>
                  <a:pt x="215146" y="3420"/>
                  <a:pt x="215049" y="2939"/>
                </a:cubicBezTo>
                <a:cubicBezTo>
                  <a:pt x="215049" y="2746"/>
                  <a:pt x="213559" y="2843"/>
                  <a:pt x="210674" y="3228"/>
                </a:cubicBezTo>
                <a:cubicBezTo>
                  <a:pt x="207836" y="3613"/>
                  <a:pt x="203557" y="4094"/>
                  <a:pt x="198075" y="5393"/>
                </a:cubicBezTo>
                <a:cubicBezTo>
                  <a:pt x="187063" y="7703"/>
                  <a:pt x="170955" y="12082"/>
                  <a:pt x="151384" y="20888"/>
                </a:cubicBezTo>
                <a:cubicBezTo>
                  <a:pt x="141574" y="25171"/>
                  <a:pt x="131043" y="30752"/>
                  <a:pt x="119839" y="37489"/>
                </a:cubicBezTo>
                <a:cubicBezTo>
                  <a:pt x="108780" y="44370"/>
                  <a:pt x="97095" y="52503"/>
                  <a:pt x="85314" y="62223"/>
                </a:cubicBezTo>
                <a:cubicBezTo>
                  <a:pt x="62136" y="81904"/>
                  <a:pt x="38094" y="108178"/>
                  <a:pt x="20927" y="143017"/>
                </a:cubicBezTo>
                <a:cubicBezTo>
                  <a:pt x="12416" y="160388"/>
                  <a:pt x="5828" y="179829"/>
                  <a:pt x="2462" y="200761"/>
                </a:cubicBezTo>
                <a:cubicBezTo>
                  <a:pt x="-904" y="221693"/>
                  <a:pt x="-904" y="244069"/>
                  <a:pt x="2991" y="266589"/>
                </a:cubicBezTo>
                <a:cubicBezTo>
                  <a:pt x="6886" y="289109"/>
                  <a:pt x="14724" y="311630"/>
                  <a:pt x="25543" y="333284"/>
                </a:cubicBezTo>
                <a:cubicBezTo>
                  <a:pt x="28428" y="338625"/>
                  <a:pt x="31314" y="343967"/>
                  <a:pt x="34247" y="349356"/>
                </a:cubicBezTo>
                <a:cubicBezTo>
                  <a:pt x="37565" y="354649"/>
                  <a:pt x="40883" y="359991"/>
                  <a:pt x="44874" y="364947"/>
                </a:cubicBezTo>
                <a:cubicBezTo>
                  <a:pt x="52664" y="374956"/>
                  <a:pt x="61848" y="384051"/>
                  <a:pt x="72234" y="391894"/>
                </a:cubicBezTo>
                <a:cubicBezTo>
                  <a:pt x="92959" y="407726"/>
                  <a:pt x="118108" y="417735"/>
                  <a:pt x="144267" y="423654"/>
                </a:cubicBezTo>
                <a:cubicBezTo>
                  <a:pt x="170522" y="429572"/>
                  <a:pt x="197979" y="431064"/>
                  <a:pt x="225628" y="430005"/>
                </a:cubicBezTo>
                <a:cubicBezTo>
                  <a:pt x="281023" y="427599"/>
                  <a:pt x="337331" y="414366"/>
                  <a:pt x="392101" y="394060"/>
                </a:cubicBezTo>
                <a:cubicBezTo>
                  <a:pt x="446823" y="373560"/>
                  <a:pt x="497842" y="346757"/>
                  <a:pt x="542273" y="313747"/>
                </a:cubicBezTo>
                <a:cubicBezTo>
                  <a:pt x="564441" y="297242"/>
                  <a:pt x="584829" y="278956"/>
                  <a:pt x="602333" y="258601"/>
                </a:cubicBezTo>
                <a:cubicBezTo>
                  <a:pt x="619692" y="238295"/>
                  <a:pt x="634165" y="215389"/>
                  <a:pt x="641282" y="190126"/>
                </a:cubicBezTo>
                <a:cubicBezTo>
                  <a:pt x="644792" y="177519"/>
                  <a:pt x="646235" y="164334"/>
                  <a:pt x="644937" y="151486"/>
                </a:cubicBezTo>
                <a:cubicBezTo>
                  <a:pt x="644215" y="145038"/>
                  <a:pt x="643061" y="138830"/>
                  <a:pt x="641138" y="132575"/>
                </a:cubicBezTo>
                <a:close/>
              </a:path>
            </a:pathLst>
          </a:custGeom>
          <a:solidFill>
            <a:srgbClr val="29C8C1"/>
          </a:solidFill>
          <a:ln w="0"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D66659F2-90B3-A57F-8C09-8140D05A7B24}"/>
              </a:ext>
            </a:extLst>
          </p:cNvPr>
          <p:cNvSpPr/>
          <p:nvPr/>
        </p:nvSpPr>
        <p:spPr>
          <a:xfrm>
            <a:off x="9885057" y="3403095"/>
            <a:ext cx="89389" cy="199774"/>
          </a:xfrm>
          <a:custGeom>
            <a:avLst/>
            <a:gdLst>
              <a:gd name="connsiteX0" fmla="*/ 75871 w 89389"/>
              <a:gd name="connsiteY0" fmla="*/ 9882 h 199774"/>
              <a:gd name="connsiteX1" fmla="*/ 66494 w 89389"/>
              <a:gd name="connsiteY1" fmla="*/ 1509 h 199774"/>
              <a:gd name="connsiteX2" fmla="*/ 55867 w 89389"/>
              <a:gd name="connsiteY2" fmla="*/ 355 h 199774"/>
              <a:gd name="connsiteX3" fmla="*/ 43605 w 89389"/>
              <a:gd name="connsiteY3" fmla="*/ 6562 h 199774"/>
              <a:gd name="connsiteX4" fmla="*/ 40480 w 89389"/>
              <a:gd name="connsiteY4" fmla="*/ 10123 h 199774"/>
              <a:gd name="connsiteX5" fmla="*/ 44807 w 89389"/>
              <a:gd name="connsiteY5" fmla="*/ 8391 h 199774"/>
              <a:gd name="connsiteX6" fmla="*/ 56492 w 89389"/>
              <a:gd name="connsiteY6" fmla="*/ 4493 h 199774"/>
              <a:gd name="connsiteX7" fmla="*/ 70918 w 89389"/>
              <a:gd name="connsiteY7" fmla="*/ 13155 h 199774"/>
              <a:gd name="connsiteX8" fmla="*/ 78227 w 89389"/>
              <a:gd name="connsiteY8" fmla="*/ 38129 h 199774"/>
              <a:gd name="connsiteX9" fmla="*/ 78612 w 89389"/>
              <a:gd name="connsiteY9" fmla="*/ 108577 h 199774"/>
              <a:gd name="connsiteX10" fmla="*/ 70870 w 89389"/>
              <a:gd name="connsiteY10" fmla="*/ 148853 h 199774"/>
              <a:gd name="connsiteX11" fmla="*/ 62503 w 89389"/>
              <a:gd name="connsiteY11" fmla="*/ 168390 h 199774"/>
              <a:gd name="connsiteX12" fmla="*/ 49424 w 89389"/>
              <a:gd name="connsiteY12" fmla="*/ 184462 h 199774"/>
              <a:gd name="connsiteX13" fmla="*/ 32882 w 89389"/>
              <a:gd name="connsiteY13" fmla="*/ 188408 h 199774"/>
              <a:gd name="connsiteX14" fmla="*/ 19995 w 89389"/>
              <a:gd name="connsiteY14" fmla="*/ 175849 h 199774"/>
              <a:gd name="connsiteX15" fmla="*/ 13215 w 89389"/>
              <a:gd name="connsiteY15" fmla="*/ 156938 h 199774"/>
              <a:gd name="connsiteX16" fmla="*/ 10186 w 89389"/>
              <a:gd name="connsiteY16" fmla="*/ 137208 h 199774"/>
              <a:gd name="connsiteX17" fmla="*/ 12542 w 89389"/>
              <a:gd name="connsiteY17" fmla="*/ 67001 h 199774"/>
              <a:gd name="connsiteX18" fmla="*/ 29468 w 89389"/>
              <a:gd name="connsiteY18" fmla="*/ 23789 h 199774"/>
              <a:gd name="connsiteX19" fmla="*/ 40576 w 89389"/>
              <a:gd name="connsiteY19" fmla="*/ 10171 h 199774"/>
              <a:gd name="connsiteX20" fmla="*/ 26295 w 89389"/>
              <a:gd name="connsiteY20" fmla="*/ 21094 h 199774"/>
              <a:gd name="connsiteX21" fmla="*/ 5185 w 89389"/>
              <a:gd name="connsiteY21" fmla="*/ 65461 h 199774"/>
              <a:gd name="connsiteX22" fmla="*/ 424 w 89389"/>
              <a:gd name="connsiteY22" fmla="*/ 137882 h 199774"/>
              <a:gd name="connsiteX23" fmla="*/ 3309 w 89389"/>
              <a:gd name="connsiteY23" fmla="*/ 159103 h 199774"/>
              <a:gd name="connsiteX24" fmla="*/ 10859 w 89389"/>
              <a:gd name="connsiteY24" fmla="*/ 180757 h 199774"/>
              <a:gd name="connsiteX25" fmla="*/ 18168 w 89389"/>
              <a:gd name="connsiteY25" fmla="*/ 190910 h 199774"/>
              <a:gd name="connsiteX26" fmla="*/ 29516 w 89389"/>
              <a:gd name="connsiteY26" fmla="*/ 198369 h 199774"/>
              <a:gd name="connsiteX27" fmla="*/ 43749 w 89389"/>
              <a:gd name="connsiteY27" fmla="*/ 198995 h 199774"/>
              <a:gd name="connsiteX28" fmla="*/ 55963 w 89389"/>
              <a:gd name="connsiteY28" fmla="*/ 192883 h 199774"/>
              <a:gd name="connsiteX29" fmla="*/ 71832 w 89389"/>
              <a:gd name="connsiteY29" fmla="*/ 173539 h 199774"/>
              <a:gd name="connsiteX30" fmla="*/ 80920 w 89389"/>
              <a:gd name="connsiteY30" fmla="*/ 151981 h 199774"/>
              <a:gd name="connsiteX31" fmla="*/ 88518 w 89389"/>
              <a:gd name="connsiteY31" fmla="*/ 109299 h 199774"/>
              <a:gd name="connsiteX32" fmla="*/ 85777 w 89389"/>
              <a:gd name="connsiteY32" fmla="*/ 36878 h 199774"/>
              <a:gd name="connsiteX33" fmla="*/ 76015 w 89389"/>
              <a:gd name="connsiteY33" fmla="*/ 9930 h 19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9389" h="199774">
                <a:moveTo>
                  <a:pt x="75871" y="9882"/>
                </a:moveTo>
                <a:cubicBezTo>
                  <a:pt x="73419" y="6225"/>
                  <a:pt x="70197" y="3146"/>
                  <a:pt x="66494" y="1509"/>
                </a:cubicBezTo>
                <a:cubicBezTo>
                  <a:pt x="62792" y="-175"/>
                  <a:pt x="58897" y="-271"/>
                  <a:pt x="55867" y="355"/>
                </a:cubicBezTo>
                <a:cubicBezTo>
                  <a:pt x="49664" y="1702"/>
                  <a:pt x="45962" y="4637"/>
                  <a:pt x="43605" y="6562"/>
                </a:cubicBezTo>
                <a:cubicBezTo>
                  <a:pt x="41249" y="8583"/>
                  <a:pt x="40239" y="9834"/>
                  <a:pt x="40480" y="10123"/>
                </a:cubicBezTo>
                <a:cubicBezTo>
                  <a:pt x="40720" y="10412"/>
                  <a:pt x="42163" y="9738"/>
                  <a:pt x="44807" y="8391"/>
                </a:cubicBezTo>
                <a:cubicBezTo>
                  <a:pt x="47404" y="7091"/>
                  <a:pt x="51395" y="4974"/>
                  <a:pt x="56492" y="4493"/>
                </a:cubicBezTo>
                <a:cubicBezTo>
                  <a:pt x="61589" y="3867"/>
                  <a:pt x="67312" y="6514"/>
                  <a:pt x="70918" y="13155"/>
                </a:cubicBezTo>
                <a:cubicBezTo>
                  <a:pt x="74669" y="19555"/>
                  <a:pt x="76833" y="28361"/>
                  <a:pt x="78227" y="38129"/>
                </a:cubicBezTo>
                <a:cubicBezTo>
                  <a:pt x="80920" y="57810"/>
                  <a:pt x="80727" y="82063"/>
                  <a:pt x="78612" y="108577"/>
                </a:cubicBezTo>
                <a:cubicBezTo>
                  <a:pt x="77362" y="121666"/>
                  <a:pt x="75294" y="135428"/>
                  <a:pt x="70870" y="148853"/>
                </a:cubicBezTo>
                <a:cubicBezTo>
                  <a:pt x="68754" y="155590"/>
                  <a:pt x="66013" y="162231"/>
                  <a:pt x="62503" y="168390"/>
                </a:cubicBezTo>
                <a:cubicBezTo>
                  <a:pt x="58993" y="174501"/>
                  <a:pt x="54761" y="180420"/>
                  <a:pt x="49424" y="184462"/>
                </a:cubicBezTo>
                <a:cubicBezTo>
                  <a:pt x="44134" y="188553"/>
                  <a:pt x="38075" y="190381"/>
                  <a:pt x="32882" y="188408"/>
                </a:cubicBezTo>
                <a:cubicBezTo>
                  <a:pt x="27545" y="186724"/>
                  <a:pt x="23169" y="181527"/>
                  <a:pt x="19995" y="175849"/>
                </a:cubicBezTo>
                <a:cubicBezTo>
                  <a:pt x="16773" y="170026"/>
                  <a:pt x="14754" y="163482"/>
                  <a:pt x="13215" y="156938"/>
                </a:cubicBezTo>
                <a:cubicBezTo>
                  <a:pt x="11628" y="150393"/>
                  <a:pt x="10811" y="143753"/>
                  <a:pt x="10186" y="137208"/>
                </a:cubicBezTo>
                <a:cubicBezTo>
                  <a:pt x="8455" y="110838"/>
                  <a:pt x="9128" y="86586"/>
                  <a:pt x="12542" y="67001"/>
                </a:cubicBezTo>
                <a:cubicBezTo>
                  <a:pt x="15716" y="47272"/>
                  <a:pt x="22784" y="32595"/>
                  <a:pt x="29468" y="23789"/>
                </a:cubicBezTo>
                <a:cubicBezTo>
                  <a:pt x="36104" y="14887"/>
                  <a:pt x="41153" y="10893"/>
                  <a:pt x="40576" y="10171"/>
                </a:cubicBezTo>
                <a:cubicBezTo>
                  <a:pt x="40239" y="9738"/>
                  <a:pt x="34373" y="12529"/>
                  <a:pt x="26295" y="21094"/>
                </a:cubicBezTo>
                <a:cubicBezTo>
                  <a:pt x="18216" y="29564"/>
                  <a:pt x="9416" y="45010"/>
                  <a:pt x="5185" y="65461"/>
                </a:cubicBezTo>
                <a:cubicBezTo>
                  <a:pt x="665" y="85912"/>
                  <a:pt x="-826" y="110502"/>
                  <a:pt x="424" y="137882"/>
                </a:cubicBezTo>
                <a:cubicBezTo>
                  <a:pt x="953" y="144763"/>
                  <a:pt x="1674" y="151885"/>
                  <a:pt x="3309" y="159103"/>
                </a:cubicBezTo>
                <a:cubicBezTo>
                  <a:pt x="4896" y="166273"/>
                  <a:pt x="7060" y="173683"/>
                  <a:pt x="10859" y="180757"/>
                </a:cubicBezTo>
                <a:cubicBezTo>
                  <a:pt x="12878" y="184270"/>
                  <a:pt x="15042" y="187783"/>
                  <a:pt x="18168" y="190910"/>
                </a:cubicBezTo>
                <a:cubicBezTo>
                  <a:pt x="21101" y="194086"/>
                  <a:pt x="24996" y="196829"/>
                  <a:pt x="29516" y="198369"/>
                </a:cubicBezTo>
                <a:cubicBezTo>
                  <a:pt x="33988" y="199957"/>
                  <a:pt x="39182" y="200246"/>
                  <a:pt x="43749" y="198995"/>
                </a:cubicBezTo>
                <a:cubicBezTo>
                  <a:pt x="48318" y="197743"/>
                  <a:pt x="52549" y="195674"/>
                  <a:pt x="55963" y="192883"/>
                </a:cubicBezTo>
                <a:cubicBezTo>
                  <a:pt x="63080" y="187494"/>
                  <a:pt x="67840" y="180517"/>
                  <a:pt x="71832" y="173539"/>
                </a:cubicBezTo>
                <a:cubicBezTo>
                  <a:pt x="75775" y="166514"/>
                  <a:pt x="78660" y="159247"/>
                  <a:pt x="80920" y="151981"/>
                </a:cubicBezTo>
                <a:cubicBezTo>
                  <a:pt x="85536" y="137449"/>
                  <a:pt x="87508" y="123013"/>
                  <a:pt x="88518" y="109299"/>
                </a:cubicBezTo>
                <a:cubicBezTo>
                  <a:pt x="90152" y="82063"/>
                  <a:pt x="89624" y="57473"/>
                  <a:pt x="85777" y="36878"/>
                </a:cubicBezTo>
                <a:cubicBezTo>
                  <a:pt x="83757" y="26628"/>
                  <a:pt x="81016" y="17293"/>
                  <a:pt x="76015" y="9930"/>
                </a:cubicBezTo>
                <a:close/>
              </a:path>
            </a:pathLst>
          </a:custGeom>
          <a:solidFill>
            <a:srgbClr val="29C8C1"/>
          </a:solidFill>
          <a:ln w="0"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E82F240C-0479-3F7F-C095-4DEFCE18E42A}"/>
              </a:ext>
            </a:extLst>
          </p:cNvPr>
          <p:cNvSpPr/>
          <p:nvPr/>
        </p:nvSpPr>
        <p:spPr>
          <a:xfrm>
            <a:off x="9851404" y="3364037"/>
            <a:ext cx="132844" cy="289501"/>
          </a:xfrm>
          <a:custGeom>
            <a:avLst/>
            <a:gdLst>
              <a:gd name="connsiteX0" fmla="*/ 1474 w 132844"/>
              <a:gd name="connsiteY0" fmla="*/ 226167 h 289501"/>
              <a:gd name="connsiteX1" fmla="*/ 8976 w 132844"/>
              <a:gd name="connsiteY1" fmla="*/ 258263 h 289501"/>
              <a:gd name="connsiteX2" fmla="*/ 29027 w 132844"/>
              <a:gd name="connsiteY2" fmla="*/ 284440 h 289501"/>
              <a:gd name="connsiteX3" fmla="*/ 45088 w 132844"/>
              <a:gd name="connsiteY3" fmla="*/ 289493 h 289501"/>
              <a:gd name="connsiteX4" fmla="*/ 60908 w 132844"/>
              <a:gd name="connsiteY4" fmla="*/ 286991 h 289501"/>
              <a:gd name="connsiteX5" fmla="*/ 85192 w 132844"/>
              <a:gd name="connsiteY5" fmla="*/ 271159 h 289501"/>
              <a:gd name="connsiteX6" fmla="*/ 101829 w 132844"/>
              <a:gd name="connsiteY6" fmla="*/ 250708 h 289501"/>
              <a:gd name="connsiteX7" fmla="*/ 113418 w 132844"/>
              <a:gd name="connsiteY7" fmla="*/ 229631 h 289501"/>
              <a:gd name="connsiteX8" fmla="*/ 126305 w 132844"/>
              <a:gd name="connsiteY8" fmla="*/ 190702 h 289501"/>
              <a:gd name="connsiteX9" fmla="*/ 129431 w 132844"/>
              <a:gd name="connsiteY9" fmla="*/ 174245 h 289501"/>
              <a:gd name="connsiteX10" fmla="*/ 131066 w 132844"/>
              <a:gd name="connsiteY10" fmla="*/ 160290 h 289501"/>
              <a:gd name="connsiteX11" fmla="*/ 131691 w 132844"/>
              <a:gd name="connsiteY11" fmla="*/ 149078 h 289501"/>
              <a:gd name="connsiteX12" fmla="*/ 131691 w 132844"/>
              <a:gd name="connsiteY12" fmla="*/ 140850 h 289501"/>
              <a:gd name="connsiteX13" fmla="*/ 130969 w 132844"/>
              <a:gd name="connsiteY13" fmla="*/ 134065 h 289501"/>
              <a:gd name="connsiteX14" fmla="*/ 129575 w 132844"/>
              <a:gd name="connsiteY14" fmla="*/ 140705 h 289501"/>
              <a:gd name="connsiteX15" fmla="*/ 128613 w 132844"/>
              <a:gd name="connsiteY15" fmla="*/ 148790 h 289501"/>
              <a:gd name="connsiteX16" fmla="*/ 127026 w 132844"/>
              <a:gd name="connsiteY16" fmla="*/ 159713 h 289501"/>
              <a:gd name="connsiteX17" fmla="*/ 124526 w 132844"/>
              <a:gd name="connsiteY17" fmla="*/ 173283 h 289501"/>
              <a:gd name="connsiteX18" fmla="*/ 120583 w 132844"/>
              <a:gd name="connsiteY18" fmla="*/ 189210 h 289501"/>
              <a:gd name="connsiteX19" fmla="*/ 106638 w 132844"/>
              <a:gd name="connsiteY19" fmla="*/ 226359 h 289501"/>
              <a:gd name="connsiteX20" fmla="*/ 95049 w 132844"/>
              <a:gd name="connsiteY20" fmla="*/ 246089 h 289501"/>
              <a:gd name="connsiteX21" fmla="*/ 79181 w 132844"/>
              <a:gd name="connsiteY21" fmla="*/ 264663 h 289501"/>
              <a:gd name="connsiteX22" fmla="*/ 57927 w 132844"/>
              <a:gd name="connsiteY22" fmla="*/ 278040 h 289501"/>
              <a:gd name="connsiteX23" fmla="*/ 45761 w 132844"/>
              <a:gd name="connsiteY23" fmla="*/ 279821 h 289501"/>
              <a:gd name="connsiteX24" fmla="*/ 34269 w 132844"/>
              <a:gd name="connsiteY24" fmla="*/ 276019 h 289501"/>
              <a:gd name="connsiteX25" fmla="*/ 18545 w 132844"/>
              <a:gd name="connsiteY25" fmla="*/ 254461 h 289501"/>
              <a:gd name="connsiteX26" fmla="*/ 11957 w 132844"/>
              <a:gd name="connsiteY26" fmla="*/ 224964 h 289501"/>
              <a:gd name="connsiteX27" fmla="*/ 10851 w 132844"/>
              <a:gd name="connsiteY27" fmla="*/ 209132 h 289501"/>
              <a:gd name="connsiteX28" fmla="*/ 10755 w 132844"/>
              <a:gd name="connsiteY28" fmla="*/ 192771 h 289501"/>
              <a:gd name="connsiteX29" fmla="*/ 12438 w 132844"/>
              <a:gd name="connsiteY29" fmla="*/ 159424 h 289501"/>
              <a:gd name="connsiteX30" fmla="*/ 24411 w 132844"/>
              <a:gd name="connsiteY30" fmla="*/ 94991 h 289501"/>
              <a:gd name="connsiteX31" fmla="*/ 48743 w 132844"/>
              <a:gd name="connsiteY31" fmla="*/ 39701 h 289501"/>
              <a:gd name="connsiteX32" fmla="*/ 66342 w 132844"/>
              <a:gd name="connsiteY32" fmla="*/ 18576 h 289501"/>
              <a:gd name="connsiteX33" fmla="*/ 87452 w 132844"/>
              <a:gd name="connsiteY33" fmla="*/ 8856 h 289501"/>
              <a:gd name="connsiteX34" fmla="*/ 105244 w 132844"/>
              <a:gd name="connsiteY34" fmla="*/ 20020 h 289501"/>
              <a:gd name="connsiteX35" fmla="*/ 115678 w 132844"/>
              <a:gd name="connsiteY35" fmla="*/ 39653 h 289501"/>
              <a:gd name="connsiteX36" fmla="*/ 125343 w 132844"/>
              <a:gd name="connsiteY36" fmla="*/ 78053 h 289501"/>
              <a:gd name="connsiteX37" fmla="*/ 128709 w 132844"/>
              <a:gd name="connsiteY37" fmla="*/ 108128 h 289501"/>
              <a:gd name="connsiteX38" fmla="*/ 130921 w 132844"/>
              <a:gd name="connsiteY38" fmla="*/ 134065 h 289501"/>
              <a:gd name="connsiteX39" fmla="*/ 132845 w 132844"/>
              <a:gd name="connsiteY39" fmla="*/ 107984 h 289501"/>
              <a:gd name="connsiteX40" fmla="*/ 131210 w 132844"/>
              <a:gd name="connsiteY40" fmla="*/ 77283 h 289501"/>
              <a:gd name="connsiteX41" fmla="*/ 122747 w 132844"/>
              <a:gd name="connsiteY41" fmla="*/ 37103 h 289501"/>
              <a:gd name="connsiteX42" fmla="*/ 111783 w 132844"/>
              <a:gd name="connsiteY42" fmla="*/ 15112 h 289501"/>
              <a:gd name="connsiteX43" fmla="*/ 102118 w 132844"/>
              <a:gd name="connsiteY43" fmla="*/ 5295 h 289501"/>
              <a:gd name="connsiteX44" fmla="*/ 87885 w 132844"/>
              <a:gd name="connsiteY44" fmla="*/ 50 h 289501"/>
              <a:gd name="connsiteX45" fmla="*/ 72737 w 132844"/>
              <a:gd name="connsiteY45" fmla="*/ 3226 h 289501"/>
              <a:gd name="connsiteX46" fmla="*/ 60139 w 132844"/>
              <a:gd name="connsiteY46" fmla="*/ 11455 h 289501"/>
              <a:gd name="connsiteX47" fmla="*/ 40472 w 132844"/>
              <a:gd name="connsiteY47" fmla="*/ 34263 h 289501"/>
              <a:gd name="connsiteX48" fmla="*/ 14313 w 132844"/>
              <a:gd name="connsiteY48" fmla="*/ 91959 h 289501"/>
              <a:gd name="connsiteX49" fmla="*/ 1715 w 132844"/>
              <a:gd name="connsiteY49" fmla="*/ 158414 h 289501"/>
              <a:gd name="connsiteX50" fmla="*/ 32 w 132844"/>
              <a:gd name="connsiteY50" fmla="*/ 192627 h 289501"/>
              <a:gd name="connsiteX51" fmla="*/ 176 w 132844"/>
              <a:gd name="connsiteY51" fmla="*/ 209373 h 289501"/>
              <a:gd name="connsiteX52" fmla="*/ 1426 w 132844"/>
              <a:gd name="connsiteY52" fmla="*/ 226022 h 28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2844" h="289501">
                <a:moveTo>
                  <a:pt x="1474" y="226167"/>
                </a:moveTo>
                <a:cubicBezTo>
                  <a:pt x="2580" y="237186"/>
                  <a:pt x="4888" y="248061"/>
                  <a:pt x="8976" y="258263"/>
                </a:cubicBezTo>
                <a:cubicBezTo>
                  <a:pt x="13063" y="268320"/>
                  <a:pt x="19122" y="278425"/>
                  <a:pt x="29027" y="284440"/>
                </a:cubicBezTo>
                <a:cubicBezTo>
                  <a:pt x="33884" y="287520"/>
                  <a:pt x="39558" y="289060"/>
                  <a:pt x="45088" y="289493"/>
                </a:cubicBezTo>
                <a:cubicBezTo>
                  <a:pt x="50618" y="289589"/>
                  <a:pt x="56100" y="288867"/>
                  <a:pt x="60908" y="286991"/>
                </a:cubicBezTo>
                <a:cubicBezTo>
                  <a:pt x="70670" y="283478"/>
                  <a:pt x="78556" y="277511"/>
                  <a:pt x="85192" y="271159"/>
                </a:cubicBezTo>
                <a:cubicBezTo>
                  <a:pt x="91827" y="264759"/>
                  <a:pt x="97309" y="257782"/>
                  <a:pt x="101829" y="250708"/>
                </a:cubicBezTo>
                <a:cubicBezTo>
                  <a:pt x="106494" y="243731"/>
                  <a:pt x="110100" y="236513"/>
                  <a:pt x="113418" y="229631"/>
                </a:cubicBezTo>
                <a:cubicBezTo>
                  <a:pt x="119766" y="215725"/>
                  <a:pt x="123708" y="202443"/>
                  <a:pt x="126305" y="190702"/>
                </a:cubicBezTo>
                <a:cubicBezTo>
                  <a:pt x="127796" y="184880"/>
                  <a:pt x="128469" y="179298"/>
                  <a:pt x="129431" y="174245"/>
                </a:cubicBezTo>
                <a:cubicBezTo>
                  <a:pt x="130056" y="169144"/>
                  <a:pt x="130633" y="164477"/>
                  <a:pt x="131066" y="160290"/>
                </a:cubicBezTo>
                <a:cubicBezTo>
                  <a:pt x="131306" y="156056"/>
                  <a:pt x="131498" y="152350"/>
                  <a:pt x="131691" y="149078"/>
                </a:cubicBezTo>
                <a:cubicBezTo>
                  <a:pt x="131787" y="145854"/>
                  <a:pt x="131691" y="143063"/>
                  <a:pt x="131691" y="140850"/>
                </a:cubicBezTo>
                <a:cubicBezTo>
                  <a:pt x="131546" y="136423"/>
                  <a:pt x="131306" y="134113"/>
                  <a:pt x="130969" y="134065"/>
                </a:cubicBezTo>
                <a:cubicBezTo>
                  <a:pt x="130585" y="134065"/>
                  <a:pt x="130104" y="136374"/>
                  <a:pt x="129575" y="140705"/>
                </a:cubicBezTo>
                <a:cubicBezTo>
                  <a:pt x="129286" y="142871"/>
                  <a:pt x="128998" y="145565"/>
                  <a:pt x="128613" y="148790"/>
                </a:cubicBezTo>
                <a:cubicBezTo>
                  <a:pt x="128132" y="151965"/>
                  <a:pt x="127603" y="155623"/>
                  <a:pt x="127026" y="159713"/>
                </a:cubicBezTo>
                <a:cubicBezTo>
                  <a:pt x="126257" y="163803"/>
                  <a:pt x="125440" y="168326"/>
                  <a:pt x="124526" y="173283"/>
                </a:cubicBezTo>
                <a:cubicBezTo>
                  <a:pt x="123276" y="178191"/>
                  <a:pt x="122362" y="183580"/>
                  <a:pt x="120583" y="189210"/>
                </a:cubicBezTo>
                <a:cubicBezTo>
                  <a:pt x="117457" y="200519"/>
                  <a:pt x="113178" y="213222"/>
                  <a:pt x="106638" y="226359"/>
                </a:cubicBezTo>
                <a:cubicBezTo>
                  <a:pt x="103272" y="232855"/>
                  <a:pt x="99618" y="239640"/>
                  <a:pt x="95049" y="246089"/>
                </a:cubicBezTo>
                <a:cubicBezTo>
                  <a:pt x="90625" y="252633"/>
                  <a:pt x="85336" y="259033"/>
                  <a:pt x="79181" y="264663"/>
                </a:cubicBezTo>
                <a:cubicBezTo>
                  <a:pt x="73074" y="270293"/>
                  <a:pt x="65909" y="275346"/>
                  <a:pt x="57927" y="278040"/>
                </a:cubicBezTo>
                <a:cubicBezTo>
                  <a:pt x="53984" y="279532"/>
                  <a:pt x="49800" y="279917"/>
                  <a:pt x="45761" y="279821"/>
                </a:cubicBezTo>
                <a:cubicBezTo>
                  <a:pt x="41722" y="279388"/>
                  <a:pt x="37779" y="278281"/>
                  <a:pt x="34269" y="276019"/>
                </a:cubicBezTo>
                <a:cubicBezTo>
                  <a:pt x="27104" y="271640"/>
                  <a:pt x="22007" y="263364"/>
                  <a:pt x="18545" y="254461"/>
                </a:cubicBezTo>
                <a:cubicBezTo>
                  <a:pt x="15035" y="245415"/>
                  <a:pt x="12967" y="235358"/>
                  <a:pt x="11957" y="224964"/>
                </a:cubicBezTo>
                <a:cubicBezTo>
                  <a:pt x="11188" y="219815"/>
                  <a:pt x="11236" y="214474"/>
                  <a:pt x="10851" y="209132"/>
                </a:cubicBezTo>
                <a:cubicBezTo>
                  <a:pt x="10803" y="203743"/>
                  <a:pt x="10659" y="198257"/>
                  <a:pt x="10755" y="192771"/>
                </a:cubicBezTo>
                <a:cubicBezTo>
                  <a:pt x="10851" y="181800"/>
                  <a:pt x="11380" y="170636"/>
                  <a:pt x="12438" y="159424"/>
                </a:cubicBezTo>
                <a:cubicBezTo>
                  <a:pt x="14506" y="137000"/>
                  <a:pt x="18401" y="115298"/>
                  <a:pt x="24411" y="94991"/>
                </a:cubicBezTo>
                <a:cubicBezTo>
                  <a:pt x="30422" y="74733"/>
                  <a:pt x="38308" y="55773"/>
                  <a:pt x="48743" y="39701"/>
                </a:cubicBezTo>
                <a:cubicBezTo>
                  <a:pt x="53936" y="31665"/>
                  <a:pt x="59802" y="24399"/>
                  <a:pt x="66342" y="18576"/>
                </a:cubicBezTo>
                <a:cubicBezTo>
                  <a:pt x="72882" y="12850"/>
                  <a:pt x="80431" y="8567"/>
                  <a:pt x="87452" y="8856"/>
                </a:cubicBezTo>
                <a:cubicBezTo>
                  <a:pt x="94520" y="9145"/>
                  <a:pt x="100772" y="14005"/>
                  <a:pt x="105244" y="20020"/>
                </a:cubicBezTo>
                <a:cubicBezTo>
                  <a:pt x="109812" y="26035"/>
                  <a:pt x="113130" y="32916"/>
                  <a:pt x="115678" y="39653"/>
                </a:cubicBezTo>
                <a:cubicBezTo>
                  <a:pt x="120823" y="53271"/>
                  <a:pt x="123468" y="66456"/>
                  <a:pt x="125343" y="78053"/>
                </a:cubicBezTo>
                <a:cubicBezTo>
                  <a:pt x="127171" y="89698"/>
                  <a:pt x="128084" y="99803"/>
                  <a:pt x="128709" y="108128"/>
                </a:cubicBezTo>
                <a:cubicBezTo>
                  <a:pt x="129960" y="124729"/>
                  <a:pt x="130104" y="134017"/>
                  <a:pt x="130921" y="134065"/>
                </a:cubicBezTo>
                <a:cubicBezTo>
                  <a:pt x="131546" y="134065"/>
                  <a:pt x="132845" y="124826"/>
                  <a:pt x="132845" y="107984"/>
                </a:cubicBezTo>
                <a:cubicBezTo>
                  <a:pt x="132845" y="99563"/>
                  <a:pt x="132508" y="89217"/>
                  <a:pt x="131210" y="77283"/>
                </a:cubicBezTo>
                <a:cubicBezTo>
                  <a:pt x="129863" y="65349"/>
                  <a:pt x="127700" y="51683"/>
                  <a:pt x="122747" y="37103"/>
                </a:cubicBezTo>
                <a:cubicBezTo>
                  <a:pt x="120198" y="29836"/>
                  <a:pt x="116928" y="22282"/>
                  <a:pt x="111783" y="15112"/>
                </a:cubicBezTo>
                <a:cubicBezTo>
                  <a:pt x="109187" y="11551"/>
                  <a:pt x="106061" y="8086"/>
                  <a:pt x="102118" y="5295"/>
                </a:cubicBezTo>
                <a:cubicBezTo>
                  <a:pt x="98175" y="2504"/>
                  <a:pt x="93174" y="435"/>
                  <a:pt x="87885" y="50"/>
                </a:cubicBezTo>
                <a:cubicBezTo>
                  <a:pt x="82595" y="-287"/>
                  <a:pt x="77306" y="1109"/>
                  <a:pt x="72737" y="3226"/>
                </a:cubicBezTo>
                <a:cubicBezTo>
                  <a:pt x="68121" y="5391"/>
                  <a:pt x="63938" y="8230"/>
                  <a:pt x="60139" y="11455"/>
                </a:cubicBezTo>
                <a:cubicBezTo>
                  <a:pt x="52541" y="17951"/>
                  <a:pt x="46098" y="25794"/>
                  <a:pt x="40472" y="34263"/>
                </a:cubicBezTo>
                <a:cubicBezTo>
                  <a:pt x="29124" y="51298"/>
                  <a:pt x="20660" y="70979"/>
                  <a:pt x="14313" y="91959"/>
                </a:cubicBezTo>
                <a:cubicBezTo>
                  <a:pt x="7966" y="112940"/>
                  <a:pt x="3830" y="135364"/>
                  <a:pt x="1715" y="158414"/>
                </a:cubicBezTo>
                <a:cubicBezTo>
                  <a:pt x="657" y="169962"/>
                  <a:pt x="80" y="181367"/>
                  <a:pt x="32" y="192627"/>
                </a:cubicBezTo>
                <a:cubicBezTo>
                  <a:pt x="-65" y="198257"/>
                  <a:pt x="80" y="203839"/>
                  <a:pt x="176" y="209373"/>
                </a:cubicBezTo>
                <a:cubicBezTo>
                  <a:pt x="609" y="214955"/>
                  <a:pt x="609" y="220537"/>
                  <a:pt x="1426" y="226022"/>
                </a:cubicBezTo>
                <a:close/>
              </a:path>
            </a:pathLst>
          </a:custGeom>
          <a:solidFill>
            <a:srgbClr val="29C8C1"/>
          </a:solidFill>
          <a:ln w="0"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101D7C83-7F00-8988-0A9F-66E764511350}"/>
              </a:ext>
            </a:extLst>
          </p:cNvPr>
          <p:cNvSpPr/>
          <p:nvPr/>
        </p:nvSpPr>
        <p:spPr>
          <a:xfrm>
            <a:off x="6109919" y="3415246"/>
            <a:ext cx="175233" cy="419322"/>
          </a:xfrm>
          <a:custGeom>
            <a:avLst/>
            <a:gdLst>
              <a:gd name="connsiteX0" fmla="*/ 135562 w 175233"/>
              <a:gd name="connsiteY0" fmla="*/ 38200 h 419322"/>
              <a:gd name="connsiteX1" fmla="*/ 105220 w 175233"/>
              <a:gd name="connsiteY1" fmla="*/ 5286 h 419322"/>
              <a:gd name="connsiteX2" fmla="*/ 89400 w 175233"/>
              <a:gd name="connsiteY2" fmla="*/ 185 h 419322"/>
              <a:gd name="connsiteX3" fmla="*/ 77330 w 175233"/>
              <a:gd name="connsiteY3" fmla="*/ 667 h 419322"/>
              <a:gd name="connsiteX4" fmla="*/ 73147 w 175233"/>
              <a:gd name="connsiteY4" fmla="*/ 1629 h 419322"/>
              <a:gd name="connsiteX5" fmla="*/ 70262 w 175233"/>
              <a:gd name="connsiteY5" fmla="*/ 2688 h 419322"/>
              <a:gd name="connsiteX6" fmla="*/ 68050 w 175233"/>
              <a:gd name="connsiteY6" fmla="*/ 3843 h 419322"/>
              <a:gd name="connsiteX7" fmla="*/ 70550 w 175233"/>
              <a:gd name="connsiteY7" fmla="*/ 3698 h 419322"/>
              <a:gd name="connsiteX8" fmla="*/ 73484 w 175233"/>
              <a:gd name="connsiteY8" fmla="*/ 3169 h 419322"/>
              <a:gd name="connsiteX9" fmla="*/ 77571 w 175233"/>
              <a:gd name="connsiteY9" fmla="*/ 2784 h 419322"/>
              <a:gd name="connsiteX10" fmla="*/ 88919 w 175233"/>
              <a:gd name="connsiteY10" fmla="*/ 3313 h 419322"/>
              <a:gd name="connsiteX11" fmla="*/ 103152 w 175233"/>
              <a:gd name="connsiteY11" fmla="*/ 8895 h 419322"/>
              <a:gd name="connsiteX12" fmla="*/ 130321 w 175233"/>
              <a:gd name="connsiteY12" fmla="*/ 41087 h 419322"/>
              <a:gd name="connsiteX13" fmla="*/ 149796 w 175233"/>
              <a:gd name="connsiteY13" fmla="*/ 94982 h 419322"/>
              <a:gd name="connsiteX14" fmla="*/ 165375 w 175233"/>
              <a:gd name="connsiteY14" fmla="*/ 244299 h 419322"/>
              <a:gd name="connsiteX15" fmla="*/ 158211 w 175233"/>
              <a:gd name="connsiteY15" fmla="*/ 332648 h 419322"/>
              <a:gd name="connsiteX16" fmla="*/ 146766 w 175233"/>
              <a:gd name="connsiteY16" fmla="*/ 377496 h 419322"/>
              <a:gd name="connsiteX17" fmla="*/ 136428 w 175233"/>
              <a:gd name="connsiteY17" fmla="*/ 397706 h 419322"/>
              <a:gd name="connsiteX18" fmla="*/ 120415 w 175233"/>
              <a:gd name="connsiteY18" fmla="*/ 408581 h 419322"/>
              <a:gd name="connsiteX19" fmla="*/ 100219 w 175233"/>
              <a:gd name="connsiteY19" fmla="*/ 403432 h 419322"/>
              <a:gd name="connsiteX20" fmla="*/ 83005 w 175233"/>
              <a:gd name="connsiteY20" fmla="*/ 388900 h 419322"/>
              <a:gd name="connsiteX21" fmla="*/ 57375 w 175233"/>
              <a:gd name="connsiteY21" fmla="*/ 350885 h 419322"/>
              <a:gd name="connsiteX22" fmla="*/ 26023 w 175233"/>
              <a:gd name="connsiteY22" fmla="*/ 268407 h 419322"/>
              <a:gd name="connsiteX23" fmla="*/ 8712 w 175233"/>
              <a:gd name="connsiteY23" fmla="*/ 119860 h 419322"/>
              <a:gd name="connsiteX24" fmla="*/ 18762 w 175233"/>
              <a:gd name="connsiteY24" fmla="*/ 63512 h 419322"/>
              <a:gd name="connsiteX25" fmla="*/ 38862 w 175233"/>
              <a:gd name="connsiteY25" fmla="*/ 25785 h 419322"/>
              <a:gd name="connsiteX26" fmla="*/ 59683 w 175233"/>
              <a:gd name="connsiteY26" fmla="*/ 8558 h 419322"/>
              <a:gd name="connsiteX27" fmla="*/ 66030 w 175233"/>
              <a:gd name="connsiteY27" fmla="*/ 5238 h 419322"/>
              <a:gd name="connsiteX28" fmla="*/ 68146 w 175233"/>
              <a:gd name="connsiteY28" fmla="*/ 3843 h 419322"/>
              <a:gd name="connsiteX29" fmla="*/ 65646 w 175233"/>
              <a:gd name="connsiteY29" fmla="*/ 4227 h 419322"/>
              <a:gd name="connsiteX30" fmla="*/ 58721 w 175233"/>
              <a:gd name="connsiteY30" fmla="*/ 6682 h 419322"/>
              <a:gd name="connsiteX31" fmla="*/ 35736 w 175233"/>
              <a:gd name="connsiteY31" fmla="*/ 23042 h 419322"/>
              <a:gd name="connsiteX32" fmla="*/ 13088 w 175233"/>
              <a:gd name="connsiteY32" fmla="*/ 61539 h 419322"/>
              <a:gd name="connsiteX33" fmla="*/ 1162 w 175233"/>
              <a:gd name="connsiteY33" fmla="*/ 119283 h 419322"/>
              <a:gd name="connsiteX34" fmla="*/ 16502 w 175233"/>
              <a:gd name="connsiteY34" fmla="*/ 270909 h 419322"/>
              <a:gd name="connsiteX35" fmla="*/ 48094 w 175233"/>
              <a:gd name="connsiteY35" fmla="*/ 355697 h 419322"/>
              <a:gd name="connsiteX36" fmla="*/ 75167 w 175233"/>
              <a:gd name="connsiteY36" fmla="*/ 396022 h 419322"/>
              <a:gd name="connsiteX37" fmla="*/ 94834 w 175233"/>
              <a:gd name="connsiteY37" fmla="*/ 412575 h 419322"/>
              <a:gd name="connsiteX38" fmla="*/ 121425 w 175233"/>
              <a:gd name="connsiteY38" fmla="*/ 419119 h 419322"/>
              <a:gd name="connsiteX39" fmla="*/ 135418 w 175233"/>
              <a:gd name="connsiteY39" fmla="*/ 413875 h 419322"/>
              <a:gd name="connsiteX40" fmla="*/ 145035 w 175233"/>
              <a:gd name="connsiteY40" fmla="*/ 403914 h 419322"/>
              <a:gd name="connsiteX41" fmla="*/ 156720 w 175233"/>
              <a:gd name="connsiteY41" fmla="*/ 381153 h 419322"/>
              <a:gd name="connsiteX42" fmla="*/ 168549 w 175233"/>
              <a:gd name="connsiteY42" fmla="*/ 334284 h 419322"/>
              <a:gd name="connsiteX43" fmla="*/ 175233 w 175233"/>
              <a:gd name="connsiteY43" fmla="*/ 244251 h 419322"/>
              <a:gd name="connsiteX44" fmla="*/ 157105 w 175233"/>
              <a:gd name="connsiteY44" fmla="*/ 92961 h 419322"/>
              <a:gd name="connsiteX45" fmla="*/ 135562 w 175233"/>
              <a:gd name="connsiteY45" fmla="*/ 38104 h 41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5233" h="419322">
                <a:moveTo>
                  <a:pt x="135562" y="38200"/>
                </a:moveTo>
                <a:cubicBezTo>
                  <a:pt x="126955" y="23042"/>
                  <a:pt x="116424" y="11253"/>
                  <a:pt x="105220" y="5286"/>
                </a:cubicBezTo>
                <a:cubicBezTo>
                  <a:pt x="99642" y="2303"/>
                  <a:pt x="94160" y="811"/>
                  <a:pt x="89400" y="185"/>
                </a:cubicBezTo>
                <a:cubicBezTo>
                  <a:pt x="84591" y="-200"/>
                  <a:pt x="80504" y="41"/>
                  <a:pt x="77330" y="667"/>
                </a:cubicBezTo>
                <a:cubicBezTo>
                  <a:pt x="75744" y="1003"/>
                  <a:pt x="74349" y="1292"/>
                  <a:pt x="73147" y="1629"/>
                </a:cubicBezTo>
                <a:cubicBezTo>
                  <a:pt x="71993" y="2062"/>
                  <a:pt x="71031" y="2399"/>
                  <a:pt x="70262" y="2688"/>
                </a:cubicBezTo>
                <a:cubicBezTo>
                  <a:pt x="68723" y="3313"/>
                  <a:pt x="67954" y="3698"/>
                  <a:pt x="68050" y="3843"/>
                </a:cubicBezTo>
                <a:cubicBezTo>
                  <a:pt x="68098" y="4035"/>
                  <a:pt x="68963" y="3987"/>
                  <a:pt x="70550" y="3698"/>
                </a:cubicBezTo>
                <a:cubicBezTo>
                  <a:pt x="71368" y="3554"/>
                  <a:pt x="72329" y="3361"/>
                  <a:pt x="73484" y="3169"/>
                </a:cubicBezTo>
                <a:cubicBezTo>
                  <a:pt x="74686" y="3073"/>
                  <a:pt x="76032" y="2928"/>
                  <a:pt x="77571" y="2784"/>
                </a:cubicBezTo>
                <a:cubicBezTo>
                  <a:pt x="80648" y="2495"/>
                  <a:pt x="84495" y="2640"/>
                  <a:pt x="88919" y="3313"/>
                </a:cubicBezTo>
                <a:cubicBezTo>
                  <a:pt x="93295" y="4227"/>
                  <a:pt x="98200" y="5864"/>
                  <a:pt x="103152" y="8895"/>
                </a:cubicBezTo>
                <a:cubicBezTo>
                  <a:pt x="113106" y="14862"/>
                  <a:pt x="122531" y="26267"/>
                  <a:pt x="130321" y="41087"/>
                </a:cubicBezTo>
                <a:cubicBezTo>
                  <a:pt x="138159" y="55957"/>
                  <a:pt x="144650" y="74242"/>
                  <a:pt x="149796" y="94982"/>
                </a:cubicBezTo>
                <a:cubicBezTo>
                  <a:pt x="160038" y="136462"/>
                  <a:pt x="165760" y="187613"/>
                  <a:pt x="165375" y="244299"/>
                </a:cubicBezTo>
                <a:cubicBezTo>
                  <a:pt x="165087" y="272594"/>
                  <a:pt x="163308" y="302428"/>
                  <a:pt x="158211" y="332648"/>
                </a:cubicBezTo>
                <a:cubicBezTo>
                  <a:pt x="155566" y="347709"/>
                  <a:pt x="152248" y="363012"/>
                  <a:pt x="146766" y="377496"/>
                </a:cubicBezTo>
                <a:cubicBezTo>
                  <a:pt x="143977" y="384666"/>
                  <a:pt x="140804" y="391787"/>
                  <a:pt x="136428" y="397706"/>
                </a:cubicBezTo>
                <a:cubicBezTo>
                  <a:pt x="132052" y="403673"/>
                  <a:pt x="126763" y="408341"/>
                  <a:pt x="120415" y="408581"/>
                </a:cubicBezTo>
                <a:cubicBezTo>
                  <a:pt x="113539" y="409351"/>
                  <a:pt x="106567" y="407041"/>
                  <a:pt x="100219" y="403432"/>
                </a:cubicBezTo>
                <a:cubicBezTo>
                  <a:pt x="93872" y="399679"/>
                  <a:pt x="88150" y="394530"/>
                  <a:pt x="83005" y="388900"/>
                </a:cubicBezTo>
                <a:cubicBezTo>
                  <a:pt x="72666" y="377544"/>
                  <a:pt x="64443" y="364311"/>
                  <a:pt x="57375" y="350885"/>
                </a:cubicBezTo>
                <a:cubicBezTo>
                  <a:pt x="43238" y="323842"/>
                  <a:pt x="33476" y="295643"/>
                  <a:pt x="26023" y="268407"/>
                </a:cubicBezTo>
                <a:cubicBezTo>
                  <a:pt x="11309" y="213839"/>
                  <a:pt x="6163" y="162447"/>
                  <a:pt x="8712" y="119860"/>
                </a:cubicBezTo>
                <a:cubicBezTo>
                  <a:pt x="10010" y="98591"/>
                  <a:pt x="13424" y="79487"/>
                  <a:pt x="18762" y="63512"/>
                </a:cubicBezTo>
                <a:cubicBezTo>
                  <a:pt x="23955" y="47488"/>
                  <a:pt x="31312" y="34832"/>
                  <a:pt x="38862" y="25785"/>
                </a:cubicBezTo>
                <a:cubicBezTo>
                  <a:pt x="46555" y="16883"/>
                  <a:pt x="54297" y="11590"/>
                  <a:pt x="59683" y="8558"/>
                </a:cubicBezTo>
                <a:cubicBezTo>
                  <a:pt x="62376" y="6922"/>
                  <a:pt x="64588" y="5960"/>
                  <a:pt x="66030" y="5238"/>
                </a:cubicBezTo>
                <a:cubicBezTo>
                  <a:pt x="67473" y="4468"/>
                  <a:pt x="68194" y="4035"/>
                  <a:pt x="68146" y="3843"/>
                </a:cubicBezTo>
                <a:cubicBezTo>
                  <a:pt x="68098" y="3650"/>
                  <a:pt x="67232" y="3843"/>
                  <a:pt x="65646" y="4227"/>
                </a:cubicBezTo>
                <a:cubicBezTo>
                  <a:pt x="64059" y="4660"/>
                  <a:pt x="61654" y="5286"/>
                  <a:pt x="58721" y="6682"/>
                </a:cubicBezTo>
                <a:cubicBezTo>
                  <a:pt x="52807" y="9184"/>
                  <a:pt x="44344" y="14092"/>
                  <a:pt x="35736" y="23042"/>
                </a:cubicBezTo>
                <a:cubicBezTo>
                  <a:pt x="27273" y="32089"/>
                  <a:pt x="19002" y="45082"/>
                  <a:pt x="13088" y="61539"/>
                </a:cubicBezTo>
                <a:cubicBezTo>
                  <a:pt x="7029" y="77948"/>
                  <a:pt x="2990" y="97533"/>
                  <a:pt x="1162" y="119283"/>
                </a:cubicBezTo>
                <a:cubicBezTo>
                  <a:pt x="-2396" y="162832"/>
                  <a:pt x="2076" y="215138"/>
                  <a:pt x="16502" y="270909"/>
                </a:cubicBezTo>
                <a:cubicBezTo>
                  <a:pt x="23859" y="298723"/>
                  <a:pt x="33572" y="327595"/>
                  <a:pt x="48094" y="355697"/>
                </a:cubicBezTo>
                <a:cubicBezTo>
                  <a:pt x="55403" y="369700"/>
                  <a:pt x="63914" y="383607"/>
                  <a:pt x="75167" y="396022"/>
                </a:cubicBezTo>
                <a:cubicBezTo>
                  <a:pt x="80841" y="402181"/>
                  <a:pt x="87188" y="408052"/>
                  <a:pt x="94834" y="412575"/>
                </a:cubicBezTo>
                <a:cubicBezTo>
                  <a:pt x="102479" y="416954"/>
                  <a:pt x="111760" y="420178"/>
                  <a:pt x="121425" y="419119"/>
                </a:cubicBezTo>
                <a:cubicBezTo>
                  <a:pt x="126234" y="418831"/>
                  <a:pt x="131667" y="416762"/>
                  <a:pt x="135418" y="413875"/>
                </a:cubicBezTo>
                <a:cubicBezTo>
                  <a:pt x="139265" y="410939"/>
                  <a:pt x="142487" y="407571"/>
                  <a:pt x="145035" y="403914"/>
                </a:cubicBezTo>
                <a:cubicBezTo>
                  <a:pt x="150325" y="396696"/>
                  <a:pt x="153739" y="388900"/>
                  <a:pt x="156720" y="381153"/>
                </a:cubicBezTo>
                <a:cubicBezTo>
                  <a:pt x="162538" y="365562"/>
                  <a:pt x="165904" y="349827"/>
                  <a:pt x="168549" y="334284"/>
                </a:cubicBezTo>
                <a:cubicBezTo>
                  <a:pt x="173598" y="303198"/>
                  <a:pt x="175185" y="272979"/>
                  <a:pt x="175233" y="244251"/>
                </a:cubicBezTo>
                <a:cubicBezTo>
                  <a:pt x="175089" y="186795"/>
                  <a:pt x="168501" y="135066"/>
                  <a:pt x="157105" y="92961"/>
                </a:cubicBezTo>
                <a:cubicBezTo>
                  <a:pt x="151383" y="71933"/>
                  <a:pt x="144218" y="53310"/>
                  <a:pt x="135562" y="38104"/>
                </a:cubicBezTo>
                <a:close/>
              </a:path>
            </a:pathLst>
          </a:custGeom>
          <a:solidFill>
            <a:srgbClr val="29C8C1"/>
          </a:solidFill>
          <a:ln w="0"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A872E620-E7E9-EA81-880B-2B0E1887E914}"/>
              </a:ext>
            </a:extLst>
          </p:cNvPr>
          <p:cNvSpPr/>
          <p:nvPr/>
        </p:nvSpPr>
        <p:spPr>
          <a:xfrm>
            <a:off x="5734075" y="3515214"/>
            <a:ext cx="179345" cy="548132"/>
          </a:xfrm>
          <a:custGeom>
            <a:avLst/>
            <a:gdLst>
              <a:gd name="connsiteX0" fmla="*/ 120901 w 179345"/>
              <a:gd name="connsiteY0" fmla="*/ 544642 h 548132"/>
              <a:gd name="connsiteX1" fmla="*/ 134942 w 179345"/>
              <a:gd name="connsiteY1" fmla="*/ 535692 h 548132"/>
              <a:gd name="connsiteX2" fmla="*/ 169852 w 179345"/>
              <a:gd name="connsiteY2" fmla="*/ 483818 h 548132"/>
              <a:gd name="connsiteX3" fmla="*/ 178508 w 179345"/>
              <a:gd name="connsiteY3" fmla="*/ 423764 h 548132"/>
              <a:gd name="connsiteX4" fmla="*/ 167640 w 179345"/>
              <a:gd name="connsiteY4" fmla="*/ 367608 h 548132"/>
              <a:gd name="connsiteX5" fmla="*/ 154705 w 179345"/>
              <a:gd name="connsiteY5" fmla="*/ 314724 h 548132"/>
              <a:gd name="connsiteX6" fmla="*/ 128979 w 179345"/>
              <a:gd name="connsiteY6" fmla="*/ 217569 h 548132"/>
              <a:gd name="connsiteX7" fmla="*/ 105850 w 179345"/>
              <a:gd name="connsiteY7" fmla="*/ 133070 h 548132"/>
              <a:gd name="connsiteX8" fmla="*/ 82961 w 179345"/>
              <a:gd name="connsiteY8" fmla="*/ 64307 h 548132"/>
              <a:gd name="connsiteX9" fmla="*/ 57620 w 179345"/>
              <a:gd name="connsiteY9" fmla="*/ 15465 h 548132"/>
              <a:gd name="connsiteX10" fmla="*/ 42232 w 179345"/>
              <a:gd name="connsiteY10" fmla="*/ 1895 h 548132"/>
              <a:gd name="connsiteX11" fmla="*/ 27085 w 179345"/>
              <a:gd name="connsiteY11" fmla="*/ 1317 h 548132"/>
              <a:gd name="connsiteX12" fmla="*/ 24441 w 179345"/>
              <a:gd name="connsiteY12" fmla="*/ 2569 h 548132"/>
              <a:gd name="connsiteX13" fmla="*/ 22373 w 179345"/>
              <a:gd name="connsiteY13" fmla="*/ 3964 h 548132"/>
              <a:gd name="connsiteX14" fmla="*/ 19440 w 179345"/>
              <a:gd name="connsiteY14" fmla="*/ 6466 h 548132"/>
              <a:gd name="connsiteX15" fmla="*/ 17468 w 179345"/>
              <a:gd name="connsiteY15" fmla="*/ 8872 h 548132"/>
              <a:gd name="connsiteX16" fmla="*/ 20113 w 179345"/>
              <a:gd name="connsiteY16" fmla="*/ 7284 h 548132"/>
              <a:gd name="connsiteX17" fmla="*/ 23239 w 179345"/>
              <a:gd name="connsiteY17" fmla="*/ 5311 h 548132"/>
              <a:gd name="connsiteX18" fmla="*/ 25306 w 179345"/>
              <a:gd name="connsiteY18" fmla="*/ 4205 h 548132"/>
              <a:gd name="connsiteX19" fmla="*/ 27807 w 179345"/>
              <a:gd name="connsiteY19" fmla="*/ 3290 h 548132"/>
              <a:gd name="connsiteX20" fmla="*/ 40838 w 179345"/>
              <a:gd name="connsiteY20" fmla="*/ 4686 h 548132"/>
              <a:gd name="connsiteX21" fmla="*/ 54302 w 179345"/>
              <a:gd name="connsiteY21" fmla="*/ 17919 h 548132"/>
              <a:gd name="connsiteX22" fmla="*/ 77383 w 179345"/>
              <a:gd name="connsiteY22" fmla="*/ 66424 h 548132"/>
              <a:gd name="connsiteX23" fmla="*/ 98589 w 179345"/>
              <a:gd name="connsiteY23" fmla="*/ 135140 h 548132"/>
              <a:gd name="connsiteX24" fmla="*/ 120420 w 179345"/>
              <a:gd name="connsiteY24" fmla="*/ 219831 h 548132"/>
              <a:gd name="connsiteX25" fmla="*/ 145184 w 179345"/>
              <a:gd name="connsiteY25" fmla="*/ 317130 h 548132"/>
              <a:gd name="connsiteX26" fmla="*/ 157686 w 179345"/>
              <a:gd name="connsiteY26" fmla="*/ 369870 h 548132"/>
              <a:gd name="connsiteX27" fmla="*/ 168073 w 179345"/>
              <a:gd name="connsiteY27" fmla="*/ 425015 h 548132"/>
              <a:gd name="connsiteX28" fmla="*/ 159946 w 179345"/>
              <a:gd name="connsiteY28" fmla="*/ 479968 h 548132"/>
              <a:gd name="connsiteX29" fmla="*/ 128114 w 179345"/>
              <a:gd name="connsiteY29" fmla="*/ 527463 h 548132"/>
              <a:gd name="connsiteX30" fmla="*/ 104215 w 179345"/>
              <a:gd name="connsiteY30" fmla="*/ 537520 h 548132"/>
              <a:gd name="connsiteX31" fmla="*/ 92771 w 179345"/>
              <a:gd name="connsiteY31" fmla="*/ 533767 h 548132"/>
              <a:gd name="connsiteX32" fmla="*/ 83923 w 179345"/>
              <a:gd name="connsiteY32" fmla="*/ 524624 h 548132"/>
              <a:gd name="connsiteX33" fmla="*/ 71372 w 179345"/>
              <a:gd name="connsiteY33" fmla="*/ 499169 h 548132"/>
              <a:gd name="connsiteX34" fmla="*/ 61996 w 179345"/>
              <a:gd name="connsiteY34" fmla="*/ 472029 h 548132"/>
              <a:gd name="connsiteX35" fmla="*/ 36414 w 179345"/>
              <a:gd name="connsiteY35" fmla="*/ 364625 h 548132"/>
              <a:gd name="connsiteX36" fmla="*/ 10400 w 179345"/>
              <a:gd name="connsiteY36" fmla="*/ 178977 h 548132"/>
              <a:gd name="connsiteX37" fmla="*/ 6793 w 179345"/>
              <a:gd name="connsiteY37" fmla="*/ 52902 h 548132"/>
              <a:gd name="connsiteX38" fmla="*/ 12467 w 179345"/>
              <a:gd name="connsiteY38" fmla="*/ 19411 h 548132"/>
              <a:gd name="connsiteX39" fmla="*/ 17516 w 179345"/>
              <a:gd name="connsiteY39" fmla="*/ 8728 h 548132"/>
              <a:gd name="connsiteX40" fmla="*/ 15112 w 179345"/>
              <a:gd name="connsiteY40" fmla="*/ 10749 h 548132"/>
              <a:gd name="connsiteX41" fmla="*/ 10448 w 179345"/>
              <a:gd name="connsiteY41" fmla="*/ 18641 h 548132"/>
              <a:gd name="connsiteX42" fmla="*/ 2658 w 179345"/>
              <a:gd name="connsiteY42" fmla="*/ 52517 h 548132"/>
              <a:gd name="connsiteX43" fmla="*/ 2898 w 179345"/>
              <a:gd name="connsiteY43" fmla="*/ 179603 h 548132"/>
              <a:gd name="connsiteX44" fmla="*/ 26749 w 179345"/>
              <a:gd name="connsiteY44" fmla="*/ 366453 h 548132"/>
              <a:gd name="connsiteX45" fmla="*/ 51994 w 179345"/>
              <a:gd name="connsiteY45" fmla="*/ 475109 h 548132"/>
              <a:gd name="connsiteX46" fmla="*/ 61563 w 179345"/>
              <a:gd name="connsiteY46" fmla="*/ 503018 h 548132"/>
              <a:gd name="connsiteX47" fmla="*/ 75171 w 179345"/>
              <a:gd name="connsiteY47" fmla="*/ 530543 h 548132"/>
              <a:gd name="connsiteX48" fmla="*/ 103878 w 179345"/>
              <a:gd name="connsiteY48" fmla="*/ 548107 h 548132"/>
              <a:gd name="connsiteX49" fmla="*/ 120949 w 179345"/>
              <a:gd name="connsiteY49" fmla="*/ 544546 h 54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79345" h="548132">
                <a:moveTo>
                  <a:pt x="120901" y="544642"/>
                </a:moveTo>
                <a:cubicBezTo>
                  <a:pt x="126094" y="542284"/>
                  <a:pt x="130710" y="539157"/>
                  <a:pt x="134942" y="535692"/>
                </a:cubicBezTo>
                <a:cubicBezTo>
                  <a:pt x="151580" y="521400"/>
                  <a:pt x="162255" y="502826"/>
                  <a:pt x="169852" y="483818"/>
                </a:cubicBezTo>
                <a:cubicBezTo>
                  <a:pt x="177161" y="464714"/>
                  <a:pt x="181200" y="443975"/>
                  <a:pt x="178508" y="423764"/>
                </a:cubicBezTo>
                <a:cubicBezTo>
                  <a:pt x="175959" y="404179"/>
                  <a:pt x="171728" y="385749"/>
                  <a:pt x="167640" y="367608"/>
                </a:cubicBezTo>
                <a:cubicBezTo>
                  <a:pt x="163457" y="349515"/>
                  <a:pt x="159081" y="331903"/>
                  <a:pt x="154705" y="314724"/>
                </a:cubicBezTo>
                <a:cubicBezTo>
                  <a:pt x="145905" y="280414"/>
                  <a:pt x="137154" y="247933"/>
                  <a:pt x="128979" y="217569"/>
                </a:cubicBezTo>
                <a:cubicBezTo>
                  <a:pt x="120757" y="187254"/>
                  <a:pt x="113448" y="158815"/>
                  <a:pt x="105850" y="133070"/>
                </a:cubicBezTo>
                <a:cubicBezTo>
                  <a:pt x="98300" y="107326"/>
                  <a:pt x="90799" y="84180"/>
                  <a:pt x="82961" y="64307"/>
                </a:cubicBezTo>
                <a:cubicBezTo>
                  <a:pt x="75075" y="44433"/>
                  <a:pt x="66997" y="27639"/>
                  <a:pt x="57620" y="15465"/>
                </a:cubicBezTo>
                <a:cubicBezTo>
                  <a:pt x="52907" y="9450"/>
                  <a:pt x="47858" y="4445"/>
                  <a:pt x="42232" y="1895"/>
                </a:cubicBezTo>
                <a:cubicBezTo>
                  <a:pt x="36606" y="-800"/>
                  <a:pt x="30836" y="-271"/>
                  <a:pt x="27085" y="1317"/>
                </a:cubicBezTo>
                <a:cubicBezTo>
                  <a:pt x="26172" y="1750"/>
                  <a:pt x="25258" y="2184"/>
                  <a:pt x="24441" y="2569"/>
                </a:cubicBezTo>
                <a:cubicBezTo>
                  <a:pt x="23671" y="3002"/>
                  <a:pt x="22998" y="3531"/>
                  <a:pt x="22373" y="3964"/>
                </a:cubicBezTo>
                <a:cubicBezTo>
                  <a:pt x="21075" y="4830"/>
                  <a:pt x="20113" y="5648"/>
                  <a:pt x="19440" y="6466"/>
                </a:cubicBezTo>
                <a:cubicBezTo>
                  <a:pt x="17997" y="7958"/>
                  <a:pt x="17324" y="8728"/>
                  <a:pt x="17468" y="8872"/>
                </a:cubicBezTo>
                <a:cubicBezTo>
                  <a:pt x="17612" y="9017"/>
                  <a:pt x="18526" y="8439"/>
                  <a:pt x="20113" y="7284"/>
                </a:cubicBezTo>
                <a:cubicBezTo>
                  <a:pt x="20882" y="6659"/>
                  <a:pt x="21940" y="5985"/>
                  <a:pt x="23239" y="5311"/>
                </a:cubicBezTo>
                <a:cubicBezTo>
                  <a:pt x="23864" y="4975"/>
                  <a:pt x="24537" y="4541"/>
                  <a:pt x="25306" y="4205"/>
                </a:cubicBezTo>
                <a:cubicBezTo>
                  <a:pt x="26076" y="3916"/>
                  <a:pt x="26893" y="3627"/>
                  <a:pt x="27807" y="3290"/>
                </a:cubicBezTo>
                <a:cubicBezTo>
                  <a:pt x="31317" y="2184"/>
                  <a:pt x="36077" y="2087"/>
                  <a:pt x="40838" y="4686"/>
                </a:cubicBezTo>
                <a:cubicBezTo>
                  <a:pt x="45598" y="7188"/>
                  <a:pt x="50118" y="12000"/>
                  <a:pt x="54302" y="17919"/>
                </a:cubicBezTo>
                <a:cubicBezTo>
                  <a:pt x="62717" y="29901"/>
                  <a:pt x="70122" y="46598"/>
                  <a:pt x="77383" y="66424"/>
                </a:cubicBezTo>
                <a:cubicBezTo>
                  <a:pt x="84596" y="86298"/>
                  <a:pt x="91568" y="109395"/>
                  <a:pt x="98589" y="135140"/>
                </a:cubicBezTo>
                <a:cubicBezTo>
                  <a:pt x="105658" y="160884"/>
                  <a:pt x="112582" y="189323"/>
                  <a:pt x="120420" y="219831"/>
                </a:cubicBezTo>
                <a:cubicBezTo>
                  <a:pt x="128258" y="250291"/>
                  <a:pt x="136673" y="282820"/>
                  <a:pt x="145184" y="317130"/>
                </a:cubicBezTo>
                <a:cubicBezTo>
                  <a:pt x="149416" y="334261"/>
                  <a:pt x="153647" y="351873"/>
                  <a:pt x="157686" y="369870"/>
                </a:cubicBezTo>
                <a:cubicBezTo>
                  <a:pt x="161629" y="387867"/>
                  <a:pt x="165717" y="406393"/>
                  <a:pt x="168073" y="425015"/>
                </a:cubicBezTo>
                <a:cubicBezTo>
                  <a:pt x="170477" y="443157"/>
                  <a:pt x="166775" y="462116"/>
                  <a:pt x="159946" y="479968"/>
                </a:cubicBezTo>
                <a:cubicBezTo>
                  <a:pt x="152926" y="497677"/>
                  <a:pt x="142636" y="515096"/>
                  <a:pt x="128114" y="527463"/>
                </a:cubicBezTo>
                <a:cubicBezTo>
                  <a:pt x="120901" y="533430"/>
                  <a:pt x="112390" y="537905"/>
                  <a:pt x="104215" y="537520"/>
                </a:cubicBezTo>
                <a:cubicBezTo>
                  <a:pt x="100176" y="537328"/>
                  <a:pt x="96233" y="536125"/>
                  <a:pt x="92771" y="533767"/>
                </a:cubicBezTo>
                <a:cubicBezTo>
                  <a:pt x="89164" y="531409"/>
                  <a:pt x="86471" y="528570"/>
                  <a:pt x="83923" y="524624"/>
                </a:cubicBezTo>
                <a:cubicBezTo>
                  <a:pt x="78826" y="516973"/>
                  <a:pt x="74883" y="508071"/>
                  <a:pt x="71372" y="499169"/>
                </a:cubicBezTo>
                <a:cubicBezTo>
                  <a:pt x="67862" y="490218"/>
                  <a:pt x="64833" y="481124"/>
                  <a:pt x="61996" y="472029"/>
                </a:cubicBezTo>
                <a:cubicBezTo>
                  <a:pt x="50936" y="435506"/>
                  <a:pt x="43098" y="399271"/>
                  <a:pt x="36414" y="364625"/>
                </a:cubicBezTo>
                <a:cubicBezTo>
                  <a:pt x="23239" y="295331"/>
                  <a:pt x="15208" y="232150"/>
                  <a:pt x="10400" y="178977"/>
                </a:cubicBezTo>
                <a:cubicBezTo>
                  <a:pt x="5687" y="125804"/>
                  <a:pt x="4533" y="82544"/>
                  <a:pt x="6793" y="52902"/>
                </a:cubicBezTo>
                <a:cubicBezTo>
                  <a:pt x="7899" y="38081"/>
                  <a:pt x="9919" y="26677"/>
                  <a:pt x="12467" y="19411"/>
                </a:cubicBezTo>
                <a:cubicBezTo>
                  <a:pt x="14824" y="11952"/>
                  <a:pt x="17901" y="9065"/>
                  <a:pt x="17516" y="8728"/>
                </a:cubicBezTo>
                <a:cubicBezTo>
                  <a:pt x="17372" y="8584"/>
                  <a:pt x="16555" y="9257"/>
                  <a:pt x="15112" y="10749"/>
                </a:cubicBezTo>
                <a:cubicBezTo>
                  <a:pt x="13814" y="12337"/>
                  <a:pt x="11986" y="14887"/>
                  <a:pt x="10448" y="18641"/>
                </a:cubicBezTo>
                <a:cubicBezTo>
                  <a:pt x="7130" y="26003"/>
                  <a:pt x="4437" y="37552"/>
                  <a:pt x="2658" y="52517"/>
                </a:cubicBezTo>
                <a:cubicBezTo>
                  <a:pt x="-949" y="82496"/>
                  <a:pt x="-901" y="126093"/>
                  <a:pt x="2898" y="179603"/>
                </a:cubicBezTo>
                <a:cubicBezTo>
                  <a:pt x="6745" y="233112"/>
                  <a:pt x="14054" y="296631"/>
                  <a:pt x="26749" y="366453"/>
                </a:cubicBezTo>
                <a:cubicBezTo>
                  <a:pt x="33192" y="401340"/>
                  <a:pt x="40838" y="437863"/>
                  <a:pt x="51994" y="475109"/>
                </a:cubicBezTo>
                <a:cubicBezTo>
                  <a:pt x="54831" y="484396"/>
                  <a:pt x="57908" y="493731"/>
                  <a:pt x="61563" y="503018"/>
                </a:cubicBezTo>
                <a:cubicBezTo>
                  <a:pt x="65266" y="512305"/>
                  <a:pt x="69257" y="521593"/>
                  <a:pt x="75171" y="530543"/>
                </a:cubicBezTo>
                <a:cubicBezTo>
                  <a:pt x="80845" y="539686"/>
                  <a:pt x="91568" y="547818"/>
                  <a:pt x="103878" y="548107"/>
                </a:cubicBezTo>
                <a:cubicBezTo>
                  <a:pt x="109937" y="548347"/>
                  <a:pt x="115756" y="546856"/>
                  <a:pt x="120949" y="544546"/>
                </a:cubicBezTo>
                <a:close/>
              </a:path>
            </a:pathLst>
          </a:custGeom>
          <a:solidFill>
            <a:srgbClr val="29C8C1"/>
          </a:solidFill>
          <a:ln w="0"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49F549F6-9877-8CE5-A2FB-CAC8AE4BAAC3}"/>
              </a:ext>
            </a:extLst>
          </p:cNvPr>
          <p:cNvSpPr/>
          <p:nvPr/>
        </p:nvSpPr>
        <p:spPr>
          <a:xfrm>
            <a:off x="5711351" y="3429338"/>
            <a:ext cx="346315" cy="755917"/>
          </a:xfrm>
          <a:custGeom>
            <a:avLst/>
            <a:gdLst>
              <a:gd name="connsiteX0" fmla="*/ 17784 w 346315"/>
              <a:gd name="connsiteY0" fmla="*/ 343241 h 755917"/>
              <a:gd name="connsiteX1" fmla="*/ 40000 w 346315"/>
              <a:gd name="connsiteY1" fmla="*/ 476582 h 755917"/>
              <a:gd name="connsiteX2" fmla="*/ 83662 w 346315"/>
              <a:gd name="connsiteY2" fmla="*/ 667427 h 755917"/>
              <a:gd name="connsiteX3" fmla="*/ 101598 w 346315"/>
              <a:gd name="connsiteY3" fmla="*/ 717664 h 755917"/>
              <a:gd name="connsiteX4" fmla="*/ 105252 w 346315"/>
              <a:gd name="connsiteY4" fmla="*/ 724882 h 755917"/>
              <a:gd name="connsiteX5" fmla="*/ 108330 w 346315"/>
              <a:gd name="connsiteY5" fmla="*/ 729887 h 755917"/>
              <a:gd name="connsiteX6" fmla="*/ 111407 w 346315"/>
              <a:gd name="connsiteY6" fmla="*/ 733544 h 755917"/>
              <a:gd name="connsiteX7" fmla="*/ 103617 w 346315"/>
              <a:gd name="connsiteY7" fmla="*/ 716846 h 755917"/>
              <a:gd name="connsiteX8" fmla="*/ 87701 w 346315"/>
              <a:gd name="connsiteY8" fmla="*/ 666368 h 755917"/>
              <a:gd name="connsiteX9" fmla="*/ 47453 w 346315"/>
              <a:gd name="connsiteY9" fmla="*/ 475331 h 755917"/>
              <a:gd name="connsiteX10" fmla="*/ 26536 w 346315"/>
              <a:gd name="connsiteY10" fmla="*/ 342086 h 755917"/>
              <a:gd name="connsiteX11" fmla="*/ 10668 w 346315"/>
              <a:gd name="connsiteY11" fmla="*/ 188391 h 755917"/>
              <a:gd name="connsiteX12" fmla="*/ 12543 w 346315"/>
              <a:gd name="connsiteY12" fmla="*/ 105383 h 755917"/>
              <a:gd name="connsiteX13" fmla="*/ 19611 w 346315"/>
              <a:gd name="connsiteY13" fmla="*/ 63519 h 755917"/>
              <a:gd name="connsiteX14" fmla="*/ 22593 w 346315"/>
              <a:gd name="connsiteY14" fmla="*/ 53317 h 755917"/>
              <a:gd name="connsiteX15" fmla="*/ 24276 w 346315"/>
              <a:gd name="connsiteY15" fmla="*/ 48265 h 755917"/>
              <a:gd name="connsiteX16" fmla="*/ 26295 w 346315"/>
              <a:gd name="connsiteY16" fmla="*/ 43405 h 755917"/>
              <a:gd name="connsiteX17" fmla="*/ 30815 w 346315"/>
              <a:gd name="connsiteY17" fmla="*/ 33973 h 755917"/>
              <a:gd name="connsiteX18" fmla="*/ 36634 w 346315"/>
              <a:gd name="connsiteY18" fmla="*/ 25600 h 755917"/>
              <a:gd name="connsiteX19" fmla="*/ 43654 w 346315"/>
              <a:gd name="connsiteY19" fmla="*/ 18671 h 755917"/>
              <a:gd name="connsiteX20" fmla="*/ 47694 w 346315"/>
              <a:gd name="connsiteY20" fmla="*/ 16169 h 755917"/>
              <a:gd name="connsiteX21" fmla="*/ 52358 w 346315"/>
              <a:gd name="connsiteY21" fmla="*/ 14099 h 755917"/>
              <a:gd name="connsiteX22" fmla="*/ 62023 w 346315"/>
              <a:gd name="connsiteY22" fmla="*/ 11068 h 755917"/>
              <a:gd name="connsiteX23" fmla="*/ 71640 w 346315"/>
              <a:gd name="connsiteY23" fmla="*/ 10875 h 755917"/>
              <a:gd name="connsiteX24" fmla="*/ 88855 w 346315"/>
              <a:gd name="connsiteY24" fmla="*/ 19296 h 755917"/>
              <a:gd name="connsiteX25" fmla="*/ 101790 w 346315"/>
              <a:gd name="connsiteY25" fmla="*/ 36138 h 755917"/>
              <a:gd name="connsiteX26" fmla="*/ 119293 w 346315"/>
              <a:gd name="connsiteY26" fmla="*/ 77714 h 755917"/>
              <a:gd name="connsiteX27" fmla="*/ 131892 w 346315"/>
              <a:gd name="connsiteY27" fmla="*/ 122562 h 755917"/>
              <a:gd name="connsiteX28" fmla="*/ 153050 w 346315"/>
              <a:gd name="connsiteY28" fmla="*/ 213317 h 755917"/>
              <a:gd name="connsiteX29" fmla="*/ 175217 w 346315"/>
              <a:gd name="connsiteY29" fmla="*/ 301425 h 755917"/>
              <a:gd name="connsiteX30" fmla="*/ 188056 w 346315"/>
              <a:gd name="connsiteY30" fmla="*/ 343867 h 755917"/>
              <a:gd name="connsiteX31" fmla="*/ 202818 w 346315"/>
              <a:gd name="connsiteY31" fmla="*/ 384962 h 755917"/>
              <a:gd name="connsiteX32" fmla="*/ 239027 w 346315"/>
              <a:gd name="connsiteY32" fmla="*/ 460991 h 755917"/>
              <a:gd name="connsiteX33" fmla="*/ 308511 w 346315"/>
              <a:gd name="connsiteY33" fmla="*/ 599193 h 755917"/>
              <a:gd name="connsiteX34" fmla="*/ 332362 w 346315"/>
              <a:gd name="connsiteY34" fmla="*/ 664444 h 755917"/>
              <a:gd name="connsiteX35" fmla="*/ 335872 w 346315"/>
              <a:gd name="connsiteY35" fmla="*/ 680467 h 755917"/>
              <a:gd name="connsiteX36" fmla="*/ 337940 w 346315"/>
              <a:gd name="connsiteY36" fmla="*/ 696299 h 755917"/>
              <a:gd name="connsiteX37" fmla="*/ 336016 w 346315"/>
              <a:gd name="connsiteY37" fmla="*/ 726278 h 755917"/>
              <a:gd name="connsiteX38" fmla="*/ 329380 w 346315"/>
              <a:gd name="connsiteY38" fmla="*/ 737682 h 755917"/>
              <a:gd name="connsiteX39" fmla="*/ 317936 w 346315"/>
              <a:gd name="connsiteY39" fmla="*/ 742735 h 755917"/>
              <a:gd name="connsiteX40" fmla="*/ 291296 w 346315"/>
              <a:gd name="connsiteY40" fmla="*/ 739174 h 755917"/>
              <a:gd name="connsiteX41" fmla="*/ 242874 w 346315"/>
              <a:gd name="connsiteY41" fmla="*/ 719878 h 755917"/>
              <a:gd name="connsiteX42" fmla="*/ 220370 w 346315"/>
              <a:gd name="connsiteY42" fmla="*/ 711553 h 755917"/>
              <a:gd name="connsiteX43" fmla="*/ 209070 w 346315"/>
              <a:gd name="connsiteY43" fmla="*/ 709003 h 755917"/>
              <a:gd name="connsiteX44" fmla="*/ 197337 w 346315"/>
              <a:gd name="connsiteY44" fmla="*/ 709676 h 755917"/>
              <a:gd name="connsiteX45" fmla="*/ 179978 w 346315"/>
              <a:gd name="connsiteY45" fmla="*/ 721755 h 755917"/>
              <a:gd name="connsiteX46" fmla="*/ 167812 w 346315"/>
              <a:gd name="connsiteY46" fmla="*/ 735517 h 755917"/>
              <a:gd name="connsiteX47" fmla="*/ 144587 w 346315"/>
              <a:gd name="connsiteY47" fmla="*/ 752648 h 755917"/>
              <a:gd name="connsiteX48" fmla="*/ 133383 w 346315"/>
              <a:gd name="connsiteY48" fmla="*/ 751108 h 755917"/>
              <a:gd name="connsiteX49" fmla="*/ 124919 w 346315"/>
              <a:gd name="connsiteY49" fmla="*/ 746103 h 755917"/>
              <a:gd name="connsiteX50" fmla="*/ 111455 w 346315"/>
              <a:gd name="connsiteY50" fmla="*/ 733592 h 755917"/>
              <a:gd name="connsiteX51" fmla="*/ 114052 w 346315"/>
              <a:gd name="connsiteY51" fmla="*/ 737538 h 755917"/>
              <a:gd name="connsiteX52" fmla="*/ 123573 w 346315"/>
              <a:gd name="connsiteY52" fmla="*/ 747740 h 755917"/>
              <a:gd name="connsiteX53" fmla="*/ 132325 w 346315"/>
              <a:gd name="connsiteY53" fmla="*/ 753514 h 755917"/>
              <a:gd name="connsiteX54" fmla="*/ 145019 w 346315"/>
              <a:gd name="connsiteY54" fmla="*/ 755727 h 755917"/>
              <a:gd name="connsiteX55" fmla="*/ 158772 w 346315"/>
              <a:gd name="connsiteY55" fmla="*/ 749664 h 755917"/>
              <a:gd name="connsiteX56" fmla="*/ 170889 w 346315"/>
              <a:gd name="connsiteY56" fmla="*/ 738212 h 755917"/>
              <a:gd name="connsiteX57" fmla="*/ 183248 w 346315"/>
              <a:gd name="connsiteY57" fmla="*/ 724930 h 755917"/>
              <a:gd name="connsiteX58" fmla="*/ 198779 w 346315"/>
              <a:gd name="connsiteY58" fmla="*/ 714488 h 755917"/>
              <a:gd name="connsiteX59" fmla="*/ 218783 w 346315"/>
              <a:gd name="connsiteY59" fmla="*/ 716798 h 755917"/>
              <a:gd name="connsiteX60" fmla="*/ 240566 w 346315"/>
              <a:gd name="connsiteY60" fmla="*/ 725315 h 755917"/>
              <a:gd name="connsiteX61" fmla="*/ 289325 w 346315"/>
              <a:gd name="connsiteY61" fmla="*/ 745622 h 755917"/>
              <a:gd name="connsiteX62" fmla="*/ 303462 w 346315"/>
              <a:gd name="connsiteY62" fmla="*/ 749183 h 755917"/>
              <a:gd name="connsiteX63" fmla="*/ 318994 w 346315"/>
              <a:gd name="connsiteY63" fmla="*/ 749809 h 755917"/>
              <a:gd name="connsiteX64" fmla="*/ 334429 w 346315"/>
              <a:gd name="connsiteY64" fmla="*/ 743072 h 755917"/>
              <a:gd name="connsiteX65" fmla="*/ 343277 w 346315"/>
              <a:gd name="connsiteY65" fmla="*/ 728491 h 755917"/>
              <a:gd name="connsiteX66" fmla="*/ 345874 w 346315"/>
              <a:gd name="connsiteY66" fmla="*/ 695673 h 755917"/>
              <a:gd name="connsiteX67" fmla="*/ 343854 w 346315"/>
              <a:gd name="connsiteY67" fmla="*/ 679024 h 755917"/>
              <a:gd name="connsiteX68" fmla="*/ 340392 w 346315"/>
              <a:gd name="connsiteY68" fmla="*/ 662326 h 755917"/>
              <a:gd name="connsiteX69" fmla="*/ 316686 w 346315"/>
              <a:gd name="connsiteY69" fmla="*/ 595584 h 755917"/>
              <a:gd name="connsiteX70" fmla="*/ 247875 w 346315"/>
              <a:gd name="connsiteY70" fmla="*/ 456420 h 755917"/>
              <a:gd name="connsiteX71" fmla="*/ 212339 w 346315"/>
              <a:gd name="connsiteY71" fmla="*/ 381016 h 755917"/>
              <a:gd name="connsiteX72" fmla="*/ 185363 w 346315"/>
              <a:gd name="connsiteY72" fmla="*/ 298489 h 755917"/>
              <a:gd name="connsiteX73" fmla="*/ 163484 w 346315"/>
              <a:gd name="connsiteY73" fmla="*/ 210815 h 755917"/>
              <a:gd name="connsiteX74" fmla="*/ 142326 w 346315"/>
              <a:gd name="connsiteY74" fmla="*/ 119868 h 755917"/>
              <a:gd name="connsiteX75" fmla="*/ 129488 w 346315"/>
              <a:gd name="connsiteY75" fmla="*/ 74346 h 755917"/>
              <a:gd name="connsiteX76" fmla="*/ 110975 w 346315"/>
              <a:gd name="connsiteY76" fmla="*/ 30701 h 755917"/>
              <a:gd name="connsiteX77" fmla="*/ 96020 w 346315"/>
              <a:gd name="connsiteY77" fmla="*/ 11405 h 755917"/>
              <a:gd name="connsiteX78" fmla="*/ 73035 w 346315"/>
              <a:gd name="connsiteY78" fmla="*/ 385 h 755917"/>
              <a:gd name="connsiteX79" fmla="*/ 60196 w 346315"/>
              <a:gd name="connsiteY79" fmla="*/ 674 h 755917"/>
              <a:gd name="connsiteX80" fmla="*/ 48415 w 346315"/>
              <a:gd name="connsiteY80" fmla="*/ 4331 h 755917"/>
              <a:gd name="connsiteX81" fmla="*/ 42837 w 346315"/>
              <a:gd name="connsiteY81" fmla="*/ 6833 h 755917"/>
              <a:gd name="connsiteX82" fmla="*/ 37403 w 346315"/>
              <a:gd name="connsiteY82" fmla="*/ 10250 h 755917"/>
              <a:gd name="connsiteX83" fmla="*/ 28555 w 346315"/>
              <a:gd name="connsiteY83" fmla="*/ 18960 h 755917"/>
              <a:gd name="connsiteX84" fmla="*/ 21727 w 346315"/>
              <a:gd name="connsiteY84" fmla="*/ 28824 h 755917"/>
              <a:gd name="connsiteX85" fmla="*/ 16678 w 346315"/>
              <a:gd name="connsiteY85" fmla="*/ 39314 h 755917"/>
              <a:gd name="connsiteX86" fmla="*/ 14514 w 346315"/>
              <a:gd name="connsiteY86" fmla="*/ 44656 h 755917"/>
              <a:gd name="connsiteX87" fmla="*/ 12735 w 346315"/>
              <a:gd name="connsiteY87" fmla="*/ 50045 h 755917"/>
              <a:gd name="connsiteX88" fmla="*/ 9610 w 346315"/>
              <a:gd name="connsiteY88" fmla="*/ 60872 h 755917"/>
              <a:gd name="connsiteX89" fmla="*/ 2397 w 346315"/>
              <a:gd name="connsiteY89" fmla="*/ 104325 h 755917"/>
              <a:gd name="connsiteX90" fmla="*/ 858 w 346315"/>
              <a:gd name="connsiteY90" fmla="*/ 188824 h 755917"/>
              <a:gd name="connsiteX91" fmla="*/ 17784 w 346315"/>
              <a:gd name="connsiteY91" fmla="*/ 343289 h 75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46315" h="755917">
                <a:moveTo>
                  <a:pt x="17784" y="343241"/>
                </a:moveTo>
                <a:cubicBezTo>
                  <a:pt x="24805" y="391362"/>
                  <a:pt x="32402" y="435969"/>
                  <a:pt x="40000" y="476582"/>
                </a:cubicBezTo>
                <a:cubicBezTo>
                  <a:pt x="55243" y="557809"/>
                  <a:pt x="70438" y="623060"/>
                  <a:pt x="83662" y="667427"/>
                </a:cubicBezTo>
                <a:cubicBezTo>
                  <a:pt x="90250" y="689610"/>
                  <a:pt x="96405" y="706549"/>
                  <a:pt x="101598" y="717664"/>
                </a:cubicBezTo>
                <a:cubicBezTo>
                  <a:pt x="102800" y="720455"/>
                  <a:pt x="104098" y="722861"/>
                  <a:pt x="105252" y="724882"/>
                </a:cubicBezTo>
                <a:cubicBezTo>
                  <a:pt x="106406" y="726903"/>
                  <a:pt x="107272" y="728636"/>
                  <a:pt x="108330" y="729887"/>
                </a:cubicBezTo>
                <a:cubicBezTo>
                  <a:pt x="110205" y="732437"/>
                  <a:pt x="111263" y="733640"/>
                  <a:pt x="111407" y="733544"/>
                </a:cubicBezTo>
                <a:cubicBezTo>
                  <a:pt x="111792" y="733255"/>
                  <a:pt x="107993" y="728106"/>
                  <a:pt x="103617" y="716846"/>
                </a:cubicBezTo>
                <a:cubicBezTo>
                  <a:pt x="99097" y="705634"/>
                  <a:pt x="93664" y="688600"/>
                  <a:pt x="87701" y="666368"/>
                </a:cubicBezTo>
                <a:cubicBezTo>
                  <a:pt x="75776" y="621857"/>
                  <a:pt x="61735" y="556558"/>
                  <a:pt x="47453" y="475331"/>
                </a:cubicBezTo>
                <a:cubicBezTo>
                  <a:pt x="40336" y="434718"/>
                  <a:pt x="33172" y="390110"/>
                  <a:pt x="26536" y="342086"/>
                </a:cubicBezTo>
                <a:cubicBezTo>
                  <a:pt x="20044" y="294062"/>
                  <a:pt x="13553" y="242574"/>
                  <a:pt x="10668" y="188391"/>
                </a:cubicBezTo>
                <a:cubicBezTo>
                  <a:pt x="9369" y="161395"/>
                  <a:pt x="9754" y="133486"/>
                  <a:pt x="12543" y="105383"/>
                </a:cubicBezTo>
                <a:cubicBezTo>
                  <a:pt x="13985" y="91380"/>
                  <a:pt x="16053" y="77233"/>
                  <a:pt x="19611" y="63519"/>
                </a:cubicBezTo>
                <a:cubicBezTo>
                  <a:pt x="20525" y="60102"/>
                  <a:pt x="21391" y="56638"/>
                  <a:pt x="22593" y="53317"/>
                </a:cubicBezTo>
                <a:lnTo>
                  <a:pt x="24276" y="48265"/>
                </a:lnTo>
                <a:lnTo>
                  <a:pt x="26295" y="43405"/>
                </a:lnTo>
                <a:cubicBezTo>
                  <a:pt x="27498" y="40084"/>
                  <a:pt x="29325" y="37149"/>
                  <a:pt x="30815" y="33973"/>
                </a:cubicBezTo>
                <a:cubicBezTo>
                  <a:pt x="32739" y="31182"/>
                  <a:pt x="34326" y="28006"/>
                  <a:pt x="36634" y="25600"/>
                </a:cubicBezTo>
                <a:cubicBezTo>
                  <a:pt x="38653" y="22857"/>
                  <a:pt x="41202" y="20836"/>
                  <a:pt x="43654" y="18671"/>
                </a:cubicBezTo>
                <a:lnTo>
                  <a:pt x="47694" y="16169"/>
                </a:lnTo>
                <a:cubicBezTo>
                  <a:pt x="49088" y="15351"/>
                  <a:pt x="50819" y="14821"/>
                  <a:pt x="52358" y="14099"/>
                </a:cubicBezTo>
                <a:cubicBezTo>
                  <a:pt x="55483" y="12512"/>
                  <a:pt x="58801" y="11982"/>
                  <a:pt x="62023" y="11068"/>
                </a:cubicBezTo>
                <a:cubicBezTo>
                  <a:pt x="65245" y="10779"/>
                  <a:pt x="68563" y="10202"/>
                  <a:pt x="71640" y="10875"/>
                </a:cubicBezTo>
                <a:cubicBezTo>
                  <a:pt x="77891" y="11693"/>
                  <a:pt x="83902" y="14532"/>
                  <a:pt x="88855" y="19296"/>
                </a:cubicBezTo>
                <a:cubicBezTo>
                  <a:pt x="93760" y="24060"/>
                  <a:pt x="98232" y="29642"/>
                  <a:pt x="101790" y="36138"/>
                </a:cubicBezTo>
                <a:cubicBezTo>
                  <a:pt x="109147" y="48794"/>
                  <a:pt x="114533" y="63134"/>
                  <a:pt x="119293" y="77714"/>
                </a:cubicBezTo>
                <a:cubicBezTo>
                  <a:pt x="124006" y="92343"/>
                  <a:pt x="128045" y="107356"/>
                  <a:pt x="131892" y="122562"/>
                </a:cubicBezTo>
                <a:cubicBezTo>
                  <a:pt x="139538" y="152974"/>
                  <a:pt x="146125" y="183386"/>
                  <a:pt x="153050" y="213317"/>
                </a:cubicBezTo>
                <a:cubicBezTo>
                  <a:pt x="160022" y="243248"/>
                  <a:pt x="167139" y="272697"/>
                  <a:pt x="175217" y="301425"/>
                </a:cubicBezTo>
                <a:cubicBezTo>
                  <a:pt x="179304" y="315765"/>
                  <a:pt x="183440" y="329960"/>
                  <a:pt x="188056" y="343867"/>
                </a:cubicBezTo>
                <a:cubicBezTo>
                  <a:pt x="192528" y="357822"/>
                  <a:pt x="197385" y="371488"/>
                  <a:pt x="202818" y="384962"/>
                </a:cubicBezTo>
                <a:cubicBezTo>
                  <a:pt x="213830" y="411668"/>
                  <a:pt x="226573" y="436691"/>
                  <a:pt x="239027" y="460991"/>
                </a:cubicBezTo>
                <a:cubicBezTo>
                  <a:pt x="264128" y="509545"/>
                  <a:pt x="288988" y="555018"/>
                  <a:pt x="308511" y="599193"/>
                </a:cubicBezTo>
                <a:cubicBezTo>
                  <a:pt x="318128" y="621280"/>
                  <a:pt x="326591" y="643030"/>
                  <a:pt x="332362" y="664444"/>
                </a:cubicBezTo>
                <a:cubicBezTo>
                  <a:pt x="333564" y="669833"/>
                  <a:pt x="334718" y="675174"/>
                  <a:pt x="335872" y="680467"/>
                </a:cubicBezTo>
                <a:cubicBezTo>
                  <a:pt x="336978" y="685761"/>
                  <a:pt x="337218" y="691054"/>
                  <a:pt x="337940" y="696299"/>
                </a:cubicBezTo>
                <a:cubicBezTo>
                  <a:pt x="338949" y="706693"/>
                  <a:pt x="338613" y="717183"/>
                  <a:pt x="336016" y="726278"/>
                </a:cubicBezTo>
                <a:cubicBezTo>
                  <a:pt x="334526" y="730705"/>
                  <a:pt x="332458" y="734795"/>
                  <a:pt x="329380" y="737682"/>
                </a:cubicBezTo>
                <a:cubicBezTo>
                  <a:pt x="326351" y="740618"/>
                  <a:pt x="322264" y="742157"/>
                  <a:pt x="317936" y="742735"/>
                </a:cubicBezTo>
                <a:cubicBezTo>
                  <a:pt x="309184" y="743890"/>
                  <a:pt x="299904" y="741772"/>
                  <a:pt x="291296" y="739174"/>
                </a:cubicBezTo>
                <a:cubicBezTo>
                  <a:pt x="273937" y="733736"/>
                  <a:pt x="258069" y="726133"/>
                  <a:pt x="242874" y="719878"/>
                </a:cubicBezTo>
                <a:cubicBezTo>
                  <a:pt x="235276" y="716702"/>
                  <a:pt x="227823" y="713767"/>
                  <a:pt x="220370" y="711553"/>
                </a:cubicBezTo>
                <a:cubicBezTo>
                  <a:pt x="216619" y="710446"/>
                  <a:pt x="212868" y="709532"/>
                  <a:pt x="209070" y="709003"/>
                </a:cubicBezTo>
                <a:cubicBezTo>
                  <a:pt x="205367" y="708425"/>
                  <a:pt x="201039" y="708473"/>
                  <a:pt x="197337" y="709676"/>
                </a:cubicBezTo>
                <a:cubicBezTo>
                  <a:pt x="189787" y="712082"/>
                  <a:pt x="184546" y="717135"/>
                  <a:pt x="179978" y="721755"/>
                </a:cubicBezTo>
                <a:cubicBezTo>
                  <a:pt x="175410" y="726470"/>
                  <a:pt x="171563" y="731234"/>
                  <a:pt x="167812" y="735517"/>
                </a:cubicBezTo>
                <a:cubicBezTo>
                  <a:pt x="160407" y="744082"/>
                  <a:pt x="152857" y="751349"/>
                  <a:pt x="144587" y="752648"/>
                </a:cubicBezTo>
                <a:cubicBezTo>
                  <a:pt x="140547" y="753321"/>
                  <a:pt x="136652" y="752503"/>
                  <a:pt x="133383" y="751108"/>
                </a:cubicBezTo>
                <a:cubicBezTo>
                  <a:pt x="130065" y="749809"/>
                  <a:pt x="127324" y="747836"/>
                  <a:pt x="124919" y="746103"/>
                </a:cubicBezTo>
                <a:cubicBezTo>
                  <a:pt x="115639" y="738548"/>
                  <a:pt x="111888" y="733207"/>
                  <a:pt x="111455" y="733592"/>
                </a:cubicBezTo>
                <a:cubicBezTo>
                  <a:pt x="111311" y="733688"/>
                  <a:pt x="112177" y="735036"/>
                  <a:pt x="114052" y="737538"/>
                </a:cubicBezTo>
                <a:cubicBezTo>
                  <a:pt x="115927" y="740040"/>
                  <a:pt x="118957" y="743649"/>
                  <a:pt x="123573" y="747740"/>
                </a:cubicBezTo>
                <a:cubicBezTo>
                  <a:pt x="125977" y="749712"/>
                  <a:pt x="128718" y="751878"/>
                  <a:pt x="132325" y="753514"/>
                </a:cubicBezTo>
                <a:cubicBezTo>
                  <a:pt x="135835" y="755198"/>
                  <a:pt x="140259" y="756401"/>
                  <a:pt x="145019" y="755727"/>
                </a:cubicBezTo>
                <a:cubicBezTo>
                  <a:pt x="149780" y="755150"/>
                  <a:pt x="154540" y="752840"/>
                  <a:pt x="158772" y="749664"/>
                </a:cubicBezTo>
                <a:cubicBezTo>
                  <a:pt x="163051" y="746488"/>
                  <a:pt x="166946" y="742494"/>
                  <a:pt x="170889" y="738212"/>
                </a:cubicBezTo>
                <a:cubicBezTo>
                  <a:pt x="174833" y="733929"/>
                  <a:pt x="178776" y="729309"/>
                  <a:pt x="183248" y="724930"/>
                </a:cubicBezTo>
                <a:cubicBezTo>
                  <a:pt x="187671" y="720600"/>
                  <a:pt x="192720" y="716221"/>
                  <a:pt x="198779" y="714488"/>
                </a:cubicBezTo>
                <a:cubicBezTo>
                  <a:pt x="204598" y="712708"/>
                  <a:pt x="211714" y="714681"/>
                  <a:pt x="218783" y="716798"/>
                </a:cubicBezTo>
                <a:cubicBezTo>
                  <a:pt x="225852" y="719060"/>
                  <a:pt x="233112" y="722043"/>
                  <a:pt x="240566" y="725315"/>
                </a:cubicBezTo>
                <a:cubicBezTo>
                  <a:pt x="255521" y="731764"/>
                  <a:pt x="271245" y="739703"/>
                  <a:pt x="289325" y="745622"/>
                </a:cubicBezTo>
                <a:cubicBezTo>
                  <a:pt x="293845" y="747066"/>
                  <a:pt x="298557" y="748365"/>
                  <a:pt x="303462" y="749183"/>
                </a:cubicBezTo>
                <a:cubicBezTo>
                  <a:pt x="308367" y="750146"/>
                  <a:pt x="313608" y="750434"/>
                  <a:pt x="318994" y="749809"/>
                </a:cubicBezTo>
                <a:cubicBezTo>
                  <a:pt x="324331" y="749135"/>
                  <a:pt x="330054" y="747114"/>
                  <a:pt x="334429" y="743072"/>
                </a:cubicBezTo>
                <a:cubicBezTo>
                  <a:pt x="338805" y="739078"/>
                  <a:pt x="341450" y="733785"/>
                  <a:pt x="343277" y="728491"/>
                </a:cubicBezTo>
                <a:cubicBezTo>
                  <a:pt x="346451" y="717760"/>
                  <a:pt x="346787" y="706693"/>
                  <a:pt x="345874" y="695673"/>
                </a:cubicBezTo>
                <a:cubicBezTo>
                  <a:pt x="345201" y="690188"/>
                  <a:pt x="344960" y="684510"/>
                  <a:pt x="343854" y="679024"/>
                </a:cubicBezTo>
                <a:cubicBezTo>
                  <a:pt x="342700" y="673538"/>
                  <a:pt x="341546" y="667956"/>
                  <a:pt x="340392" y="662326"/>
                </a:cubicBezTo>
                <a:cubicBezTo>
                  <a:pt x="334622" y="640191"/>
                  <a:pt x="326255" y="618007"/>
                  <a:pt x="316686" y="595584"/>
                </a:cubicBezTo>
                <a:cubicBezTo>
                  <a:pt x="297307" y="550736"/>
                  <a:pt x="272639" y="504973"/>
                  <a:pt x="247875" y="456420"/>
                </a:cubicBezTo>
                <a:cubicBezTo>
                  <a:pt x="235565" y="432119"/>
                  <a:pt x="223014" y="407193"/>
                  <a:pt x="212339" y="381016"/>
                </a:cubicBezTo>
                <a:cubicBezTo>
                  <a:pt x="201857" y="354886"/>
                  <a:pt x="193442" y="326880"/>
                  <a:pt x="185363" y="298489"/>
                </a:cubicBezTo>
                <a:cubicBezTo>
                  <a:pt x="177429" y="270002"/>
                  <a:pt x="170361" y="240697"/>
                  <a:pt x="163484" y="210815"/>
                </a:cubicBezTo>
                <a:cubicBezTo>
                  <a:pt x="156560" y="180980"/>
                  <a:pt x="150020" y="150520"/>
                  <a:pt x="142326" y="119868"/>
                </a:cubicBezTo>
                <a:cubicBezTo>
                  <a:pt x="138432" y="104517"/>
                  <a:pt x="134344" y="89311"/>
                  <a:pt x="129488" y="74346"/>
                </a:cubicBezTo>
                <a:cubicBezTo>
                  <a:pt x="124583" y="59381"/>
                  <a:pt x="119053" y="44559"/>
                  <a:pt x="110975" y="30701"/>
                </a:cubicBezTo>
                <a:cubicBezTo>
                  <a:pt x="107128" y="23723"/>
                  <a:pt x="102031" y="17179"/>
                  <a:pt x="96020" y="11405"/>
                </a:cubicBezTo>
                <a:cubicBezTo>
                  <a:pt x="90009" y="5582"/>
                  <a:pt x="81690" y="1444"/>
                  <a:pt x="73035" y="385"/>
                </a:cubicBezTo>
                <a:cubicBezTo>
                  <a:pt x="68707" y="-433"/>
                  <a:pt x="64379" y="241"/>
                  <a:pt x="60196" y="674"/>
                </a:cubicBezTo>
                <a:cubicBezTo>
                  <a:pt x="56157" y="1684"/>
                  <a:pt x="52021" y="2551"/>
                  <a:pt x="48415" y="4331"/>
                </a:cubicBezTo>
                <a:cubicBezTo>
                  <a:pt x="46540" y="5149"/>
                  <a:pt x="44664" y="5775"/>
                  <a:pt x="42837" y="6833"/>
                </a:cubicBezTo>
                <a:lnTo>
                  <a:pt x="37403" y="10250"/>
                </a:lnTo>
                <a:cubicBezTo>
                  <a:pt x="34230" y="12945"/>
                  <a:pt x="31008" y="15687"/>
                  <a:pt x="28555" y="18960"/>
                </a:cubicBezTo>
                <a:cubicBezTo>
                  <a:pt x="25766" y="21991"/>
                  <a:pt x="23939" y="25504"/>
                  <a:pt x="21727" y="28824"/>
                </a:cubicBezTo>
                <a:cubicBezTo>
                  <a:pt x="19996" y="32337"/>
                  <a:pt x="17977" y="35705"/>
                  <a:pt x="16678" y="39314"/>
                </a:cubicBezTo>
                <a:lnTo>
                  <a:pt x="14514" y="44656"/>
                </a:lnTo>
                <a:lnTo>
                  <a:pt x="12735" y="50045"/>
                </a:lnTo>
                <a:cubicBezTo>
                  <a:pt x="11485" y="53654"/>
                  <a:pt x="10571" y="57263"/>
                  <a:pt x="9610" y="60872"/>
                </a:cubicBezTo>
                <a:cubicBezTo>
                  <a:pt x="5907" y="75356"/>
                  <a:pt x="3839" y="89937"/>
                  <a:pt x="2397" y="104325"/>
                </a:cubicBezTo>
                <a:cubicBezTo>
                  <a:pt x="-296" y="133149"/>
                  <a:pt x="-585" y="161299"/>
                  <a:pt x="858" y="188824"/>
                </a:cubicBezTo>
                <a:cubicBezTo>
                  <a:pt x="4080" y="243633"/>
                  <a:pt x="10908" y="295169"/>
                  <a:pt x="17784" y="343289"/>
                </a:cubicBezTo>
                <a:close/>
              </a:path>
            </a:pathLst>
          </a:custGeom>
          <a:solidFill>
            <a:srgbClr val="29C8C1"/>
          </a:solidFill>
          <a:ln w="0"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2A26415D-4ADC-5882-1BA4-6F5C9AA8883B}"/>
              </a:ext>
            </a:extLst>
          </p:cNvPr>
          <p:cNvSpPr/>
          <p:nvPr/>
        </p:nvSpPr>
        <p:spPr>
          <a:xfrm>
            <a:off x="9035690" y="3539395"/>
            <a:ext cx="275991" cy="205202"/>
          </a:xfrm>
          <a:custGeom>
            <a:avLst/>
            <a:gdLst>
              <a:gd name="connsiteX0" fmla="*/ 255883 w 275991"/>
              <a:gd name="connsiteY0" fmla="*/ 26845 h 205202"/>
              <a:gd name="connsiteX1" fmla="*/ 232898 w 275991"/>
              <a:gd name="connsiteY1" fmla="*/ 11447 h 205202"/>
              <a:gd name="connsiteX2" fmla="*/ 187746 w 275991"/>
              <a:gd name="connsiteY2" fmla="*/ 620 h 205202"/>
              <a:gd name="connsiteX3" fmla="*/ 153028 w 275991"/>
              <a:gd name="connsiteY3" fmla="*/ 908 h 205202"/>
              <a:gd name="connsiteX4" fmla="*/ 124176 w 275991"/>
              <a:gd name="connsiteY4" fmla="*/ 6923 h 205202"/>
              <a:gd name="connsiteX5" fmla="*/ 153268 w 275991"/>
              <a:gd name="connsiteY5" fmla="*/ 5047 h 205202"/>
              <a:gd name="connsiteX6" fmla="*/ 187120 w 275991"/>
              <a:gd name="connsiteY6" fmla="*/ 6586 h 205202"/>
              <a:gd name="connsiteX7" fmla="*/ 229628 w 275991"/>
              <a:gd name="connsiteY7" fmla="*/ 18328 h 205202"/>
              <a:gd name="connsiteX8" fmla="*/ 250017 w 275991"/>
              <a:gd name="connsiteY8" fmla="*/ 32716 h 205202"/>
              <a:gd name="connsiteX9" fmla="*/ 263577 w 275991"/>
              <a:gd name="connsiteY9" fmla="*/ 55428 h 205202"/>
              <a:gd name="connsiteX10" fmla="*/ 266366 w 275991"/>
              <a:gd name="connsiteY10" fmla="*/ 84156 h 205202"/>
              <a:gd name="connsiteX11" fmla="*/ 266221 w 275991"/>
              <a:gd name="connsiteY11" fmla="*/ 87958 h 205202"/>
              <a:gd name="connsiteX12" fmla="*/ 265596 w 275991"/>
              <a:gd name="connsiteY12" fmla="*/ 91711 h 205202"/>
              <a:gd name="connsiteX13" fmla="*/ 264394 w 275991"/>
              <a:gd name="connsiteY13" fmla="*/ 99314 h 205202"/>
              <a:gd name="connsiteX14" fmla="*/ 262231 w 275991"/>
              <a:gd name="connsiteY14" fmla="*/ 106773 h 205202"/>
              <a:gd name="connsiteX15" fmla="*/ 261124 w 275991"/>
              <a:gd name="connsiteY15" fmla="*/ 110526 h 205202"/>
              <a:gd name="connsiteX16" fmla="*/ 259538 w 275991"/>
              <a:gd name="connsiteY16" fmla="*/ 114183 h 205202"/>
              <a:gd name="connsiteX17" fmla="*/ 216741 w 275991"/>
              <a:gd name="connsiteY17" fmla="*/ 164324 h 205202"/>
              <a:gd name="connsiteX18" fmla="*/ 149517 w 275991"/>
              <a:gd name="connsiteY18" fmla="*/ 191127 h 205202"/>
              <a:gd name="connsiteX19" fmla="*/ 77196 w 275991"/>
              <a:gd name="connsiteY19" fmla="*/ 190550 h 205202"/>
              <a:gd name="connsiteX20" fmla="*/ 45556 w 275991"/>
              <a:gd name="connsiteY20" fmla="*/ 178183 h 205202"/>
              <a:gd name="connsiteX21" fmla="*/ 21946 w 275991"/>
              <a:gd name="connsiteY21" fmla="*/ 156866 h 205202"/>
              <a:gd name="connsiteX22" fmla="*/ 10501 w 275991"/>
              <a:gd name="connsiteY22" fmla="*/ 128908 h 205202"/>
              <a:gd name="connsiteX23" fmla="*/ 9636 w 275991"/>
              <a:gd name="connsiteY23" fmla="*/ 121546 h 205202"/>
              <a:gd name="connsiteX24" fmla="*/ 9203 w 275991"/>
              <a:gd name="connsiteY24" fmla="*/ 114183 h 205202"/>
              <a:gd name="connsiteX25" fmla="*/ 9732 w 275991"/>
              <a:gd name="connsiteY25" fmla="*/ 99506 h 205202"/>
              <a:gd name="connsiteX26" fmla="*/ 28149 w 275991"/>
              <a:gd name="connsiteY26" fmla="*/ 51194 h 205202"/>
              <a:gd name="connsiteX27" fmla="*/ 64117 w 275991"/>
              <a:gd name="connsiteY27" fmla="*/ 26797 h 205202"/>
              <a:gd name="connsiteX28" fmla="*/ 96286 w 275991"/>
              <a:gd name="connsiteY28" fmla="*/ 15874 h 205202"/>
              <a:gd name="connsiteX29" fmla="*/ 124224 w 275991"/>
              <a:gd name="connsiteY29" fmla="*/ 7019 h 205202"/>
              <a:gd name="connsiteX30" fmla="*/ 95276 w 275991"/>
              <a:gd name="connsiteY30" fmla="*/ 11880 h 205202"/>
              <a:gd name="connsiteX31" fmla="*/ 61905 w 275991"/>
              <a:gd name="connsiteY31" fmla="*/ 21311 h 205202"/>
              <a:gd name="connsiteX32" fmla="*/ 22523 w 275991"/>
              <a:gd name="connsiteY32" fmla="*/ 46237 h 205202"/>
              <a:gd name="connsiteX33" fmla="*/ 932 w 275991"/>
              <a:gd name="connsiteY33" fmla="*/ 98688 h 205202"/>
              <a:gd name="connsiteX34" fmla="*/ 67 w 275991"/>
              <a:gd name="connsiteY34" fmla="*/ 114231 h 205202"/>
              <a:gd name="connsiteX35" fmla="*/ 403 w 275991"/>
              <a:gd name="connsiteY35" fmla="*/ 122315 h 205202"/>
              <a:gd name="connsiteX36" fmla="*/ 1269 w 275991"/>
              <a:gd name="connsiteY36" fmla="*/ 130544 h 205202"/>
              <a:gd name="connsiteX37" fmla="*/ 13915 w 275991"/>
              <a:gd name="connsiteY37" fmla="*/ 162496 h 205202"/>
              <a:gd name="connsiteX38" fmla="*/ 40362 w 275991"/>
              <a:gd name="connsiteY38" fmla="*/ 186941 h 205202"/>
              <a:gd name="connsiteX39" fmla="*/ 74792 w 275991"/>
              <a:gd name="connsiteY39" fmla="*/ 200751 h 205202"/>
              <a:gd name="connsiteX40" fmla="*/ 151489 w 275991"/>
              <a:gd name="connsiteY40" fmla="*/ 201665 h 205202"/>
              <a:gd name="connsiteX41" fmla="*/ 222608 w 275991"/>
              <a:gd name="connsiteY41" fmla="*/ 173034 h 205202"/>
              <a:gd name="connsiteX42" fmla="*/ 268674 w 275991"/>
              <a:gd name="connsiteY42" fmla="*/ 117937 h 205202"/>
              <a:gd name="connsiteX43" fmla="*/ 270357 w 275991"/>
              <a:gd name="connsiteY43" fmla="*/ 113894 h 205202"/>
              <a:gd name="connsiteX44" fmla="*/ 271559 w 275991"/>
              <a:gd name="connsiteY44" fmla="*/ 109708 h 205202"/>
              <a:gd name="connsiteX45" fmla="*/ 273819 w 275991"/>
              <a:gd name="connsiteY45" fmla="*/ 101431 h 205202"/>
              <a:gd name="connsiteX46" fmla="*/ 275069 w 275991"/>
              <a:gd name="connsiteY46" fmla="*/ 93058 h 205202"/>
              <a:gd name="connsiteX47" fmla="*/ 275646 w 275991"/>
              <a:gd name="connsiteY47" fmla="*/ 88920 h 205202"/>
              <a:gd name="connsiteX48" fmla="*/ 275791 w 275991"/>
              <a:gd name="connsiteY48" fmla="*/ 84782 h 205202"/>
              <a:gd name="connsiteX49" fmla="*/ 272040 w 275991"/>
              <a:gd name="connsiteY49" fmla="*/ 52782 h 205202"/>
              <a:gd name="connsiteX50" fmla="*/ 255883 w 275991"/>
              <a:gd name="connsiteY50" fmla="*/ 27037 h 20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75991" h="205202">
                <a:moveTo>
                  <a:pt x="255883" y="26845"/>
                </a:moveTo>
                <a:cubicBezTo>
                  <a:pt x="248911" y="19916"/>
                  <a:pt x="240832" y="15104"/>
                  <a:pt x="232898" y="11447"/>
                </a:cubicBezTo>
                <a:cubicBezTo>
                  <a:pt x="216886" y="4277"/>
                  <a:pt x="201258" y="1726"/>
                  <a:pt x="187746" y="620"/>
                </a:cubicBezTo>
                <a:cubicBezTo>
                  <a:pt x="174185" y="-439"/>
                  <a:pt x="162501" y="-6"/>
                  <a:pt x="153028" y="908"/>
                </a:cubicBezTo>
                <a:cubicBezTo>
                  <a:pt x="134034" y="2689"/>
                  <a:pt x="123984" y="6346"/>
                  <a:pt x="124176" y="6923"/>
                </a:cubicBezTo>
                <a:cubicBezTo>
                  <a:pt x="124368" y="7741"/>
                  <a:pt x="134562" y="5528"/>
                  <a:pt x="153268" y="5047"/>
                </a:cubicBezTo>
                <a:cubicBezTo>
                  <a:pt x="162597" y="4806"/>
                  <a:pt x="174041" y="4950"/>
                  <a:pt x="187120" y="6586"/>
                </a:cubicBezTo>
                <a:cubicBezTo>
                  <a:pt x="200152" y="8222"/>
                  <a:pt x="215010" y="11254"/>
                  <a:pt x="229628" y="18328"/>
                </a:cubicBezTo>
                <a:cubicBezTo>
                  <a:pt x="236841" y="21889"/>
                  <a:pt x="244054" y="26508"/>
                  <a:pt x="250017" y="32716"/>
                </a:cubicBezTo>
                <a:cubicBezTo>
                  <a:pt x="255979" y="38923"/>
                  <a:pt x="260740" y="46622"/>
                  <a:pt x="263577" y="55428"/>
                </a:cubicBezTo>
                <a:cubicBezTo>
                  <a:pt x="266414" y="64234"/>
                  <a:pt x="267135" y="74051"/>
                  <a:pt x="266366" y="84156"/>
                </a:cubicBezTo>
                <a:lnTo>
                  <a:pt x="266221" y="87958"/>
                </a:lnTo>
                <a:lnTo>
                  <a:pt x="265596" y="91711"/>
                </a:lnTo>
                <a:cubicBezTo>
                  <a:pt x="265212" y="94213"/>
                  <a:pt x="264779" y="96764"/>
                  <a:pt x="264394" y="99314"/>
                </a:cubicBezTo>
                <a:cubicBezTo>
                  <a:pt x="263673" y="101768"/>
                  <a:pt x="262952" y="104270"/>
                  <a:pt x="262231" y="106773"/>
                </a:cubicBezTo>
                <a:cubicBezTo>
                  <a:pt x="261846" y="108024"/>
                  <a:pt x="261509" y="109275"/>
                  <a:pt x="261124" y="110526"/>
                </a:cubicBezTo>
                <a:lnTo>
                  <a:pt x="259538" y="114183"/>
                </a:lnTo>
                <a:cubicBezTo>
                  <a:pt x="251652" y="133912"/>
                  <a:pt x="236120" y="151284"/>
                  <a:pt x="216741" y="164324"/>
                </a:cubicBezTo>
                <a:cubicBezTo>
                  <a:pt x="197267" y="177413"/>
                  <a:pt x="174041" y="186411"/>
                  <a:pt x="149517" y="191127"/>
                </a:cubicBezTo>
                <a:cubicBezTo>
                  <a:pt x="124945" y="195699"/>
                  <a:pt x="99989" y="195843"/>
                  <a:pt x="77196" y="190550"/>
                </a:cubicBezTo>
                <a:cubicBezTo>
                  <a:pt x="65800" y="188048"/>
                  <a:pt x="55077" y="183813"/>
                  <a:pt x="45556" y="178183"/>
                </a:cubicBezTo>
                <a:cubicBezTo>
                  <a:pt x="36179" y="172505"/>
                  <a:pt x="27668" y="165527"/>
                  <a:pt x="21946" y="156866"/>
                </a:cubicBezTo>
                <a:cubicBezTo>
                  <a:pt x="16175" y="148300"/>
                  <a:pt x="12136" y="138773"/>
                  <a:pt x="10501" y="128908"/>
                </a:cubicBezTo>
                <a:cubicBezTo>
                  <a:pt x="9828" y="126502"/>
                  <a:pt x="9972" y="123952"/>
                  <a:pt x="9636" y="121546"/>
                </a:cubicBezTo>
                <a:cubicBezTo>
                  <a:pt x="9491" y="119091"/>
                  <a:pt x="9010" y="116685"/>
                  <a:pt x="9203" y="114183"/>
                </a:cubicBezTo>
                <a:cubicBezTo>
                  <a:pt x="9395" y="109227"/>
                  <a:pt x="9251" y="104270"/>
                  <a:pt x="9732" y="99506"/>
                </a:cubicBezTo>
                <a:cubicBezTo>
                  <a:pt x="11319" y="80403"/>
                  <a:pt x="17714" y="63368"/>
                  <a:pt x="28149" y="51194"/>
                </a:cubicBezTo>
                <a:cubicBezTo>
                  <a:pt x="38631" y="39019"/>
                  <a:pt x="52144" y="31946"/>
                  <a:pt x="64117" y="26797"/>
                </a:cubicBezTo>
                <a:cubicBezTo>
                  <a:pt x="76235" y="21696"/>
                  <a:pt x="87294" y="18472"/>
                  <a:pt x="96286" y="15874"/>
                </a:cubicBezTo>
                <a:cubicBezTo>
                  <a:pt x="114367" y="10725"/>
                  <a:pt x="124416" y="7741"/>
                  <a:pt x="124224" y="7019"/>
                </a:cubicBezTo>
                <a:cubicBezTo>
                  <a:pt x="124032" y="6346"/>
                  <a:pt x="113741" y="7934"/>
                  <a:pt x="95276" y="11880"/>
                </a:cubicBezTo>
                <a:cubicBezTo>
                  <a:pt x="86044" y="13901"/>
                  <a:pt x="74696" y="16547"/>
                  <a:pt x="61905" y="21311"/>
                </a:cubicBezTo>
                <a:cubicBezTo>
                  <a:pt x="49306" y="26123"/>
                  <a:pt x="34592" y="33101"/>
                  <a:pt x="22523" y="46237"/>
                </a:cubicBezTo>
                <a:cubicBezTo>
                  <a:pt x="10501" y="59374"/>
                  <a:pt x="2952" y="78382"/>
                  <a:pt x="932" y="98688"/>
                </a:cubicBezTo>
                <a:cubicBezTo>
                  <a:pt x="307" y="103789"/>
                  <a:pt x="403" y="108938"/>
                  <a:pt x="67" y="114231"/>
                </a:cubicBezTo>
                <a:cubicBezTo>
                  <a:pt x="-174" y="116830"/>
                  <a:pt x="307" y="119621"/>
                  <a:pt x="403" y="122315"/>
                </a:cubicBezTo>
                <a:cubicBezTo>
                  <a:pt x="692" y="125010"/>
                  <a:pt x="547" y="127801"/>
                  <a:pt x="1269" y="130544"/>
                </a:cubicBezTo>
                <a:cubicBezTo>
                  <a:pt x="2952" y="141612"/>
                  <a:pt x="7328" y="152631"/>
                  <a:pt x="13915" y="162496"/>
                </a:cubicBezTo>
                <a:cubicBezTo>
                  <a:pt x="20455" y="172553"/>
                  <a:pt x="29976" y="180589"/>
                  <a:pt x="40362" y="186941"/>
                </a:cubicBezTo>
                <a:cubicBezTo>
                  <a:pt x="50845" y="193293"/>
                  <a:pt x="62578" y="197960"/>
                  <a:pt x="74792" y="200751"/>
                </a:cubicBezTo>
                <a:cubicBezTo>
                  <a:pt x="99268" y="206574"/>
                  <a:pt x="125570" y="206477"/>
                  <a:pt x="151489" y="201665"/>
                </a:cubicBezTo>
                <a:cubicBezTo>
                  <a:pt x="177359" y="196709"/>
                  <a:pt x="201835" y="187133"/>
                  <a:pt x="222608" y="173034"/>
                </a:cubicBezTo>
                <a:cubicBezTo>
                  <a:pt x="243285" y="158983"/>
                  <a:pt x="260211" y="139879"/>
                  <a:pt x="268674" y="117937"/>
                </a:cubicBezTo>
                <a:lnTo>
                  <a:pt x="270357" y="113894"/>
                </a:lnTo>
                <a:cubicBezTo>
                  <a:pt x="270790" y="112499"/>
                  <a:pt x="271174" y="111104"/>
                  <a:pt x="271559" y="109708"/>
                </a:cubicBezTo>
                <a:cubicBezTo>
                  <a:pt x="272328" y="106917"/>
                  <a:pt x="273098" y="104174"/>
                  <a:pt x="273819" y="101431"/>
                </a:cubicBezTo>
                <a:cubicBezTo>
                  <a:pt x="274252" y="98592"/>
                  <a:pt x="274636" y="95801"/>
                  <a:pt x="275069" y="93058"/>
                </a:cubicBezTo>
                <a:lnTo>
                  <a:pt x="275646" y="88920"/>
                </a:lnTo>
                <a:lnTo>
                  <a:pt x="275791" y="84782"/>
                </a:lnTo>
                <a:cubicBezTo>
                  <a:pt x="276464" y="73858"/>
                  <a:pt x="275502" y="62839"/>
                  <a:pt x="272040" y="52782"/>
                </a:cubicBezTo>
                <a:cubicBezTo>
                  <a:pt x="268626" y="42725"/>
                  <a:pt x="262856" y="33871"/>
                  <a:pt x="255883" y="27037"/>
                </a:cubicBezTo>
                <a:close/>
              </a:path>
            </a:pathLst>
          </a:custGeom>
          <a:solidFill>
            <a:srgbClr val="29C8C1"/>
          </a:solidFill>
          <a:ln w="0"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DD6E714C-FEEC-C639-6867-E6FAB9370AC2}"/>
              </a:ext>
            </a:extLst>
          </p:cNvPr>
          <p:cNvSpPr/>
          <p:nvPr/>
        </p:nvSpPr>
        <p:spPr>
          <a:xfrm>
            <a:off x="8902235" y="3454019"/>
            <a:ext cx="519261" cy="384186"/>
          </a:xfrm>
          <a:custGeom>
            <a:avLst/>
            <a:gdLst>
              <a:gd name="connsiteX0" fmla="*/ 4748 w 519261"/>
              <a:gd name="connsiteY0" fmla="*/ 262500 h 384186"/>
              <a:gd name="connsiteX1" fmla="*/ 37014 w 519261"/>
              <a:gd name="connsiteY1" fmla="*/ 329243 h 384186"/>
              <a:gd name="connsiteX2" fmla="*/ 96448 w 519261"/>
              <a:gd name="connsiteY2" fmla="*/ 369808 h 384186"/>
              <a:gd name="connsiteX3" fmla="*/ 164008 w 519261"/>
              <a:gd name="connsiteY3" fmla="*/ 383715 h 384186"/>
              <a:gd name="connsiteX4" fmla="*/ 229693 w 519261"/>
              <a:gd name="connsiteY4" fmla="*/ 380539 h 384186"/>
              <a:gd name="connsiteX5" fmla="*/ 345388 w 519261"/>
              <a:gd name="connsiteY5" fmla="*/ 345411 h 384186"/>
              <a:gd name="connsiteX6" fmla="*/ 434250 w 519261"/>
              <a:gd name="connsiteY6" fmla="*/ 288918 h 384186"/>
              <a:gd name="connsiteX7" fmla="*/ 491280 w 519261"/>
              <a:gd name="connsiteY7" fmla="*/ 223282 h 384186"/>
              <a:gd name="connsiteX8" fmla="*/ 507293 w 519261"/>
              <a:gd name="connsiteY8" fmla="*/ 191234 h 384186"/>
              <a:gd name="connsiteX9" fmla="*/ 515852 w 519261"/>
              <a:gd name="connsiteY9" fmla="*/ 162362 h 384186"/>
              <a:gd name="connsiteX10" fmla="*/ 518930 w 519261"/>
              <a:gd name="connsiteY10" fmla="*/ 121027 h 384186"/>
              <a:gd name="connsiteX11" fmla="*/ 517775 w 519261"/>
              <a:gd name="connsiteY11" fmla="*/ 110296 h 384186"/>
              <a:gd name="connsiteX12" fmla="*/ 516958 w 519261"/>
              <a:gd name="connsiteY12" fmla="*/ 106687 h 384186"/>
              <a:gd name="connsiteX13" fmla="*/ 516766 w 519261"/>
              <a:gd name="connsiteY13" fmla="*/ 121027 h 384186"/>
              <a:gd name="connsiteX14" fmla="*/ 511765 w 519261"/>
              <a:gd name="connsiteY14" fmla="*/ 161400 h 384186"/>
              <a:gd name="connsiteX15" fmla="*/ 502532 w 519261"/>
              <a:gd name="connsiteY15" fmla="*/ 189261 h 384186"/>
              <a:gd name="connsiteX16" fmla="*/ 486183 w 519261"/>
              <a:gd name="connsiteY16" fmla="*/ 220058 h 384186"/>
              <a:gd name="connsiteX17" fmla="*/ 429346 w 519261"/>
              <a:gd name="connsiteY17" fmla="*/ 283048 h 384186"/>
              <a:gd name="connsiteX18" fmla="*/ 341637 w 519261"/>
              <a:gd name="connsiteY18" fmla="*/ 337279 h 384186"/>
              <a:gd name="connsiteX19" fmla="*/ 228251 w 519261"/>
              <a:gd name="connsiteY19" fmla="*/ 370674 h 384186"/>
              <a:gd name="connsiteX20" fmla="*/ 164537 w 519261"/>
              <a:gd name="connsiteY20" fmla="*/ 373417 h 384186"/>
              <a:gd name="connsiteX21" fmla="*/ 100150 w 519261"/>
              <a:gd name="connsiteY21" fmla="*/ 359943 h 384186"/>
              <a:gd name="connsiteX22" fmla="*/ 44948 w 519261"/>
              <a:gd name="connsiteY22" fmla="*/ 322121 h 384186"/>
              <a:gd name="connsiteX23" fmla="*/ 15135 w 519261"/>
              <a:gd name="connsiteY23" fmla="*/ 260142 h 384186"/>
              <a:gd name="connsiteX24" fmla="*/ 10903 w 519261"/>
              <a:gd name="connsiteY24" fmla="*/ 225015 h 384186"/>
              <a:gd name="connsiteX25" fmla="*/ 11143 w 519261"/>
              <a:gd name="connsiteY25" fmla="*/ 207547 h 384186"/>
              <a:gd name="connsiteX26" fmla="*/ 13404 w 519261"/>
              <a:gd name="connsiteY26" fmla="*/ 190416 h 384186"/>
              <a:gd name="connsiteX27" fmla="*/ 17347 w 519261"/>
              <a:gd name="connsiteY27" fmla="*/ 173767 h 384186"/>
              <a:gd name="connsiteX28" fmla="*/ 23309 w 519261"/>
              <a:gd name="connsiteY28" fmla="*/ 157839 h 384186"/>
              <a:gd name="connsiteX29" fmla="*/ 30811 w 519261"/>
              <a:gd name="connsiteY29" fmla="*/ 142729 h 384186"/>
              <a:gd name="connsiteX30" fmla="*/ 39995 w 519261"/>
              <a:gd name="connsiteY30" fmla="*/ 128726 h 384186"/>
              <a:gd name="connsiteX31" fmla="*/ 61874 w 519261"/>
              <a:gd name="connsiteY31" fmla="*/ 103800 h 384186"/>
              <a:gd name="connsiteX32" fmla="*/ 74136 w 519261"/>
              <a:gd name="connsiteY32" fmla="*/ 92828 h 384186"/>
              <a:gd name="connsiteX33" fmla="*/ 87119 w 519261"/>
              <a:gd name="connsiteY33" fmla="*/ 82964 h 384186"/>
              <a:gd name="connsiteX34" fmla="*/ 142610 w 519261"/>
              <a:gd name="connsiteY34" fmla="*/ 51541 h 384186"/>
              <a:gd name="connsiteX35" fmla="*/ 255948 w 519261"/>
              <a:gd name="connsiteY35" fmla="*/ 16606 h 384186"/>
              <a:gd name="connsiteX36" fmla="*/ 358996 w 519261"/>
              <a:gd name="connsiteY36" fmla="*/ 7896 h 384186"/>
              <a:gd name="connsiteX37" fmla="*/ 442569 w 519261"/>
              <a:gd name="connsiteY37" fmla="*/ 21996 h 384186"/>
              <a:gd name="connsiteX38" fmla="*/ 494935 w 519261"/>
              <a:gd name="connsiteY38" fmla="*/ 57027 h 384186"/>
              <a:gd name="connsiteX39" fmla="*/ 513255 w 519261"/>
              <a:gd name="connsiteY39" fmla="*/ 92780 h 384186"/>
              <a:gd name="connsiteX40" fmla="*/ 515804 w 519261"/>
              <a:gd name="connsiteY40" fmla="*/ 103126 h 384186"/>
              <a:gd name="connsiteX41" fmla="*/ 516910 w 519261"/>
              <a:gd name="connsiteY41" fmla="*/ 106639 h 384186"/>
              <a:gd name="connsiteX42" fmla="*/ 516910 w 519261"/>
              <a:gd name="connsiteY42" fmla="*/ 102934 h 384186"/>
              <a:gd name="connsiteX43" fmla="*/ 515371 w 519261"/>
              <a:gd name="connsiteY43" fmla="*/ 92251 h 384186"/>
              <a:gd name="connsiteX44" fmla="*/ 498205 w 519261"/>
              <a:gd name="connsiteY44" fmla="*/ 54429 h 384186"/>
              <a:gd name="connsiteX45" fmla="*/ 444733 w 519261"/>
              <a:gd name="connsiteY45" fmla="*/ 16414 h 384186"/>
              <a:gd name="connsiteX46" fmla="*/ 359285 w 519261"/>
              <a:gd name="connsiteY46" fmla="*/ 341 h 384186"/>
              <a:gd name="connsiteX47" fmla="*/ 138619 w 519261"/>
              <a:gd name="connsiteY47" fmla="*/ 42495 h 384186"/>
              <a:gd name="connsiteX48" fmla="*/ 81204 w 519261"/>
              <a:gd name="connsiteY48" fmla="*/ 74591 h 384186"/>
              <a:gd name="connsiteX49" fmla="*/ 67596 w 519261"/>
              <a:gd name="connsiteY49" fmla="*/ 84840 h 384186"/>
              <a:gd name="connsiteX50" fmla="*/ 54709 w 519261"/>
              <a:gd name="connsiteY50" fmla="*/ 96245 h 384186"/>
              <a:gd name="connsiteX51" fmla="*/ 31484 w 519261"/>
              <a:gd name="connsiteY51" fmla="*/ 122519 h 384186"/>
              <a:gd name="connsiteX52" fmla="*/ 21626 w 519261"/>
              <a:gd name="connsiteY52" fmla="*/ 137436 h 384186"/>
              <a:gd name="connsiteX53" fmla="*/ 13548 w 519261"/>
              <a:gd name="connsiteY53" fmla="*/ 153604 h 384186"/>
              <a:gd name="connsiteX54" fmla="*/ 7152 w 519261"/>
              <a:gd name="connsiteY54" fmla="*/ 170639 h 384186"/>
              <a:gd name="connsiteX55" fmla="*/ 2873 w 519261"/>
              <a:gd name="connsiteY55" fmla="*/ 188491 h 384186"/>
              <a:gd name="connsiteX56" fmla="*/ 420 w 519261"/>
              <a:gd name="connsiteY56" fmla="*/ 206777 h 384186"/>
              <a:gd name="connsiteX57" fmla="*/ 180 w 519261"/>
              <a:gd name="connsiteY57" fmla="*/ 225303 h 384186"/>
              <a:gd name="connsiteX58" fmla="*/ 4604 w 519261"/>
              <a:gd name="connsiteY58" fmla="*/ 262308 h 38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9261" h="384186">
                <a:moveTo>
                  <a:pt x="4748" y="262500"/>
                </a:moveTo>
                <a:cubicBezTo>
                  <a:pt x="9989" y="287041"/>
                  <a:pt x="20665" y="310572"/>
                  <a:pt x="37014" y="329243"/>
                </a:cubicBezTo>
                <a:cubicBezTo>
                  <a:pt x="53315" y="347962"/>
                  <a:pt x="74424" y="361339"/>
                  <a:pt x="96448" y="369808"/>
                </a:cubicBezTo>
                <a:cubicBezTo>
                  <a:pt x="118519" y="378470"/>
                  <a:pt x="141600" y="382319"/>
                  <a:pt x="164008" y="383715"/>
                </a:cubicBezTo>
                <a:cubicBezTo>
                  <a:pt x="186512" y="384966"/>
                  <a:pt x="208536" y="383667"/>
                  <a:pt x="229693" y="380539"/>
                </a:cubicBezTo>
                <a:cubicBezTo>
                  <a:pt x="272057" y="374283"/>
                  <a:pt x="311006" y="361435"/>
                  <a:pt x="345388" y="345411"/>
                </a:cubicBezTo>
                <a:cubicBezTo>
                  <a:pt x="379769" y="329339"/>
                  <a:pt x="409727" y="309947"/>
                  <a:pt x="434250" y="288918"/>
                </a:cubicBezTo>
                <a:cubicBezTo>
                  <a:pt x="458822" y="267890"/>
                  <a:pt x="478009" y="245321"/>
                  <a:pt x="491280" y="223282"/>
                </a:cubicBezTo>
                <a:cubicBezTo>
                  <a:pt x="497964" y="212263"/>
                  <a:pt x="503206" y="201484"/>
                  <a:pt x="507293" y="191234"/>
                </a:cubicBezTo>
                <a:cubicBezTo>
                  <a:pt x="511236" y="180936"/>
                  <a:pt x="514025" y="171216"/>
                  <a:pt x="515852" y="162362"/>
                </a:cubicBezTo>
                <a:cubicBezTo>
                  <a:pt x="519555" y="144606"/>
                  <a:pt x="519603" y="130458"/>
                  <a:pt x="518930" y="121027"/>
                </a:cubicBezTo>
                <a:cubicBezTo>
                  <a:pt x="518833" y="116311"/>
                  <a:pt x="518064" y="112702"/>
                  <a:pt x="517775" y="110296"/>
                </a:cubicBezTo>
                <a:cubicBezTo>
                  <a:pt x="517391" y="107890"/>
                  <a:pt x="517151" y="106687"/>
                  <a:pt x="516958" y="106687"/>
                </a:cubicBezTo>
                <a:cubicBezTo>
                  <a:pt x="516477" y="106687"/>
                  <a:pt x="516814" y="111692"/>
                  <a:pt x="516766" y="121027"/>
                </a:cubicBezTo>
                <a:cubicBezTo>
                  <a:pt x="516766" y="130362"/>
                  <a:pt x="515996" y="144221"/>
                  <a:pt x="511765" y="161400"/>
                </a:cubicBezTo>
                <a:cubicBezTo>
                  <a:pt x="509649" y="169965"/>
                  <a:pt x="506620" y="179349"/>
                  <a:pt x="502532" y="189261"/>
                </a:cubicBezTo>
                <a:cubicBezTo>
                  <a:pt x="498253" y="199126"/>
                  <a:pt x="492915" y="209520"/>
                  <a:pt x="486183" y="220058"/>
                </a:cubicBezTo>
                <a:cubicBezTo>
                  <a:pt x="472767" y="241231"/>
                  <a:pt x="453629" y="262885"/>
                  <a:pt x="429346" y="283048"/>
                </a:cubicBezTo>
                <a:cubicBezTo>
                  <a:pt x="405062" y="303258"/>
                  <a:pt x="375490" y="321881"/>
                  <a:pt x="341637" y="337279"/>
                </a:cubicBezTo>
                <a:cubicBezTo>
                  <a:pt x="307833" y="352629"/>
                  <a:pt x="269556" y="364852"/>
                  <a:pt x="228251" y="370674"/>
                </a:cubicBezTo>
                <a:cubicBezTo>
                  <a:pt x="207622" y="373610"/>
                  <a:pt x="186224" y="374765"/>
                  <a:pt x="164537" y="373417"/>
                </a:cubicBezTo>
                <a:cubicBezTo>
                  <a:pt x="142947" y="371925"/>
                  <a:pt x="120875" y="368124"/>
                  <a:pt x="100150" y="359943"/>
                </a:cubicBezTo>
                <a:cubicBezTo>
                  <a:pt x="79425" y="351859"/>
                  <a:pt x="59902" y="339396"/>
                  <a:pt x="44948" y="322121"/>
                </a:cubicBezTo>
                <a:cubicBezTo>
                  <a:pt x="29945" y="304894"/>
                  <a:pt x="20087" y="283192"/>
                  <a:pt x="15135" y="260142"/>
                </a:cubicBezTo>
                <a:cubicBezTo>
                  <a:pt x="12971" y="248449"/>
                  <a:pt x="11047" y="236756"/>
                  <a:pt x="10903" y="225015"/>
                </a:cubicBezTo>
                <a:cubicBezTo>
                  <a:pt x="10470" y="219144"/>
                  <a:pt x="11047" y="213369"/>
                  <a:pt x="11143" y="207547"/>
                </a:cubicBezTo>
                <a:cubicBezTo>
                  <a:pt x="11865" y="201821"/>
                  <a:pt x="12153" y="195998"/>
                  <a:pt x="13404" y="190416"/>
                </a:cubicBezTo>
                <a:cubicBezTo>
                  <a:pt x="14269" y="184738"/>
                  <a:pt x="15904" y="179252"/>
                  <a:pt x="17347" y="173767"/>
                </a:cubicBezTo>
                <a:cubicBezTo>
                  <a:pt x="19222" y="168425"/>
                  <a:pt x="20857" y="162940"/>
                  <a:pt x="23309" y="157839"/>
                </a:cubicBezTo>
                <a:cubicBezTo>
                  <a:pt x="25425" y="152594"/>
                  <a:pt x="28214" y="147686"/>
                  <a:pt x="30811" y="142729"/>
                </a:cubicBezTo>
                <a:cubicBezTo>
                  <a:pt x="33792" y="137965"/>
                  <a:pt x="36629" y="133153"/>
                  <a:pt x="39995" y="128726"/>
                </a:cubicBezTo>
                <a:cubicBezTo>
                  <a:pt x="46487" y="119680"/>
                  <a:pt x="53844" y="111307"/>
                  <a:pt x="61874" y="103800"/>
                </a:cubicBezTo>
                <a:cubicBezTo>
                  <a:pt x="65769" y="99902"/>
                  <a:pt x="70048" y="96437"/>
                  <a:pt x="74136" y="92828"/>
                </a:cubicBezTo>
                <a:cubicBezTo>
                  <a:pt x="78463" y="89508"/>
                  <a:pt x="82647" y="85995"/>
                  <a:pt x="87119" y="82964"/>
                </a:cubicBezTo>
                <a:cubicBezTo>
                  <a:pt x="104718" y="70260"/>
                  <a:pt x="123664" y="60203"/>
                  <a:pt x="142610" y="51541"/>
                </a:cubicBezTo>
                <a:cubicBezTo>
                  <a:pt x="180742" y="34603"/>
                  <a:pt x="219451" y="23728"/>
                  <a:pt x="255948" y="16606"/>
                </a:cubicBezTo>
                <a:cubicBezTo>
                  <a:pt x="292542" y="9773"/>
                  <a:pt x="327404" y="7030"/>
                  <a:pt x="358996" y="7896"/>
                </a:cubicBezTo>
                <a:cubicBezTo>
                  <a:pt x="390589" y="8762"/>
                  <a:pt x="419152" y="13382"/>
                  <a:pt x="442569" y="21996"/>
                </a:cubicBezTo>
                <a:cubicBezTo>
                  <a:pt x="466035" y="30465"/>
                  <a:pt x="484019" y="43313"/>
                  <a:pt x="494935" y="57027"/>
                </a:cubicBezTo>
                <a:cubicBezTo>
                  <a:pt x="506042" y="70597"/>
                  <a:pt x="510851" y="83830"/>
                  <a:pt x="513255" y="92780"/>
                </a:cubicBezTo>
                <a:cubicBezTo>
                  <a:pt x="514746" y="97207"/>
                  <a:pt x="515131" y="100768"/>
                  <a:pt x="515804" y="103126"/>
                </a:cubicBezTo>
                <a:cubicBezTo>
                  <a:pt x="516381" y="105484"/>
                  <a:pt x="516718" y="106687"/>
                  <a:pt x="516910" y="106639"/>
                </a:cubicBezTo>
                <a:cubicBezTo>
                  <a:pt x="517102" y="106639"/>
                  <a:pt x="517102" y="105388"/>
                  <a:pt x="516910" y="102934"/>
                </a:cubicBezTo>
                <a:cubicBezTo>
                  <a:pt x="516573" y="100528"/>
                  <a:pt x="516573" y="96870"/>
                  <a:pt x="515371" y="92251"/>
                </a:cubicBezTo>
                <a:cubicBezTo>
                  <a:pt x="513592" y="83012"/>
                  <a:pt x="509313" y="69057"/>
                  <a:pt x="498205" y="54429"/>
                </a:cubicBezTo>
                <a:cubicBezTo>
                  <a:pt x="487337" y="39704"/>
                  <a:pt x="468824" y="25701"/>
                  <a:pt x="444733" y="16414"/>
                </a:cubicBezTo>
                <a:cubicBezTo>
                  <a:pt x="420690" y="6934"/>
                  <a:pt x="391502" y="1689"/>
                  <a:pt x="359285" y="341"/>
                </a:cubicBezTo>
                <a:cubicBezTo>
                  <a:pt x="294994" y="-2161"/>
                  <a:pt x="217287" y="8811"/>
                  <a:pt x="138619" y="42495"/>
                </a:cubicBezTo>
                <a:cubicBezTo>
                  <a:pt x="119096" y="51204"/>
                  <a:pt x="99573" y="61502"/>
                  <a:pt x="81204" y="74591"/>
                </a:cubicBezTo>
                <a:cubicBezTo>
                  <a:pt x="76540" y="77719"/>
                  <a:pt x="72164" y="81376"/>
                  <a:pt x="67596" y="84840"/>
                </a:cubicBezTo>
                <a:cubicBezTo>
                  <a:pt x="63268" y="88594"/>
                  <a:pt x="58797" y="92155"/>
                  <a:pt x="54709" y="96245"/>
                </a:cubicBezTo>
                <a:cubicBezTo>
                  <a:pt x="46246" y="104137"/>
                  <a:pt x="38456" y="112943"/>
                  <a:pt x="31484" y="122519"/>
                </a:cubicBezTo>
                <a:cubicBezTo>
                  <a:pt x="27877" y="127234"/>
                  <a:pt x="24848" y="132383"/>
                  <a:pt x="21626" y="137436"/>
                </a:cubicBezTo>
                <a:cubicBezTo>
                  <a:pt x="18837" y="142729"/>
                  <a:pt x="15856" y="147974"/>
                  <a:pt x="13548" y="153604"/>
                </a:cubicBezTo>
                <a:cubicBezTo>
                  <a:pt x="10951" y="159090"/>
                  <a:pt x="9124" y="164912"/>
                  <a:pt x="7152" y="170639"/>
                </a:cubicBezTo>
                <a:cubicBezTo>
                  <a:pt x="5565" y="176509"/>
                  <a:pt x="3834" y="182428"/>
                  <a:pt x="2873" y="188491"/>
                </a:cubicBezTo>
                <a:cubicBezTo>
                  <a:pt x="1526" y="194506"/>
                  <a:pt x="1190" y="200666"/>
                  <a:pt x="420" y="206777"/>
                </a:cubicBezTo>
                <a:cubicBezTo>
                  <a:pt x="324" y="212936"/>
                  <a:pt x="-301" y="219144"/>
                  <a:pt x="180" y="225303"/>
                </a:cubicBezTo>
                <a:cubicBezTo>
                  <a:pt x="324" y="237718"/>
                  <a:pt x="2344" y="250037"/>
                  <a:pt x="4604" y="262308"/>
                </a:cubicBezTo>
                <a:close/>
              </a:path>
            </a:pathLst>
          </a:custGeom>
          <a:solidFill>
            <a:srgbClr val="29C8C1"/>
          </a:solidFill>
          <a:ln w="0"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898D1295-C3E8-0E56-2C24-B9573DFA816D}"/>
              </a:ext>
            </a:extLst>
          </p:cNvPr>
          <p:cNvSpPr/>
          <p:nvPr/>
        </p:nvSpPr>
        <p:spPr>
          <a:xfrm>
            <a:off x="9917702" y="3460976"/>
            <a:ext cx="37635" cy="71580"/>
          </a:xfrm>
          <a:custGeom>
            <a:avLst/>
            <a:gdLst>
              <a:gd name="connsiteX0" fmla="*/ 7401 w 37635"/>
              <a:gd name="connsiteY0" fmla="*/ 67249 h 71580"/>
              <a:gd name="connsiteX1" fmla="*/ 17643 w 37635"/>
              <a:gd name="connsiteY1" fmla="*/ 71580 h 71580"/>
              <a:gd name="connsiteX2" fmla="*/ 27453 w 37635"/>
              <a:gd name="connsiteY2" fmla="*/ 67875 h 71580"/>
              <a:gd name="connsiteX3" fmla="*/ 32838 w 37635"/>
              <a:gd name="connsiteY3" fmla="*/ 61090 h 71580"/>
              <a:gd name="connsiteX4" fmla="*/ 37599 w 37635"/>
              <a:gd name="connsiteY4" fmla="*/ 35730 h 71580"/>
              <a:gd name="connsiteX5" fmla="*/ 32117 w 37635"/>
              <a:gd name="connsiteY5" fmla="*/ 13788 h 71580"/>
              <a:gd name="connsiteX6" fmla="*/ 30049 w 37635"/>
              <a:gd name="connsiteY6" fmla="*/ 35538 h 71580"/>
              <a:gd name="connsiteX7" fmla="*/ 24327 w 37635"/>
              <a:gd name="connsiteY7" fmla="*/ 56133 h 71580"/>
              <a:gd name="connsiteX8" fmla="*/ 21057 w 37635"/>
              <a:gd name="connsiteY8" fmla="*/ 59935 h 71580"/>
              <a:gd name="connsiteX9" fmla="*/ 17739 w 37635"/>
              <a:gd name="connsiteY9" fmla="*/ 61138 h 71580"/>
              <a:gd name="connsiteX10" fmla="*/ 14758 w 37635"/>
              <a:gd name="connsiteY10" fmla="*/ 59646 h 71580"/>
              <a:gd name="connsiteX11" fmla="*/ 12065 w 37635"/>
              <a:gd name="connsiteY11" fmla="*/ 55123 h 71580"/>
              <a:gd name="connsiteX12" fmla="*/ 12739 w 37635"/>
              <a:gd name="connsiteY12" fmla="*/ 29715 h 71580"/>
              <a:gd name="connsiteX13" fmla="*/ 16489 w 37635"/>
              <a:gd name="connsiteY13" fmla="*/ 18167 h 71580"/>
              <a:gd name="connsiteX14" fmla="*/ 20817 w 37635"/>
              <a:gd name="connsiteY14" fmla="*/ 9361 h 71580"/>
              <a:gd name="connsiteX15" fmla="*/ 23221 w 37635"/>
              <a:gd name="connsiteY15" fmla="*/ 6858 h 71580"/>
              <a:gd name="connsiteX16" fmla="*/ 25049 w 37635"/>
              <a:gd name="connsiteY16" fmla="*/ 6185 h 71580"/>
              <a:gd name="connsiteX17" fmla="*/ 28607 w 37635"/>
              <a:gd name="connsiteY17" fmla="*/ 9024 h 71580"/>
              <a:gd name="connsiteX18" fmla="*/ 32165 w 37635"/>
              <a:gd name="connsiteY18" fmla="*/ 13788 h 71580"/>
              <a:gd name="connsiteX19" fmla="*/ 32406 w 37635"/>
              <a:gd name="connsiteY19" fmla="*/ 7291 h 71580"/>
              <a:gd name="connsiteX20" fmla="*/ 26731 w 37635"/>
              <a:gd name="connsiteY20" fmla="*/ 458 h 71580"/>
              <a:gd name="connsiteX21" fmla="*/ 20240 w 37635"/>
              <a:gd name="connsiteY21" fmla="*/ 795 h 71580"/>
              <a:gd name="connsiteX22" fmla="*/ 15191 w 37635"/>
              <a:gd name="connsiteY22" fmla="*/ 4356 h 71580"/>
              <a:gd name="connsiteX23" fmla="*/ 8411 w 37635"/>
              <a:gd name="connsiteY23" fmla="*/ 14654 h 71580"/>
              <a:gd name="connsiteX24" fmla="*/ 3314 w 37635"/>
              <a:gd name="connsiteY24" fmla="*/ 26973 h 71580"/>
              <a:gd name="connsiteX25" fmla="*/ 188 w 37635"/>
              <a:gd name="connsiteY25" fmla="*/ 41794 h 71580"/>
              <a:gd name="connsiteX26" fmla="*/ 2064 w 37635"/>
              <a:gd name="connsiteY26" fmla="*/ 58924 h 71580"/>
              <a:gd name="connsiteX27" fmla="*/ 7353 w 37635"/>
              <a:gd name="connsiteY27" fmla="*/ 67345 h 7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635" h="71580">
                <a:moveTo>
                  <a:pt x="7401" y="67249"/>
                </a:moveTo>
                <a:cubicBezTo>
                  <a:pt x="9950" y="69703"/>
                  <a:pt x="13700" y="71628"/>
                  <a:pt x="17643" y="71580"/>
                </a:cubicBezTo>
                <a:cubicBezTo>
                  <a:pt x="21587" y="71580"/>
                  <a:pt x="25000" y="69848"/>
                  <a:pt x="27453" y="67875"/>
                </a:cubicBezTo>
                <a:cubicBezTo>
                  <a:pt x="29857" y="65806"/>
                  <a:pt x="31588" y="63448"/>
                  <a:pt x="32838" y="61090"/>
                </a:cubicBezTo>
                <a:cubicBezTo>
                  <a:pt x="37695" y="51562"/>
                  <a:pt x="37743" y="42756"/>
                  <a:pt x="37599" y="35730"/>
                </a:cubicBezTo>
                <a:cubicBezTo>
                  <a:pt x="36830" y="21535"/>
                  <a:pt x="33367" y="13547"/>
                  <a:pt x="32117" y="13788"/>
                </a:cubicBezTo>
                <a:cubicBezTo>
                  <a:pt x="30434" y="14028"/>
                  <a:pt x="31252" y="22545"/>
                  <a:pt x="30049" y="35538"/>
                </a:cubicBezTo>
                <a:cubicBezTo>
                  <a:pt x="29376" y="41890"/>
                  <a:pt x="28174" y="49830"/>
                  <a:pt x="24327" y="56133"/>
                </a:cubicBezTo>
                <a:cubicBezTo>
                  <a:pt x="23366" y="57673"/>
                  <a:pt x="22212" y="58972"/>
                  <a:pt x="21057" y="59935"/>
                </a:cubicBezTo>
                <a:cubicBezTo>
                  <a:pt x="19855" y="60801"/>
                  <a:pt x="18701" y="61186"/>
                  <a:pt x="17739" y="61138"/>
                </a:cubicBezTo>
                <a:cubicBezTo>
                  <a:pt x="16778" y="61138"/>
                  <a:pt x="15816" y="60657"/>
                  <a:pt x="14758" y="59646"/>
                </a:cubicBezTo>
                <a:cubicBezTo>
                  <a:pt x="13652" y="58684"/>
                  <a:pt x="12787" y="56951"/>
                  <a:pt x="12065" y="55123"/>
                </a:cubicBezTo>
                <a:cubicBezTo>
                  <a:pt x="9373" y="47327"/>
                  <a:pt x="10623" y="37703"/>
                  <a:pt x="12739" y="29715"/>
                </a:cubicBezTo>
                <a:cubicBezTo>
                  <a:pt x="13749" y="25625"/>
                  <a:pt x="15095" y="21776"/>
                  <a:pt x="16489" y="18167"/>
                </a:cubicBezTo>
                <a:cubicBezTo>
                  <a:pt x="17788" y="14558"/>
                  <a:pt x="19134" y="11574"/>
                  <a:pt x="20817" y="9361"/>
                </a:cubicBezTo>
                <a:cubicBezTo>
                  <a:pt x="21587" y="8206"/>
                  <a:pt x="22452" y="7436"/>
                  <a:pt x="23221" y="6858"/>
                </a:cubicBezTo>
                <a:cubicBezTo>
                  <a:pt x="23991" y="6281"/>
                  <a:pt x="24423" y="6185"/>
                  <a:pt x="25049" y="6185"/>
                </a:cubicBezTo>
                <a:cubicBezTo>
                  <a:pt x="26203" y="6185"/>
                  <a:pt x="27693" y="7628"/>
                  <a:pt x="28607" y="9024"/>
                </a:cubicBezTo>
                <a:cubicBezTo>
                  <a:pt x="30482" y="11863"/>
                  <a:pt x="31348" y="13980"/>
                  <a:pt x="32165" y="13788"/>
                </a:cubicBezTo>
                <a:cubicBezTo>
                  <a:pt x="32790" y="13643"/>
                  <a:pt x="33415" y="11478"/>
                  <a:pt x="32406" y="7291"/>
                </a:cubicBezTo>
                <a:cubicBezTo>
                  <a:pt x="31781" y="5367"/>
                  <a:pt x="30819" y="2191"/>
                  <a:pt x="26731" y="458"/>
                </a:cubicBezTo>
                <a:cubicBezTo>
                  <a:pt x="24808" y="-263"/>
                  <a:pt x="22164" y="-119"/>
                  <a:pt x="20240" y="795"/>
                </a:cubicBezTo>
                <a:cubicBezTo>
                  <a:pt x="18316" y="1661"/>
                  <a:pt x="16585" y="2912"/>
                  <a:pt x="15191" y="4356"/>
                </a:cubicBezTo>
                <a:cubicBezTo>
                  <a:pt x="12354" y="7243"/>
                  <a:pt x="10190" y="10949"/>
                  <a:pt x="8411" y="14654"/>
                </a:cubicBezTo>
                <a:cubicBezTo>
                  <a:pt x="6584" y="18359"/>
                  <a:pt x="4757" y="22449"/>
                  <a:pt x="3314" y="26973"/>
                </a:cubicBezTo>
                <a:cubicBezTo>
                  <a:pt x="1775" y="31448"/>
                  <a:pt x="669" y="36404"/>
                  <a:pt x="188" y="41794"/>
                </a:cubicBezTo>
                <a:cubicBezTo>
                  <a:pt x="-245" y="47135"/>
                  <a:pt x="-52" y="52957"/>
                  <a:pt x="2064" y="58924"/>
                </a:cubicBezTo>
                <a:cubicBezTo>
                  <a:pt x="3218" y="61860"/>
                  <a:pt x="4708" y="64843"/>
                  <a:pt x="7353" y="67345"/>
                </a:cubicBezTo>
                <a:close/>
              </a:path>
            </a:pathLst>
          </a:custGeom>
          <a:solidFill>
            <a:srgbClr val="29C8C1"/>
          </a:solidFill>
          <a:ln w="0"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C40DD7ED-244F-DE65-3506-61CE9A40BF4C}"/>
              </a:ext>
            </a:extLst>
          </p:cNvPr>
          <p:cNvSpPr/>
          <p:nvPr/>
        </p:nvSpPr>
        <p:spPr>
          <a:xfrm>
            <a:off x="5751089" y="3625199"/>
            <a:ext cx="86823" cy="286260"/>
          </a:xfrm>
          <a:custGeom>
            <a:avLst/>
            <a:gdLst>
              <a:gd name="connsiteX0" fmla="*/ 17332 w 86823"/>
              <a:gd name="connsiteY0" fmla="*/ 197569 h 286260"/>
              <a:gd name="connsiteX1" fmla="*/ 36519 w 86823"/>
              <a:gd name="connsiteY1" fmla="*/ 259789 h 286260"/>
              <a:gd name="connsiteX2" fmla="*/ 45751 w 86823"/>
              <a:gd name="connsiteY2" fmla="*/ 275139 h 286260"/>
              <a:gd name="connsiteX3" fmla="*/ 49261 w 86823"/>
              <a:gd name="connsiteY3" fmla="*/ 278315 h 286260"/>
              <a:gd name="connsiteX4" fmla="*/ 50752 w 86823"/>
              <a:gd name="connsiteY4" fmla="*/ 278988 h 286260"/>
              <a:gd name="connsiteX5" fmla="*/ 49983 w 86823"/>
              <a:gd name="connsiteY5" fmla="*/ 277497 h 286260"/>
              <a:gd name="connsiteX6" fmla="*/ 47482 w 86823"/>
              <a:gd name="connsiteY6" fmla="*/ 273840 h 286260"/>
              <a:gd name="connsiteX7" fmla="*/ 40366 w 86823"/>
              <a:gd name="connsiteY7" fmla="*/ 258152 h 286260"/>
              <a:gd name="connsiteX8" fmla="*/ 24738 w 86823"/>
              <a:gd name="connsiteY8" fmla="*/ 195981 h 286260"/>
              <a:gd name="connsiteX9" fmla="*/ 12187 w 86823"/>
              <a:gd name="connsiteY9" fmla="*/ 101473 h 286260"/>
              <a:gd name="connsiteX10" fmla="*/ 10697 w 86823"/>
              <a:gd name="connsiteY10" fmla="*/ 45558 h 286260"/>
              <a:gd name="connsiteX11" fmla="*/ 15072 w 86823"/>
              <a:gd name="connsiteY11" fmla="*/ 17744 h 286260"/>
              <a:gd name="connsiteX12" fmla="*/ 16323 w 86823"/>
              <a:gd name="connsiteY12" fmla="*/ 15049 h 286260"/>
              <a:gd name="connsiteX13" fmla="*/ 17910 w 86823"/>
              <a:gd name="connsiteY13" fmla="*/ 12740 h 286260"/>
              <a:gd name="connsiteX14" fmla="*/ 20891 w 86823"/>
              <a:gd name="connsiteY14" fmla="*/ 10622 h 286260"/>
              <a:gd name="connsiteX15" fmla="*/ 28633 w 86823"/>
              <a:gd name="connsiteY15" fmla="*/ 16589 h 286260"/>
              <a:gd name="connsiteX16" fmla="*/ 42193 w 86823"/>
              <a:gd name="connsiteY16" fmla="*/ 42526 h 286260"/>
              <a:gd name="connsiteX17" fmla="*/ 51906 w 86823"/>
              <a:gd name="connsiteY17" fmla="*/ 70388 h 286260"/>
              <a:gd name="connsiteX18" fmla="*/ 65803 w 86823"/>
              <a:gd name="connsiteY18" fmla="*/ 124812 h 286260"/>
              <a:gd name="connsiteX19" fmla="*/ 79171 w 86823"/>
              <a:gd name="connsiteY19" fmla="*/ 218983 h 286260"/>
              <a:gd name="connsiteX20" fmla="*/ 78738 w 86823"/>
              <a:gd name="connsiteY20" fmla="*/ 255217 h 286260"/>
              <a:gd name="connsiteX21" fmla="*/ 70804 w 86823"/>
              <a:gd name="connsiteY21" fmla="*/ 279758 h 286260"/>
              <a:gd name="connsiteX22" fmla="*/ 63110 w 86823"/>
              <a:gd name="connsiteY22" fmla="*/ 282934 h 286260"/>
              <a:gd name="connsiteX23" fmla="*/ 59456 w 86823"/>
              <a:gd name="connsiteY23" fmla="*/ 282309 h 286260"/>
              <a:gd name="connsiteX24" fmla="*/ 56426 w 86823"/>
              <a:gd name="connsiteY24" fmla="*/ 281250 h 286260"/>
              <a:gd name="connsiteX25" fmla="*/ 50752 w 86823"/>
              <a:gd name="connsiteY25" fmla="*/ 278988 h 286260"/>
              <a:gd name="connsiteX26" fmla="*/ 55465 w 86823"/>
              <a:gd name="connsiteY26" fmla="*/ 283175 h 286260"/>
              <a:gd name="connsiteX27" fmla="*/ 58590 w 86823"/>
              <a:gd name="connsiteY27" fmla="*/ 284811 h 286260"/>
              <a:gd name="connsiteX28" fmla="*/ 62822 w 86823"/>
              <a:gd name="connsiteY28" fmla="*/ 286110 h 286260"/>
              <a:gd name="connsiteX29" fmla="*/ 73689 w 86823"/>
              <a:gd name="connsiteY29" fmla="*/ 282838 h 286260"/>
              <a:gd name="connsiteX30" fmla="*/ 84701 w 86823"/>
              <a:gd name="connsiteY30" fmla="*/ 256083 h 286260"/>
              <a:gd name="connsiteX31" fmla="*/ 86768 w 86823"/>
              <a:gd name="connsiteY31" fmla="*/ 218742 h 286260"/>
              <a:gd name="connsiteX32" fmla="*/ 75516 w 86823"/>
              <a:gd name="connsiteY32" fmla="*/ 122887 h 286260"/>
              <a:gd name="connsiteX33" fmla="*/ 61956 w 86823"/>
              <a:gd name="connsiteY33" fmla="*/ 67404 h 286260"/>
              <a:gd name="connsiteX34" fmla="*/ 52050 w 86823"/>
              <a:gd name="connsiteY34" fmla="*/ 38628 h 286260"/>
              <a:gd name="connsiteX35" fmla="*/ 37048 w 86823"/>
              <a:gd name="connsiteY35" fmla="*/ 10093 h 286260"/>
              <a:gd name="connsiteX36" fmla="*/ 30556 w 86823"/>
              <a:gd name="connsiteY36" fmla="*/ 3549 h 286260"/>
              <a:gd name="connsiteX37" fmla="*/ 19641 w 86823"/>
              <a:gd name="connsiteY37" fmla="*/ 84 h 286260"/>
              <a:gd name="connsiteX38" fmla="*/ 9831 w 86823"/>
              <a:gd name="connsiteY38" fmla="*/ 5810 h 286260"/>
              <a:gd name="connsiteX39" fmla="*/ 7090 w 86823"/>
              <a:gd name="connsiteY39" fmla="*/ 9756 h 286260"/>
              <a:gd name="connsiteX40" fmla="*/ 5119 w 86823"/>
              <a:gd name="connsiteY40" fmla="*/ 13943 h 286260"/>
              <a:gd name="connsiteX41" fmla="*/ 214 w 86823"/>
              <a:gd name="connsiteY41" fmla="*/ 45125 h 286260"/>
              <a:gd name="connsiteX42" fmla="*/ 2330 w 86823"/>
              <a:gd name="connsiteY42" fmla="*/ 102339 h 286260"/>
              <a:gd name="connsiteX43" fmla="*/ 17284 w 86823"/>
              <a:gd name="connsiteY43" fmla="*/ 197569 h 28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6823" h="286260">
                <a:moveTo>
                  <a:pt x="17332" y="197569"/>
                </a:moveTo>
                <a:cubicBezTo>
                  <a:pt x="23343" y="224372"/>
                  <a:pt x="30027" y="245689"/>
                  <a:pt x="36519" y="259789"/>
                </a:cubicBezTo>
                <a:cubicBezTo>
                  <a:pt x="39692" y="266862"/>
                  <a:pt x="42914" y="272059"/>
                  <a:pt x="45751" y="275139"/>
                </a:cubicBezTo>
                <a:cubicBezTo>
                  <a:pt x="47050" y="276775"/>
                  <a:pt x="48348" y="277737"/>
                  <a:pt x="49261" y="278315"/>
                </a:cubicBezTo>
                <a:cubicBezTo>
                  <a:pt x="50127" y="278892"/>
                  <a:pt x="50656" y="279133"/>
                  <a:pt x="50752" y="278988"/>
                </a:cubicBezTo>
                <a:cubicBezTo>
                  <a:pt x="50848" y="278844"/>
                  <a:pt x="50608" y="278315"/>
                  <a:pt x="49983" y="277497"/>
                </a:cubicBezTo>
                <a:cubicBezTo>
                  <a:pt x="49358" y="276679"/>
                  <a:pt x="48444" y="275572"/>
                  <a:pt x="47482" y="273840"/>
                </a:cubicBezTo>
                <a:cubicBezTo>
                  <a:pt x="45415" y="270567"/>
                  <a:pt x="42914" y="265274"/>
                  <a:pt x="40366" y="258152"/>
                </a:cubicBezTo>
                <a:cubicBezTo>
                  <a:pt x="35220" y="244005"/>
                  <a:pt x="29739" y="222688"/>
                  <a:pt x="24738" y="195981"/>
                </a:cubicBezTo>
                <a:cubicBezTo>
                  <a:pt x="19737" y="169275"/>
                  <a:pt x="14976" y="137226"/>
                  <a:pt x="12187" y="101473"/>
                </a:cubicBezTo>
                <a:cubicBezTo>
                  <a:pt x="10841" y="83621"/>
                  <a:pt x="9879" y="64757"/>
                  <a:pt x="10697" y="45558"/>
                </a:cubicBezTo>
                <a:cubicBezTo>
                  <a:pt x="11226" y="36078"/>
                  <a:pt x="12043" y="26021"/>
                  <a:pt x="15072" y="17744"/>
                </a:cubicBezTo>
                <a:cubicBezTo>
                  <a:pt x="15361" y="16637"/>
                  <a:pt x="15890" y="15867"/>
                  <a:pt x="16323" y="15049"/>
                </a:cubicBezTo>
                <a:cubicBezTo>
                  <a:pt x="16707" y="14183"/>
                  <a:pt x="17284" y="13461"/>
                  <a:pt x="17910" y="12740"/>
                </a:cubicBezTo>
                <a:cubicBezTo>
                  <a:pt x="19112" y="11392"/>
                  <a:pt x="20266" y="10622"/>
                  <a:pt x="20891" y="10622"/>
                </a:cubicBezTo>
                <a:cubicBezTo>
                  <a:pt x="22093" y="10189"/>
                  <a:pt x="25988" y="12932"/>
                  <a:pt x="28633" y="16589"/>
                </a:cubicBezTo>
                <a:cubicBezTo>
                  <a:pt x="34259" y="24096"/>
                  <a:pt x="38442" y="33431"/>
                  <a:pt x="42193" y="42526"/>
                </a:cubicBezTo>
                <a:cubicBezTo>
                  <a:pt x="45944" y="51717"/>
                  <a:pt x="49069" y="61100"/>
                  <a:pt x="51906" y="70388"/>
                </a:cubicBezTo>
                <a:cubicBezTo>
                  <a:pt x="57580" y="88962"/>
                  <a:pt x="62052" y="107248"/>
                  <a:pt x="65803" y="124812"/>
                </a:cubicBezTo>
                <a:cubicBezTo>
                  <a:pt x="73208" y="159891"/>
                  <a:pt x="77680" y="191987"/>
                  <a:pt x="79171" y="218983"/>
                </a:cubicBezTo>
                <a:cubicBezTo>
                  <a:pt x="79892" y="232456"/>
                  <a:pt x="79892" y="244679"/>
                  <a:pt x="78738" y="255217"/>
                </a:cubicBezTo>
                <a:cubicBezTo>
                  <a:pt x="77584" y="265611"/>
                  <a:pt x="75420" y="274898"/>
                  <a:pt x="70804" y="279758"/>
                </a:cubicBezTo>
                <a:cubicBezTo>
                  <a:pt x="68544" y="282164"/>
                  <a:pt x="65707" y="282983"/>
                  <a:pt x="63110" y="282934"/>
                </a:cubicBezTo>
                <a:cubicBezTo>
                  <a:pt x="61812" y="282790"/>
                  <a:pt x="60562" y="282694"/>
                  <a:pt x="59456" y="282309"/>
                </a:cubicBezTo>
                <a:cubicBezTo>
                  <a:pt x="58302" y="282068"/>
                  <a:pt x="57292" y="281683"/>
                  <a:pt x="56426" y="281250"/>
                </a:cubicBezTo>
                <a:cubicBezTo>
                  <a:pt x="52820" y="279758"/>
                  <a:pt x="50993" y="278603"/>
                  <a:pt x="50752" y="278988"/>
                </a:cubicBezTo>
                <a:cubicBezTo>
                  <a:pt x="50608" y="279181"/>
                  <a:pt x="51954" y="280913"/>
                  <a:pt x="55465" y="283175"/>
                </a:cubicBezTo>
                <a:cubicBezTo>
                  <a:pt x="56330" y="283752"/>
                  <a:pt x="57340" y="284330"/>
                  <a:pt x="58590" y="284811"/>
                </a:cubicBezTo>
                <a:cubicBezTo>
                  <a:pt x="59744" y="285437"/>
                  <a:pt x="61235" y="285725"/>
                  <a:pt x="62822" y="286110"/>
                </a:cubicBezTo>
                <a:cubicBezTo>
                  <a:pt x="66043" y="286640"/>
                  <a:pt x="70371" y="285821"/>
                  <a:pt x="73689" y="282838"/>
                </a:cubicBezTo>
                <a:cubicBezTo>
                  <a:pt x="80229" y="276775"/>
                  <a:pt x="82825" y="266910"/>
                  <a:pt x="84701" y="256083"/>
                </a:cubicBezTo>
                <a:cubicBezTo>
                  <a:pt x="86480" y="245112"/>
                  <a:pt x="87009" y="232552"/>
                  <a:pt x="86768" y="218742"/>
                </a:cubicBezTo>
                <a:cubicBezTo>
                  <a:pt x="86191" y="191169"/>
                  <a:pt x="82441" y="158544"/>
                  <a:pt x="75516" y="122887"/>
                </a:cubicBezTo>
                <a:cubicBezTo>
                  <a:pt x="72006" y="105034"/>
                  <a:pt x="67678" y="86460"/>
                  <a:pt x="61956" y="67404"/>
                </a:cubicBezTo>
                <a:cubicBezTo>
                  <a:pt x="59071" y="57876"/>
                  <a:pt x="55945" y="48252"/>
                  <a:pt x="52050" y="38628"/>
                </a:cubicBezTo>
                <a:cubicBezTo>
                  <a:pt x="48107" y="29004"/>
                  <a:pt x="43972" y="19332"/>
                  <a:pt x="37048" y="10093"/>
                </a:cubicBezTo>
                <a:cubicBezTo>
                  <a:pt x="35172" y="7831"/>
                  <a:pt x="33297" y="5522"/>
                  <a:pt x="30556" y="3549"/>
                </a:cubicBezTo>
                <a:cubicBezTo>
                  <a:pt x="27959" y="1624"/>
                  <a:pt x="24305" y="-445"/>
                  <a:pt x="19641" y="84"/>
                </a:cubicBezTo>
                <a:cubicBezTo>
                  <a:pt x="15024" y="661"/>
                  <a:pt x="11995" y="3404"/>
                  <a:pt x="9831" y="5810"/>
                </a:cubicBezTo>
                <a:cubicBezTo>
                  <a:pt x="8773" y="7061"/>
                  <a:pt x="7812" y="8313"/>
                  <a:pt x="7090" y="9756"/>
                </a:cubicBezTo>
                <a:cubicBezTo>
                  <a:pt x="6321" y="11152"/>
                  <a:pt x="5503" y="12595"/>
                  <a:pt x="5119" y="13943"/>
                </a:cubicBezTo>
                <a:cubicBezTo>
                  <a:pt x="1272" y="24866"/>
                  <a:pt x="743" y="35067"/>
                  <a:pt x="214" y="45125"/>
                </a:cubicBezTo>
                <a:cubicBezTo>
                  <a:pt x="-507" y="65191"/>
                  <a:pt x="695" y="84246"/>
                  <a:pt x="2330" y="102339"/>
                </a:cubicBezTo>
                <a:cubicBezTo>
                  <a:pt x="5744" y="138526"/>
                  <a:pt x="11322" y="170766"/>
                  <a:pt x="17284" y="197569"/>
                </a:cubicBezTo>
                <a:close/>
              </a:path>
            </a:pathLst>
          </a:custGeom>
          <a:solidFill>
            <a:srgbClr val="29C8C1"/>
          </a:solidFill>
          <a:ln w="0"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FF6358E9-A511-C518-E5F6-7DD7B9F100FB}"/>
              </a:ext>
            </a:extLst>
          </p:cNvPr>
          <p:cNvSpPr/>
          <p:nvPr/>
        </p:nvSpPr>
        <p:spPr>
          <a:xfrm>
            <a:off x="7720143" y="3929335"/>
            <a:ext cx="835646" cy="1314173"/>
          </a:xfrm>
          <a:custGeom>
            <a:avLst/>
            <a:gdLst>
              <a:gd name="connsiteX0" fmla="*/ 354234 w 835646"/>
              <a:gd name="connsiteY0" fmla="*/ 942309 h 1314173"/>
              <a:gd name="connsiteX1" fmla="*/ 357023 w 835646"/>
              <a:gd name="connsiteY1" fmla="*/ 948420 h 1314173"/>
              <a:gd name="connsiteX2" fmla="*/ 358995 w 835646"/>
              <a:gd name="connsiteY2" fmla="*/ 954868 h 1314173"/>
              <a:gd name="connsiteX3" fmla="*/ 363755 w 835646"/>
              <a:gd name="connsiteY3" fmla="*/ 982200 h 1314173"/>
              <a:gd name="connsiteX4" fmla="*/ 361687 w 835646"/>
              <a:gd name="connsiteY4" fmla="*/ 1040618 h 1314173"/>
              <a:gd name="connsiteX5" fmla="*/ 341828 w 835646"/>
              <a:gd name="connsiteY5" fmla="*/ 1166308 h 1314173"/>
              <a:gd name="connsiteX6" fmla="*/ 340001 w 835646"/>
              <a:gd name="connsiteY6" fmla="*/ 1200233 h 1314173"/>
              <a:gd name="connsiteX7" fmla="*/ 343944 w 835646"/>
              <a:gd name="connsiteY7" fmla="*/ 1235072 h 1314173"/>
              <a:gd name="connsiteX8" fmla="*/ 358851 w 835646"/>
              <a:gd name="connsiteY8" fmla="*/ 1268082 h 1314173"/>
              <a:gd name="connsiteX9" fmla="*/ 386404 w 835646"/>
              <a:gd name="connsiteY9" fmla="*/ 1292720 h 1314173"/>
              <a:gd name="connsiteX10" fmla="*/ 394626 w 835646"/>
              <a:gd name="connsiteY10" fmla="*/ 1297147 h 1314173"/>
              <a:gd name="connsiteX11" fmla="*/ 403378 w 835646"/>
              <a:gd name="connsiteY11" fmla="*/ 1300660 h 1314173"/>
              <a:gd name="connsiteX12" fmla="*/ 421266 w 835646"/>
              <a:gd name="connsiteY12" fmla="*/ 1305760 h 1314173"/>
              <a:gd name="connsiteX13" fmla="*/ 457955 w 835646"/>
              <a:gd name="connsiteY13" fmla="*/ 1311583 h 1314173"/>
              <a:gd name="connsiteX14" fmla="*/ 533450 w 835646"/>
              <a:gd name="connsiteY14" fmla="*/ 1313796 h 1314173"/>
              <a:gd name="connsiteX15" fmla="*/ 610820 w 835646"/>
              <a:gd name="connsiteY15" fmla="*/ 1306434 h 1314173"/>
              <a:gd name="connsiteX16" fmla="*/ 688382 w 835646"/>
              <a:gd name="connsiteY16" fmla="*/ 1285839 h 1314173"/>
              <a:gd name="connsiteX17" fmla="*/ 724543 w 835646"/>
              <a:gd name="connsiteY17" fmla="*/ 1264954 h 1314173"/>
              <a:gd name="connsiteX18" fmla="*/ 732429 w 835646"/>
              <a:gd name="connsiteY18" fmla="*/ 1257448 h 1314173"/>
              <a:gd name="connsiteX19" fmla="*/ 739113 w 835646"/>
              <a:gd name="connsiteY19" fmla="*/ 1249075 h 1314173"/>
              <a:gd name="connsiteX20" fmla="*/ 749788 w 835646"/>
              <a:gd name="connsiteY20" fmla="*/ 1230260 h 1314173"/>
              <a:gd name="connsiteX21" fmla="*/ 755126 w 835646"/>
              <a:gd name="connsiteY21" fmla="*/ 1187096 h 1314173"/>
              <a:gd name="connsiteX22" fmla="*/ 743729 w 835646"/>
              <a:gd name="connsiteY22" fmla="*/ 1145664 h 1314173"/>
              <a:gd name="connsiteX23" fmla="*/ 714301 w 835646"/>
              <a:gd name="connsiteY23" fmla="*/ 1066507 h 1314173"/>
              <a:gd name="connsiteX24" fmla="*/ 705886 w 835646"/>
              <a:gd name="connsiteY24" fmla="*/ 1024738 h 1314173"/>
              <a:gd name="connsiteX25" fmla="*/ 699635 w 835646"/>
              <a:gd name="connsiteY25" fmla="*/ 981864 h 1314173"/>
              <a:gd name="connsiteX26" fmla="*/ 689777 w 835646"/>
              <a:gd name="connsiteY26" fmla="*/ 805262 h 1314173"/>
              <a:gd name="connsiteX27" fmla="*/ 692854 w 835646"/>
              <a:gd name="connsiteY27" fmla="*/ 760559 h 1314173"/>
              <a:gd name="connsiteX28" fmla="*/ 700404 w 835646"/>
              <a:gd name="connsiteY28" fmla="*/ 716000 h 1314173"/>
              <a:gd name="connsiteX29" fmla="*/ 722812 w 835646"/>
              <a:gd name="connsiteY29" fmla="*/ 626977 h 1314173"/>
              <a:gd name="connsiteX30" fmla="*/ 821532 w 835646"/>
              <a:gd name="connsiteY30" fmla="*/ 279453 h 1314173"/>
              <a:gd name="connsiteX31" fmla="*/ 834323 w 835646"/>
              <a:gd name="connsiteY31" fmla="*/ 193126 h 1314173"/>
              <a:gd name="connsiteX32" fmla="*/ 830813 w 835646"/>
              <a:gd name="connsiteY32" fmla="*/ 107039 h 1314173"/>
              <a:gd name="connsiteX33" fmla="*/ 817012 w 835646"/>
              <a:gd name="connsiteY33" fmla="*/ 66233 h 1314173"/>
              <a:gd name="connsiteX34" fmla="*/ 790757 w 835646"/>
              <a:gd name="connsiteY34" fmla="*/ 32164 h 1314173"/>
              <a:gd name="connsiteX35" fmla="*/ 754212 w 835646"/>
              <a:gd name="connsiteY35" fmla="*/ 10606 h 1314173"/>
              <a:gd name="connsiteX36" fmla="*/ 713724 w 835646"/>
              <a:gd name="connsiteY36" fmla="*/ 1367 h 1314173"/>
              <a:gd name="connsiteX37" fmla="*/ 633420 w 835646"/>
              <a:gd name="connsiteY37" fmla="*/ 4302 h 1314173"/>
              <a:gd name="connsiteX38" fmla="*/ 557493 w 835646"/>
              <a:gd name="connsiteY38" fmla="*/ 21241 h 1314173"/>
              <a:gd name="connsiteX39" fmla="*/ 486566 w 835646"/>
              <a:gd name="connsiteY39" fmla="*/ 47033 h 1314173"/>
              <a:gd name="connsiteX40" fmla="*/ 420641 w 835646"/>
              <a:gd name="connsiteY40" fmla="*/ 78552 h 1314173"/>
              <a:gd name="connsiteX41" fmla="*/ 390010 w 835646"/>
              <a:gd name="connsiteY41" fmla="*/ 97222 h 1314173"/>
              <a:gd name="connsiteX42" fmla="*/ 362120 w 835646"/>
              <a:gd name="connsiteY42" fmla="*/ 118540 h 1314173"/>
              <a:gd name="connsiteX43" fmla="*/ 311053 w 835646"/>
              <a:gd name="connsiteY43" fmla="*/ 163291 h 1314173"/>
              <a:gd name="connsiteX44" fmla="*/ 221662 w 835646"/>
              <a:gd name="connsiteY44" fmla="*/ 254142 h 1314173"/>
              <a:gd name="connsiteX45" fmla="*/ 87069 w 835646"/>
              <a:gd name="connsiteY45" fmla="*/ 426894 h 1314173"/>
              <a:gd name="connsiteX46" fmla="*/ 13594 w 835646"/>
              <a:gd name="connsiteY46" fmla="*/ 575007 h 1314173"/>
              <a:gd name="connsiteX47" fmla="*/ 1717 w 835646"/>
              <a:gd name="connsiteY47" fmla="*/ 678514 h 1314173"/>
              <a:gd name="connsiteX48" fmla="*/ 8353 w 835646"/>
              <a:gd name="connsiteY48" fmla="*/ 704980 h 1314173"/>
              <a:gd name="connsiteX49" fmla="*/ 11046 w 835646"/>
              <a:gd name="connsiteY49" fmla="*/ 711380 h 1314173"/>
              <a:gd name="connsiteX50" fmla="*/ 12104 w 835646"/>
              <a:gd name="connsiteY50" fmla="*/ 713449 h 1314173"/>
              <a:gd name="connsiteX51" fmla="*/ 9363 w 835646"/>
              <a:gd name="connsiteY51" fmla="*/ 704643 h 1314173"/>
              <a:gd name="connsiteX52" fmla="*/ 3833 w 835646"/>
              <a:gd name="connsiteY52" fmla="*/ 678273 h 1314173"/>
              <a:gd name="connsiteX53" fmla="*/ 17537 w 835646"/>
              <a:gd name="connsiteY53" fmla="*/ 576307 h 1314173"/>
              <a:gd name="connsiteX54" fmla="*/ 227239 w 835646"/>
              <a:gd name="connsiteY54" fmla="*/ 259243 h 1314173"/>
              <a:gd name="connsiteX55" fmla="*/ 316679 w 835646"/>
              <a:gd name="connsiteY55" fmla="*/ 169306 h 1314173"/>
              <a:gd name="connsiteX56" fmla="*/ 367554 w 835646"/>
              <a:gd name="connsiteY56" fmla="*/ 125132 h 1314173"/>
              <a:gd name="connsiteX57" fmla="*/ 395059 w 835646"/>
              <a:gd name="connsiteY57" fmla="*/ 104296 h 1314173"/>
              <a:gd name="connsiteX58" fmla="*/ 424968 w 835646"/>
              <a:gd name="connsiteY58" fmla="*/ 86251 h 1314173"/>
              <a:gd name="connsiteX59" fmla="*/ 490173 w 835646"/>
              <a:gd name="connsiteY59" fmla="*/ 55358 h 1314173"/>
              <a:gd name="connsiteX60" fmla="*/ 560186 w 835646"/>
              <a:gd name="connsiteY60" fmla="*/ 30143 h 1314173"/>
              <a:gd name="connsiteX61" fmla="*/ 634911 w 835646"/>
              <a:gd name="connsiteY61" fmla="*/ 13734 h 1314173"/>
              <a:gd name="connsiteX62" fmla="*/ 712666 w 835646"/>
              <a:gd name="connsiteY62" fmla="*/ 11039 h 1314173"/>
              <a:gd name="connsiteX63" fmla="*/ 784169 w 835646"/>
              <a:gd name="connsiteY63" fmla="*/ 39574 h 1314173"/>
              <a:gd name="connsiteX64" fmla="*/ 820859 w 835646"/>
              <a:gd name="connsiteY64" fmla="*/ 108964 h 1314173"/>
              <a:gd name="connsiteX65" fmla="*/ 824081 w 835646"/>
              <a:gd name="connsiteY65" fmla="*/ 192211 h 1314173"/>
              <a:gd name="connsiteX66" fmla="*/ 811386 w 835646"/>
              <a:gd name="connsiteY66" fmla="*/ 277240 h 1314173"/>
              <a:gd name="connsiteX67" fmla="*/ 712666 w 835646"/>
              <a:gd name="connsiteY67" fmla="*/ 623946 h 1314173"/>
              <a:gd name="connsiteX68" fmla="*/ 690113 w 835646"/>
              <a:gd name="connsiteY68" fmla="*/ 713690 h 1314173"/>
              <a:gd name="connsiteX69" fmla="*/ 682468 w 835646"/>
              <a:gd name="connsiteY69" fmla="*/ 759115 h 1314173"/>
              <a:gd name="connsiteX70" fmla="*/ 679342 w 835646"/>
              <a:gd name="connsiteY70" fmla="*/ 804829 h 1314173"/>
              <a:gd name="connsiteX71" fmla="*/ 689440 w 835646"/>
              <a:gd name="connsiteY71" fmla="*/ 983067 h 1314173"/>
              <a:gd name="connsiteX72" fmla="*/ 695788 w 835646"/>
              <a:gd name="connsiteY72" fmla="*/ 1026326 h 1314173"/>
              <a:gd name="connsiteX73" fmla="*/ 704491 w 835646"/>
              <a:gd name="connsiteY73" fmla="*/ 1069057 h 1314173"/>
              <a:gd name="connsiteX74" fmla="*/ 734401 w 835646"/>
              <a:gd name="connsiteY74" fmla="*/ 1149129 h 1314173"/>
              <a:gd name="connsiteX75" fmla="*/ 745316 w 835646"/>
              <a:gd name="connsiteY75" fmla="*/ 1188155 h 1314173"/>
              <a:gd name="connsiteX76" fmla="*/ 740748 w 835646"/>
              <a:gd name="connsiteY76" fmla="*/ 1226169 h 1314173"/>
              <a:gd name="connsiteX77" fmla="*/ 731275 w 835646"/>
              <a:gd name="connsiteY77" fmla="*/ 1242964 h 1314173"/>
              <a:gd name="connsiteX78" fmla="*/ 725216 w 835646"/>
              <a:gd name="connsiteY78" fmla="*/ 1250566 h 1314173"/>
              <a:gd name="connsiteX79" fmla="*/ 718388 w 835646"/>
              <a:gd name="connsiteY79" fmla="*/ 1257111 h 1314173"/>
              <a:gd name="connsiteX80" fmla="*/ 684872 w 835646"/>
              <a:gd name="connsiteY80" fmla="*/ 1276503 h 1314173"/>
              <a:gd name="connsiteX81" fmla="*/ 609522 w 835646"/>
              <a:gd name="connsiteY81" fmla="*/ 1296666 h 1314173"/>
              <a:gd name="connsiteX82" fmla="*/ 533354 w 835646"/>
              <a:gd name="connsiteY82" fmla="*/ 1304172 h 1314173"/>
              <a:gd name="connsiteX83" fmla="*/ 459109 w 835646"/>
              <a:gd name="connsiteY83" fmla="*/ 1302247 h 1314173"/>
              <a:gd name="connsiteX84" fmla="*/ 423478 w 835646"/>
              <a:gd name="connsiteY84" fmla="*/ 1296762 h 1314173"/>
              <a:gd name="connsiteX85" fmla="*/ 391068 w 835646"/>
              <a:gd name="connsiteY85" fmla="*/ 1284876 h 1314173"/>
              <a:gd name="connsiteX86" fmla="*/ 366111 w 835646"/>
              <a:gd name="connsiteY86" fmla="*/ 1262789 h 1314173"/>
              <a:gd name="connsiteX87" fmla="*/ 352455 w 835646"/>
              <a:gd name="connsiteY87" fmla="*/ 1232858 h 1314173"/>
              <a:gd name="connsiteX88" fmla="*/ 350243 w 835646"/>
              <a:gd name="connsiteY88" fmla="*/ 1166982 h 1314173"/>
              <a:gd name="connsiteX89" fmla="*/ 369429 w 835646"/>
              <a:gd name="connsiteY89" fmla="*/ 1041292 h 1314173"/>
              <a:gd name="connsiteX90" fmla="*/ 371160 w 835646"/>
              <a:gd name="connsiteY90" fmla="*/ 981382 h 1314173"/>
              <a:gd name="connsiteX91" fmla="*/ 365919 w 835646"/>
              <a:gd name="connsiteY91" fmla="*/ 952655 h 1314173"/>
              <a:gd name="connsiteX92" fmla="*/ 363707 w 835646"/>
              <a:gd name="connsiteY92" fmla="*/ 945725 h 1314173"/>
              <a:gd name="connsiteX93" fmla="*/ 360677 w 835646"/>
              <a:gd name="connsiteY93" fmla="*/ 939181 h 1314173"/>
              <a:gd name="connsiteX94" fmla="*/ 353657 w 835646"/>
              <a:gd name="connsiteY94" fmla="*/ 926766 h 1314173"/>
              <a:gd name="connsiteX95" fmla="*/ 315236 w 835646"/>
              <a:gd name="connsiteY95" fmla="*/ 888751 h 1314173"/>
              <a:gd name="connsiteX96" fmla="*/ 271863 w 835646"/>
              <a:gd name="connsiteY96" fmla="*/ 863199 h 1314173"/>
              <a:gd name="connsiteX97" fmla="*/ 189396 w 835646"/>
              <a:gd name="connsiteY97" fmla="*/ 827398 h 1314173"/>
              <a:gd name="connsiteX98" fmla="*/ 119960 w 835646"/>
              <a:gd name="connsiteY98" fmla="*/ 798381 h 1314173"/>
              <a:gd name="connsiteX99" fmla="*/ 67114 w 835646"/>
              <a:gd name="connsiteY99" fmla="*/ 770183 h 1314173"/>
              <a:gd name="connsiteX100" fmla="*/ 33069 w 835646"/>
              <a:gd name="connsiteY100" fmla="*/ 742754 h 1314173"/>
              <a:gd name="connsiteX101" fmla="*/ 12248 w 835646"/>
              <a:gd name="connsiteY101" fmla="*/ 713305 h 1314173"/>
              <a:gd name="connsiteX102" fmla="*/ 13065 w 835646"/>
              <a:gd name="connsiteY102" fmla="*/ 715518 h 1314173"/>
              <a:gd name="connsiteX103" fmla="*/ 15950 w 835646"/>
              <a:gd name="connsiteY103" fmla="*/ 721870 h 1314173"/>
              <a:gd name="connsiteX104" fmla="*/ 31530 w 835646"/>
              <a:gd name="connsiteY104" fmla="*/ 744246 h 1314173"/>
              <a:gd name="connsiteX105" fmla="*/ 65383 w 835646"/>
              <a:gd name="connsiteY105" fmla="*/ 772878 h 1314173"/>
              <a:gd name="connsiteX106" fmla="*/ 118229 w 835646"/>
              <a:gd name="connsiteY106" fmla="*/ 802183 h 1314173"/>
              <a:gd name="connsiteX107" fmla="*/ 187521 w 835646"/>
              <a:gd name="connsiteY107" fmla="*/ 832161 h 1314173"/>
              <a:gd name="connsiteX108" fmla="*/ 269218 w 835646"/>
              <a:gd name="connsiteY108" fmla="*/ 868540 h 1314173"/>
              <a:gd name="connsiteX109" fmla="*/ 311582 w 835646"/>
              <a:gd name="connsiteY109" fmla="*/ 893948 h 1314173"/>
              <a:gd name="connsiteX110" fmla="*/ 348079 w 835646"/>
              <a:gd name="connsiteY110" fmla="*/ 930519 h 1314173"/>
              <a:gd name="connsiteX111" fmla="*/ 354523 w 835646"/>
              <a:gd name="connsiteY111" fmla="*/ 942116 h 131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835646" h="1314173">
                <a:moveTo>
                  <a:pt x="354234" y="942309"/>
                </a:moveTo>
                <a:lnTo>
                  <a:pt x="357023" y="948420"/>
                </a:lnTo>
                <a:lnTo>
                  <a:pt x="358995" y="954868"/>
                </a:lnTo>
                <a:cubicBezTo>
                  <a:pt x="361736" y="963433"/>
                  <a:pt x="362841" y="972865"/>
                  <a:pt x="363755" y="982200"/>
                </a:cubicBezTo>
                <a:cubicBezTo>
                  <a:pt x="365198" y="1001063"/>
                  <a:pt x="364188" y="1020697"/>
                  <a:pt x="361687" y="1040618"/>
                </a:cubicBezTo>
                <a:cubicBezTo>
                  <a:pt x="356975" y="1080606"/>
                  <a:pt x="346781" y="1121893"/>
                  <a:pt x="341828" y="1166308"/>
                </a:cubicBezTo>
                <a:cubicBezTo>
                  <a:pt x="340674" y="1177424"/>
                  <a:pt x="339808" y="1188732"/>
                  <a:pt x="340001" y="1200233"/>
                </a:cubicBezTo>
                <a:cubicBezTo>
                  <a:pt x="340193" y="1211733"/>
                  <a:pt x="341107" y="1223427"/>
                  <a:pt x="343944" y="1235072"/>
                </a:cubicBezTo>
                <a:cubicBezTo>
                  <a:pt x="346781" y="1246620"/>
                  <a:pt x="351589" y="1258073"/>
                  <a:pt x="358851" y="1268082"/>
                </a:cubicBezTo>
                <a:cubicBezTo>
                  <a:pt x="366063" y="1278091"/>
                  <a:pt x="375681" y="1286416"/>
                  <a:pt x="386404" y="1292720"/>
                </a:cubicBezTo>
                <a:lnTo>
                  <a:pt x="394626" y="1297147"/>
                </a:lnTo>
                <a:cubicBezTo>
                  <a:pt x="397511" y="1298350"/>
                  <a:pt x="400396" y="1299745"/>
                  <a:pt x="403378" y="1300660"/>
                </a:cubicBezTo>
                <a:cubicBezTo>
                  <a:pt x="409244" y="1302729"/>
                  <a:pt x="415255" y="1304413"/>
                  <a:pt x="421266" y="1305760"/>
                </a:cubicBezTo>
                <a:cubicBezTo>
                  <a:pt x="433335" y="1308503"/>
                  <a:pt x="445597" y="1310284"/>
                  <a:pt x="457955" y="1311583"/>
                </a:cubicBezTo>
                <a:cubicBezTo>
                  <a:pt x="482719" y="1314085"/>
                  <a:pt x="507917" y="1314662"/>
                  <a:pt x="533450" y="1313796"/>
                </a:cubicBezTo>
                <a:cubicBezTo>
                  <a:pt x="558984" y="1312930"/>
                  <a:pt x="584854" y="1310621"/>
                  <a:pt x="610820" y="1306434"/>
                </a:cubicBezTo>
                <a:cubicBezTo>
                  <a:pt x="636786" y="1302199"/>
                  <a:pt x="662993" y="1296136"/>
                  <a:pt x="688382" y="1285839"/>
                </a:cubicBezTo>
                <a:cubicBezTo>
                  <a:pt x="700981" y="1280593"/>
                  <a:pt x="713483" y="1274145"/>
                  <a:pt x="724543" y="1264954"/>
                </a:cubicBezTo>
                <a:cubicBezTo>
                  <a:pt x="727380" y="1262789"/>
                  <a:pt x="729832" y="1260046"/>
                  <a:pt x="732429" y="1257448"/>
                </a:cubicBezTo>
                <a:cubicBezTo>
                  <a:pt x="734833" y="1254753"/>
                  <a:pt x="737045" y="1252010"/>
                  <a:pt x="739113" y="1249075"/>
                </a:cubicBezTo>
                <a:cubicBezTo>
                  <a:pt x="743393" y="1243348"/>
                  <a:pt x="746903" y="1236949"/>
                  <a:pt x="749788" y="1230260"/>
                </a:cubicBezTo>
                <a:cubicBezTo>
                  <a:pt x="755606" y="1216834"/>
                  <a:pt x="757049" y="1201484"/>
                  <a:pt x="755126" y="1187096"/>
                </a:cubicBezTo>
                <a:cubicBezTo>
                  <a:pt x="753298" y="1172612"/>
                  <a:pt x="748730" y="1158946"/>
                  <a:pt x="743729" y="1145664"/>
                </a:cubicBezTo>
                <a:cubicBezTo>
                  <a:pt x="733535" y="1119198"/>
                  <a:pt x="721562" y="1093695"/>
                  <a:pt x="714301" y="1066507"/>
                </a:cubicBezTo>
                <a:cubicBezTo>
                  <a:pt x="710694" y="1053033"/>
                  <a:pt x="708290" y="1038934"/>
                  <a:pt x="705886" y="1024738"/>
                </a:cubicBezTo>
                <a:cubicBezTo>
                  <a:pt x="703530" y="1010543"/>
                  <a:pt x="701462" y="996251"/>
                  <a:pt x="699635" y="981864"/>
                </a:cubicBezTo>
                <a:cubicBezTo>
                  <a:pt x="692518" y="924264"/>
                  <a:pt x="688334" y="865076"/>
                  <a:pt x="689777" y="805262"/>
                </a:cubicBezTo>
                <a:cubicBezTo>
                  <a:pt x="690162" y="790297"/>
                  <a:pt x="691027" y="775380"/>
                  <a:pt x="692854" y="760559"/>
                </a:cubicBezTo>
                <a:cubicBezTo>
                  <a:pt x="694730" y="745690"/>
                  <a:pt x="697278" y="730820"/>
                  <a:pt x="700404" y="716000"/>
                </a:cubicBezTo>
                <a:cubicBezTo>
                  <a:pt x="706559" y="686309"/>
                  <a:pt x="714349" y="656667"/>
                  <a:pt x="722812" y="626977"/>
                </a:cubicBezTo>
                <a:cubicBezTo>
                  <a:pt x="756712" y="508361"/>
                  <a:pt x="797730" y="394316"/>
                  <a:pt x="821532" y="279453"/>
                </a:cubicBezTo>
                <a:cubicBezTo>
                  <a:pt x="827447" y="250774"/>
                  <a:pt x="831967" y="221950"/>
                  <a:pt x="834323" y="193126"/>
                </a:cubicBezTo>
                <a:cubicBezTo>
                  <a:pt x="836487" y="164302"/>
                  <a:pt x="836439" y="135286"/>
                  <a:pt x="830813" y="107039"/>
                </a:cubicBezTo>
                <a:cubicBezTo>
                  <a:pt x="828072" y="92940"/>
                  <a:pt x="823552" y="79081"/>
                  <a:pt x="817012" y="66233"/>
                </a:cubicBezTo>
                <a:cubicBezTo>
                  <a:pt x="810472" y="53385"/>
                  <a:pt x="801624" y="41644"/>
                  <a:pt x="790757" y="32164"/>
                </a:cubicBezTo>
                <a:cubicBezTo>
                  <a:pt x="779938" y="22684"/>
                  <a:pt x="767339" y="15563"/>
                  <a:pt x="754212" y="10606"/>
                </a:cubicBezTo>
                <a:cubicBezTo>
                  <a:pt x="741085" y="5457"/>
                  <a:pt x="727332" y="3003"/>
                  <a:pt x="713724" y="1367"/>
                </a:cubicBezTo>
                <a:cubicBezTo>
                  <a:pt x="686459" y="-1472"/>
                  <a:pt x="659483" y="405"/>
                  <a:pt x="633420" y="4302"/>
                </a:cubicBezTo>
                <a:cubicBezTo>
                  <a:pt x="607310" y="8296"/>
                  <a:pt x="582161" y="14311"/>
                  <a:pt x="557493" y="21241"/>
                </a:cubicBezTo>
                <a:cubicBezTo>
                  <a:pt x="532921" y="28555"/>
                  <a:pt x="509407" y="37457"/>
                  <a:pt x="486566" y="47033"/>
                </a:cubicBezTo>
                <a:cubicBezTo>
                  <a:pt x="463773" y="56705"/>
                  <a:pt x="441702" y="67003"/>
                  <a:pt x="420641" y="78552"/>
                </a:cubicBezTo>
                <a:cubicBezTo>
                  <a:pt x="410110" y="84326"/>
                  <a:pt x="399819" y="90341"/>
                  <a:pt x="390010" y="97222"/>
                </a:cubicBezTo>
                <a:cubicBezTo>
                  <a:pt x="380297" y="104055"/>
                  <a:pt x="371112" y="111273"/>
                  <a:pt x="362120" y="118540"/>
                </a:cubicBezTo>
                <a:cubicBezTo>
                  <a:pt x="344184" y="133120"/>
                  <a:pt x="327306" y="148182"/>
                  <a:pt x="311053" y="163291"/>
                </a:cubicBezTo>
                <a:cubicBezTo>
                  <a:pt x="278595" y="193559"/>
                  <a:pt x="248974" y="224115"/>
                  <a:pt x="221662" y="254142"/>
                </a:cubicBezTo>
                <a:cubicBezTo>
                  <a:pt x="167132" y="314340"/>
                  <a:pt x="122076" y="372662"/>
                  <a:pt x="87069" y="426894"/>
                </a:cubicBezTo>
                <a:cubicBezTo>
                  <a:pt x="52063" y="481125"/>
                  <a:pt x="27251" y="531507"/>
                  <a:pt x="13594" y="575007"/>
                </a:cubicBezTo>
                <a:cubicBezTo>
                  <a:pt x="-303" y="618508"/>
                  <a:pt x="-2034" y="654839"/>
                  <a:pt x="1717" y="678514"/>
                </a:cubicBezTo>
                <a:cubicBezTo>
                  <a:pt x="3496" y="690400"/>
                  <a:pt x="6381" y="699158"/>
                  <a:pt x="8353" y="704980"/>
                </a:cubicBezTo>
                <a:cubicBezTo>
                  <a:pt x="9507" y="707819"/>
                  <a:pt x="10421" y="709985"/>
                  <a:pt x="11046" y="711380"/>
                </a:cubicBezTo>
                <a:cubicBezTo>
                  <a:pt x="11671" y="712775"/>
                  <a:pt x="12055" y="713497"/>
                  <a:pt x="12104" y="713449"/>
                </a:cubicBezTo>
                <a:cubicBezTo>
                  <a:pt x="12296" y="713353"/>
                  <a:pt x="11334" y="710369"/>
                  <a:pt x="9363" y="704643"/>
                </a:cubicBezTo>
                <a:cubicBezTo>
                  <a:pt x="7728" y="698773"/>
                  <a:pt x="5227" y="690063"/>
                  <a:pt x="3833" y="678273"/>
                </a:cubicBezTo>
                <a:cubicBezTo>
                  <a:pt x="851" y="654791"/>
                  <a:pt x="3160" y="619134"/>
                  <a:pt x="17537" y="576307"/>
                </a:cubicBezTo>
                <a:cubicBezTo>
                  <a:pt x="45764" y="490364"/>
                  <a:pt x="118133" y="378340"/>
                  <a:pt x="227239" y="259243"/>
                </a:cubicBezTo>
                <a:cubicBezTo>
                  <a:pt x="254600" y="229505"/>
                  <a:pt x="284269" y="199237"/>
                  <a:pt x="316679" y="169306"/>
                </a:cubicBezTo>
                <a:cubicBezTo>
                  <a:pt x="332884" y="154389"/>
                  <a:pt x="349762" y="139472"/>
                  <a:pt x="367554" y="125132"/>
                </a:cubicBezTo>
                <a:cubicBezTo>
                  <a:pt x="376450" y="118010"/>
                  <a:pt x="385586" y="110889"/>
                  <a:pt x="395059" y="104296"/>
                </a:cubicBezTo>
                <a:cubicBezTo>
                  <a:pt x="404436" y="97752"/>
                  <a:pt x="414582" y="91881"/>
                  <a:pt x="424968" y="86251"/>
                </a:cubicBezTo>
                <a:cubicBezTo>
                  <a:pt x="445693" y="74943"/>
                  <a:pt x="467621" y="64838"/>
                  <a:pt x="490173" y="55358"/>
                </a:cubicBezTo>
                <a:cubicBezTo>
                  <a:pt x="512773" y="45975"/>
                  <a:pt x="536095" y="37265"/>
                  <a:pt x="560186" y="30143"/>
                </a:cubicBezTo>
                <a:cubicBezTo>
                  <a:pt x="584373" y="23454"/>
                  <a:pt x="609377" y="17535"/>
                  <a:pt x="634911" y="13734"/>
                </a:cubicBezTo>
                <a:cubicBezTo>
                  <a:pt x="660396" y="9980"/>
                  <a:pt x="686651" y="8248"/>
                  <a:pt x="712666" y="11039"/>
                </a:cubicBezTo>
                <a:cubicBezTo>
                  <a:pt x="738536" y="13782"/>
                  <a:pt x="764502" y="22203"/>
                  <a:pt x="784169" y="39574"/>
                </a:cubicBezTo>
                <a:cubicBezTo>
                  <a:pt x="803981" y="56802"/>
                  <a:pt x="815714" y="82209"/>
                  <a:pt x="820859" y="108964"/>
                </a:cubicBezTo>
                <a:cubicBezTo>
                  <a:pt x="826148" y="135815"/>
                  <a:pt x="826244" y="164013"/>
                  <a:pt x="824081" y="192211"/>
                </a:cubicBezTo>
                <a:cubicBezTo>
                  <a:pt x="821772" y="220458"/>
                  <a:pt x="817252" y="248849"/>
                  <a:pt x="811386" y="277240"/>
                </a:cubicBezTo>
                <a:cubicBezTo>
                  <a:pt x="787728" y="390996"/>
                  <a:pt x="746711" y="504848"/>
                  <a:pt x="712666" y="623946"/>
                </a:cubicBezTo>
                <a:cubicBezTo>
                  <a:pt x="704203" y="653732"/>
                  <a:pt x="696365" y="683615"/>
                  <a:pt x="690113" y="713690"/>
                </a:cubicBezTo>
                <a:cubicBezTo>
                  <a:pt x="686940" y="728751"/>
                  <a:pt x="684343" y="743861"/>
                  <a:pt x="682468" y="759115"/>
                </a:cubicBezTo>
                <a:cubicBezTo>
                  <a:pt x="680544" y="774369"/>
                  <a:pt x="679679" y="789672"/>
                  <a:pt x="679342" y="804829"/>
                </a:cubicBezTo>
                <a:cubicBezTo>
                  <a:pt x="677948" y="865461"/>
                  <a:pt x="682228" y="924985"/>
                  <a:pt x="689440" y="983067"/>
                </a:cubicBezTo>
                <a:cubicBezTo>
                  <a:pt x="691267" y="997599"/>
                  <a:pt x="693383" y="1012035"/>
                  <a:pt x="695788" y="1026326"/>
                </a:cubicBezTo>
                <a:cubicBezTo>
                  <a:pt x="698240" y="1040618"/>
                  <a:pt x="700692" y="1054910"/>
                  <a:pt x="704491" y="1069057"/>
                </a:cubicBezTo>
                <a:cubicBezTo>
                  <a:pt x="712137" y="1097256"/>
                  <a:pt x="724399" y="1123288"/>
                  <a:pt x="734401" y="1149129"/>
                </a:cubicBezTo>
                <a:cubicBezTo>
                  <a:pt x="739305" y="1162073"/>
                  <a:pt x="743633" y="1175066"/>
                  <a:pt x="745316" y="1188155"/>
                </a:cubicBezTo>
                <a:cubicBezTo>
                  <a:pt x="747047" y="1201195"/>
                  <a:pt x="745845" y="1214380"/>
                  <a:pt x="740748" y="1226169"/>
                </a:cubicBezTo>
                <a:cubicBezTo>
                  <a:pt x="738247" y="1232088"/>
                  <a:pt x="735122" y="1237767"/>
                  <a:pt x="731275" y="1242964"/>
                </a:cubicBezTo>
                <a:cubicBezTo>
                  <a:pt x="729400" y="1245562"/>
                  <a:pt x="727332" y="1248160"/>
                  <a:pt x="725216" y="1250566"/>
                </a:cubicBezTo>
                <a:cubicBezTo>
                  <a:pt x="723004" y="1252780"/>
                  <a:pt x="720937" y="1255138"/>
                  <a:pt x="718388" y="1257111"/>
                </a:cubicBezTo>
                <a:cubicBezTo>
                  <a:pt x="708627" y="1265339"/>
                  <a:pt x="696894" y="1271499"/>
                  <a:pt x="684872" y="1276503"/>
                </a:cubicBezTo>
                <a:cubicBezTo>
                  <a:pt x="660637" y="1286416"/>
                  <a:pt x="635007" y="1292479"/>
                  <a:pt x="609522" y="1296666"/>
                </a:cubicBezTo>
                <a:cubicBezTo>
                  <a:pt x="584036" y="1300900"/>
                  <a:pt x="558503" y="1303210"/>
                  <a:pt x="533354" y="1304172"/>
                </a:cubicBezTo>
                <a:cubicBezTo>
                  <a:pt x="508205" y="1305135"/>
                  <a:pt x="483344" y="1304605"/>
                  <a:pt x="459109" y="1302247"/>
                </a:cubicBezTo>
                <a:cubicBezTo>
                  <a:pt x="446992" y="1300996"/>
                  <a:pt x="435066" y="1299312"/>
                  <a:pt x="423478" y="1296762"/>
                </a:cubicBezTo>
                <a:cubicBezTo>
                  <a:pt x="411889" y="1294067"/>
                  <a:pt x="400829" y="1290891"/>
                  <a:pt x="391068" y="1284876"/>
                </a:cubicBezTo>
                <a:cubicBezTo>
                  <a:pt x="381258" y="1279150"/>
                  <a:pt x="372651" y="1271739"/>
                  <a:pt x="366111" y="1262789"/>
                </a:cubicBezTo>
                <a:cubicBezTo>
                  <a:pt x="359572" y="1253887"/>
                  <a:pt x="355148" y="1243541"/>
                  <a:pt x="352455" y="1232858"/>
                </a:cubicBezTo>
                <a:cubicBezTo>
                  <a:pt x="347358" y="1211252"/>
                  <a:pt x="348031" y="1188684"/>
                  <a:pt x="350243" y="1166982"/>
                </a:cubicBezTo>
                <a:cubicBezTo>
                  <a:pt x="354859" y="1123385"/>
                  <a:pt x="364861" y="1081905"/>
                  <a:pt x="369429" y="1041292"/>
                </a:cubicBezTo>
                <a:cubicBezTo>
                  <a:pt x="371833" y="1021033"/>
                  <a:pt x="372747" y="1000919"/>
                  <a:pt x="371160" y="981382"/>
                </a:cubicBezTo>
                <a:cubicBezTo>
                  <a:pt x="370151" y="971614"/>
                  <a:pt x="368948" y="961990"/>
                  <a:pt x="365919" y="952655"/>
                </a:cubicBezTo>
                <a:lnTo>
                  <a:pt x="363707" y="945725"/>
                </a:lnTo>
                <a:lnTo>
                  <a:pt x="360677" y="939181"/>
                </a:lnTo>
                <a:cubicBezTo>
                  <a:pt x="358898" y="934706"/>
                  <a:pt x="356061" y="930856"/>
                  <a:pt x="353657" y="926766"/>
                </a:cubicBezTo>
                <a:cubicBezTo>
                  <a:pt x="343270" y="910934"/>
                  <a:pt x="329278" y="898904"/>
                  <a:pt x="315236" y="888751"/>
                </a:cubicBezTo>
                <a:cubicBezTo>
                  <a:pt x="301051" y="878598"/>
                  <a:pt x="286337" y="870417"/>
                  <a:pt x="271863" y="863199"/>
                </a:cubicBezTo>
                <a:cubicBezTo>
                  <a:pt x="242916" y="848715"/>
                  <a:pt x="214978" y="837744"/>
                  <a:pt x="189396" y="827398"/>
                </a:cubicBezTo>
                <a:cubicBezTo>
                  <a:pt x="163814" y="817148"/>
                  <a:pt x="140445" y="807813"/>
                  <a:pt x="119960" y="798381"/>
                </a:cubicBezTo>
                <a:cubicBezTo>
                  <a:pt x="99427" y="788998"/>
                  <a:pt x="81684" y="779614"/>
                  <a:pt x="67114" y="770183"/>
                </a:cubicBezTo>
                <a:cubicBezTo>
                  <a:pt x="52592" y="760751"/>
                  <a:pt x="41195" y="751368"/>
                  <a:pt x="33069" y="742754"/>
                </a:cubicBezTo>
                <a:cubicBezTo>
                  <a:pt x="16864" y="725383"/>
                  <a:pt x="13017" y="712824"/>
                  <a:pt x="12248" y="713305"/>
                </a:cubicBezTo>
                <a:cubicBezTo>
                  <a:pt x="12152" y="713305"/>
                  <a:pt x="12440" y="714075"/>
                  <a:pt x="13065" y="715518"/>
                </a:cubicBezTo>
                <a:cubicBezTo>
                  <a:pt x="13690" y="716914"/>
                  <a:pt x="14652" y="719031"/>
                  <a:pt x="15950" y="721870"/>
                </a:cubicBezTo>
                <a:cubicBezTo>
                  <a:pt x="18691" y="727356"/>
                  <a:pt x="23644" y="735151"/>
                  <a:pt x="31530" y="744246"/>
                </a:cubicBezTo>
                <a:cubicBezTo>
                  <a:pt x="39512" y="753245"/>
                  <a:pt x="50861" y="763061"/>
                  <a:pt x="65383" y="772878"/>
                </a:cubicBezTo>
                <a:cubicBezTo>
                  <a:pt x="79904" y="782694"/>
                  <a:pt x="97696" y="792462"/>
                  <a:pt x="118229" y="802183"/>
                </a:cubicBezTo>
                <a:cubicBezTo>
                  <a:pt x="138762" y="811951"/>
                  <a:pt x="162035" y="821623"/>
                  <a:pt x="187521" y="832161"/>
                </a:cubicBezTo>
                <a:cubicBezTo>
                  <a:pt x="212958" y="842748"/>
                  <a:pt x="240703" y="854008"/>
                  <a:pt x="269218" y="868540"/>
                </a:cubicBezTo>
                <a:cubicBezTo>
                  <a:pt x="283452" y="875855"/>
                  <a:pt x="297878" y="883987"/>
                  <a:pt x="311582" y="893948"/>
                </a:cubicBezTo>
                <a:cubicBezTo>
                  <a:pt x="325190" y="903909"/>
                  <a:pt x="338462" y="915650"/>
                  <a:pt x="348079" y="930519"/>
                </a:cubicBezTo>
                <a:cubicBezTo>
                  <a:pt x="350291" y="934321"/>
                  <a:pt x="352936" y="937978"/>
                  <a:pt x="354523" y="942116"/>
                </a:cubicBezTo>
                <a:close/>
              </a:path>
            </a:pathLst>
          </a:custGeom>
          <a:solidFill>
            <a:srgbClr val="29C8C1"/>
          </a:solidFill>
          <a:ln w="0"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14481C51-370F-3DAA-1B43-4275C20AE96F}"/>
              </a:ext>
            </a:extLst>
          </p:cNvPr>
          <p:cNvSpPr/>
          <p:nvPr/>
        </p:nvSpPr>
        <p:spPr>
          <a:xfrm>
            <a:off x="7564282" y="3846992"/>
            <a:ext cx="1112536" cy="1437305"/>
          </a:xfrm>
          <a:custGeom>
            <a:avLst/>
            <a:gdLst>
              <a:gd name="connsiteX0" fmla="*/ 419357 w 1112536"/>
              <a:gd name="connsiteY0" fmla="*/ 1292632 h 1437305"/>
              <a:gd name="connsiteX1" fmla="*/ 428829 w 1112536"/>
              <a:gd name="connsiteY1" fmla="*/ 1362262 h 1437305"/>
              <a:gd name="connsiteX2" fmla="*/ 456190 w 1112536"/>
              <a:gd name="connsiteY2" fmla="*/ 1405715 h 1437305"/>
              <a:gd name="connsiteX3" fmla="*/ 483214 w 1112536"/>
              <a:gd name="connsiteY3" fmla="*/ 1422172 h 1437305"/>
              <a:gd name="connsiteX4" fmla="*/ 490812 w 1112536"/>
              <a:gd name="connsiteY4" fmla="*/ 1424819 h 1437305"/>
              <a:gd name="connsiteX5" fmla="*/ 493408 w 1112536"/>
              <a:gd name="connsiteY5" fmla="*/ 1425540 h 1437305"/>
              <a:gd name="connsiteX6" fmla="*/ 490956 w 1112536"/>
              <a:gd name="connsiteY6" fmla="*/ 1424289 h 1437305"/>
              <a:gd name="connsiteX7" fmla="*/ 483599 w 1112536"/>
              <a:gd name="connsiteY7" fmla="*/ 1421161 h 1437305"/>
              <a:gd name="connsiteX8" fmla="*/ 457585 w 1112536"/>
              <a:gd name="connsiteY8" fmla="*/ 1404127 h 1437305"/>
              <a:gd name="connsiteX9" fmla="*/ 431811 w 1112536"/>
              <a:gd name="connsiteY9" fmla="*/ 1361348 h 1437305"/>
              <a:gd name="connsiteX10" fmla="*/ 423444 w 1112536"/>
              <a:gd name="connsiteY10" fmla="*/ 1292632 h 1437305"/>
              <a:gd name="connsiteX11" fmla="*/ 425367 w 1112536"/>
              <a:gd name="connsiteY11" fmla="*/ 1205054 h 1437305"/>
              <a:gd name="connsiteX12" fmla="*/ 424165 w 1112536"/>
              <a:gd name="connsiteY12" fmla="*/ 1154720 h 1437305"/>
              <a:gd name="connsiteX13" fmla="*/ 415413 w 1112536"/>
              <a:gd name="connsiteY13" fmla="*/ 1100825 h 1437305"/>
              <a:gd name="connsiteX14" fmla="*/ 391082 w 1112536"/>
              <a:gd name="connsiteY14" fmla="*/ 1047364 h 1437305"/>
              <a:gd name="connsiteX15" fmla="*/ 346362 w 1112536"/>
              <a:gd name="connsiteY15" fmla="*/ 1003574 h 1437305"/>
              <a:gd name="connsiteX16" fmla="*/ 224705 w 1112536"/>
              <a:gd name="connsiteY16" fmla="*/ 945734 h 1437305"/>
              <a:gd name="connsiteX17" fmla="*/ 192007 w 1112536"/>
              <a:gd name="connsiteY17" fmla="*/ 931779 h 1437305"/>
              <a:gd name="connsiteX18" fmla="*/ 183688 w 1112536"/>
              <a:gd name="connsiteY18" fmla="*/ 927978 h 1437305"/>
              <a:gd name="connsiteX19" fmla="*/ 175080 w 1112536"/>
              <a:gd name="connsiteY19" fmla="*/ 924561 h 1437305"/>
              <a:gd name="connsiteX20" fmla="*/ 158010 w 1112536"/>
              <a:gd name="connsiteY20" fmla="*/ 917872 h 1437305"/>
              <a:gd name="connsiteX21" fmla="*/ 90930 w 1112536"/>
              <a:gd name="connsiteY21" fmla="*/ 885007 h 1437305"/>
              <a:gd name="connsiteX22" fmla="*/ 32554 w 1112536"/>
              <a:gd name="connsiteY22" fmla="*/ 835394 h 1437305"/>
              <a:gd name="connsiteX23" fmla="*/ 14426 w 1112536"/>
              <a:gd name="connsiteY23" fmla="*/ 801229 h 1437305"/>
              <a:gd name="connsiteX24" fmla="*/ 8704 w 1112536"/>
              <a:gd name="connsiteY24" fmla="*/ 761963 h 1437305"/>
              <a:gd name="connsiteX25" fmla="*/ 14185 w 1112536"/>
              <a:gd name="connsiteY25" fmla="*/ 721687 h 1437305"/>
              <a:gd name="connsiteX26" fmla="*/ 28419 w 1112536"/>
              <a:gd name="connsiteY26" fmla="*/ 682517 h 1437305"/>
              <a:gd name="connsiteX27" fmla="*/ 73427 w 1112536"/>
              <a:gd name="connsiteY27" fmla="*/ 609230 h 1437305"/>
              <a:gd name="connsiteX28" fmla="*/ 194748 w 1112536"/>
              <a:gd name="connsiteY28" fmla="*/ 474782 h 1437305"/>
              <a:gd name="connsiteX29" fmla="*/ 461768 w 1112536"/>
              <a:gd name="connsiteY29" fmla="*/ 190536 h 1437305"/>
              <a:gd name="connsiteX30" fmla="*/ 480762 w 1112536"/>
              <a:gd name="connsiteY30" fmla="*/ 173838 h 1437305"/>
              <a:gd name="connsiteX31" fmla="*/ 500477 w 1112536"/>
              <a:gd name="connsiteY31" fmla="*/ 157863 h 1437305"/>
              <a:gd name="connsiteX32" fmla="*/ 510431 w 1112536"/>
              <a:gd name="connsiteY32" fmla="*/ 149923 h 1437305"/>
              <a:gd name="connsiteX33" fmla="*/ 520577 w 1112536"/>
              <a:gd name="connsiteY33" fmla="*/ 142224 h 1437305"/>
              <a:gd name="connsiteX34" fmla="*/ 541446 w 1112536"/>
              <a:gd name="connsiteY34" fmla="*/ 127451 h 1437305"/>
              <a:gd name="connsiteX35" fmla="*/ 562941 w 1112536"/>
              <a:gd name="connsiteY35" fmla="*/ 113400 h 1437305"/>
              <a:gd name="connsiteX36" fmla="*/ 584820 w 1112536"/>
              <a:gd name="connsiteY36" fmla="*/ 99781 h 1437305"/>
              <a:gd name="connsiteX37" fmla="*/ 607612 w 1112536"/>
              <a:gd name="connsiteY37" fmla="*/ 87607 h 1437305"/>
              <a:gd name="connsiteX38" fmla="*/ 630790 w 1112536"/>
              <a:gd name="connsiteY38" fmla="*/ 75962 h 1437305"/>
              <a:gd name="connsiteX39" fmla="*/ 832413 w 1112536"/>
              <a:gd name="connsiteY39" fmla="*/ 16582 h 1437305"/>
              <a:gd name="connsiteX40" fmla="*/ 938250 w 1112536"/>
              <a:gd name="connsiteY40" fmla="*/ 11144 h 1437305"/>
              <a:gd name="connsiteX41" fmla="*/ 1039038 w 1112536"/>
              <a:gd name="connsiteY41" fmla="*/ 31740 h 1437305"/>
              <a:gd name="connsiteX42" fmla="*/ 1077940 w 1112536"/>
              <a:gd name="connsiteY42" fmla="*/ 61767 h 1437305"/>
              <a:gd name="connsiteX43" fmla="*/ 1081402 w 1112536"/>
              <a:gd name="connsiteY43" fmla="*/ 66771 h 1437305"/>
              <a:gd name="connsiteX44" fmla="*/ 1084528 w 1112536"/>
              <a:gd name="connsiteY44" fmla="*/ 71968 h 1437305"/>
              <a:gd name="connsiteX45" fmla="*/ 1089384 w 1112536"/>
              <a:gd name="connsiteY45" fmla="*/ 83228 h 1437305"/>
              <a:gd name="connsiteX46" fmla="*/ 1096357 w 1112536"/>
              <a:gd name="connsiteY46" fmla="*/ 107336 h 1437305"/>
              <a:gd name="connsiteX47" fmla="*/ 1101790 w 1112536"/>
              <a:gd name="connsiteY47" fmla="*/ 157430 h 1437305"/>
              <a:gd name="connsiteX48" fmla="*/ 1100011 w 1112536"/>
              <a:gd name="connsiteY48" fmla="*/ 207811 h 1437305"/>
              <a:gd name="connsiteX49" fmla="*/ 1084768 w 1112536"/>
              <a:gd name="connsiteY49" fmla="*/ 306650 h 1437305"/>
              <a:gd name="connsiteX50" fmla="*/ 1061735 w 1112536"/>
              <a:gd name="connsiteY50" fmla="*/ 402361 h 1437305"/>
              <a:gd name="connsiteX51" fmla="*/ 1010139 w 1112536"/>
              <a:gd name="connsiteY51" fmla="*/ 586517 h 1437305"/>
              <a:gd name="connsiteX52" fmla="*/ 990231 w 1112536"/>
              <a:gd name="connsiteY52" fmla="*/ 676839 h 1437305"/>
              <a:gd name="connsiteX53" fmla="*/ 974267 w 1112536"/>
              <a:gd name="connsiteY53" fmla="*/ 765284 h 1437305"/>
              <a:gd name="connsiteX54" fmla="*/ 950993 w 1112536"/>
              <a:gd name="connsiteY54" fmla="*/ 935533 h 1437305"/>
              <a:gd name="connsiteX55" fmla="*/ 941809 w 1112536"/>
              <a:gd name="connsiteY55" fmla="*/ 1096013 h 1437305"/>
              <a:gd name="connsiteX56" fmla="*/ 955850 w 1112536"/>
              <a:gd name="connsiteY56" fmla="*/ 1171033 h 1437305"/>
              <a:gd name="connsiteX57" fmla="*/ 978258 w 1112536"/>
              <a:gd name="connsiteY57" fmla="*/ 1239748 h 1437305"/>
              <a:gd name="connsiteX58" fmla="*/ 986865 w 1112536"/>
              <a:gd name="connsiteY58" fmla="*/ 1305962 h 1437305"/>
              <a:gd name="connsiteX59" fmla="*/ 976190 w 1112536"/>
              <a:gd name="connsiteY59" fmla="*/ 1335555 h 1437305"/>
              <a:gd name="connsiteX60" fmla="*/ 954455 w 1112536"/>
              <a:gd name="connsiteY60" fmla="*/ 1356873 h 1437305"/>
              <a:gd name="connsiteX61" fmla="*/ 899301 w 1112536"/>
              <a:gd name="connsiteY61" fmla="*/ 1382521 h 1437305"/>
              <a:gd name="connsiteX62" fmla="*/ 844099 w 1112536"/>
              <a:gd name="connsiteY62" fmla="*/ 1399267 h 1437305"/>
              <a:gd name="connsiteX63" fmla="*/ 742349 w 1112536"/>
              <a:gd name="connsiteY63" fmla="*/ 1420054 h 1437305"/>
              <a:gd name="connsiteX64" fmla="*/ 655602 w 1112536"/>
              <a:gd name="connsiteY64" fmla="*/ 1430641 h 1437305"/>
              <a:gd name="connsiteX65" fmla="*/ 534858 w 1112536"/>
              <a:gd name="connsiteY65" fmla="*/ 1432229 h 1437305"/>
              <a:gd name="connsiteX66" fmla="*/ 503747 w 1112536"/>
              <a:gd name="connsiteY66" fmla="*/ 1427850 h 1437305"/>
              <a:gd name="connsiteX67" fmla="*/ 495957 w 1112536"/>
              <a:gd name="connsiteY67" fmla="*/ 1425973 h 1437305"/>
              <a:gd name="connsiteX68" fmla="*/ 493264 w 1112536"/>
              <a:gd name="connsiteY68" fmla="*/ 1425540 h 1437305"/>
              <a:gd name="connsiteX69" fmla="*/ 495813 w 1112536"/>
              <a:gd name="connsiteY69" fmla="*/ 1426503 h 1437305"/>
              <a:gd name="connsiteX70" fmla="*/ 503507 w 1112536"/>
              <a:gd name="connsiteY70" fmla="*/ 1428909 h 1437305"/>
              <a:gd name="connsiteX71" fmla="*/ 534618 w 1112536"/>
              <a:gd name="connsiteY71" fmla="*/ 1434394 h 1437305"/>
              <a:gd name="connsiteX72" fmla="*/ 655939 w 1112536"/>
              <a:gd name="connsiteY72" fmla="*/ 1434827 h 1437305"/>
              <a:gd name="connsiteX73" fmla="*/ 743118 w 1112536"/>
              <a:gd name="connsiteY73" fmla="*/ 1425155 h 1437305"/>
              <a:gd name="connsiteX74" fmla="*/ 845589 w 1112536"/>
              <a:gd name="connsiteY74" fmla="*/ 1405137 h 1437305"/>
              <a:gd name="connsiteX75" fmla="*/ 901465 w 1112536"/>
              <a:gd name="connsiteY75" fmla="*/ 1388632 h 1437305"/>
              <a:gd name="connsiteX76" fmla="*/ 958206 w 1112536"/>
              <a:gd name="connsiteY76" fmla="*/ 1362647 h 1437305"/>
              <a:gd name="connsiteX77" fmla="*/ 971333 w 1112536"/>
              <a:gd name="connsiteY77" fmla="*/ 1352494 h 1437305"/>
              <a:gd name="connsiteX78" fmla="*/ 977200 w 1112536"/>
              <a:gd name="connsiteY78" fmla="*/ 1346238 h 1437305"/>
              <a:gd name="connsiteX79" fmla="*/ 982153 w 1112536"/>
              <a:gd name="connsiteY79" fmla="*/ 1339261 h 1437305"/>
              <a:gd name="connsiteX80" fmla="*/ 994030 w 1112536"/>
              <a:gd name="connsiteY80" fmla="*/ 1307068 h 1437305"/>
              <a:gd name="connsiteX81" fmla="*/ 985567 w 1112536"/>
              <a:gd name="connsiteY81" fmla="*/ 1237631 h 1437305"/>
              <a:gd name="connsiteX82" fmla="*/ 963544 w 1112536"/>
              <a:gd name="connsiteY82" fmla="*/ 1168819 h 1437305"/>
              <a:gd name="connsiteX83" fmla="*/ 950128 w 1112536"/>
              <a:gd name="connsiteY83" fmla="*/ 1095676 h 1437305"/>
              <a:gd name="connsiteX84" fmla="*/ 959889 w 1112536"/>
              <a:gd name="connsiteY84" fmla="*/ 936495 h 1437305"/>
              <a:gd name="connsiteX85" fmla="*/ 983595 w 1112536"/>
              <a:gd name="connsiteY85" fmla="*/ 766823 h 1437305"/>
              <a:gd name="connsiteX86" fmla="*/ 999752 w 1112536"/>
              <a:gd name="connsiteY86" fmla="*/ 678667 h 1437305"/>
              <a:gd name="connsiteX87" fmla="*/ 1019756 w 1112536"/>
              <a:gd name="connsiteY87" fmla="*/ 589019 h 1437305"/>
              <a:gd name="connsiteX88" fmla="*/ 1071689 w 1112536"/>
              <a:gd name="connsiteY88" fmla="*/ 405008 h 1437305"/>
              <a:gd name="connsiteX89" fmla="*/ 1095010 w 1112536"/>
              <a:gd name="connsiteY89" fmla="*/ 308768 h 1437305"/>
              <a:gd name="connsiteX90" fmla="*/ 1110542 w 1112536"/>
              <a:gd name="connsiteY90" fmla="*/ 208726 h 1437305"/>
              <a:gd name="connsiteX91" fmla="*/ 1112417 w 1112536"/>
              <a:gd name="connsiteY91" fmla="*/ 157189 h 1437305"/>
              <a:gd name="connsiteX92" fmla="*/ 1106791 w 1112536"/>
              <a:gd name="connsiteY92" fmla="*/ 105123 h 1437305"/>
              <a:gd name="connsiteX93" fmla="*/ 1099386 w 1112536"/>
              <a:gd name="connsiteY93" fmla="*/ 79523 h 1437305"/>
              <a:gd name="connsiteX94" fmla="*/ 1093952 w 1112536"/>
              <a:gd name="connsiteY94" fmla="*/ 66964 h 1437305"/>
              <a:gd name="connsiteX95" fmla="*/ 1090394 w 1112536"/>
              <a:gd name="connsiteY95" fmla="*/ 61045 h 1437305"/>
              <a:gd name="connsiteX96" fmla="*/ 1086451 w 1112536"/>
              <a:gd name="connsiteY96" fmla="*/ 55367 h 1437305"/>
              <a:gd name="connsiteX97" fmla="*/ 1043607 w 1112536"/>
              <a:gd name="connsiteY97" fmla="*/ 22068 h 1437305"/>
              <a:gd name="connsiteX98" fmla="*/ 938779 w 1112536"/>
              <a:gd name="connsiteY98" fmla="*/ 414 h 1437305"/>
              <a:gd name="connsiteX99" fmla="*/ 831115 w 1112536"/>
              <a:gd name="connsiteY99" fmla="*/ 5899 h 1437305"/>
              <a:gd name="connsiteX100" fmla="*/ 626318 w 1112536"/>
              <a:gd name="connsiteY100" fmla="*/ 66242 h 1437305"/>
              <a:gd name="connsiteX101" fmla="*/ 602756 w 1112536"/>
              <a:gd name="connsiteY101" fmla="*/ 78127 h 1437305"/>
              <a:gd name="connsiteX102" fmla="*/ 579578 w 1112536"/>
              <a:gd name="connsiteY102" fmla="*/ 90542 h 1437305"/>
              <a:gd name="connsiteX103" fmla="*/ 557363 w 1112536"/>
              <a:gd name="connsiteY103" fmla="*/ 104353 h 1437305"/>
              <a:gd name="connsiteX104" fmla="*/ 535580 w 1112536"/>
              <a:gd name="connsiteY104" fmla="*/ 118645 h 1437305"/>
              <a:gd name="connsiteX105" fmla="*/ 514422 w 1112536"/>
              <a:gd name="connsiteY105" fmla="*/ 133658 h 1437305"/>
              <a:gd name="connsiteX106" fmla="*/ 504132 w 1112536"/>
              <a:gd name="connsiteY106" fmla="*/ 141454 h 1437305"/>
              <a:gd name="connsiteX107" fmla="*/ 494034 w 1112536"/>
              <a:gd name="connsiteY107" fmla="*/ 149490 h 1437305"/>
              <a:gd name="connsiteX108" fmla="*/ 474078 w 1112536"/>
              <a:gd name="connsiteY108" fmla="*/ 165706 h 1437305"/>
              <a:gd name="connsiteX109" fmla="*/ 454844 w 1112536"/>
              <a:gd name="connsiteY109" fmla="*/ 182596 h 1437305"/>
              <a:gd name="connsiteX110" fmla="*/ 187775 w 1112536"/>
              <a:gd name="connsiteY110" fmla="*/ 467757 h 1437305"/>
              <a:gd name="connsiteX111" fmla="*/ 65974 w 1112536"/>
              <a:gd name="connsiteY111" fmla="*/ 603504 h 1437305"/>
              <a:gd name="connsiteX112" fmla="*/ 20196 w 1112536"/>
              <a:gd name="connsiteY112" fmla="*/ 678619 h 1437305"/>
              <a:gd name="connsiteX113" fmla="*/ 5578 w 1112536"/>
              <a:gd name="connsiteY113" fmla="*/ 719377 h 1437305"/>
              <a:gd name="connsiteX114" fmla="*/ 0 w 1112536"/>
              <a:gd name="connsiteY114" fmla="*/ 761867 h 1437305"/>
              <a:gd name="connsiteX115" fmla="*/ 6299 w 1112536"/>
              <a:gd name="connsiteY115" fmla="*/ 803732 h 1437305"/>
              <a:gd name="connsiteX116" fmla="*/ 25966 w 1112536"/>
              <a:gd name="connsiteY116" fmla="*/ 840543 h 1437305"/>
              <a:gd name="connsiteX117" fmla="*/ 86843 w 1112536"/>
              <a:gd name="connsiteY117" fmla="*/ 891984 h 1437305"/>
              <a:gd name="connsiteX118" fmla="*/ 155269 w 1112536"/>
              <a:gd name="connsiteY118" fmla="*/ 925187 h 1437305"/>
              <a:gd name="connsiteX119" fmla="*/ 172484 w 1112536"/>
              <a:gd name="connsiteY119" fmla="*/ 931827 h 1437305"/>
              <a:gd name="connsiteX120" fmla="*/ 188977 w 1112536"/>
              <a:gd name="connsiteY120" fmla="*/ 938757 h 1437305"/>
              <a:gd name="connsiteX121" fmla="*/ 222060 w 1112536"/>
              <a:gd name="connsiteY121" fmla="*/ 952663 h 1437305"/>
              <a:gd name="connsiteX122" fmla="*/ 342660 w 1112536"/>
              <a:gd name="connsiteY122" fmla="*/ 1009108 h 1437305"/>
              <a:gd name="connsiteX123" fmla="*/ 385985 w 1112536"/>
              <a:gd name="connsiteY123" fmla="*/ 1050973 h 1437305"/>
              <a:gd name="connsiteX124" fmla="*/ 409835 w 1112536"/>
              <a:gd name="connsiteY124" fmla="*/ 1102413 h 1437305"/>
              <a:gd name="connsiteX125" fmla="*/ 418827 w 1112536"/>
              <a:gd name="connsiteY125" fmla="*/ 1155153 h 1437305"/>
              <a:gd name="connsiteX126" fmla="*/ 420462 w 1112536"/>
              <a:gd name="connsiteY126" fmla="*/ 1205006 h 1437305"/>
              <a:gd name="connsiteX127" fmla="*/ 419453 w 1112536"/>
              <a:gd name="connsiteY127" fmla="*/ 1292680 h 143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112536" h="1437305">
                <a:moveTo>
                  <a:pt x="419357" y="1292632"/>
                </a:moveTo>
                <a:cubicBezTo>
                  <a:pt x="419837" y="1319002"/>
                  <a:pt x="422530" y="1342677"/>
                  <a:pt x="428829" y="1362262"/>
                </a:cubicBezTo>
                <a:cubicBezTo>
                  <a:pt x="435177" y="1381799"/>
                  <a:pt x="445563" y="1396572"/>
                  <a:pt x="456190" y="1405715"/>
                </a:cubicBezTo>
                <a:cubicBezTo>
                  <a:pt x="466769" y="1414954"/>
                  <a:pt x="476627" y="1419525"/>
                  <a:pt x="483214" y="1422172"/>
                </a:cubicBezTo>
                <a:cubicBezTo>
                  <a:pt x="486580" y="1423327"/>
                  <a:pt x="489129" y="1424241"/>
                  <a:pt x="490812" y="1424819"/>
                </a:cubicBezTo>
                <a:cubicBezTo>
                  <a:pt x="492543" y="1425396"/>
                  <a:pt x="493408" y="1425636"/>
                  <a:pt x="493408" y="1425540"/>
                </a:cubicBezTo>
                <a:cubicBezTo>
                  <a:pt x="493408" y="1425444"/>
                  <a:pt x="492639" y="1425059"/>
                  <a:pt x="490956" y="1424289"/>
                </a:cubicBezTo>
                <a:cubicBezTo>
                  <a:pt x="489321" y="1423567"/>
                  <a:pt x="486869" y="1422557"/>
                  <a:pt x="483599" y="1421161"/>
                </a:cubicBezTo>
                <a:cubicBezTo>
                  <a:pt x="477204" y="1418226"/>
                  <a:pt x="467683" y="1413414"/>
                  <a:pt x="457585" y="1404127"/>
                </a:cubicBezTo>
                <a:cubicBezTo>
                  <a:pt x="447439" y="1394984"/>
                  <a:pt x="437725" y="1380500"/>
                  <a:pt x="431811" y="1361348"/>
                </a:cubicBezTo>
                <a:cubicBezTo>
                  <a:pt x="425944" y="1342148"/>
                  <a:pt x="423636" y="1318810"/>
                  <a:pt x="423444" y="1292632"/>
                </a:cubicBezTo>
                <a:cubicBezTo>
                  <a:pt x="423155" y="1266407"/>
                  <a:pt x="424886" y="1237198"/>
                  <a:pt x="425367" y="1205054"/>
                </a:cubicBezTo>
                <a:cubicBezTo>
                  <a:pt x="425656" y="1188982"/>
                  <a:pt x="425463" y="1172188"/>
                  <a:pt x="424165" y="1154720"/>
                </a:cubicBezTo>
                <a:cubicBezTo>
                  <a:pt x="422867" y="1137301"/>
                  <a:pt x="420414" y="1119111"/>
                  <a:pt x="415413" y="1100825"/>
                </a:cubicBezTo>
                <a:cubicBezTo>
                  <a:pt x="410412" y="1082588"/>
                  <a:pt x="402719" y="1064110"/>
                  <a:pt x="391082" y="1047364"/>
                </a:cubicBezTo>
                <a:cubicBezTo>
                  <a:pt x="379541" y="1030522"/>
                  <a:pt x="364010" y="1015845"/>
                  <a:pt x="346362" y="1003574"/>
                </a:cubicBezTo>
                <a:cubicBezTo>
                  <a:pt x="310875" y="978937"/>
                  <a:pt x="268127" y="963250"/>
                  <a:pt x="224705" y="945734"/>
                </a:cubicBezTo>
                <a:cubicBezTo>
                  <a:pt x="213838" y="941307"/>
                  <a:pt x="202874" y="936784"/>
                  <a:pt x="192007" y="931779"/>
                </a:cubicBezTo>
                <a:lnTo>
                  <a:pt x="183688" y="927978"/>
                </a:lnTo>
                <a:cubicBezTo>
                  <a:pt x="180755" y="926727"/>
                  <a:pt x="177918" y="925668"/>
                  <a:pt x="175080" y="924561"/>
                </a:cubicBezTo>
                <a:cubicBezTo>
                  <a:pt x="169406" y="922348"/>
                  <a:pt x="163732" y="920134"/>
                  <a:pt x="158010" y="917872"/>
                </a:cubicBezTo>
                <a:cubicBezTo>
                  <a:pt x="135314" y="908730"/>
                  <a:pt x="112569" y="898191"/>
                  <a:pt x="90930" y="885007"/>
                </a:cubicBezTo>
                <a:cubicBezTo>
                  <a:pt x="69340" y="871821"/>
                  <a:pt x="48471" y="855942"/>
                  <a:pt x="32554" y="835394"/>
                </a:cubicBezTo>
                <a:cubicBezTo>
                  <a:pt x="24620" y="825193"/>
                  <a:pt x="18321" y="813596"/>
                  <a:pt x="14426" y="801229"/>
                </a:cubicBezTo>
                <a:cubicBezTo>
                  <a:pt x="10771" y="788622"/>
                  <a:pt x="8800" y="775389"/>
                  <a:pt x="8704" y="761963"/>
                </a:cubicBezTo>
                <a:cubicBezTo>
                  <a:pt x="8848" y="748538"/>
                  <a:pt x="10819" y="735016"/>
                  <a:pt x="14185" y="721687"/>
                </a:cubicBezTo>
                <a:cubicBezTo>
                  <a:pt x="17503" y="708309"/>
                  <a:pt x="22649" y="695317"/>
                  <a:pt x="28419" y="682517"/>
                </a:cubicBezTo>
                <a:cubicBezTo>
                  <a:pt x="40200" y="656917"/>
                  <a:pt x="55972" y="632664"/>
                  <a:pt x="73427" y="609230"/>
                </a:cubicBezTo>
                <a:cubicBezTo>
                  <a:pt x="108674" y="562409"/>
                  <a:pt x="151086" y="519052"/>
                  <a:pt x="194748" y="474782"/>
                </a:cubicBezTo>
                <a:cubicBezTo>
                  <a:pt x="283803" y="387155"/>
                  <a:pt x="361317" y="280665"/>
                  <a:pt x="461768" y="190536"/>
                </a:cubicBezTo>
                <a:cubicBezTo>
                  <a:pt x="468115" y="185002"/>
                  <a:pt x="474415" y="179421"/>
                  <a:pt x="480762" y="173838"/>
                </a:cubicBezTo>
                <a:cubicBezTo>
                  <a:pt x="487109" y="168257"/>
                  <a:pt x="493938" y="163204"/>
                  <a:pt x="500477" y="157863"/>
                </a:cubicBezTo>
                <a:lnTo>
                  <a:pt x="510431" y="149923"/>
                </a:lnTo>
                <a:cubicBezTo>
                  <a:pt x="513749" y="147228"/>
                  <a:pt x="517067" y="144630"/>
                  <a:pt x="520577" y="142224"/>
                </a:cubicBezTo>
                <a:cubicBezTo>
                  <a:pt x="527501" y="137315"/>
                  <a:pt x="534474" y="132359"/>
                  <a:pt x="541446" y="127451"/>
                </a:cubicBezTo>
                <a:cubicBezTo>
                  <a:pt x="548275" y="122350"/>
                  <a:pt x="555632" y="117923"/>
                  <a:pt x="562941" y="113400"/>
                </a:cubicBezTo>
                <a:cubicBezTo>
                  <a:pt x="570202" y="108876"/>
                  <a:pt x="577511" y="104353"/>
                  <a:pt x="584820" y="99781"/>
                </a:cubicBezTo>
                <a:cubicBezTo>
                  <a:pt x="592417" y="95740"/>
                  <a:pt x="600015" y="91649"/>
                  <a:pt x="607612" y="87607"/>
                </a:cubicBezTo>
                <a:cubicBezTo>
                  <a:pt x="615258" y="83565"/>
                  <a:pt x="622759" y="79283"/>
                  <a:pt x="630790" y="75962"/>
                </a:cubicBezTo>
                <a:cubicBezTo>
                  <a:pt x="693494" y="46368"/>
                  <a:pt x="762064" y="27120"/>
                  <a:pt x="832413" y="16582"/>
                </a:cubicBezTo>
                <a:cubicBezTo>
                  <a:pt x="867709" y="11962"/>
                  <a:pt x="903196" y="9797"/>
                  <a:pt x="938250" y="11144"/>
                </a:cubicBezTo>
                <a:cubicBezTo>
                  <a:pt x="973113" y="12780"/>
                  <a:pt x="1008215" y="17641"/>
                  <a:pt x="1039038" y="31740"/>
                </a:cubicBezTo>
                <a:cubicBezTo>
                  <a:pt x="1054185" y="38958"/>
                  <a:pt x="1068227" y="48678"/>
                  <a:pt x="1077940" y="61767"/>
                </a:cubicBezTo>
                <a:cubicBezTo>
                  <a:pt x="1079238" y="63355"/>
                  <a:pt x="1080440" y="64991"/>
                  <a:pt x="1081402" y="66771"/>
                </a:cubicBezTo>
                <a:cubicBezTo>
                  <a:pt x="1082460" y="68503"/>
                  <a:pt x="1083566" y="70188"/>
                  <a:pt x="1084528" y="71968"/>
                </a:cubicBezTo>
                <a:cubicBezTo>
                  <a:pt x="1086211" y="75674"/>
                  <a:pt x="1088134" y="79186"/>
                  <a:pt x="1089384" y="83228"/>
                </a:cubicBezTo>
                <a:cubicBezTo>
                  <a:pt x="1092365" y="91024"/>
                  <a:pt x="1094529" y="99156"/>
                  <a:pt x="1096357" y="107336"/>
                </a:cubicBezTo>
                <a:cubicBezTo>
                  <a:pt x="1100011" y="123746"/>
                  <a:pt x="1101358" y="140636"/>
                  <a:pt x="1101790" y="157430"/>
                </a:cubicBezTo>
                <a:cubicBezTo>
                  <a:pt x="1102271" y="174272"/>
                  <a:pt x="1101502" y="191114"/>
                  <a:pt x="1100011" y="207811"/>
                </a:cubicBezTo>
                <a:cubicBezTo>
                  <a:pt x="1097174" y="241255"/>
                  <a:pt x="1091452" y="274217"/>
                  <a:pt x="1084768" y="306650"/>
                </a:cubicBezTo>
                <a:cubicBezTo>
                  <a:pt x="1078084" y="339083"/>
                  <a:pt x="1070054" y="370939"/>
                  <a:pt x="1061735" y="402361"/>
                </a:cubicBezTo>
                <a:cubicBezTo>
                  <a:pt x="1045049" y="465254"/>
                  <a:pt x="1026103" y="526126"/>
                  <a:pt x="1010139" y="586517"/>
                </a:cubicBezTo>
                <a:cubicBezTo>
                  <a:pt x="1002109" y="616737"/>
                  <a:pt x="996098" y="647052"/>
                  <a:pt x="990231" y="676839"/>
                </a:cubicBezTo>
                <a:cubicBezTo>
                  <a:pt x="984365" y="706625"/>
                  <a:pt x="979075" y="736123"/>
                  <a:pt x="974267" y="765284"/>
                </a:cubicBezTo>
                <a:cubicBezTo>
                  <a:pt x="964602" y="823557"/>
                  <a:pt x="956860" y="880387"/>
                  <a:pt x="950993" y="935533"/>
                </a:cubicBezTo>
                <a:cubicBezTo>
                  <a:pt x="945463" y="990775"/>
                  <a:pt x="941039" y="1044044"/>
                  <a:pt x="941809" y="1096013"/>
                </a:cubicBezTo>
                <a:cubicBezTo>
                  <a:pt x="943011" y="1122191"/>
                  <a:pt x="948733" y="1147261"/>
                  <a:pt x="955850" y="1171033"/>
                </a:cubicBezTo>
                <a:cubicBezTo>
                  <a:pt x="962967" y="1194804"/>
                  <a:pt x="971478" y="1217420"/>
                  <a:pt x="978258" y="1239748"/>
                </a:cubicBezTo>
                <a:cubicBezTo>
                  <a:pt x="984894" y="1261980"/>
                  <a:pt x="990039" y="1284548"/>
                  <a:pt x="986865" y="1305962"/>
                </a:cubicBezTo>
                <a:cubicBezTo>
                  <a:pt x="985423" y="1316596"/>
                  <a:pt x="981720" y="1326701"/>
                  <a:pt x="976190" y="1335555"/>
                </a:cubicBezTo>
                <a:cubicBezTo>
                  <a:pt x="970853" y="1344506"/>
                  <a:pt x="963063" y="1351098"/>
                  <a:pt x="954455" y="1356873"/>
                </a:cubicBezTo>
                <a:cubicBezTo>
                  <a:pt x="937000" y="1367989"/>
                  <a:pt x="917910" y="1375832"/>
                  <a:pt x="899301" y="1382521"/>
                </a:cubicBezTo>
                <a:cubicBezTo>
                  <a:pt x="880596" y="1389161"/>
                  <a:pt x="862083" y="1394551"/>
                  <a:pt x="844099" y="1399267"/>
                </a:cubicBezTo>
                <a:cubicBezTo>
                  <a:pt x="808034" y="1408554"/>
                  <a:pt x="773893" y="1415098"/>
                  <a:pt x="742349" y="1420054"/>
                </a:cubicBezTo>
                <a:cubicBezTo>
                  <a:pt x="710805" y="1425059"/>
                  <a:pt x="681761" y="1428428"/>
                  <a:pt x="655602" y="1430641"/>
                </a:cubicBezTo>
                <a:cubicBezTo>
                  <a:pt x="603285" y="1435068"/>
                  <a:pt x="562364" y="1434827"/>
                  <a:pt x="534858" y="1432229"/>
                </a:cubicBezTo>
                <a:cubicBezTo>
                  <a:pt x="521058" y="1431122"/>
                  <a:pt x="510720" y="1429149"/>
                  <a:pt x="503747" y="1427850"/>
                </a:cubicBezTo>
                <a:cubicBezTo>
                  <a:pt x="500285" y="1427032"/>
                  <a:pt x="497688" y="1426406"/>
                  <a:pt x="495957" y="1425973"/>
                </a:cubicBezTo>
                <a:cubicBezTo>
                  <a:pt x="494226" y="1425588"/>
                  <a:pt x="493313" y="1425444"/>
                  <a:pt x="493264" y="1425540"/>
                </a:cubicBezTo>
                <a:cubicBezTo>
                  <a:pt x="493264" y="1425636"/>
                  <a:pt x="494082" y="1425973"/>
                  <a:pt x="495813" y="1426503"/>
                </a:cubicBezTo>
                <a:cubicBezTo>
                  <a:pt x="497544" y="1427032"/>
                  <a:pt x="500092" y="1427850"/>
                  <a:pt x="503507" y="1428909"/>
                </a:cubicBezTo>
                <a:cubicBezTo>
                  <a:pt x="510431" y="1430545"/>
                  <a:pt x="520817" y="1432903"/>
                  <a:pt x="534618" y="1434394"/>
                </a:cubicBezTo>
                <a:cubicBezTo>
                  <a:pt x="562219" y="1437715"/>
                  <a:pt x="603333" y="1438629"/>
                  <a:pt x="655939" y="1434827"/>
                </a:cubicBezTo>
                <a:cubicBezTo>
                  <a:pt x="682242" y="1432951"/>
                  <a:pt x="711382" y="1429871"/>
                  <a:pt x="743118" y="1425155"/>
                </a:cubicBezTo>
                <a:cubicBezTo>
                  <a:pt x="774855" y="1420439"/>
                  <a:pt x="809188" y="1414184"/>
                  <a:pt x="845589" y="1405137"/>
                </a:cubicBezTo>
                <a:cubicBezTo>
                  <a:pt x="863766" y="1400518"/>
                  <a:pt x="882471" y="1395273"/>
                  <a:pt x="901465" y="1388632"/>
                </a:cubicBezTo>
                <a:cubicBezTo>
                  <a:pt x="920411" y="1381943"/>
                  <a:pt x="939789" y="1374196"/>
                  <a:pt x="958206" y="1362647"/>
                </a:cubicBezTo>
                <a:cubicBezTo>
                  <a:pt x="962678" y="1359519"/>
                  <a:pt x="967246" y="1356440"/>
                  <a:pt x="971333" y="1352494"/>
                </a:cubicBezTo>
                <a:cubicBezTo>
                  <a:pt x="973546" y="1350762"/>
                  <a:pt x="975325" y="1348452"/>
                  <a:pt x="977200" y="1346238"/>
                </a:cubicBezTo>
                <a:cubicBezTo>
                  <a:pt x="979220" y="1344073"/>
                  <a:pt x="980614" y="1341667"/>
                  <a:pt x="982153" y="1339261"/>
                </a:cubicBezTo>
                <a:cubicBezTo>
                  <a:pt x="988212" y="1329685"/>
                  <a:pt x="992395" y="1318569"/>
                  <a:pt x="994030" y="1307068"/>
                </a:cubicBezTo>
                <a:cubicBezTo>
                  <a:pt x="997540" y="1283778"/>
                  <a:pt x="992155" y="1260296"/>
                  <a:pt x="985567" y="1237631"/>
                </a:cubicBezTo>
                <a:cubicBezTo>
                  <a:pt x="978835" y="1214870"/>
                  <a:pt x="970420" y="1192302"/>
                  <a:pt x="963544" y="1168819"/>
                </a:cubicBezTo>
                <a:cubicBezTo>
                  <a:pt x="956619" y="1145385"/>
                  <a:pt x="951186" y="1120940"/>
                  <a:pt x="950128" y="1095676"/>
                </a:cubicBezTo>
                <a:cubicBezTo>
                  <a:pt x="949599" y="1044862"/>
                  <a:pt x="954167" y="991352"/>
                  <a:pt x="959889" y="936495"/>
                </a:cubicBezTo>
                <a:cubicBezTo>
                  <a:pt x="965948" y="881542"/>
                  <a:pt x="973786" y="824904"/>
                  <a:pt x="983595" y="766823"/>
                </a:cubicBezTo>
                <a:cubicBezTo>
                  <a:pt x="988452" y="737759"/>
                  <a:pt x="993838" y="708406"/>
                  <a:pt x="999752" y="678667"/>
                </a:cubicBezTo>
                <a:cubicBezTo>
                  <a:pt x="1005667" y="648929"/>
                  <a:pt x="1011726" y="618902"/>
                  <a:pt x="1019756" y="589019"/>
                </a:cubicBezTo>
                <a:cubicBezTo>
                  <a:pt x="1035720" y="529062"/>
                  <a:pt x="1054810" y="468093"/>
                  <a:pt x="1071689" y="405008"/>
                </a:cubicBezTo>
                <a:cubicBezTo>
                  <a:pt x="1080104" y="373489"/>
                  <a:pt x="1088230" y="341441"/>
                  <a:pt x="1095010" y="308768"/>
                </a:cubicBezTo>
                <a:cubicBezTo>
                  <a:pt x="1101742" y="276094"/>
                  <a:pt x="1107609" y="242795"/>
                  <a:pt x="1110542" y="208726"/>
                </a:cubicBezTo>
                <a:cubicBezTo>
                  <a:pt x="1112081" y="191691"/>
                  <a:pt x="1112850" y="174512"/>
                  <a:pt x="1112417" y="157189"/>
                </a:cubicBezTo>
                <a:cubicBezTo>
                  <a:pt x="1111985" y="139866"/>
                  <a:pt x="1110590" y="122398"/>
                  <a:pt x="1106791" y="105123"/>
                </a:cubicBezTo>
                <a:cubicBezTo>
                  <a:pt x="1104868" y="96509"/>
                  <a:pt x="1102608" y="87896"/>
                  <a:pt x="1099386" y="79523"/>
                </a:cubicBezTo>
                <a:cubicBezTo>
                  <a:pt x="1098088" y="75288"/>
                  <a:pt x="1095924" y="71150"/>
                  <a:pt x="1093952" y="66964"/>
                </a:cubicBezTo>
                <a:cubicBezTo>
                  <a:pt x="1092846" y="64943"/>
                  <a:pt x="1091596" y="63018"/>
                  <a:pt x="1090394" y="61045"/>
                </a:cubicBezTo>
                <a:cubicBezTo>
                  <a:pt x="1089240" y="59024"/>
                  <a:pt x="1087893" y="57147"/>
                  <a:pt x="1086451" y="55367"/>
                </a:cubicBezTo>
                <a:cubicBezTo>
                  <a:pt x="1075391" y="40450"/>
                  <a:pt x="1059860" y="29815"/>
                  <a:pt x="1043607" y="22068"/>
                </a:cubicBezTo>
                <a:cubicBezTo>
                  <a:pt x="1010572" y="6958"/>
                  <a:pt x="974411" y="2146"/>
                  <a:pt x="938779" y="414"/>
                </a:cubicBezTo>
                <a:cubicBezTo>
                  <a:pt x="902956" y="-982"/>
                  <a:pt x="866939" y="1231"/>
                  <a:pt x="831115" y="5899"/>
                </a:cubicBezTo>
                <a:cubicBezTo>
                  <a:pt x="759564" y="16582"/>
                  <a:pt x="690176" y="36119"/>
                  <a:pt x="626318" y="66242"/>
                </a:cubicBezTo>
                <a:cubicBezTo>
                  <a:pt x="618191" y="69610"/>
                  <a:pt x="610498" y="73989"/>
                  <a:pt x="602756" y="78127"/>
                </a:cubicBezTo>
                <a:cubicBezTo>
                  <a:pt x="595014" y="82266"/>
                  <a:pt x="587272" y="86404"/>
                  <a:pt x="579578" y="90542"/>
                </a:cubicBezTo>
                <a:cubicBezTo>
                  <a:pt x="572173" y="95162"/>
                  <a:pt x="564720" y="99781"/>
                  <a:pt x="557363" y="104353"/>
                </a:cubicBezTo>
                <a:cubicBezTo>
                  <a:pt x="549957" y="108924"/>
                  <a:pt x="542504" y="113448"/>
                  <a:pt x="535580" y="118645"/>
                </a:cubicBezTo>
                <a:cubicBezTo>
                  <a:pt x="528511" y="123649"/>
                  <a:pt x="521443" y="128702"/>
                  <a:pt x="514422" y="133658"/>
                </a:cubicBezTo>
                <a:cubicBezTo>
                  <a:pt x="510864" y="136112"/>
                  <a:pt x="507450" y="138759"/>
                  <a:pt x="504132" y="141454"/>
                </a:cubicBezTo>
                <a:lnTo>
                  <a:pt x="494034" y="149490"/>
                </a:lnTo>
                <a:cubicBezTo>
                  <a:pt x="487398" y="154927"/>
                  <a:pt x="480473" y="160028"/>
                  <a:pt x="474078" y="165706"/>
                </a:cubicBezTo>
                <a:cubicBezTo>
                  <a:pt x="467683" y="171336"/>
                  <a:pt x="461239" y="177015"/>
                  <a:pt x="454844" y="182596"/>
                </a:cubicBezTo>
                <a:cubicBezTo>
                  <a:pt x="353383" y="273880"/>
                  <a:pt x="276061" y="380611"/>
                  <a:pt x="187775" y="467757"/>
                </a:cubicBezTo>
                <a:cubicBezTo>
                  <a:pt x="144209" y="512123"/>
                  <a:pt x="101605" y="555865"/>
                  <a:pt x="65974" y="603504"/>
                </a:cubicBezTo>
                <a:cubicBezTo>
                  <a:pt x="48326" y="627371"/>
                  <a:pt x="32314" y="652153"/>
                  <a:pt x="20196" y="678619"/>
                </a:cubicBezTo>
                <a:cubicBezTo>
                  <a:pt x="14281" y="691900"/>
                  <a:pt x="8992" y="705374"/>
                  <a:pt x="5578" y="719377"/>
                </a:cubicBezTo>
                <a:cubicBezTo>
                  <a:pt x="2116" y="733332"/>
                  <a:pt x="96" y="747623"/>
                  <a:pt x="0" y="761867"/>
                </a:cubicBezTo>
                <a:cubicBezTo>
                  <a:pt x="144" y="776158"/>
                  <a:pt x="2308" y="790210"/>
                  <a:pt x="6299" y="803732"/>
                </a:cubicBezTo>
                <a:cubicBezTo>
                  <a:pt x="10627" y="817253"/>
                  <a:pt x="17503" y="829716"/>
                  <a:pt x="25966" y="840543"/>
                </a:cubicBezTo>
                <a:cubicBezTo>
                  <a:pt x="42989" y="862294"/>
                  <a:pt x="64675" y="878558"/>
                  <a:pt x="86843" y="891984"/>
                </a:cubicBezTo>
                <a:cubicBezTo>
                  <a:pt x="109107" y="905409"/>
                  <a:pt x="132284" y="915996"/>
                  <a:pt x="155269" y="925187"/>
                </a:cubicBezTo>
                <a:cubicBezTo>
                  <a:pt x="161039" y="927400"/>
                  <a:pt x="166762" y="929614"/>
                  <a:pt x="172484" y="931827"/>
                </a:cubicBezTo>
                <a:cubicBezTo>
                  <a:pt x="178302" y="933945"/>
                  <a:pt x="183351" y="936158"/>
                  <a:pt x="188977" y="938757"/>
                </a:cubicBezTo>
                <a:cubicBezTo>
                  <a:pt x="200037" y="943809"/>
                  <a:pt x="211097" y="948284"/>
                  <a:pt x="222060" y="952663"/>
                </a:cubicBezTo>
                <a:cubicBezTo>
                  <a:pt x="265770" y="969987"/>
                  <a:pt x="308086" y="985385"/>
                  <a:pt x="342660" y="1009108"/>
                </a:cubicBezTo>
                <a:cubicBezTo>
                  <a:pt x="359874" y="1020946"/>
                  <a:pt x="374829" y="1034901"/>
                  <a:pt x="385985" y="1050973"/>
                </a:cubicBezTo>
                <a:cubicBezTo>
                  <a:pt x="397237" y="1066997"/>
                  <a:pt x="404834" y="1084657"/>
                  <a:pt x="409835" y="1102413"/>
                </a:cubicBezTo>
                <a:cubicBezTo>
                  <a:pt x="414836" y="1120170"/>
                  <a:pt x="417385" y="1137926"/>
                  <a:pt x="418827" y="1155153"/>
                </a:cubicBezTo>
                <a:cubicBezTo>
                  <a:pt x="420270" y="1172332"/>
                  <a:pt x="420559" y="1189030"/>
                  <a:pt x="420462" y="1205006"/>
                </a:cubicBezTo>
                <a:cubicBezTo>
                  <a:pt x="420270" y="1236957"/>
                  <a:pt x="418827" y="1266263"/>
                  <a:pt x="419453" y="1292680"/>
                </a:cubicBezTo>
                <a:close/>
              </a:path>
            </a:pathLst>
          </a:custGeom>
          <a:solidFill>
            <a:srgbClr val="29C8C1"/>
          </a:solidFill>
          <a:ln w="0"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7C09A528-489E-2DBE-8336-FE4D89149E2C}"/>
              </a:ext>
            </a:extLst>
          </p:cNvPr>
          <p:cNvSpPr/>
          <p:nvPr/>
        </p:nvSpPr>
        <p:spPr>
          <a:xfrm>
            <a:off x="7943387" y="4102378"/>
            <a:ext cx="439212" cy="457631"/>
          </a:xfrm>
          <a:custGeom>
            <a:avLst/>
            <a:gdLst>
              <a:gd name="connsiteX0" fmla="*/ 428977 w 439212"/>
              <a:gd name="connsiteY0" fmla="*/ 42602 h 457631"/>
              <a:gd name="connsiteX1" fmla="*/ 404406 w 439212"/>
              <a:gd name="connsiteY1" fmla="*/ 14837 h 457631"/>
              <a:gd name="connsiteX2" fmla="*/ 370072 w 439212"/>
              <a:gd name="connsiteY2" fmla="*/ 1941 h 457631"/>
              <a:gd name="connsiteX3" fmla="*/ 352233 w 439212"/>
              <a:gd name="connsiteY3" fmla="*/ 64 h 457631"/>
              <a:gd name="connsiteX4" fmla="*/ 343385 w 439212"/>
              <a:gd name="connsiteY4" fmla="*/ 64 h 457631"/>
              <a:gd name="connsiteX5" fmla="*/ 334633 w 439212"/>
              <a:gd name="connsiteY5" fmla="*/ 401 h 457631"/>
              <a:gd name="connsiteX6" fmla="*/ 317370 w 439212"/>
              <a:gd name="connsiteY6" fmla="*/ 2278 h 457631"/>
              <a:gd name="connsiteX7" fmla="*/ 308859 w 439212"/>
              <a:gd name="connsiteY7" fmla="*/ 3529 h 457631"/>
              <a:gd name="connsiteX8" fmla="*/ 300492 w 439212"/>
              <a:gd name="connsiteY8" fmla="*/ 5261 h 457631"/>
              <a:gd name="connsiteX9" fmla="*/ 283999 w 439212"/>
              <a:gd name="connsiteY9" fmla="*/ 9111 h 457631"/>
              <a:gd name="connsiteX10" fmla="*/ 275824 w 439212"/>
              <a:gd name="connsiteY10" fmla="*/ 11228 h 457631"/>
              <a:gd name="connsiteX11" fmla="*/ 267649 w 439212"/>
              <a:gd name="connsiteY11" fmla="*/ 13923 h 457631"/>
              <a:gd name="connsiteX12" fmla="*/ 209898 w 439212"/>
              <a:gd name="connsiteY12" fmla="*/ 45682 h 457631"/>
              <a:gd name="connsiteX13" fmla="*/ 160947 w 439212"/>
              <a:gd name="connsiteY13" fmla="*/ 84756 h 457631"/>
              <a:gd name="connsiteX14" fmla="*/ 81990 w 439212"/>
              <a:gd name="connsiteY14" fmla="*/ 169014 h 457631"/>
              <a:gd name="connsiteX15" fmla="*/ 27317 w 439212"/>
              <a:gd name="connsiteY15" fmla="*/ 253561 h 457631"/>
              <a:gd name="connsiteX16" fmla="*/ 1158 w 439212"/>
              <a:gd name="connsiteY16" fmla="*/ 332623 h 457631"/>
              <a:gd name="connsiteX17" fmla="*/ 9284 w 439212"/>
              <a:gd name="connsiteY17" fmla="*/ 394986 h 457631"/>
              <a:gd name="connsiteX18" fmla="*/ 21883 w 439212"/>
              <a:gd name="connsiteY18" fmla="*/ 414379 h 457631"/>
              <a:gd name="connsiteX19" fmla="*/ 34145 w 439212"/>
              <a:gd name="connsiteY19" fmla="*/ 425976 h 457631"/>
              <a:gd name="connsiteX20" fmla="*/ 38953 w 439212"/>
              <a:gd name="connsiteY20" fmla="*/ 429585 h 457631"/>
              <a:gd name="connsiteX21" fmla="*/ 42656 w 439212"/>
              <a:gd name="connsiteY21" fmla="*/ 431846 h 457631"/>
              <a:gd name="connsiteX22" fmla="*/ 45830 w 439212"/>
              <a:gd name="connsiteY22" fmla="*/ 433434 h 457631"/>
              <a:gd name="connsiteX23" fmla="*/ 43281 w 439212"/>
              <a:gd name="connsiteY23" fmla="*/ 430980 h 457631"/>
              <a:gd name="connsiteX24" fmla="*/ 39963 w 439212"/>
              <a:gd name="connsiteY24" fmla="*/ 428285 h 457631"/>
              <a:gd name="connsiteX25" fmla="*/ 35587 w 439212"/>
              <a:gd name="connsiteY25" fmla="*/ 424340 h 457631"/>
              <a:gd name="connsiteX26" fmla="*/ 24383 w 439212"/>
              <a:gd name="connsiteY26" fmla="*/ 412358 h 457631"/>
              <a:gd name="connsiteX27" fmla="*/ 13083 w 439212"/>
              <a:gd name="connsiteY27" fmla="*/ 393254 h 457631"/>
              <a:gd name="connsiteX28" fmla="*/ 7072 w 439212"/>
              <a:gd name="connsiteY28" fmla="*/ 333441 h 457631"/>
              <a:gd name="connsiteX29" fmla="*/ 34049 w 439212"/>
              <a:gd name="connsiteY29" fmla="*/ 256978 h 457631"/>
              <a:gd name="connsiteX30" fmla="*/ 88915 w 439212"/>
              <a:gd name="connsiteY30" fmla="*/ 174500 h 457631"/>
              <a:gd name="connsiteX31" fmla="*/ 167487 w 439212"/>
              <a:gd name="connsiteY31" fmla="*/ 92118 h 457631"/>
              <a:gd name="connsiteX32" fmla="*/ 215717 w 439212"/>
              <a:gd name="connsiteY32" fmla="*/ 54055 h 457631"/>
              <a:gd name="connsiteX33" fmla="*/ 271208 w 439212"/>
              <a:gd name="connsiteY33" fmla="*/ 23739 h 457631"/>
              <a:gd name="connsiteX34" fmla="*/ 278709 w 439212"/>
              <a:gd name="connsiteY34" fmla="*/ 21285 h 457631"/>
              <a:gd name="connsiteX35" fmla="*/ 286595 w 439212"/>
              <a:gd name="connsiteY35" fmla="*/ 19264 h 457631"/>
              <a:gd name="connsiteX36" fmla="*/ 302608 w 439212"/>
              <a:gd name="connsiteY36" fmla="*/ 15559 h 457631"/>
              <a:gd name="connsiteX37" fmla="*/ 310686 w 439212"/>
              <a:gd name="connsiteY37" fmla="*/ 13923 h 457631"/>
              <a:gd name="connsiteX38" fmla="*/ 318861 w 439212"/>
              <a:gd name="connsiteY38" fmla="*/ 12720 h 457631"/>
              <a:gd name="connsiteX39" fmla="*/ 335306 w 439212"/>
              <a:gd name="connsiteY39" fmla="*/ 10987 h 457631"/>
              <a:gd name="connsiteX40" fmla="*/ 343577 w 439212"/>
              <a:gd name="connsiteY40" fmla="*/ 10651 h 457631"/>
              <a:gd name="connsiteX41" fmla="*/ 351848 w 439212"/>
              <a:gd name="connsiteY41" fmla="*/ 10651 h 457631"/>
              <a:gd name="connsiteX42" fmla="*/ 368245 w 439212"/>
              <a:gd name="connsiteY42" fmla="*/ 12383 h 457631"/>
              <a:gd name="connsiteX43" fmla="*/ 398491 w 439212"/>
              <a:gd name="connsiteY43" fmla="*/ 23691 h 457631"/>
              <a:gd name="connsiteX44" fmla="*/ 419408 w 439212"/>
              <a:gd name="connsiteY44" fmla="*/ 47414 h 457631"/>
              <a:gd name="connsiteX45" fmla="*/ 428016 w 439212"/>
              <a:gd name="connsiteY45" fmla="*/ 78404 h 457631"/>
              <a:gd name="connsiteX46" fmla="*/ 421668 w 439212"/>
              <a:gd name="connsiteY46" fmla="*/ 143029 h 457631"/>
              <a:gd name="connsiteX47" fmla="*/ 371804 w 439212"/>
              <a:gd name="connsiteY47" fmla="*/ 257555 h 457631"/>
              <a:gd name="connsiteX48" fmla="*/ 229181 w 439212"/>
              <a:gd name="connsiteY48" fmla="*/ 413368 h 457631"/>
              <a:gd name="connsiteX49" fmla="*/ 155754 w 439212"/>
              <a:gd name="connsiteY49" fmla="*/ 447485 h 457631"/>
              <a:gd name="connsiteX50" fmla="*/ 95070 w 439212"/>
              <a:gd name="connsiteY50" fmla="*/ 450854 h 457631"/>
              <a:gd name="connsiteX51" fmla="*/ 58092 w 439212"/>
              <a:gd name="connsiteY51" fmla="*/ 439305 h 457631"/>
              <a:gd name="connsiteX52" fmla="*/ 45733 w 439212"/>
              <a:gd name="connsiteY52" fmla="*/ 433386 h 457631"/>
              <a:gd name="connsiteX53" fmla="*/ 57130 w 439212"/>
              <a:gd name="connsiteY53" fmla="*/ 441230 h 457631"/>
              <a:gd name="connsiteX54" fmla="*/ 94348 w 439212"/>
              <a:gd name="connsiteY54" fmla="*/ 454992 h 457631"/>
              <a:gd name="connsiteX55" fmla="*/ 157148 w 439212"/>
              <a:gd name="connsiteY55" fmla="*/ 453356 h 457631"/>
              <a:gd name="connsiteX56" fmla="*/ 233268 w 439212"/>
              <a:gd name="connsiteY56" fmla="*/ 419720 h 457631"/>
              <a:gd name="connsiteX57" fmla="*/ 380170 w 439212"/>
              <a:gd name="connsiteY57" fmla="*/ 262704 h 457631"/>
              <a:gd name="connsiteX58" fmla="*/ 431766 w 439212"/>
              <a:gd name="connsiteY58" fmla="*/ 145628 h 457631"/>
              <a:gd name="connsiteX59" fmla="*/ 438547 w 439212"/>
              <a:gd name="connsiteY59" fmla="*/ 77345 h 457631"/>
              <a:gd name="connsiteX60" fmla="*/ 428881 w 439212"/>
              <a:gd name="connsiteY60" fmla="*/ 42602 h 45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39212" h="457631">
                <a:moveTo>
                  <a:pt x="428977" y="42602"/>
                </a:moveTo>
                <a:cubicBezTo>
                  <a:pt x="423448" y="31583"/>
                  <a:pt x="414984" y="21718"/>
                  <a:pt x="404406" y="14837"/>
                </a:cubicBezTo>
                <a:cubicBezTo>
                  <a:pt x="393875" y="7860"/>
                  <a:pt x="381950" y="3962"/>
                  <a:pt x="370072" y="1941"/>
                </a:cubicBezTo>
                <a:cubicBezTo>
                  <a:pt x="364110" y="738"/>
                  <a:pt x="358195" y="497"/>
                  <a:pt x="352233" y="64"/>
                </a:cubicBezTo>
                <a:cubicBezTo>
                  <a:pt x="349251" y="-80"/>
                  <a:pt x="346318" y="64"/>
                  <a:pt x="343385" y="64"/>
                </a:cubicBezTo>
                <a:cubicBezTo>
                  <a:pt x="340451" y="64"/>
                  <a:pt x="337518" y="64"/>
                  <a:pt x="334633" y="401"/>
                </a:cubicBezTo>
                <a:cubicBezTo>
                  <a:pt x="328815" y="834"/>
                  <a:pt x="323044" y="1267"/>
                  <a:pt x="317370" y="2278"/>
                </a:cubicBezTo>
                <a:lnTo>
                  <a:pt x="308859" y="3529"/>
                </a:lnTo>
                <a:lnTo>
                  <a:pt x="300492" y="5261"/>
                </a:lnTo>
                <a:cubicBezTo>
                  <a:pt x="294866" y="6320"/>
                  <a:pt x="289432" y="7667"/>
                  <a:pt x="283999" y="9111"/>
                </a:cubicBezTo>
                <a:lnTo>
                  <a:pt x="275824" y="11228"/>
                </a:lnTo>
                <a:cubicBezTo>
                  <a:pt x="273083" y="12094"/>
                  <a:pt x="270294" y="12912"/>
                  <a:pt x="267649" y="13923"/>
                </a:cubicBezTo>
                <a:cubicBezTo>
                  <a:pt x="246251" y="21814"/>
                  <a:pt x="227498" y="33556"/>
                  <a:pt x="209898" y="45682"/>
                </a:cubicBezTo>
                <a:cubicBezTo>
                  <a:pt x="192347" y="57953"/>
                  <a:pt x="176142" y="71234"/>
                  <a:pt x="160947" y="84756"/>
                </a:cubicBezTo>
                <a:cubicBezTo>
                  <a:pt x="130605" y="111992"/>
                  <a:pt x="104398" y="140575"/>
                  <a:pt x="81990" y="169014"/>
                </a:cubicBezTo>
                <a:cubicBezTo>
                  <a:pt x="59630" y="197453"/>
                  <a:pt x="41117" y="225940"/>
                  <a:pt x="27317" y="253561"/>
                </a:cubicBezTo>
                <a:cubicBezTo>
                  <a:pt x="13420" y="281134"/>
                  <a:pt x="4332" y="308033"/>
                  <a:pt x="1158" y="332623"/>
                </a:cubicBezTo>
                <a:cubicBezTo>
                  <a:pt x="-2016" y="357164"/>
                  <a:pt x="1543" y="379203"/>
                  <a:pt x="9284" y="394986"/>
                </a:cubicBezTo>
                <a:cubicBezTo>
                  <a:pt x="13035" y="402878"/>
                  <a:pt x="17603" y="409278"/>
                  <a:pt x="21883" y="414379"/>
                </a:cubicBezTo>
                <a:cubicBezTo>
                  <a:pt x="26355" y="419335"/>
                  <a:pt x="30538" y="423185"/>
                  <a:pt x="34145" y="425976"/>
                </a:cubicBezTo>
                <a:cubicBezTo>
                  <a:pt x="35972" y="427323"/>
                  <a:pt x="37559" y="428526"/>
                  <a:pt x="38953" y="429585"/>
                </a:cubicBezTo>
                <a:cubicBezTo>
                  <a:pt x="40396" y="430499"/>
                  <a:pt x="41646" y="431269"/>
                  <a:pt x="42656" y="431846"/>
                </a:cubicBezTo>
                <a:cubicBezTo>
                  <a:pt x="44627" y="433049"/>
                  <a:pt x="45733" y="433579"/>
                  <a:pt x="45830" y="433434"/>
                </a:cubicBezTo>
                <a:cubicBezTo>
                  <a:pt x="45926" y="433290"/>
                  <a:pt x="45060" y="432424"/>
                  <a:pt x="43281" y="430980"/>
                </a:cubicBezTo>
                <a:cubicBezTo>
                  <a:pt x="42368" y="430258"/>
                  <a:pt x="41262" y="429344"/>
                  <a:pt x="39963" y="428285"/>
                </a:cubicBezTo>
                <a:cubicBezTo>
                  <a:pt x="38713" y="427131"/>
                  <a:pt x="37222" y="425831"/>
                  <a:pt x="35587" y="424340"/>
                </a:cubicBezTo>
                <a:cubicBezTo>
                  <a:pt x="32269" y="421356"/>
                  <a:pt x="28471" y="417362"/>
                  <a:pt x="24383" y="412358"/>
                </a:cubicBezTo>
                <a:cubicBezTo>
                  <a:pt x="20488" y="407209"/>
                  <a:pt x="16401" y="400905"/>
                  <a:pt x="13083" y="393254"/>
                </a:cubicBezTo>
                <a:cubicBezTo>
                  <a:pt x="6303" y="378000"/>
                  <a:pt x="3466" y="357020"/>
                  <a:pt x="7072" y="333441"/>
                </a:cubicBezTo>
                <a:cubicBezTo>
                  <a:pt x="10679" y="309862"/>
                  <a:pt x="20008" y="283781"/>
                  <a:pt x="34049" y="256978"/>
                </a:cubicBezTo>
                <a:cubicBezTo>
                  <a:pt x="48042" y="230127"/>
                  <a:pt x="66603" y="202361"/>
                  <a:pt x="88915" y="174500"/>
                </a:cubicBezTo>
                <a:cubicBezTo>
                  <a:pt x="111274" y="146686"/>
                  <a:pt x="137433" y="118680"/>
                  <a:pt x="167487" y="92118"/>
                </a:cubicBezTo>
                <a:cubicBezTo>
                  <a:pt x="182538" y="78885"/>
                  <a:pt x="198502" y="65941"/>
                  <a:pt x="215717" y="54055"/>
                </a:cubicBezTo>
                <a:cubicBezTo>
                  <a:pt x="232932" y="42314"/>
                  <a:pt x="251252" y="31054"/>
                  <a:pt x="271208" y="23739"/>
                </a:cubicBezTo>
                <a:cubicBezTo>
                  <a:pt x="273708" y="22777"/>
                  <a:pt x="276209" y="22055"/>
                  <a:pt x="278709" y="21285"/>
                </a:cubicBezTo>
                <a:lnTo>
                  <a:pt x="286595" y="19264"/>
                </a:lnTo>
                <a:cubicBezTo>
                  <a:pt x="291885" y="17869"/>
                  <a:pt x="297222" y="16521"/>
                  <a:pt x="302608" y="15559"/>
                </a:cubicBezTo>
                <a:lnTo>
                  <a:pt x="310686" y="13923"/>
                </a:lnTo>
                <a:lnTo>
                  <a:pt x="318861" y="12720"/>
                </a:lnTo>
                <a:cubicBezTo>
                  <a:pt x="324295" y="11806"/>
                  <a:pt x="329824" y="11372"/>
                  <a:pt x="335306" y="10987"/>
                </a:cubicBezTo>
                <a:cubicBezTo>
                  <a:pt x="338047" y="10699"/>
                  <a:pt x="340836" y="10651"/>
                  <a:pt x="343577" y="10651"/>
                </a:cubicBezTo>
                <a:cubicBezTo>
                  <a:pt x="346318" y="10651"/>
                  <a:pt x="349107" y="10506"/>
                  <a:pt x="351848" y="10651"/>
                </a:cubicBezTo>
                <a:cubicBezTo>
                  <a:pt x="357330" y="11035"/>
                  <a:pt x="362859" y="11276"/>
                  <a:pt x="368245" y="12383"/>
                </a:cubicBezTo>
                <a:cubicBezTo>
                  <a:pt x="379016" y="14260"/>
                  <a:pt x="389547" y="17772"/>
                  <a:pt x="398491" y="23691"/>
                </a:cubicBezTo>
                <a:cubicBezTo>
                  <a:pt x="407483" y="29562"/>
                  <a:pt x="414648" y="37838"/>
                  <a:pt x="419408" y="47414"/>
                </a:cubicBezTo>
                <a:cubicBezTo>
                  <a:pt x="424265" y="56942"/>
                  <a:pt x="426862" y="67625"/>
                  <a:pt x="428016" y="78404"/>
                </a:cubicBezTo>
                <a:cubicBezTo>
                  <a:pt x="430083" y="100154"/>
                  <a:pt x="426862" y="122145"/>
                  <a:pt x="421668" y="143029"/>
                </a:cubicBezTo>
                <a:cubicBezTo>
                  <a:pt x="410897" y="184990"/>
                  <a:pt x="392336" y="223246"/>
                  <a:pt x="371804" y="257555"/>
                </a:cubicBezTo>
                <a:cubicBezTo>
                  <a:pt x="330305" y="326126"/>
                  <a:pt x="279334" y="379684"/>
                  <a:pt x="229181" y="413368"/>
                </a:cubicBezTo>
                <a:cubicBezTo>
                  <a:pt x="203984" y="430018"/>
                  <a:pt x="178979" y="441711"/>
                  <a:pt x="155754" y="447485"/>
                </a:cubicBezTo>
                <a:cubicBezTo>
                  <a:pt x="132624" y="453597"/>
                  <a:pt x="111659" y="453549"/>
                  <a:pt x="95070" y="450854"/>
                </a:cubicBezTo>
                <a:cubicBezTo>
                  <a:pt x="78432" y="448159"/>
                  <a:pt x="66218" y="442914"/>
                  <a:pt x="58092" y="439305"/>
                </a:cubicBezTo>
                <a:cubicBezTo>
                  <a:pt x="50157" y="435263"/>
                  <a:pt x="45926" y="433049"/>
                  <a:pt x="45733" y="433386"/>
                </a:cubicBezTo>
                <a:cubicBezTo>
                  <a:pt x="45541" y="433675"/>
                  <a:pt x="49388" y="436466"/>
                  <a:pt x="57130" y="441230"/>
                </a:cubicBezTo>
                <a:cubicBezTo>
                  <a:pt x="65064" y="445513"/>
                  <a:pt x="77278" y="451528"/>
                  <a:pt x="94348" y="454992"/>
                </a:cubicBezTo>
                <a:cubicBezTo>
                  <a:pt x="111322" y="458457"/>
                  <a:pt x="133105" y="459083"/>
                  <a:pt x="157148" y="453356"/>
                </a:cubicBezTo>
                <a:cubicBezTo>
                  <a:pt x="181288" y="447967"/>
                  <a:pt x="207254" y="436370"/>
                  <a:pt x="233268" y="419720"/>
                </a:cubicBezTo>
                <a:cubicBezTo>
                  <a:pt x="285153" y="385988"/>
                  <a:pt x="337470" y="332189"/>
                  <a:pt x="380170" y="262704"/>
                </a:cubicBezTo>
                <a:cubicBezTo>
                  <a:pt x="401280" y="227865"/>
                  <a:pt x="420418" y="189032"/>
                  <a:pt x="431766" y="145628"/>
                </a:cubicBezTo>
                <a:cubicBezTo>
                  <a:pt x="437200" y="123974"/>
                  <a:pt x="440758" y="100972"/>
                  <a:pt x="438547" y="77345"/>
                </a:cubicBezTo>
                <a:cubicBezTo>
                  <a:pt x="437296" y="65604"/>
                  <a:pt x="434459" y="53622"/>
                  <a:pt x="428881" y="42602"/>
                </a:cubicBezTo>
                <a:close/>
              </a:path>
            </a:pathLst>
          </a:custGeom>
          <a:solidFill>
            <a:srgbClr val="29C8C1"/>
          </a:solidFill>
          <a:ln w="0"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8A39E5C0-3B5B-FC11-33CD-EE9F79BE9F41}"/>
              </a:ext>
            </a:extLst>
          </p:cNvPr>
          <p:cNvSpPr/>
          <p:nvPr/>
        </p:nvSpPr>
        <p:spPr>
          <a:xfrm>
            <a:off x="7831427" y="4013406"/>
            <a:ext cx="651908" cy="673472"/>
          </a:xfrm>
          <a:custGeom>
            <a:avLst/>
            <a:gdLst>
              <a:gd name="connsiteX0" fmla="*/ 261 w 651908"/>
              <a:gd name="connsiteY0" fmla="*/ 518750 h 673472"/>
              <a:gd name="connsiteX1" fmla="*/ 1031 w 651908"/>
              <a:gd name="connsiteY1" fmla="*/ 525342 h 673472"/>
              <a:gd name="connsiteX2" fmla="*/ 2906 w 651908"/>
              <a:gd name="connsiteY2" fmla="*/ 538575 h 673472"/>
              <a:gd name="connsiteX3" fmla="*/ 4541 w 651908"/>
              <a:gd name="connsiteY3" fmla="*/ 545216 h 673472"/>
              <a:gd name="connsiteX4" fmla="*/ 6705 w 651908"/>
              <a:gd name="connsiteY4" fmla="*/ 551664 h 673472"/>
              <a:gd name="connsiteX5" fmla="*/ 19015 w 651908"/>
              <a:gd name="connsiteY5" fmla="*/ 575868 h 673472"/>
              <a:gd name="connsiteX6" fmla="*/ 36037 w 651908"/>
              <a:gd name="connsiteY6" fmla="*/ 596897 h 673472"/>
              <a:gd name="connsiteX7" fmla="*/ 125236 w 651908"/>
              <a:gd name="connsiteY7" fmla="*/ 651946 h 673472"/>
              <a:gd name="connsiteX8" fmla="*/ 224581 w 651908"/>
              <a:gd name="connsiteY8" fmla="*/ 672830 h 673472"/>
              <a:gd name="connsiteX9" fmla="*/ 322244 w 651908"/>
              <a:gd name="connsiteY9" fmla="*/ 663976 h 673472"/>
              <a:gd name="connsiteX10" fmla="*/ 365809 w 651908"/>
              <a:gd name="connsiteY10" fmla="*/ 643044 h 673472"/>
              <a:gd name="connsiteX11" fmla="*/ 403124 w 651908"/>
              <a:gd name="connsiteY11" fmla="*/ 615327 h 673472"/>
              <a:gd name="connsiteX12" fmla="*/ 466742 w 651908"/>
              <a:gd name="connsiteY12" fmla="*/ 553156 h 673472"/>
              <a:gd name="connsiteX13" fmla="*/ 519588 w 651908"/>
              <a:gd name="connsiteY13" fmla="*/ 488193 h 673472"/>
              <a:gd name="connsiteX14" fmla="*/ 563202 w 651908"/>
              <a:gd name="connsiteY14" fmla="*/ 423327 h 673472"/>
              <a:gd name="connsiteX15" fmla="*/ 581715 w 651908"/>
              <a:gd name="connsiteY15" fmla="*/ 391472 h 673472"/>
              <a:gd name="connsiteX16" fmla="*/ 597872 w 651908"/>
              <a:gd name="connsiteY16" fmla="*/ 360098 h 673472"/>
              <a:gd name="connsiteX17" fmla="*/ 623886 w 651908"/>
              <a:gd name="connsiteY17" fmla="*/ 299899 h 673472"/>
              <a:gd name="connsiteX18" fmla="*/ 633551 w 651908"/>
              <a:gd name="connsiteY18" fmla="*/ 271268 h 673472"/>
              <a:gd name="connsiteX19" fmla="*/ 641053 w 651908"/>
              <a:gd name="connsiteY19" fmla="*/ 243887 h 673472"/>
              <a:gd name="connsiteX20" fmla="*/ 651776 w 651908"/>
              <a:gd name="connsiteY20" fmla="*/ 150919 h 673472"/>
              <a:gd name="connsiteX21" fmla="*/ 650670 w 651908"/>
              <a:gd name="connsiteY21" fmla="*/ 132730 h 673472"/>
              <a:gd name="connsiteX22" fmla="*/ 648554 w 651908"/>
              <a:gd name="connsiteY22" fmla="*/ 116850 h 673472"/>
              <a:gd name="connsiteX23" fmla="*/ 645717 w 651908"/>
              <a:gd name="connsiteY23" fmla="*/ 103424 h 673472"/>
              <a:gd name="connsiteX24" fmla="*/ 643024 w 651908"/>
              <a:gd name="connsiteY24" fmla="*/ 92405 h 673472"/>
              <a:gd name="connsiteX25" fmla="*/ 637879 w 651908"/>
              <a:gd name="connsiteY25" fmla="*/ 77921 h 673472"/>
              <a:gd name="connsiteX26" fmla="*/ 635763 w 651908"/>
              <a:gd name="connsiteY26" fmla="*/ 73109 h 673472"/>
              <a:gd name="connsiteX27" fmla="*/ 636821 w 651908"/>
              <a:gd name="connsiteY27" fmla="*/ 78258 h 673472"/>
              <a:gd name="connsiteX28" fmla="*/ 640957 w 651908"/>
              <a:gd name="connsiteY28" fmla="*/ 92934 h 673472"/>
              <a:gd name="connsiteX29" fmla="*/ 643120 w 651908"/>
              <a:gd name="connsiteY29" fmla="*/ 103954 h 673472"/>
              <a:gd name="connsiteX30" fmla="*/ 645429 w 651908"/>
              <a:gd name="connsiteY30" fmla="*/ 117283 h 673472"/>
              <a:gd name="connsiteX31" fmla="*/ 647015 w 651908"/>
              <a:gd name="connsiteY31" fmla="*/ 132970 h 673472"/>
              <a:gd name="connsiteX32" fmla="*/ 647592 w 651908"/>
              <a:gd name="connsiteY32" fmla="*/ 150919 h 673472"/>
              <a:gd name="connsiteX33" fmla="*/ 635234 w 651908"/>
              <a:gd name="connsiteY33" fmla="*/ 242347 h 673472"/>
              <a:gd name="connsiteX34" fmla="*/ 627445 w 651908"/>
              <a:gd name="connsiteY34" fmla="*/ 269247 h 673472"/>
              <a:gd name="connsiteX35" fmla="*/ 617539 w 651908"/>
              <a:gd name="connsiteY35" fmla="*/ 297397 h 673472"/>
              <a:gd name="connsiteX36" fmla="*/ 591140 w 651908"/>
              <a:gd name="connsiteY36" fmla="*/ 356633 h 673472"/>
              <a:gd name="connsiteX37" fmla="*/ 574839 w 651908"/>
              <a:gd name="connsiteY37" fmla="*/ 387526 h 673472"/>
              <a:gd name="connsiteX38" fmla="*/ 556181 w 651908"/>
              <a:gd name="connsiteY38" fmla="*/ 418900 h 673472"/>
              <a:gd name="connsiteX39" fmla="*/ 512471 w 651908"/>
              <a:gd name="connsiteY39" fmla="*/ 482804 h 673472"/>
              <a:gd name="connsiteX40" fmla="*/ 459769 w 651908"/>
              <a:gd name="connsiteY40" fmla="*/ 546756 h 673472"/>
              <a:gd name="connsiteX41" fmla="*/ 396825 w 651908"/>
              <a:gd name="connsiteY41" fmla="*/ 607676 h 673472"/>
              <a:gd name="connsiteX42" fmla="*/ 360424 w 651908"/>
              <a:gd name="connsiteY42" fmla="*/ 634527 h 673472"/>
              <a:gd name="connsiteX43" fmla="*/ 319647 w 651908"/>
              <a:gd name="connsiteY43" fmla="*/ 654063 h 673472"/>
              <a:gd name="connsiteX44" fmla="*/ 225255 w 651908"/>
              <a:gd name="connsiteY44" fmla="*/ 662340 h 673472"/>
              <a:gd name="connsiteX45" fmla="*/ 128987 w 651908"/>
              <a:gd name="connsiteY45" fmla="*/ 641937 h 673472"/>
              <a:gd name="connsiteX46" fmla="*/ 43731 w 651908"/>
              <a:gd name="connsiteY46" fmla="*/ 589390 h 673472"/>
              <a:gd name="connsiteX47" fmla="*/ 27958 w 651908"/>
              <a:gd name="connsiteY47" fmla="*/ 569949 h 673472"/>
              <a:gd name="connsiteX48" fmla="*/ 16803 w 651908"/>
              <a:gd name="connsiteY48" fmla="*/ 548055 h 673472"/>
              <a:gd name="connsiteX49" fmla="*/ 14879 w 651908"/>
              <a:gd name="connsiteY49" fmla="*/ 542280 h 673472"/>
              <a:gd name="connsiteX50" fmla="*/ 13437 w 651908"/>
              <a:gd name="connsiteY50" fmla="*/ 536410 h 673472"/>
              <a:gd name="connsiteX51" fmla="*/ 11706 w 651908"/>
              <a:gd name="connsiteY51" fmla="*/ 524187 h 673472"/>
              <a:gd name="connsiteX52" fmla="*/ 10984 w 651908"/>
              <a:gd name="connsiteY52" fmla="*/ 518028 h 673472"/>
              <a:gd name="connsiteX53" fmla="*/ 10840 w 651908"/>
              <a:gd name="connsiteY53" fmla="*/ 511820 h 673472"/>
              <a:gd name="connsiteX54" fmla="*/ 10744 w 651908"/>
              <a:gd name="connsiteY54" fmla="*/ 499453 h 673472"/>
              <a:gd name="connsiteX55" fmla="*/ 33729 w 651908"/>
              <a:gd name="connsiteY55" fmla="*/ 404127 h 673472"/>
              <a:gd name="connsiteX56" fmla="*/ 78304 w 651908"/>
              <a:gd name="connsiteY56" fmla="*/ 319291 h 673472"/>
              <a:gd name="connsiteX57" fmla="*/ 132401 w 651908"/>
              <a:gd name="connsiteY57" fmla="*/ 244609 h 673472"/>
              <a:gd name="connsiteX58" fmla="*/ 252471 w 651908"/>
              <a:gd name="connsiteY58" fmla="*/ 123539 h 673472"/>
              <a:gd name="connsiteX59" fmla="*/ 314406 w 651908"/>
              <a:gd name="connsiteY59" fmla="*/ 77295 h 673472"/>
              <a:gd name="connsiteX60" fmla="*/ 375955 w 651908"/>
              <a:gd name="connsiteY60" fmla="*/ 41494 h 673472"/>
              <a:gd name="connsiteX61" fmla="*/ 492275 w 651908"/>
              <a:gd name="connsiteY61" fmla="*/ 6799 h 673472"/>
              <a:gd name="connsiteX62" fmla="*/ 582436 w 651908"/>
              <a:gd name="connsiteY62" fmla="*/ 18059 h 673472"/>
              <a:gd name="connsiteX63" fmla="*/ 610133 w 651908"/>
              <a:gd name="connsiteY63" fmla="*/ 36393 h 673472"/>
              <a:gd name="connsiteX64" fmla="*/ 625761 w 651908"/>
              <a:gd name="connsiteY64" fmla="*/ 55256 h 673472"/>
              <a:gd name="connsiteX65" fmla="*/ 630378 w 651908"/>
              <a:gd name="connsiteY65" fmla="*/ 62763 h 673472"/>
              <a:gd name="connsiteX66" fmla="*/ 633215 w 651908"/>
              <a:gd name="connsiteY66" fmla="*/ 68489 h 673472"/>
              <a:gd name="connsiteX67" fmla="*/ 635811 w 651908"/>
              <a:gd name="connsiteY67" fmla="*/ 73061 h 673472"/>
              <a:gd name="connsiteX68" fmla="*/ 634224 w 651908"/>
              <a:gd name="connsiteY68" fmla="*/ 68056 h 673472"/>
              <a:gd name="connsiteX69" fmla="*/ 631868 w 651908"/>
              <a:gd name="connsiteY69" fmla="*/ 62041 h 673472"/>
              <a:gd name="connsiteX70" fmla="*/ 627637 w 651908"/>
              <a:gd name="connsiteY70" fmla="*/ 54101 h 673472"/>
              <a:gd name="connsiteX71" fmla="*/ 612394 w 651908"/>
              <a:gd name="connsiteY71" fmla="*/ 34083 h 673472"/>
              <a:gd name="connsiteX72" fmla="*/ 584215 w 651908"/>
              <a:gd name="connsiteY72" fmla="*/ 14258 h 673472"/>
              <a:gd name="connsiteX73" fmla="*/ 491794 w 651908"/>
              <a:gd name="connsiteY73" fmla="*/ 784 h 673472"/>
              <a:gd name="connsiteX74" fmla="*/ 372686 w 651908"/>
              <a:gd name="connsiteY74" fmla="*/ 34613 h 673472"/>
              <a:gd name="connsiteX75" fmla="*/ 309934 w 651908"/>
              <a:gd name="connsiteY75" fmla="*/ 70318 h 673472"/>
              <a:gd name="connsiteX76" fmla="*/ 246893 w 651908"/>
              <a:gd name="connsiteY76" fmla="*/ 116609 h 673472"/>
              <a:gd name="connsiteX77" fmla="*/ 124851 w 651908"/>
              <a:gd name="connsiteY77" fmla="*/ 238257 h 673472"/>
              <a:gd name="connsiteX78" fmla="*/ 69745 w 651908"/>
              <a:gd name="connsiteY78" fmla="*/ 313661 h 673472"/>
              <a:gd name="connsiteX79" fmla="*/ 24064 w 651908"/>
              <a:gd name="connsiteY79" fmla="*/ 399989 h 673472"/>
              <a:gd name="connsiteX80" fmla="*/ 117 w 651908"/>
              <a:gd name="connsiteY80" fmla="*/ 498876 h 673472"/>
              <a:gd name="connsiteX81" fmla="*/ 165 w 651908"/>
              <a:gd name="connsiteY81" fmla="*/ 512013 h 673472"/>
              <a:gd name="connsiteX82" fmla="*/ 309 w 651908"/>
              <a:gd name="connsiteY82" fmla="*/ 518605 h 67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51908" h="673472">
                <a:moveTo>
                  <a:pt x="261" y="518750"/>
                </a:moveTo>
                <a:cubicBezTo>
                  <a:pt x="405" y="520963"/>
                  <a:pt x="790" y="523128"/>
                  <a:pt x="1031" y="525342"/>
                </a:cubicBezTo>
                <a:cubicBezTo>
                  <a:pt x="1656" y="529721"/>
                  <a:pt x="1992" y="534148"/>
                  <a:pt x="2906" y="538575"/>
                </a:cubicBezTo>
                <a:lnTo>
                  <a:pt x="4541" y="545216"/>
                </a:lnTo>
                <a:cubicBezTo>
                  <a:pt x="5118" y="547429"/>
                  <a:pt x="5983" y="549498"/>
                  <a:pt x="6705" y="551664"/>
                </a:cubicBezTo>
                <a:cubicBezTo>
                  <a:pt x="9782" y="560229"/>
                  <a:pt x="13917" y="568361"/>
                  <a:pt x="19015" y="575868"/>
                </a:cubicBezTo>
                <a:cubicBezTo>
                  <a:pt x="23919" y="583471"/>
                  <a:pt x="29834" y="590352"/>
                  <a:pt x="36037" y="596897"/>
                </a:cubicBezTo>
                <a:cubicBezTo>
                  <a:pt x="61426" y="622689"/>
                  <a:pt x="93019" y="639868"/>
                  <a:pt x="125236" y="651946"/>
                </a:cubicBezTo>
                <a:cubicBezTo>
                  <a:pt x="157598" y="663976"/>
                  <a:pt x="191258" y="670761"/>
                  <a:pt x="224581" y="672830"/>
                </a:cubicBezTo>
                <a:cubicBezTo>
                  <a:pt x="257905" y="674851"/>
                  <a:pt x="290988" y="672157"/>
                  <a:pt x="322244" y="663976"/>
                </a:cubicBezTo>
                <a:cubicBezTo>
                  <a:pt x="338497" y="659501"/>
                  <a:pt x="352538" y="651465"/>
                  <a:pt x="365809" y="643044"/>
                </a:cubicBezTo>
                <a:cubicBezTo>
                  <a:pt x="379177" y="634623"/>
                  <a:pt x="391295" y="624999"/>
                  <a:pt x="403124" y="615327"/>
                </a:cubicBezTo>
                <a:cubicBezTo>
                  <a:pt x="426446" y="595597"/>
                  <a:pt x="447411" y="574521"/>
                  <a:pt x="466742" y="553156"/>
                </a:cubicBezTo>
                <a:cubicBezTo>
                  <a:pt x="486072" y="531790"/>
                  <a:pt x="503575" y="509943"/>
                  <a:pt x="519588" y="488193"/>
                </a:cubicBezTo>
                <a:cubicBezTo>
                  <a:pt x="535600" y="466443"/>
                  <a:pt x="550267" y="444837"/>
                  <a:pt x="563202" y="423327"/>
                </a:cubicBezTo>
                <a:cubicBezTo>
                  <a:pt x="569934" y="412741"/>
                  <a:pt x="575704" y="401866"/>
                  <a:pt x="581715" y="391472"/>
                </a:cubicBezTo>
                <a:cubicBezTo>
                  <a:pt x="587245" y="380789"/>
                  <a:pt x="593063" y="370540"/>
                  <a:pt x="597872" y="360098"/>
                </a:cubicBezTo>
                <a:cubicBezTo>
                  <a:pt x="608210" y="339550"/>
                  <a:pt x="616433" y="319243"/>
                  <a:pt x="623886" y="299899"/>
                </a:cubicBezTo>
                <a:cubicBezTo>
                  <a:pt x="627300" y="290131"/>
                  <a:pt x="630666" y="280651"/>
                  <a:pt x="633551" y="271268"/>
                </a:cubicBezTo>
                <a:cubicBezTo>
                  <a:pt x="636148" y="261836"/>
                  <a:pt x="639177" y="252886"/>
                  <a:pt x="641053" y="243887"/>
                </a:cubicBezTo>
                <a:cubicBezTo>
                  <a:pt x="649708" y="208326"/>
                  <a:pt x="652593" y="176663"/>
                  <a:pt x="651776" y="150919"/>
                </a:cubicBezTo>
                <a:cubicBezTo>
                  <a:pt x="651391" y="144471"/>
                  <a:pt x="651487" y="138408"/>
                  <a:pt x="650670" y="132730"/>
                </a:cubicBezTo>
                <a:cubicBezTo>
                  <a:pt x="649901" y="127051"/>
                  <a:pt x="649227" y="121758"/>
                  <a:pt x="648554" y="116850"/>
                </a:cubicBezTo>
                <a:cubicBezTo>
                  <a:pt x="647929" y="111942"/>
                  <a:pt x="646534" y="107515"/>
                  <a:pt x="645717" y="103424"/>
                </a:cubicBezTo>
                <a:cubicBezTo>
                  <a:pt x="644755" y="99382"/>
                  <a:pt x="643986" y="95629"/>
                  <a:pt x="643024" y="92405"/>
                </a:cubicBezTo>
                <a:cubicBezTo>
                  <a:pt x="640812" y="86005"/>
                  <a:pt x="639081" y="81145"/>
                  <a:pt x="637879" y="77921"/>
                </a:cubicBezTo>
                <a:cubicBezTo>
                  <a:pt x="636677" y="74697"/>
                  <a:pt x="635956" y="73061"/>
                  <a:pt x="635763" y="73109"/>
                </a:cubicBezTo>
                <a:cubicBezTo>
                  <a:pt x="635571" y="73157"/>
                  <a:pt x="635956" y="74937"/>
                  <a:pt x="636821" y="78258"/>
                </a:cubicBezTo>
                <a:cubicBezTo>
                  <a:pt x="637687" y="81578"/>
                  <a:pt x="639081" y="86534"/>
                  <a:pt x="640957" y="92934"/>
                </a:cubicBezTo>
                <a:cubicBezTo>
                  <a:pt x="641726" y="96206"/>
                  <a:pt x="642303" y="99912"/>
                  <a:pt x="643120" y="103954"/>
                </a:cubicBezTo>
                <a:cubicBezTo>
                  <a:pt x="643794" y="108044"/>
                  <a:pt x="644996" y="112423"/>
                  <a:pt x="645429" y="117283"/>
                </a:cubicBezTo>
                <a:cubicBezTo>
                  <a:pt x="645909" y="122143"/>
                  <a:pt x="646438" y="127388"/>
                  <a:pt x="647015" y="132970"/>
                </a:cubicBezTo>
                <a:cubicBezTo>
                  <a:pt x="647640" y="138552"/>
                  <a:pt x="647352" y="144567"/>
                  <a:pt x="647592" y="150919"/>
                </a:cubicBezTo>
                <a:cubicBezTo>
                  <a:pt x="647737" y="176278"/>
                  <a:pt x="644322" y="207412"/>
                  <a:pt x="635234" y="242347"/>
                </a:cubicBezTo>
                <a:cubicBezTo>
                  <a:pt x="633311" y="251153"/>
                  <a:pt x="630089" y="259959"/>
                  <a:pt x="627445" y="269247"/>
                </a:cubicBezTo>
                <a:cubicBezTo>
                  <a:pt x="624511" y="278437"/>
                  <a:pt x="621001" y="287773"/>
                  <a:pt x="617539" y="297397"/>
                </a:cubicBezTo>
                <a:cubicBezTo>
                  <a:pt x="609941" y="316404"/>
                  <a:pt x="601574" y="336422"/>
                  <a:pt x="591140" y="356633"/>
                </a:cubicBezTo>
                <a:cubicBezTo>
                  <a:pt x="586235" y="366882"/>
                  <a:pt x="580416" y="376987"/>
                  <a:pt x="574839" y="387526"/>
                </a:cubicBezTo>
                <a:cubicBezTo>
                  <a:pt x="568780" y="397775"/>
                  <a:pt x="562961" y="408458"/>
                  <a:pt x="556181" y="418900"/>
                </a:cubicBezTo>
                <a:cubicBezTo>
                  <a:pt x="543198" y="440073"/>
                  <a:pt x="528484" y="461390"/>
                  <a:pt x="512471" y="482804"/>
                </a:cubicBezTo>
                <a:cubicBezTo>
                  <a:pt x="496459" y="504217"/>
                  <a:pt x="479003" y="525727"/>
                  <a:pt x="459769" y="546756"/>
                </a:cubicBezTo>
                <a:cubicBezTo>
                  <a:pt x="440583" y="567784"/>
                  <a:pt x="419762" y="588476"/>
                  <a:pt x="396825" y="607676"/>
                </a:cubicBezTo>
                <a:cubicBezTo>
                  <a:pt x="385236" y="617059"/>
                  <a:pt x="373311" y="626491"/>
                  <a:pt x="360424" y="634527"/>
                </a:cubicBezTo>
                <a:cubicBezTo>
                  <a:pt x="347681" y="642611"/>
                  <a:pt x="334073" y="650214"/>
                  <a:pt x="319647" y="654063"/>
                </a:cubicBezTo>
                <a:cubicBezTo>
                  <a:pt x="289642" y="661811"/>
                  <a:pt x="257520" y="664361"/>
                  <a:pt x="225255" y="662340"/>
                </a:cubicBezTo>
                <a:cubicBezTo>
                  <a:pt x="192941" y="660271"/>
                  <a:pt x="160291" y="653631"/>
                  <a:pt x="128987" y="641937"/>
                </a:cubicBezTo>
                <a:cubicBezTo>
                  <a:pt x="97827" y="630244"/>
                  <a:pt x="67437" y="613546"/>
                  <a:pt x="43731" y="589390"/>
                </a:cubicBezTo>
                <a:cubicBezTo>
                  <a:pt x="37912" y="583279"/>
                  <a:pt x="32431" y="576927"/>
                  <a:pt x="27958" y="569949"/>
                </a:cubicBezTo>
                <a:cubicBezTo>
                  <a:pt x="23294" y="563068"/>
                  <a:pt x="19543" y="555706"/>
                  <a:pt x="16803" y="548055"/>
                </a:cubicBezTo>
                <a:cubicBezTo>
                  <a:pt x="16178" y="546130"/>
                  <a:pt x="15408" y="544253"/>
                  <a:pt x="14879" y="542280"/>
                </a:cubicBezTo>
                <a:lnTo>
                  <a:pt x="13437" y="536410"/>
                </a:lnTo>
                <a:cubicBezTo>
                  <a:pt x="12571" y="532416"/>
                  <a:pt x="12283" y="528229"/>
                  <a:pt x="11706" y="524187"/>
                </a:cubicBezTo>
                <a:cubicBezTo>
                  <a:pt x="11465" y="522118"/>
                  <a:pt x="11128" y="520097"/>
                  <a:pt x="10984" y="518028"/>
                </a:cubicBezTo>
                <a:lnTo>
                  <a:pt x="10840" y="511820"/>
                </a:lnTo>
                <a:cubicBezTo>
                  <a:pt x="10840" y="507682"/>
                  <a:pt x="10455" y="503544"/>
                  <a:pt x="10744" y="499453"/>
                </a:cubicBezTo>
                <a:cubicBezTo>
                  <a:pt x="12475" y="466395"/>
                  <a:pt x="21419" y="434154"/>
                  <a:pt x="33729" y="404127"/>
                </a:cubicBezTo>
                <a:cubicBezTo>
                  <a:pt x="46135" y="374052"/>
                  <a:pt x="61522" y="345854"/>
                  <a:pt x="78304" y="319291"/>
                </a:cubicBezTo>
                <a:cubicBezTo>
                  <a:pt x="95134" y="292729"/>
                  <a:pt x="113359" y="267851"/>
                  <a:pt x="132401" y="244609"/>
                </a:cubicBezTo>
                <a:cubicBezTo>
                  <a:pt x="170485" y="198077"/>
                  <a:pt x="211262" y="157656"/>
                  <a:pt x="252471" y="123539"/>
                </a:cubicBezTo>
                <a:cubicBezTo>
                  <a:pt x="272956" y="106360"/>
                  <a:pt x="293825" y="91106"/>
                  <a:pt x="314406" y="77295"/>
                </a:cubicBezTo>
                <a:cubicBezTo>
                  <a:pt x="334938" y="63388"/>
                  <a:pt x="355663" y="51599"/>
                  <a:pt x="375955" y="41494"/>
                </a:cubicBezTo>
                <a:cubicBezTo>
                  <a:pt x="416492" y="21043"/>
                  <a:pt x="456307" y="9590"/>
                  <a:pt x="492275" y="6799"/>
                </a:cubicBezTo>
                <a:cubicBezTo>
                  <a:pt x="528051" y="3479"/>
                  <a:pt x="559499" y="7713"/>
                  <a:pt x="582436" y="18059"/>
                </a:cubicBezTo>
                <a:cubicBezTo>
                  <a:pt x="593880" y="23256"/>
                  <a:pt x="602921" y="29945"/>
                  <a:pt x="610133" y="36393"/>
                </a:cubicBezTo>
                <a:cubicBezTo>
                  <a:pt x="617058" y="43178"/>
                  <a:pt x="622251" y="49626"/>
                  <a:pt x="625761" y="55256"/>
                </a:cubicBezTo>
                <a:cubicBezTo>
                  <a:pt x="627492" y="58095"/>
                  <a:pt x="629127" y="60550"/>
                  <a:pt x="630378" y="62763"/>
                </a:cubicBezTo>
                <a:cubicBezTo>
                  <a:pt x="631484" y="65025"/>
                  <a:pt x="632445" y="66949"/>
                  <a:pt x="633215" y="68489"/>
                </a:cubicBezTo>
                <a:cubicBezTo>
                  <a:pt x="634753" y="71569"/>
                  <a:pt x="635667" y="73109"/>
                  <a:pt x="635811" y="73061"/>
                </a:cubicBezTo>
                <a:cubicBezTo>
                  <a:pt x="636004" y="73012"/>
                  <a:pt x="635427" y="71328"/>
                  <a:pt x="634224" y="68056"/>
                </a:cubicBezTo>
                <a:cubicBezTo>
                  <a:pt x="633599" y="66420"/>
                  <a:pt x="632782" y="64447"/>
                  <a:pt x="631868" y="62041"/>
                </a:cubicBezTo>
                <a:cubicBezTo>
                  <a:pt x="630762" y="59731"/>
                  <a:pt x="629272" y="57133"/>
                  <a:pt x="627637" y="54101"/>
                </a:cubicBezTo>
                <a:cubicBezTo>
                  <a:pt x="624319" y="48134"/>
                  <a:pt x="619318" y="41301"/>
                  <a:pt x="612394" y="34083"/>
                </a:cubicBezTo>
                <a:cubicBezTo>
                  <a:pt x="605181" y="27202"/>
                  <a:pt x="595996" y="19984"/>
                  <a:pt x="584215" y="14258"/>
                </a:cubicBezTo>
                <a:cubicBezTo>
                  <a:pt x="560701" y="2901"/>
                  <a:pt x="528339" y="-2055"/>
                  <a:pt x="491794" y="784"/>
                </a:cubicBezTo>
                <a:cubicBezTo>
                  <a:pt x="455201" y="2998"/>
                  <a:pt x="413943" y="14306"/>
                  <a:pt x="372686" y="34613"/>
                </a:cubicBezTo>
                <a:cubicBezTo>
                  <a:pt x="351961" y="44670"/>
                  <a:pt x="330851" y="56459"/>
                  <a:pt x="309934" y="70318"/>
                </a:cubicBezTo>
                <a:cubicBezTo>
                  <a:pt x="288968" y="84128"/>
                  <a:pt x="267714" y="99382"/>
                  <a:pt x="246893" y="116609"/>
                </a:cubicBezTo>
                <a:cubicBezTo>
                  <a:pt x="205010" y="150775"/>
                  <a:pt x="163609" y="191388"/>
                  <a:pt x="124851" y="238257"/>
                </a:cubicBezTo>
                <a:cubicBezTo>
                  <a:pt x="105473" y="261692"/>
                  <a:pt x="86912" y="286810"/>
                  <a:pt x="69745" y="313661"/>
                </a:cubicBezTo>
                <a:cubicBezTo>
                  <a:pt x="52626" y="340560"/>
                  <a:pt x="36854" y="369240"/>
                  <a:pt x="24064" y="399989"/>
                </a:cubicBezTo>
                <a:cubicBezTo>
                  <a:pt x="11369" y="430738"/>
                  <a:pt x="1992" y="463941"/>
                  <a:pt x="117" y="498876"/>
                </a:cubicBezTo>
                <a:cubicBezTo>
                  <a:pt x="-172" y="503207"/>
                  <a:pt x="165" y="507634"/>
                  <a:pt x="165" y="512013"/>
                </a:cubicBezTo>
                <a:lnTo>
                  <a:pt x="309" y="518605"/>
                </a:lnTo>
                <a:close/>
              </a:path>
            </a:pathLst>
          </a:custGeom>
          <a:solidFill>
            <a:srgbClr val="29C8C1"/>
          </a:solidFill>
          <a:ln w="0"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EC817B37-B913-9C3C-E070-255816F9DF9F}"/>
              </a:ext>
            </a:extLst>
          </p:cNvPr>
          <p:cNvSpPr/>
          <p:nvPr/>
        </p:nvSpPr>
        <p:spPr>
          <a:xfrm>
            <a:off x="6864783" y="4292074"/>
            <a:ext cx="214826" cy="184610"/>
          </a:xfrm>
          <a:custGeom>
            <a:avLst/>
            <a:gdLst>
              <a:gd name="connsiteX0" fmla="*/ 15671 w 214826"/>
              <a:gd name="connsiteY0" fmla="*/ 91920 h 184610"/>
              <a:gd name="connsiteX1" fmla="*/ 53563 w 214826"/>
              <a:gd name="connsiteY1" fmla="*/ 133689 h 184610"/>
              <a:gd name="connsiteX2" fmla="*/ 135934 w 214826"/>
              <a:gd name="connsiteY2" fmla="*/ 180076 h 184610"/>
              <a:gd name="connsiteX3" fmla="*/ 172623 w 214826"/>
              <a:gd name="connsiteY3" fmla="*/ 184215 h 184610"/>
              <a:gd name="connsiteX4" fmla="*/ 198638 w 214826"/>
              <a:gd name="connsiteY4" fmla="*/ 173532 h 184610"/>
              <a:gd name="connsiteX5" fmla="*/ 208688 w 214826"/>
              <a:gd name="connsiteY5" fmla="*/ 159000 h 184610"/>
              <a:gd name="connsiteX6" fmla="*/ 210082 w 214826"/>
              <a:gd name="connsiteY6" fmla="*/ 153033 h 184610"/>
              <a:gd name="connsiteX7" fmla="*/ 206764 w 214826"/>
              <a:gd name="connsiteY7" fmla="*/ 158037 h 184610"/>
              <a:gd name="connsiteX8" fmla="*/ 195993 w 214826"/>
              <a:gd name="connsiteY8" fmla="*/ 170308 h 184610"/>
              <a:gd name="connsiteX9" fmla="*/ 172094 w 214826"/>
              <a:gd name="connsiteY9" fmla="*/ 178248 h 184610"/>
              <a:gd name="connsiteX10" fmla="*/ 138098 w 214826"/>
              <a:gd name="connsiteY10" fmla="*/ 172858 h 184610"/>
              <a:gd name="connsiteX11" fmla="*/ 59958 w 214826"/>
              <a:gd name="connsiteY11" fmla="*/ 126278 h 184610"/>
              <a:gd name="connsiteX12" fmla="*/ 24375 w 214826"/>
              <a:gd name="connsiteY12" fmla="*/ 86242 h 184610"/>
              <a:gd name="connsiteX13" fmla="*/ 12642 w 214826"/>
              <a:gd name="connsiteY13" fmla="*/ 61412 h 184610"/>
              <a:gd name="connsiteX14" fmla="*/ 13219 w 214826"/>
              <a:gd name="connsiteY14" fmla="*/ 35475 h 184610"/>
              <a:gd name="connsiteX15" fmla="*/ 20528 w 214826"/>
              <a:gd name="connsiteY15" fmla="*/ 24793 h 184610"/>
              <a:gd name="connsiteX16" fmla="*/ 31347 w 214826"/>
              <a:gd name="connsiteY16" fmla="*/ 16901 h 184610"/>
              <a:gd name="connsiteX17" fmla="*/ 37550 w 214826"/>
              <a:gd name="connsiteY17" fmla="*/ 13917 h 184610"/>
              <a:gd name="connsiteX18" fmla="*/ 43705 w 214826"/>
              <a:gd name="connsiteY18" fmla="*/ 11704 h 184610"/>
              <a:gd name="connsiteX19" fmla="*/ 49860 w 214826"/>
              <a:gd name="connsiteY19" fmla="*/ 10645 h 184610"/>
              <a:gd name="connsiteX20" fmla="*/ 56400 w 214826"/>
              <a:gd name="connsiteY20" fmla="*/ 10645 h 184610"/>
              <a:gd name="connsiteX21" fmla="*/ 82655 w 214826"/>
              <a:gd name="connsiteY21" fmla="*/ 15794 h 184610"/>
              <a:gd name="connsiteX22" fmla="*/ 107179 w 214826"/>
              <a:gd name="connsiteY22" fmla="*/ 25322 h 184610"/>
              <a:gd name="connsiteX23" fmla="*/ 181712 w 214826"/>
              <a:gd name="connsiteY23" fmla="*/ 77725 h 184610"/>
              <a:gd name="connsiteX24" fmla="*/ 210611 w 214826"/>
              <a:gd name="connsiteY24" fmla="*/ 130464 h 184610"/>
              <a:gd name="connsiteX25" fmla="*/ 210034 w 214826"/>
              <a:gd name="connsiteY25" fmla="*/ 153033 h 184610"/>
              <a:gd name="connsiteX26" fmla="*/ 212679 w 214826"/>
              <a:gd name="connsiteY26" fmla="*/ 147499 h 184610"/>
              <a:gd name="connsiteX27" fmla="*/ 214314 w 214826"/>
              <a:gd name="connsiteY27" fmla="*/ 140233 h 184610"/>
              <a:gd name="connsiteX28" fmla="*/ 214699 w 214826"/>
              <a:gd name="connsiteY28" fmla="*/ 135469 h 184610"/>
              <a:gd name="connsiteX29" fmla="*/ 214699 w 214826"/>
              <a:gd name="connsiteY29" fmla="*/ 130031 h 184610"/>
              <a:gd name="connsiteX30" fmla="*/ 187241 w 214826"/>
              <a:gd name="connsiteY30" fmla="*/ 72576 h 184610"/>
              <a:gd name="connsiteX31" fmla="*/ 111314 w 214826"/>
              <a:gd name="connsiteY31" fmla="*/ 16323 h 184610"/>
              <a:gd name="connsiteX32" fmla="*/ 85684 w 214826"/>
              <a:gd name="connsiteY32" fmla="*/ 5977 h 184610"/>
              <a:gd name="connsiteX33" fmla="*/ 56881 w 214826"/>
              <a:gd name="connsiteY33" fmla="*/ 107 h 184610"/>
              <a:gd name="connsiteX34" fmla="*/ 49043 w 214826"/>
              <a:gd name="connsiteY34" fmla="*/ 107 h 184610"/>
              <a:gd name="connsiteX35" fmla="*/ 40916 w 214826"/>
              <a:gd name="connsiteY35" fmla="*/ 1454 h 184610"/>
              <a:gd name="connsiteX36" fmla="*/ 33319 w 214826"/>
              <a:gd name="connsiteY36" fmla="*/ 4149 h 184610"/>
              <a:gd name="connsiteX37" fmla="*/ 26202 w 214826"/>
              <a:gd name="connsiteY37" fmla="*/ 7565 h 184610"/>
              <a:gd name="connsiteX38" fmla="*/ 12979 w 214826"/>
              <a:gd name="connsiteY38" fmla="*/ 17190 h 184610"/>
              <a:gd name="connsiteX39" fmla="*/ 3313 w 214826"/>
              <a:gd name="connsiteY39" fmla="*/ 31337 h 184610"/>
              <a:gd name="connsiteX40" fmla="*/ 2352 w 214826"/>
              <a:gd name="connsiteY40" fmla="*/ 64299 h 184610"/>
              <a:gd name="connsiteX41" fmla="*/ 15527 w 214826"/>
              <a:gd name="connsiteY41" fmla="*/ 91968 h 18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4826" h="184610">
                <a:moveTo>
                  <a:pt x="15671" y="91920"/>
                </a:moveTo>
                <a:cubicBezTo>
                  <a:pt x="26587" y="108521"/>
                  <a:pt x="40003" y="121995"/>
                  <a:pt x="53563" y="133689"/>
                </a:cubicBezTo>
                <a:cubicBezTo>
                  <a:pt x="80924" y="156786"/>
                  <a:pt x="109727" y="172473"/>
                  <a:pt x="135934" y="180076"/>
                </a:cubicBezTo>
                <a:cubicBezTo>
                  <a:pt x="149013" y="183830"/>
                  <a:pt x="161564" y="185418"/>
                  <a:pt x="172623" y="184215"/>
                </a:cubicBezTo>
                <a:cubicBezTo>
                  <a:pt x="183683" y="183204"/>
                  <a:pt x="192868" y="178777"/>
                  <a:pt x="198638" y="173532"/>
                </a:cubicBezTo>
                <a:cubicBezTo>
                  <a:pt x="204504" y="168239"/>
                  <a:pt x="207245" y="162705"/>
                  <a:pt x="208688" y="159000"/>
                </a:cubicBezTo>
                <a:cubicBezTo>
                  <a:pt x="210082" y="155246"/>
                  <a:pt x="210371" y="153129"/>
                  <a:pt x="210082" y="153033"/>
                </a:cubicBezTo>
                <a:cubicBezTo>
                  <a:pt x="209698" y="152888"/>
                  <a:pt x="208688" y="154717"/>
                  <a:pt x="206764" y="158037"/>
                </a:cubicBezTo>
                <a:cubicBezTo>
                  <a:pt x="204793" y="161309"/>
                  <a:pt x="201619" y="166073"/>
                  <a:pt x="195993" y="170308"/>
                </a:cubicBezTo>
                <a:cubicBezTo>
                  <a:pt x="190415" y="174542"/>
                  <a:pt x="182193" y="177863"/>
                  <a:pt x="172094" y="178248"/>
                </a:cubicBezTo>
                <a:cubicBezTo>
                  <a:pt x="162045" y="178825"/>
                  <a:pt x="150408" y="176900"/>
                  <a:pt x="138098" y="172858"/>
                </a:cubicBezTo>
                <a:cubicBezTo>
                  <a:pt x="113478" y="164774"/>
                  <a:pt x="85973" y="148894"/>
                  <a:pt x="59958" y="126278"/>
                </a:cubicBezTo>
                <a:cubicBezTo>
                  <a:pt x="47071" y="114873"/>
                  <a:pt x="34425" y="101737"/>
                  <a:pt x="24375" y="86242"/>
                </a:cubicBezTo>
                <a:cubicBezTo>
                  <a:pt x="19374" y="78543"/>
                  <a:pt x="15094" y="70170"/>
                  <a:pt x="12642" y="61412"/>
                </a:cubicBezTo>
                <a:cubicBezTo>
                  <a:pt x="10093" y="52702"/>
                  <a:pt x="9853" y="43415"/>
                  <a:pt x="13219" y="35475"/>
                </a:cubicBezTo>
                <a:cubicBezTo>
                  <a:pt x="14902" y="31481"/>
                  <a:pt x="17402" y="27920"/>
                  <a:pt x="20528" y="24793"/>
                </a:cubicBezTo>
                <a:cubicBezTo>
                  <a:pt x="23702" y="21713"/>
                  <a:pt x="27404" y="19163"/>
                  <a:pt x="31347" y="16901"/>
                </a:cubicBezTo>
                <a:cubicBezTo>
                  <a:pt x="33415" y="15890"/>
                  <a:pt x="35387" y="14783"/>
                  <a:pt x="37550" y="13917"/>
                </a:cubicBezTo>
                <a:cubicBezTo>
                  <a:pt x="39666" y="13051"/>
                  <a:pt x="41830" y="12089"/>
                  <a:pt x="43705" y="11704"/>
                </a:cubicBezTo>
                <a:cubicBezTo>
                  <a:pt x="45533" y="11030"/>
                  <a:pt x="47793" y="10982"/>
                  <a:pt x="49860" y="10645"/>
                </a:cubicBezTo>
                <a:cubicBezTo>
                  <a:pt x="52072" y="10645"/>
                  <a:pt x="54188" y="10405"/>
                  <a:pt x="56400" y="10645"/>
                </a:cubicBezTo>
                <a:cubicBezTo>
                  <a:pt x="65248" y="11126"/>
                  <a:pt x="74144" y="13195"/>
                  <a:pt x="82655" y="15794"/>
                </a:cubicBezTo>
                <a:cubicBezTo>
                  <a:pt x="91166" y="18393"/>
                  <a:pt x="99341" y="21713"/>
                  <a:pt x="107179" y="25322"/>
                </a:cubicBezTo>
                <a:cubicBezTo>
                  <a:pt x="138434" y="39854"/>
                  <a:pt x="163872" y="58862"/>
                  <a:pt x="181712" y="77725"/>
                </a:cubicBezTo>
                <a:cubicBezTo>
                  <a:pt x="199744" y="96540"/>
                  <a:pt x="209072" y="116173"/>
                  <a:pt x="210611" y="130464"/>
                </a:cubicBezTo>
                <a:cubicBezTo>
                  <a:pt x="212439" y="144804"/>
                  <a:pt x="208880" y="152792"/>
                  <a:pt x="210034" y="153033"/>
                </a:cubicBezTo>
                <a:cubicBezTo>
                  <a:pt x="210371" y="153177"/>
                  <a:pt x="211284" y="151300"/>
                  <a:pt x="212679" y="147499"/>
                </a:cubicBezTo>
                <a:cubicBezTo>
                  <a:pt x="213448" y="145622"/>
                  <a:pt x="213689" y="143168"/>
                  <a:pt x="214314" y="140233"/>
                </a:cubicBezTo>
                <a:cubicBezTo>
                  <a:pt x="214699" y="138789"/>
                  <a:pt x="214554" y="137201"/>
                  <a:pt x="214699" y="135469"/>
                </a:cubicBezTo>
                <a:cubicBezTo>
                  <a:pt x="214699" y="133785"/>
                  <a:pt x="214987" y="131956"/>
                  <a:pt x="214699" y="130031"/>
                </a:cubicBezTo>
                <a:cubicBezTo>
                  <a:pt x="214362" y="114536"/>
                  <a:pt x="205322" y="92835"/>
                  <a:pt x="187241" y="72576"/>
                </a:cubicBezTo>
                <a:cubicBezTo>
                  <a:pt x="169306" y="52221"/>
                  <a:pt x="143580" y="31962"/>
                  <a:pt x="111314" y="16323"/>
                </a:cubicBezTo>
                <a:cubicBezTo>
                  <a:pt x="103236" y="12426"/>
                  <a:pt x="94724" y="8865"/>
                  <a:pt x="85684" y="5977"/>
                </a:cubicBezTo>
                <a:cubicBezTo>
                  <a:pt x="76644" y="3090"/>
                  <a:pt x="67123" y="732"/>
                  <a:pt x="56881" y="107"/>
                </a:cubicBezTo>
                <a:cubicBezTo>
                  <a:pt x="54332" y="-134"/>
                  <a:pt x="51688" y="107"/>
                  <a:pt x="49043" y="107"/>
                </a:cubicBezTo>
                <a:cubicBezTo>
                  <a:pt x="46350" y="540"/>
                  <a:pt x="43657" y="540"/>
                  <a:pt x="40916" y="1454"/>
                </a:cubicBezTo>
                <a:cubicBezTo>
                  <a:pt x="38031" y="2128"/>
                  <a:pt x="35723" y="3187"/>
                  <a:pt x="33319" y="4149"/>
                </a:cubicBezTo>
                <a:cubicBezTo>
                  <a:pt x="30915" y="5111"/>
                  <a:pt x="28558" y="6411"/>
                  <a:pt x="26202" y="7565"/>
                </a:cubicBezTo>
                <a:cubicBezTo>
                  <a:pt x="21538" y="10164"/>
                  <a:pt x="17066" y="13292"/>
                  <a:pt x="12979" y="17190"/>
                </a:cubicBezTo>
                <a:cubicBezTo>
                  <a:pt x="8987" y="21135"/>
                  <a:pt x="5573" y="25947"/>
                  <a:pt x="3313" y="31337"/>
                </a:cubicBezTo>
                <a:cubicBezTo>
                  <a:pt x="-1255" y="42212"/>
                  <a:pt x="-630" y="54194"/>
                  <a:pt x="2352" y="64299"/>
                </a:cubicBezTo>
                <a:cubicBezTo>
                  <a:pt x="5285" y="74549"/>
                  <a:pt x="10093" y="83692"/>
                  <a:pt x="15527" y="91968"/>
                </a:cubicBezTo>
                <a:close/>
              </a:path>
            </a:pathLst>
          </a:custGeom>
          <a:solidFill>
            <a:srgbClr val="29C8C1"/>
          </a:solidFill>
          <a:ln w="0" cap="flat">
            <a:noFill/>
            <a:prstDash val="solid"/>
            <a:miter/>
          </a:ln>
        </p:spPr>
        <p:txBody>
          <a:bodyPr rtlCol="0" anchor="ctr"/>
          <a:lstStyle/>
          <a:p>
            <a:pPr rtl="0"/>
            <a:endParaRPr lang="en-AU" dirty="0"/>
          </a:p>
        </p:txBody>
      </p:sp>
      <p:sp>
        <p:nvSpPr>
          <p:cNvPr id="81" name="Freeform: Shape 80">
            <a:extLst>
              <a:ext uri="{FF2B5EF4-FFF2-40B4-BE49-F238E27FC236}">
                <a16:creationId xmlns:a16="http://schemas.microsoft.com/office/drawing/2014/main" id="{0CB2C15C-3A9F-EB49-551C-5C7C872B3D66}"/>
              </a:ext>
            </a:extLst>
          </p:cNvPr>
          <p:cNvSpPr/>
          <p:nvPr/>
        </p:nvSpPr>
        <p:spPr>
          <a:xfrm>
            <a:off x="6710018" y="4146387"/>
            <a:ext cx="536298" cy="494279"/>
          </a:xfrm>
          <a:custGeom>
            <a:avLst/>
            <a:gdLst>
              <a:gd name="connsiteX0" fmla="*/ 523626 w 536298"/>
              <a:gd name="connsiteY0" fmla="*/ 282647 h 494279"/>
              <a:gd name="connsiteX1" fmla="*/ 510306 w 536298"/>
              <a:gd name="connsiteY1" fmla="*/ 249059 h 494279"/>
              <a:gd name="connsiteX2" fmla="*/ 472174 w 536298"/>
              <a:gd name="connsiteY2" fmla="*/ 190978 h 494279"/>
              <a:gd name="connsiteX3" fmla="*/ 426589 w 536298"/>
              <a:gd name="connsiteY3" fmla="*/ 144445 h 494279"/>
              <a:gd name="connsiteX4" fmla="*/ 333255 w 536298"/>
              <a:gd name="connsiteY4" fmla="*/ 74912 h 494279"/>
              <a:gd name="connsiteX5" fmla="*/ 180197 w 536298"/>
              <a:gd name="connsiteY5" fmla="*/ 5811 h 494279"/>
              <a:gd name="connsiteX6" fmla="*/ 134708 w 536298"/>
              <a:gd name="connsiteY6" fmla="*/ 37 h 494279"/>
              <a:gd name="connsiteX7" fmla="*/ 127784 w 536298"/>
              <a:gd name="connsiteY7" fmla="*/ 374 h 494279"/>
              <a:gd name="connsiteX8" fmla="*/ 122831 w 536298"/>
              <a:gd name="connsiteY8" fmla="*/ 1192 h 494279"/>
              <a:gd name="connsiteX9" fmla="*/ 118888 w 536298"/>
              <a:gd name="connsiteY9" fmla="*/ 2202 h 494279"/>
              <a:gd name="connsiteX10" fmla="*/ 122975 w 536298"/>
              <a:gd name="connsiteY10" fmla="*/ 2299 h 494279"/>
              <a:gd name="connsiteX11" fmla="*/ 127880 w 536298"/>
              <a:gd name="connsiteY11" fmla="*/ 2010 h 494279"/>
              <a:gd name="connsiteX12" fmla="*/ 134708 w 536298"/>
              <a:gd name="connsiteY12" fmla="*/ 2202 h 494279"/>
              <a:gd name="connsiteX13" fmla="*/ 179188 w 536298"/>
              <a:gd name="connsiteY13" fmla="*/ 9854 h 494279"/>
              <a:gd name="connsiteX14" fmla="*/ 329263 w 536298"/>
              <a:gd name="connsiteY14" fmla="*/ 81312 h 494279"/>
              <a:gd name="connsiteX15" fmla="*/ 420723 w 536298"/>
              <a:gd name="connsiteY15" fmla="*/ 151038 h 494279"/>
              <a:gd name="connsiteX16" fmla="*/ 465010 w 536298"/>
              <a:gd name="connsiteY16" fmla="*/ 196993 h 494279"/>
              <a:gd name="connsiteX17" fmla="*/ 501410 w 536298"/>
              <a:gd name="connsiteY17" fmla="*/ 253197 h 494279"/>
              <a:gd name="connsiteX18" fmla="*/ 514105 w 536298"/>
              <a:gd name="connsiteY18" fmla="*/ 285774 h 494279"/>
              <a:gd name="connsiteX19" fmla="*/ 522713 w 536298"/>
              <a:gd name="connsiteY19" fmla="*/ 320373 h 494279"/>
              <a:gd name="connsiteX20" fmla="*/ 522184 w 536298"/>
              <a:gd name="connsiteY20" fmla="*/ 392890 h 494279"/>
              <a:gd name="connsiteX21" fmla="*/ 486119 w 536298"/>
              <a:gd name="connsiteY21" fmla="*/ 456457 h 494279"/>
              <a:gd name="connsiteX22" fmla="*/ 415962 w 536298"/>
              <a:gd name="connsiteY22" fmla="*/ 483308 h 494279"/>
              <a:gd name="connsiteX23" fmla="*/ 406201 w 536298"/>
              <a:gd name="connsiteY23" fmla="*/ 483597 h 494279"/>
              <a:gd name="connsiteX24" fmla="*/ 396583 w 536298"/>
              <a:gd name="connsiteY24" fmla="*/ 483163 h 494279"/>
              <a:gd name="connsiteX25" fmla="*/ 386966 w 536298"/>
              <a:gd name="connsiteY25" fmla="*/ 481960 h 494279"/>
              <a:gd name="connsiteX26" fmla="*/ 377349 w 536298"/>
              <a:gd name="connsiteY26" fmla="*/ 480180 h 494279"/>
              <a:gd name="connsiteX27" fmla="*/ 339698 w 536298"/>
              <a:gd name="connsiteY27" fmla="*/ 469786 h 494279"/>
              <a:gd name="connsiteX28" fmla="*/ 268387 w 536298"/>
              <a:gd name="connsiteY28" fmla="*/ 440673 h 494279"/>
              <a:gd name="connsiteX29" fmla="*/ 141633 w 536298"/>
              <a:gd name="connsiteY29" fmla="*/ 368349 h 494279"/>
              <a:gd name="connsiteX30" fmla="*/ 87392 w 536298"/>
              <a:gd name="connsiteY30" fmla="*/ 327543 h 494279"/>
              <a:gd name="connsiteX31" fmla="*/ 42576 w 536298"/>
              <a:gd name="connsiteY31" fmla="*/ 282599 h 494279"/>
              <a:gd name="connsiteX32" fmla="*/ 26804 w 536298"/>
              <a:gd name="connsiteY32" fmla="*/ 257624 h 494279"/>
              <a:gd name="connsiteX33" fmla="*/ 17283 w 536298"/>
              <a:gd name="connsiteY33" fmla="*/ 230292 h 494279"/>
              <a:gd name="connsiteX34" fmla="*/ 7858 w 536298"/>
              <a:gd name="connsiteY34" fmla="*/ 176445 h 494279"/>
              <a:gd name="connsiteX35" fmla="*/ 22332 w 536298"/>
              <a:gd name="connsiteY35" fmla="*/ 84440 h 494279"/>
              <a:gd name="connsiteX36" fmla="*/ 64359 w 536298"/>
              <a:gd name="connsiteY36" fmla="*/ 28235 h 494279"/>
              <a:gd name="connsiteX37" fmla="*/ 86190 w 536298"/>
              <a:gd name="connsiteY37" fmla="*/ 14280 h 494279"/>
              <a:gd name="connsiteX38" fmla="*/ 103789 w 536298"/>
              <a:gd name="connsiteY38" fmla="*/ 6966 h 494279"/>
              <a:gd name="connsiteX39" fmla="*/ 110280 w 536298"/>
              <a:gd name="connsiteY39" fmla="*/ 4849 h 494279"/>
              <a:gd name="connsiteX40" fmla="*/ 115089 w 536298"/>
              <a:gd name="connsiteY40" fmla="*/ 3598 h 494279"/>
              <a:gd name="connsiteX41" fmla="*/ 118936 w 536298"/>
              <a:gd name="connsiteY41" fmla="*/ 2250 h 494279"/>
              <a:gd name="connsiteX42" fmla="*/ 114849 w 536298"/>
              <a:gd name="connsiteY42" fmla="*/ 2539 h 494279"/>
              <a:gd name="connsiteX43" fmla="*/ 109896 w 536298"/>
              <a:gd name="connsiteY43" fmla="*/ 3309 h 494279"/>
              <a:gd name="connsiteX44" fmla="*/ 103164 w 536298"/>
              <a:gd name="connsiteY44" fmla="*/ 4945 h 494279"/>
              <a:gd name="connsiteX45" fmla="*/ 84795 w 536298"/>
              <a:gd name="connsiteY45" fmla="*/ 11442 h 494279"/>
              <a:gd name="connsiteX46" fmla="*/ 61810 w 536298"/>
              <a:gd name="connsiteY46" fmla="*/ 24963 h 494279"/>
              <a:gd name="connsiteX47" fmla="*/ 16850 w 536298"/>
              <a:gd name="connsiteY47" fmla="*/ 82034 h 494279"/>
              <a:gd name="connsiteX48" fmla="*/ 308 w 536298"/>
              <a:gd name="connsiteY48" fmla="*/ 176879 h 494279"/>
              <a:gd name="connsiteX49" fmla="*/ 9348 w 536298"/>
              <a:gd name="connsiteY49" fmla="*/ 232506 h 494279"/>
              <a:gd name="connsiteX50" fmla="*/ 18966 w 536298"/>
              <a:gd name="connsiteY50" fmla="*/ 261089 h 494279"/>
              <a:gd name="connsiteX51" fmla="*/ 35555 w 536298"/>
              <a:gd name="connsiteY51" fmla="*/ 288036 h 494279"/>
              <a:gd name="connsiteX52" fmla="*/ 81285 w 536298"/>
              <a:gd name="connsiteY52" fmla="*/ 334713 h 494279"/>
              <a:gd name="connsiteX53" fmla="*/ 136055 w 536298"/>
              <a:gd name="connsiteY53" fmla="*/ 376481 h 494279"/>
              <a:gd name="connsiteX54" fmla="*/ 263915 w 536298"/>
              <a:gd name="connsiteY54" fmla="*/ 450153 h 494279"/>
              <a:gd name="connsiteX55" fmla="*/ 336332 w 536298"/>
              <a:gd name="connsiteY55" fmla="*/ 479843 h 494279"/>
              <a:gd name="connsiteX56" fmla="*/ 375233 w 536298"/>
              <a:gd name="connsiteY56" fmla="*/ 490622 h 494279"/>
              <a:gd name="connsiteX57" fmla="*/ 385331 w 536298"/>
              <a:gd name="connsiteY57" fmla="*/ 492499 h 494279"/>
              <a:gd name="connsiteX58" fmla="*/ 395622 w 536298"/>
              <a:gd name="connsiteY58" fmla="*/ 493798 h 494279"/>
              <a:gd name="connsiteX59" fmla="*/ 406153 w 536298"/>
              <a:gd name="connsiteY59" fmla="*/ 494279 h 494279"/>
              <a:gd name="connsiteX60" fmla="*/ 416587 w 536298"/>
              <a:gd name="connsiteY60" fmla="*/ 493990 h 494279"/>
              <a:gd name="connsiteX61" fmla="*/ 493092 w 536298"/>
              <a:gd name="connsiteY61" fmla="*/ 464493 h 494279"/>
              <a:gd name="connsiteX62" fmla="*/ 532378 w 536298"/>
              <a:gd name="connsiteY62" fmla="*/ 395152 h 494279"/>
              <a:gd name="connsiteX63" fmla="*/ 532714 w 536298"/>
              <a:gd name="connsiteY63" fmla="*/ 318592 h 494279"/>
              <a:gd name="connsiteX64" fmla="*/ 523578 w 536298"/>
              <a:gd name="connsiteY64" fmla="*/ 282695 h 494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6298" h="494279">
                <a:moveTo>
                  <a:pt x="523626" y="282647"/>
                </a:moveTo>
                <a:cubicBezTo>
                  <a:pt x="519683" y="271098"/>
                  <a:pt x="515355" y="259838"/>
                  <a:pt x="510306" y="249059"/>
                </a:cubicBezTo>
                <a:cubicBezTo>
                  <a:pt x="500256" y="227212"/>
                  <a:pt x="486504" y="208205"/>
                  <a:pt x="472174" y="190978"/>
                </a:cubicBezTo>
                <a:cubicBezTo>
                  <a:pt x="457701" y="173799"/>
                  <a:pt x="442217" y="158449"/>
                  <a:pt x="426589" y="144445"/>
                </a:cubicBezTo>
                <a:cubicBezTo>
                  <a:pt x="395237" y="116536"/>
                  <a:pt x="363452" y="93727"/>
                  <a:pt x="333255" y="74912"/>
                </a:cubicBezTo>
                <a:cubicBezTo>
                  <a:pt x="272859" y="37282"/>
                  <a:pt x="218954" y="15098"/>
                  <a:pt x="180197" y="5811"/>
                </a:cubicBezTo>
                <a:cubicBezTo>
                  <a:pt x="160819" y="1096"/>
                  <a:pt x="145239" y="-252"/>
                  <a:pt x="134708" y="37"/>
                </a:cubicBezTo>
                <a:cubicBezTo>
                  <a:pt x="132063" y="181"/>
                  <a:pt x="129755" y="278"/>
                  <a:pt x="127784" y="374"/>
                </a:cubicBezTo>
                <a:cubicBezTo>
                  <a:pt x="125812" y="711"/>
                  <a:pt x="124177" y="999"/>
                  <a:pt x="122831" y="1192"/>
                </a:cubicBezTo>
                <a:cubicBezTo>
                  <a:pt x="120186" y="1673"/>
                  <a:pt x="118840" y="2010"/>
                  <a:pt x="118888" y="2202"/>
                </a:cubicBezTo>
                <a:cubicBezTo>
                  <a:pt x="118936" y="2395"/>
                  <a:pt x="120330" y="2395"/>
                  <a:pt x="122975" y="2299"/>
                </a:cubicBezTo>
                <a:cubicBezTo>
                  <a:pt x="124322" y="2202"/>
                  <a:pt x="125957" y="2106"/>
                  <a:pt x="127880" y="2010"/>
                </a:cubicBezTo>
                <a:cubicBezTo>
                  <a:pt x="129851" y="2058"/>
                  <a:pt x="132111" y="2106"/>
                  <a:pt x="134708" y="2202"/>
                </a:cubicBezTo>
                <a:cubicBezTo>
                  <a:pt x="144998" y="2587"/>
                  <a:pt x="160194" y="4608"/>
                  <a:pt x="179188" y="9854"/>
                </a:cubicBezTo>
                <a:cubicBezTo>
                  <a:pt x="217079" y="20247"/>
                  <a:pt x="269925" y="43249"/>
                  <a:pt x="329263" y="81312"/>
                </a:cubicBezTo>
                <a:cubicBezTo>
                  <a:pt x="358884" y="100319"/>
                  <a:pt x="390092" y="123273"/>
                  <a:pt x="420723" y="151038"/>
                </a:cubicBezTo>
                <a:cubicBezTo>
                  <a:pt x="435966" y="164945"/>
                  <a:pt x="451065" y="180151"/>
                  <a:pt x="465010" y="196993"/>
                </a:cubicBezTo>
                <a:cubicBezTo>
                  <a:pt x="478858" y="213883"/>
                  <a:pt x="491986" y="232361"/>
                  <a:pt x="501410" y="253197"/>
                </a:cubicBezTo>
                <a:cubicBezTo>
                  <a:pt x="506219" y="263687"/>
                  <a:pt x="510355" y="274611"/>
                  <a:pt x="514105" y="285774"/>
                </a:cubicBezTo>
                <a:cubicBezTo>
                  <a:pt x="517664" y="296986"/>
                  <a:pt x="520597" y="308535"/>
                  <a:pt x="522713" y="320373"/>
                </a:cubicBezTo>
                <a:cubicBezTo>
                  <a:pt x="526800" y="343952"/>
                  <a:pt x="527473" y="368830"/>
                  <a:pt x="522184" y="392890"/>
                </a:cubicBezTo>
                <a:cubicBezTo>
                  <a:pt x="516894" y="416806"/>
                  <a:pt x="505257" y="440096"/>
                  <a:pt x="486119" y="456457"/>
                </a:cubicBezTo>
                <a:cubicBezTo>
                  <a:pt x="467222" y="472962"/>
                  <a:pt x="441977" y="481912"/>
                  <a:pt x="415962" y="483308"/>
                </a:cubicBezTo>
                <a:lnTo>
                  <a:pt x="406201" y="483597"/>
                </a:lnTo>
                <a:cubicBezTo>
                  <a:pt x="402979" y="483548"/>
                  <a:pt x="399805" y="483260"/>
                  <a:pt x="396583" y="483163"/>
                </a:cubicBezTo>
                <a:lnTo>
                  <a:pt x="386966" y="481960"/>
                </a:lnTo>
                <a:lnTo>
                  <a:pt x="377349" y="480180"/>
                </a:lnTo>
                <a:cubicBezTo>
                  <a:pt x="364606" y="477485"/>
                  <a:pt x="352008" y="473828"/>
                  <a:pt x="339698" y="469786"/>
                </a:cubicBezTo>
                <a:cubicBezTo>
                  <a:pt x="315078" y="461461"/>
                  <a:pt x="291276" y="451452"/>
                  <a:pt x="268387" y="440673"/>
                </a:cubicBezTo>
                <a:cubicBezTo>
                  <a:pt x="222657" y="418971"/>
                  <a:pt x="180101" y="394478"/>
                  <a:pt x="141633" y="368349"/>
                </a:cubicBezTo>
                <a:cubicBezTo>
                  <a:pt x="122398" y="355260"/>
                  <a:pt x="104174" y="341690"/>
                  <a:pt x="87392" y="327543"/>
                </a:cubicBezTo>
                <a:cubicBezTo>
                  <a:pt x="70610" y="313396"/>
                  <a:pt x="55174" y="298574"/>
                  <a:pt x="42576" y="282599"/>
                </a:cubicBezTo>
                <a:cubicBezTo>
                  <a:pt x="36228" y="274659"/>
                  <a:pt x="30699" y="266286"/>
                  <a:pt x="26804" y="257624"/>
                </a:cubicBezTo>
                <a:cubicBezTo>
                  <a:pt x="22861" y="248963"/>
                  <a:pt x="20072" y="239339"/>
                  <a:pt x="17283" y="230292"/>
                </a:cubicBezTo>
                <a:cubicBezTo>
                  <a:pt x="12137" y="211958"/>
                  <a:pt x="9060" y="193817"/>
                  <a:pt x="7858" y="176445"/>
                </a:cubicBezTo>
                <a:cubicBezTo>
                  <a:pt x="5598" y="141607"/>
                  <a:pt x="11320" y="109799"/>
                  <a:pt x="22332" y="84440"/>
                </a:cubicBezTo>
                <a:cubicBezTo>
                  <a:pt x="33151" y="58936"/>
                  <a:pt x="49067" y="40217"/>
                  <a:pt x="64359" y="28235"/>
                </a:cubicBezTo>
                <a:cubicBezTo>
                  <a:pt x="72004" y="22220"/>
                  <a:pt x="79506" y="17745"/>
                  <a:pt x="86190" y="14280"/>
                </a:cubicBezTo>
                <a:cubicBezTo>
                  <a:pt x="92970" y="11008"/>
                  <a:pt x="98884" y="8602"/>
                  <a:pt x="103789" y="6966"/>
                </a:cubicBezTo>
                <a:cubicBezTo>
                  <a:pt x="106241" y="6196"/>
                  <a:pt x="108405" y="5474"/>
                  <a:pt x="110280" y="4849"/>
                </a:cubicBezTo>
                <a:cubicBezTo>
                  <a:pt x="112204" y="4320"/>
                  <a:pt x="113791" y="3935"/>
                  <a:pt x="115089" y="3598"/>
                </a:cubicBezTo>
                <a:cubicBezTo>
                  <a:pt x="117638" y="2876"/>
                  <a:pt x="118984" y="2443"/>
                  <a:pt x="118936" y="2250"/>
                </a:cubicBezTo>
                <a:cubicBezTo>
                  <a:pt x="118888" y="2058"/>
                  <a:pt x="117541" y="2154"/>
                  <a:pt x="114849" y="2539"/>
                </a:cubicBezTo>
                <a:cubicBezTo>
                  <a:pt x="113502" y="2732"/>
                  <a:pt x="111867" y="3021"/>
                  <a:pt x="109896" y="3309"/>
                </a:cubicBezTo>
                <a:cubicBezTo>
                  <a:pt x="107972" y="3790"/>
                  <a:pt x="105712" y="4320"/>
                  <a:pt x="103164" y="4945"/>
                </a:cubicBezTo>
                <a:cubicBezTo>
                  <a:pt x="98067" y="6293"/>
                  <a:pt x="91912" y="8362"/>
                  <a:pt x="84795" y="11442"/>
                </a:cubicBezTo>
                <a:cubicBezTo>
                  <a:pt x="77823" y="14714"/>
                  <a:pt x="69937" y="18996"/>
                  <a:pt x="61810" y="24963"/>
                </a:cubicBezTo>
                <a:cubicBezTo>
                  <a:pt x="45605" y="36801"/>
                  <a:pt x="28583" y="55808"/>
                  <a:pt x="16850" y="82034"/>
                </a:cubicBezTo>
                <a:cubicBezTo>
                  <a:pt x="4876" y="108067"/>
                  <a:pt x="-1519" y="140933"/>
                  <a:pt x="308" y="176879"/>
                </a:cubicBezTo>
                <a:cubicBezTo>
                  <a:pt x="1318" y="194827"/>
                  <a:pt x="4299" y="213546"/>
                  <a:pt x="9348" y="232506"/>
                </a:cubicBezTo>
                <a:cubicBezTo>
                  <a:pt x="12137" y="241985"/>
                  <a:pt x="14734" y="251417"/>
                  <a:pt x="18966" y="261089"/>
                </a:cubicBezTo>
                <a:cubicBezTo>
                  <a:pt x="23197" y="270761"/>
                  <a:pt x="29015" y="279663"/>
                  <a:pt x="35555" y="288036"/>
                </a:cubicBezTo>
                <a:cubicBezTo>
                  <a:pt x="48586" y="304878"/>
                  <a:pt x="64311" y="320180"/>
                  <a:pt x="81285" y="334713"/>
                </a:cubicBezTo>
                <a:cubicBezTo>
                  <a:pt x="98307" y="349245"/>
                  <a:pt x="116676" y="363103"/>
                  <a:pt x="136055" y="376481"/>
                </a:cubicBezTo>
                <a:cubicBezTo>
                  <a:pt x="174860" y="403139"/>
                  <a:pt x="217656" y="428018"/>
                  <a:pt x="263915" y="450153"/>
                </a:cubicBezTo>
                <a:cubicBezTo>
                  <a:pt x="287092" y="461076"/>
                  <a:pt x="311135" y="471278"/>
                  <a:pt x="336332" y="479843"/>
                </a:cubicBezTo>
                <a:cubicBezTo>
                  <a:pt x="348979" y="483981"/>
                  <a:pt x="361866" y="487783"/>
                  <a:pt x="375233" y="490622"/>
                </a:cubicBezTo>
                <a:lnTo>
                  <a:pt x="385331" y="492499"/>
                </a:lnTo>
                <a:lnTo>
                  <a:pt x="395622" y="493798"/>
                </a:lnTo>
                <a:cubicBezTo>
                  <a:pt x="399132" y="493942"/>
                  <a:pt x="402642" y="494231"/>
                  <a:pt x="406153" y="494279"/>
                </a:cubicBezTo>
                <a:lnTo>
                  <a:pt x="416587" y="493990"/>
                </a:lnTo>
                <a:cubicBezTo>
                  <a:pt x="444381" y="492547"/>
                  <a:pt x="472223" y="482826"/>
                  <a:pt x="493092" y="464493"/>
                </a:cubicBezTo>
                <a:cubicBezTo>
                  <a:pt x="514201" y="446352"/>
                  <a:pt x="526848" y="420800"/>
                  <a:pt x="532378" y="395152"/>
                </a:cubicBezTo>
                <a:cubicBezTo>
                  <a:pt x="537956" y="369359"/>
                  <a:pt x="537138" y="343182"/>
                  <a:pt x="532714" y="318592"/>
                </a:cubicBezTo>
                <a:cubicBezTo>
                  <a:pt x="530454" y="306274"/>
                  <a:pt x="527329" y="294292"/>
                  <a:pt x="523578" y="282695"/>
                </a:cubicBezTo>
                <a:close/>
              </a:path>
            </a:pathLst>
          </a:custGeom>
          <a:solidFill>
            <a:srgbClr val="29C8C1"/>
          </a:solidFill>
          <a:ln w="0"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F98276E0-3E95-686C-F956-F15BEDBE588A}"/>
              </a:ext>
            </a:extLst>
          </p:cNvPr>
          <p:cNvSpPr/>
          <p:nvPr/>
        </p:nvSpPr>
        <p:spPr>
          <a:xfrm>
            <a:off x="9537955" y="4093899"/>
            <a:ext cx="195863" cy="355132"/>
          </a:xfrm>
          <a:custGeom>
            <a:avLst/>
            <a:gdLst>
              <a:gd name="connsiteX0" fmla="*/ 6645 w 195863"/>
              <a:gd name="connsiteY0" fmla="*/ 342979 h 355132"/>
              <a:gd name="connsiteX1" fmla="*/ 21311 w 195863"/>
              <a:gd name="connsiteY1" fmla="*/ 354335 h 355132"/>
              <a:gd name="connsiteX2" fmla="*/ 25351 w 195863"/>
              <a:gd name="connsiteY2" fmla="*/ 355009 h 355132"/>
              <a:gd name="connsiteX3" fmla="*/ 29198 w 195863"/>
              <a:gd name="connsiteY3" fmla="*/ 355105 h 355132"/>
              <a:gd name="connsiteX4" fmla="*/ 35882 w 195863"/>
              <a:gd name="connsiteY4" fmla="*/ 353902 h 355132"/>
              <a:gd name="connsiteX5" fmla="*/ 45547 w 195863"/>
              <a:gd name="connsiteY5" fmla="*/ 350005 h 355132"/>
              <a:gd name="connsiteX6" fmla="*/ 52471 w 195863"/>
              <a:gd name="connsiteY6" fmla="*/ 345096 h 355132"/>
              <a:gd name="connsiteX7" fmla="*/ 44681 w 195863"/>
              <a:gd name="connsiteY7" fmla="*/ 348080 h 355132"/>
              <a:gd name="connsiteX8" fmla="*/ 35256 w 195863"/>
              <a:gd name="connsiteY8" fmla="*/ 350871 h 355132"/>
              <a:gd name="connsiteX9" fmla="*/ 29198 w 195863"/>
              <a:gd name="connsiteY9" fmla="*/ 351496 h 355132"/>
              <a:gd name="connsiteX10" fmla="*/ 25928 w 195863"/>
              <a:gd name="connsiteY10" fmla="*/ 351160 h 355132"/>
              <a:gd name="connsiteX11" fmla="*/ 22610 w 195863"/>
              <a:gd name="connsiteY11" fmla="*/ 350341 h 355132"/>
              <a:gd name="connsiteX12" fmla="*/ 11165 w 195863"/>
              <a:gd name="connsiteY12" fmla="*/ 340429 h 355132"/>
              <a:gd name="connsiteX13" fmla="*/ 6309 w 195863"/>
              <a:gd name="connsiteY13" fmla="*/ 321854 h 355132"/>
              <a:gd name="connsiteX14" fmla="*/ 7992 w 195863"/>
              <a:gd name="connsiteY14" fmla="*/ 299045 h 355132"/>
              <a:gd name="connsiteX15" fmla="*/ 13810 w 195863"/>
              <a:gd name="connsiteY15" fmla="*/ 273542 h 355132"/>
              <a:gd name="connsiteX16" fmla="*/ 17657 w 195863"/>
              <a:gd name="connsiteY16" fmla="*/ 259972 h 355132"/>
              <a:gd name="connsiteX17" fmla="*/ 22514 w 195863"/>
              <a:gd name="connsiteY17" fmla="*/ 246017 h 355132"/>
              <a:gd name="connsiteX18" fmla="*/ 25014 w 195863"/>
              <a:gd name="connsiteY18" fmla="*/ 238799 h 355132"/>
              <a:gd name="connsiteX19" fmla="*/ 27947 w 195863"/>
              <a:gd name="connsiteY19" fmla="*/ 231581 h 355132"/>
              <a:gd name="connsiteX20" fmla="*/ 33958 w 195863"/>
              <a:gd name="connsiteY20" fmla="*/ 216760 h 355132"/>
              <a:gd name="connsiteX21" fmla="*/ 64637 w 195863"/>
              <a:gd name="connsiteY21" fmla="*/ 154540 h 355132"/>
              <a:gd name="connsiteX22" fmla="*/ 104596 w 195863"/>
              <a:gd name="connsiteY22" fmla="*/ 89097 h 355132"/>
              <a:gd name="connsiteX23" fmla="*/ 155278 w 195863"/>
              <a:gd name="connsiteY23" fmla="*/ 25097 h 355132"/>
              <a:gd name="connsiteX24" fmla="*/ 162732 w 195863"/>
              <a:gd name="connsiteY24" fmla="*/ 18505 h 355132"/>
              <a:gd name="connsiteX25" fmla="*/ 170762 w 195863"/>
              <a:gd name="connsiteY25" fmla="*/ 13212 h 355132"/>
              <a:gd name="connsiteX26" fmla="*/ 178456 w 195863"/>
              <a:gd name="connsiteY26" fmla="*/ 10661 h 355132"/>
              <a:gd name="connsiteX27" fmla="*/ 182639 w 195863"/>
              <a:gd name="connsiteY27" fmla="*/ 12682 h 355132"/>
              <a:gd name="connsiteX28" fmla="*/ 184899 w 195863"/>
              <a:gd name="connsiteY28" fmla="*/ 20189 h 355132"/>
              <a:gd name="connsiteX29" fmla="*/ 185284 w 195863"/>
              <a:gd name="connsiteY29" fmla="*/ 29573 h 355132"/>
              <a:gd name="connsiteX30" fmla="*/ 183120 w 195863"/>
              <a:gd name="connsiteY30" fmla="*/ 48965 h 355132"/>
              <a:gd name="connsiteX31" fmla="*/ 163165 w 195863"/>
              <a:gd name="connsiteY31" fmla="*/ 122589 h 355132"/>
              <a:gd name="connsiteX32" fmla="*/ 114357 w 195863"/>
              <a:gd name="connsiteY32" fmla="*/ 243226 h 355132"/>
              <a:gd name="connsiteX33" fmla="*/ 72667 w 195863"/>
              <a:gd name="connsiteY33" fmla="*/ 320266 h 355132"/>
              <a:gd name="connsiteX34" fmla="*/ 58338 w 195863"/>
              <a:gd name="connsiteY34" fmla="*/ 339081 h 355132"/>
              <a:gd name="connsiteX35" fmla="*/ 52567 w 195863"/>
              <a:gd name="connsiteY35" fmla="*/ 345096 h 355132"/>
              <a:gd name="connsiteX36" fmla="*/ 59780 w 195863"/>
              <a:gd name="connsiteY36" fmla="*/ 340669 h 355132"/>
              <a:gd name="connsiteX37" fmla="*/ 76033 w 195863"/>
              <a:gd name="connsiteY37" fmla="*/ 322672 h 355132"/>
              <a:gd name="connsiteX38" fmla="*/ 121138 w 195863"/>
              <a:gd name="connsiteY38" fmla="*/ 246498 h 355132"/>
              <a:gd name="connsiteX39" fmla="*/ 172445 w 195863"/>
              <a:gd name="connsiteY39" fmla="*/ 125765 h 355132"/>
              <a:gd name="connsiteX40" fmla="*/ 193410 w 195863"/>
              <a:gd name="connsiteY40" fmla="*/ 50697 h 355132"/>
              <a:gd name="connsiteX41" fmla="*/ 195815 w 195863"/>
              <a:gd name="connsiteY41" fmla="*/ 29861 h 355132"/>
              <a:gd name="connsiteX42" fmla="*/ 195382 w 195863"/>
              <a:gd name="connsiteY42" fmla="*/ 18745 h 355132"/>
              <a:gd name="connsiteX43" fmla="*/ 191439 w 195863"/>
              <a:gd name="connsiteY43" fmla="*/ 6764 h 355132"/>
              <a:gd name="connsiteX44" fmla="*/ 188987 w 195863"/>
              <a:gd name="connsiteY44" fmla="*/ 3828 h 355132"/>
              <a:gd name="connsiteX45" fmla="*/ 185573 w 195863"/>
              <a:gd name="connsiteY45" fmla="*/ 1518 h 355132"/>
              <a:gd name="connsiteX46" fmla="*/ 177927 w 195863"/>
              <a:gd name="connsiteY46" fmla="*/ 27 h 355132"/>
              <a:gd name="connsiteX47" fmla="*/ 165809 w 195863"/>
              <a:gd name="connsiteY47" fmla="*/ 3732 h 355132"/>
              <a:gd name="connsiteX48" fmla="*/ 156240 w 195863"/>
              <a:gd name="connsiteY48" fmla="*/ 9988 h 355132"/>
              <a:gd name="connsiteX49" fmla="*/ 147777 w 195863"/>
              <a:gd name="connsiteY49" fmla="*/ 17398 h 355132"/>
              <a:gd name="connsiteX50" fmla="*/ 95844 w 195863"/>
              <a:gd name="connsiteY50" fmla="*/ 83226 h 355132"/>
              <a:gd name="connsiteX51" fmla="*/ 55933 w 195863"/>
              <a:gd name="connsiteY51" fmla="*/ 149825 h 355132"/>
              <a:gd name="connsiteX52" fmla="*/ 25735 w 195863"/>
              <a:gd name="connsiteY52" fmla="*/ 213295 h 355132"/>
              <a:gd name="connsiteX53" fmla="*/ 19917 w 195863"/>
              <a:gd name="connsiteY53" fmla="*/ 228501 h 355132"/>
              <a:gd name="connsiteX54" fmla="*/ 17128 w 195863"/>
              <a:gd name="connsiteY54" fmla="*/ 235912 h 355132"/>
              <a:gd name="connsiteX55" fmla="*/ 14724 w 195863"/>
              <a:gd name="connsiteY55" fmla="*/ 243322 h 355132"/>
              <a:gd name="connsiteX56" fmla="*/ 10107 w 195863"/>
              <a:gd name="connsiteY56" fmla="*/ 257662 h 355132"/>
              <a:gd name="connsiteX57" fmla="*/ 6501 w 195863"/>
              <a:gd name="connsiteY57" fmla="*/ 271665 h 355132"/>
              <a:gd name="connsiteX58" fmla="*/ 1308 w 195863"/>
              <a:gd name="connsiteY58" fmla="*/ 298035 h 355132"/>
              <a:gd name="connsiteX59" fmla="*/ 394 w 195863"/>
              <a:gd name="connsiteY59" fmla="*/ 322384 h 355132"/>
              <a:gd name="connsiteX60" fmla="*/ 6789 w 195863"/>
              <a:gd name="connsiteY60" fmla="*/ 343075 h 355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5863" h="355132">
                <a:moveTo>
                  <a:pt x="6645" y="342979"/>
                </a:moveTo>
                <a:cubicBezTo>
                  <a:pt x="10155" y="348850"/>
                  <a:pt x="15734" y="352988"/>
                  <a:pt x="21311" y="354335"/>
                </a:cubicBezTo>
                <a:cubicBezTo>
                  <a:pt x="22706" y="354720"/>
                  <a:pt x="24004" y="355057"/>
                  <a:pt x="25351" y="355009"/>
                </a:cubicBezTo>
                <a:cubicBezTo>
                  <a:pt x="26649" y="355009"/>
                  <a:pt x="27947" y="355202"/>
                  <a:pt x="29198" y="355105"/>
                </a:cubicBezTo>
                <a:cubicBezTo>
                  <a:pt x="31602" y="354672"/>
                  <a:pt x="33958" y="354672"/>
                  <a:pt x="35882" y="353902"/>
                </a:cubicBezTo>
                <a:cubicBezTo>
                  <a:pt x="39921" y="352844"/>
                  <a:pt x="42998" y="351208"/>
                  <a:pt x="45547" y="350005"/>
                </a:cubicBezTo>
                <a:cubicBezTo>
                  <a:pt x="50355" y="347166"/>
                  <a:pt x="52615" y="345337"/>
                  <a:pt x="52471" y="345096"/>
                </a:cubicBezTo>
                <a:cubicBezTo>
                  <a:pt x="52279" y="344760"/>
                  <a:pt x="49586" y="345963"/>
                  <a:pt x="44681" y="348080"/>
                </a:cubicBezTo>
                <a:cubicBezTo>
                  <a:pt x="42133" y="348946"/>
                  <a:pt x="39055" y="350197"/>
                  <a:pt x="35256" y="350871"/>
                </a:cubicBezTo>
                <a:cubicBezTo>
                  <a:pt x="33381" y="351448"/>
                  <a:pt x="31313" y="351256"/>
                  <a:pt x="29198" y="351496"/>
                </a:cubicBezTo>
                <a:cubicBezTo>
                  <a:pt x="28139" y="351496"/>
                  <a:pt x="27034" y="351256"/>
                  <a:pt x="25928" y="351160"/>
                </a:cubicBezTo>
                <a:cubicBezTo>
                  <a:pt x="24774" y="351160"/>
                  <a:pt x="23668" y="350775"/>
                  <a:pt x="22610" y="350341"/>
                </a:cubicBezTo>
                <a:cubicBezTo>
                  <a:pt x="18138" y="348946"/>
                  <a:pt x="13954" y="345529"/>
                  <a:pt x="11165" y="340429"/>
                </a:cubicBezTo>
                <a:cubicBezTo>
                  <a:pt x="8328" y="335328"/>
                  <a:pt x="6838" y="328880"/>
                  <a:pt x="6309" y="321854"/>
                </a:cubicBezTo>
                <a:cubicBezTo>
                  <a:pt x="5876" y="314781"/>
                  <a:pt x="6453" y="307130"/>
                  <a:pt x="7992" y="299045"/>
                </a:cubicBezTo>
                <a:cubicBezTo>
                  <a:pt x="9771" y="290961"/>
                  <a:pt x="11021" y="282300"/>
                  <a:pt x="13810" y="273542"/>
                </a:cubicBezTo>
                <a:cubicBezTo>
                  <a:pt x="15060" y="269115"/>
                  <a:pt x="16359" y="264591"/>
                  <a:pt x="17657" y="259972"/>
                </a:cubicBezTo>
                <a:cubicBezTo>
                  <a:pt x="19244" y="255400"/>
                  <a:pt x="20879" y="250781"/>
                  <a:pt x="22514" y="246017"/>
                </a:cubicBezTo>
                <a:cubicBezTo>
                  <a:pt x="23331" y="243659"/>
                  <a:pt x="24149" y="241253"/>
                  <a:pt x="25014" y="238799"/>
                </a:cubicBezTo>
                <a:cubicBezTo>
                  <a:pt x="25976" y="236441"/>
                  <a:pt x="26937" y="234035"/>
                  <a:pt x="27947" y="231581"/>
                </a:cubicBezTo>
                <a:cubicBezTo>
                  <a:pt x="29919" y="226721"/>
                  <a:pt x="31890" y="221764"/>
                  <a:pt x="33958" y="216760"/>
                </a:cubicBezTo>
                <a:cubicBezTo>
                  <a:pt x="42806" y="196934"/>
                  <a:pt x="52712" y="175906"/>
                  <a:pt x="64637" y="154540"/>
                </a:cubicBezTo>
                <a:cubicBezTo>
                  <a:pt x="76514" y="133175"/>
                  <a:pt x="89737" y="111136"/>
                  <a:pt x="104596" y="89097"/>
                </a:cubicBezTo>
                <a:cubicBezTo>
                  <a:pt x="119599" y="67251"/>
                  <a:pt x="135804" y="44586"/>
                  <a:pt x="155278" y="25097"/>
                </a:cubicBezTo>
                <a:cubicBezTo>
                  <a:pt x="157635" y="22499"/>
                  <a:pt x="160231" y="20526"/>
                  <a:pt x="162732" y="18505"/>
                </a:cubicBezTo>
                <a:cubicBezTo>
                  <a:pt x="165136" y="16388"/>
                  <a:pt x="168021" y="14607"/>
                  <a:pt x="170762" y="13212"/>
                </a:cubicBezTo>
                <a:cubicBezTo>
                  <a:pt x="173503" y="11768"/>
                  <a:pt x="176340" y="10709"/>
                  <a:pt x="178456" y="10661"/>
                </a:cubicBezTo>
                <a:cubicBezTo>
                  <a:pt x="180620" y="10661"/>
                  <a:pt x="181485" y="10950"/>
                  <a:pt x="182639" y="12682"/>
                </a:cubicBezTo>
                <a:cubicBezTo>
                  <a:pt x="183793" y="14366"/>
                  <a:pt x="184563" y="17206"/>
                  <a:pt x="184899" y="20189"/>
                </a:cubicBezTo>
                <a:cubicBezTo>
                  <a:pt x="185332" y="23172"/>
                  <a:pt x="185332" y="26349"/>
                  <a:pt x="185284" y="29573"/>
                </a:cubicBezTo>
                <a:cubicBezTo>
                  <a:pt x="185044" y="36020"/>
                  <a:pt x="184226" y="42517"/>
                  <a:pt x="183120" y="48965"/>
                </a:cubicBezTo>
                <a:cubicBezTo>
                  <a:pt x="178552" y="74805"/>
                  <a:pt x="170858" y="99443"/>
                  <a:pt x="163165" y="122589"/>
                </a:cubicBezTo>
                <a:cubicBezTo>
                  <a:pt x="147393" y="168929"/>
                  <a:pt x="130081" y="209638"/>
                  <a:pt x="114357" y="243226"/>
                </a:cubicBezTo>
                <a:cubicBezTo>
                  <a:pt x="98585" y="276766"/>
                  <a:pt x="84111" y="303087"/>
                  <a:pt x="72667" y="320266"/>
                </a:cubicBezTo>
                <a:cubicBezTo>
                  <a:pt x="66993" y="328880"/>
                  <a:pt x="61992" y="335136"/>
                  <a:pt x="58338" y="339081"/>
                </a:cubicBezTo>
                <a:cubicBezTo>
                  <a:pt x="54683" y="343027"/>
                  <a:pt x="52375" y="344711"/>
                  <a:pt x="52567" y="345096"/>
                </a:cubicBezTo>
                <a:cubicBezTo>
                  <a:pt x="52712" y="345385"/>
                  <a:pt x="55500" y="344230"/>
                  <a:pt x="59780" y="340669"/>
                </a:cubicBezTo>
                <a:cubicBezTo>
                  <a:pt x="64060" y="337108"/>
                  <a:pt x="69734" y="331093"/>
                  <a:pt x="76033" y="322672"/>
                </a:cubicBezTo>
                <a:cubicBezTo>
                  <a:pt x="88728" y="305927"/>
                  <a:pt x="104356" y="279894"/>
                  <a:pt x="121138" y="246498"/>
                </a:cubicBezTo>
                <a:cubicBezTo>
                  <a:pt x="137823" y="213103"/>
                  <a:pt x="156000" y="172441"/>
                  <a:pt x="172445" y="125765"/>
                </a:cubicBezTo>
                <a:cubicBezTo>
                  <a:pt x="180523" y="102378"/>
                  <a:pt x="188506" y="77596"/>
                  <a:pt x="193410" y="50697"/>
                </a:cubicBezTo>
                <a:cubicBezTo>
                  <a:pt x="194565" y="43960"/>
                  <a:pt x="195526" y="37031"/>
                  <a:pt x="195815" y="29861"/>
                </a:cubicBezTo>
                <a:cubicBezTo>
                  <a:pt x="195911" y="26252"/>
                  <a:pt x="195911" y="22595"/>
                  <a:pt x="195382" y="18745"/>
                </a:cubicBezTo>
                <a:cubicBezTo>
                  <a:pt x="194901" y="14944"/>
                  <a:pt x="194132" y="10902"/>
                  <a:pt x="191439" y="6764"/>
                </a:cubicBezTo>
                <a:cubicBezTo>
                  <a:pt x="190766" y="5753"/>
                  <a:pt x="189852" y="4742"/>
                  <a:pt x="188987" y="3828"/>
                </a:cubicBezTo>
                <a:cubicBezTo>
                  <a:pt x="187929" y="3010"/>
                  <a:pt x="186823" y="2096"/>
                  <a:pt x="185573" y="1518"/>
                </a:cubicBezTo>
                <a:cubicBezTo>
                  <a:pt x="183024" y="315"/>
                  <a:pt x="180283" y="-118"/>
                  <a:pt x="177927" y="27"/>
                </a:cubicBezTo>
                <a:cubicBezTo>
                  <a:pt x="173070" y="267"/>
                  <a:pt x="169272" y="1952"/>
                  <a:pt x="165809" y="3732"/>
                </a:cubicBezTo>
                <a:cubicBezTo>
                  <a:pt x="162299" y="5512"/>
                  <a:pt x="159173" y="7485"/>
                  <a:pt x="156240" y="9988"/>
                </a:cubicBezTo>
                <a:cubicBezTo>
                  <a:pt x="153259" y="12345"/>
                  <a:pt x="150229" y="14751"/>
                  <a:pt x="147777" y="17398"/>
                </a:cubicBezTo>
                <a:cubicBezTo>
                  <a:pt x="127052" y="38138"/>
                  <a:pt x="111040" y="60947"/>
                  <a:pt x="95844" y="83226"/>
                </a:cubicBezTo>
                <a:cubicBezTo>
                  <a:pt x="80890" y="105650"/>
                  <a:pt x="67714" y="128074"/>
                  <a:pt x="55933" y="149825"/>
                </a:cubicBezTo>
                <a:cubicBezTo>
                  <a:pt x="44056" y="171575"/>
                  <a:pt x="34343" y="193037"/>
                  <a:pt x="25735" y="213295"/>
                </a:cubicBezTo>
                <a:cubicBezTo>
                  <a:pt x="23764" y="218444"/>
                  <a:pt x="21840" y="223497"/>
                  <a:pt x="19917" y="228501"/>
                </a:cubicBezTo>
                <a:cubicBezTo>
                  <a:pt x="18955" y="231003"/>
                  <a:pt x="18042" y="233458"/>
                  <a:pt x="17128" y="235912"/>
                </a:cubicBezTo>
                <a:cubicBezTo>
                  <a:pt x="16311" y="238414"/>
                  <a:pt x="15541" y="240868"/>
                  <a:pt x="14724" y="243322"/>
                </a:cubicBezTo>
                <a:cubicBezTo>
                  <a:pt x="13137" y="248182"/>
                  <a:pt x="11598" y="252994"/>
                  <a:pt x="10107" y="257662"/>
                </a:cubicBezTo>
                <a:cubicBezTo>
                  <a:pt x="8857" y="262426"/>
                  <a:pt x="7655" y="267094"/>
                  <a:pt x="6501" y="271665"/>
                </a:cubicBezTo>
                <a:cubicBezTo>
                  <a:pt x="3904" y="280712"/>
                  <a:pt x="2847" y="289710"/>
                  <a:pt x="1308" y="298035"/>
                </a:cubicBezTo>
                <a:cubicBezTo>
                  <a:pt x="9" y="306456"/>
                  <a:pt x="-375" y="314733"/>
                  <a:pt x="394" y="322384"/>
                </a:cubicBezTo>
                <a:cubicBezTo>
                  <a:pt x="1212" y="330035"/>
                  <a:pt x="3183" y="337205"/>
                  <a:pt x="6789" y="343075"/>
                </a:cubicBezTo>
                <a:close/>
              </a:path>
            </a:pathLst>
          </a:custGeom>
          <a:solidFill>
            <a:srgbClr val="29C8C1"/>
          </a:solidFill>
          <a:ln w="0"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BE3EE28C-B9C1-3BE1-FAB3-5C32B1941599}"/>
              </a:ext>
            </a:extLst>
          </p:cNvPr>
          <p:cNvSpPr/>
          <p:nvPr/>
        </p:nvSpPr>
        <p:spPr>
          <a:xfrm>
            <a:off x="9700831" y="4081888"/>
            <a:ext cx="225721" cy="443198"/>
          </a:xfrm>
          <a:custGeom>
            <a:avLst/>
            <a:gdLst>
              <a:gd name="connsiteX0" fmla="*/ 222589 w 225721"/>
              <a:gd name="connsiteY0" fmla="*/ 63815 h 443198"/>
              <a:gd name="connsiteX1" fmla="*/ 223407 w 225721"/>
              <a:gd name="connsiteY1" fmla="*/ 17427 h 443198"/>
              <a:gd name="connsiteX2" fmla="*/ 214078 w 225721"/>
              <a:gd name="connsiteY2" fmla="*/ 2654 h 443198"/>
              <a:gd name="connsiteX3" fmla="*/ 201335 w 225721"/>
              <a:gd name="connsiteY3" fmla="*/ 825 h 443198"/>
              <a:gd name="connsiteX4" fmla="*/ 199075 w 225721"/>
              <a:gd name="connsiteY4" fmla="*/ 1836 h 443198"/>
              <a:gd name="connsiteX5" fmla="*/ 197344 w 225721"/>
              <a:gd name="connsiteY5" fmla="*/ 3135 h 443198"/>
              <a:gd name="connsiteX6" fmla="*/ 195950 w 225721"/>
              <a:gd name="connsiteY6" fmla="*/ 4242 h 443198"/>
              <a:gd name="connsiteX7" fmla="*/ 195036 w 225721"/>
              <a:gd name="connsiteY7" fmla="*/ 5397 h 443198"/>
              <a:gd name="connsiteX8" fmla="*/ 193642 w 225721"/>
              <a:gd name="connsiteY8" fmla="*/ 7610 h 443198"/>
              <a:gd name="connsiteX9" fmla="*/ 195806 w 225721"/>
              <a:gd name="connsiteY9" fmla="*/ 6167 h 443198"/>
              <a:gd name="connsiteX10" fmla="*/ 196863 w 225721"/>
              <a:gd name="connsiteY10" fmla="*/ 5252 h 443198"/>
              <a:gd name="connsiteX11" fmla="*/ 198306 w 225721"/>
              <a:gd name="connsiteY11" fmla="*/ 4434 h 443198"/>
              <a:gd name="connsiteX12" fmla="*/ 199989 w 225721"/>
              <a:gd name="connsiteY12" fmla="*/ 3472 h 443198"/>
              <a:gd name="connsiteX13" fmla="*/ 202057 w 225721"/>
              <a:gd name="connsiteY13" fmla="*/ 2846 h 443198"/>
              <a:gd name="connsiteX14" fmla="*/ 212251 w 225721"/>
              <a:gd name="connsiteY14" fmla="*/ 5156 h 443198"/>
              <a:gd name="connsiteX15" fmla="*/ 219464 w 225721"/>
              <a:gd name="connsiteY15" fmla="*/ 18486 h 443198"/>
              <a:gd name="connsiteX16" fmla="*/ 216819 w 225721"/>
              <a:gd name="connsiteY16" fmla="*/ 62467 h 443198"/>
              <a:gd name="connsiteX17" fmla="*/ 195902 w 225721"/>
              <a:gd name="connsiteY17" fmla="*/ 118335 h 443198"/>
              <a:gd name="connsiteX18" fmla="*/ 120792 w 225721"/>
              <a:gd name="connsiteY18" fmla="*/ 256103 h 443198"/>
              <a:gd name="connsiteX19" fmla="*/ 73475 w 225721"/>
              <a:gd name="connsiteY19" fmla="*/ 335886 h 443198"/>
              <a:gd name="connsiteX20" fmla="*/ 47461 w 225721"/>
              <a:gd name="connsiteY20" fmla="*/ 377414 h 443198"/>
              <a:gd name="connsiteX21" fmla="*/ 19090 w 225721"/>
              <a:gd name="connsiteY21" fmla="*/ 418749 h 443198"/>
              <a:gd name="connsiteX22" fmla="*/ 14666 w 225721"/>
              <a:gd name="connsiteY22" fmla="*/ 424331 h 443198"/>
              <a:gd name="connsiteX23" fmla="*/ 11733 w 225721"/>
              <a:gd name="connsiteY23" fmla="*/ 427747 h 443198"/>
              <a:gd name="connsiteX24" fmla="*/ 11733 w 225721"/>
              <a:gd name="connsiteY24" fmla="*/ 427747 h 443198"/>
              <a:gd name="connsiteX25" fmla="*/ 11733 w 225721"/>
              <a:gd name="connsiteY25" fmla="*/ 427747 h 443198"/>
              <a:gd name="connsiteX26" fmla="*/ 12358 w 225721"/>
              <a:gd name="connsiteY26" fmla="*/ 425438 h 443198"/>
              <a:gd name="connsiteX27" fmla="*/ 13224 w 225721"/>
              <a:gd name="connsiteY27" fmla="*/ 422647 h 443198"/>
              <a:gd name="connsiteX28" fmla="*/ 17070 w 225721"/>
              <a:gd name="connsiteY28" fmla="*/ 411531 h 443198"/>
              <a:gd name="connsiteX29" fmla="*/ 25774 w 225721"/>
              <a:gd name="connsiteY29" fmla="*/ 389540 h 443198"/>
              <a:gd name="connsiteX30" fmla="*/ 44287 w 225721"/>
              <a:gd name="connsiteY30" fmla="*/ 347002 h 443198"/>
              <a:gd name="connsiteX31" fmla="*/ 80688 w 225721"/>
              <a:gd name="connsiteY31" fmla="*/ 267171 h 443198"/>
              <a:gd name="connsiteX32" fmla="*/ 97422 w 225721"/>
              <a:gd name="connsiteY32" fmla="*/ 229926 h 443198"/>
              <a:gd name="connsiteX33" fmla="*/ 112328 w 225721"/>
              <a:gd name="connsiteY33" fmla="*/ 194461 h 443198"/>
              <a:gd name="connsiteX34" fmla="*/ 138199 w 225721"/>
              <a:gd name="connsiteY34" fmla="*/ 130702 h 443198"/>
              <a:gd name="connsiteX35" fmla="*/ 176908 w 225721"/>
              <a:gd name="connsiteY35" fmla="*/ 39562 h 443198"/>
              <a:gd name="connsiteX36" fmla="*/ 189170 w 225721"/>
              <a:gd name="connsiteY36" fmla="*/ 15791 h 443198"/>
              <a:gd name="connsiteX37" fmla="*/ 193690 w 225721"/>
              <a:gd name="connsiteY37" fmla="*/ 7562 h 443198"/>
              <a:gd name="connsiteX38" fmla="*/ 187438 w 225721"/>
              <a:gd name="connsiteY38" fmla="*/ 14636 h 443198"/>
              <a:gd name="connsiteX39" fmla="*/ 173349 w 225721"/>
              <a:gd name="connsiteY39" fmla="*/ 37685 h 443198"/>
              <a:gd name="connsiteX40" fmla="*/ 131419 w 225721"/>
              <a:gd name="connsiteY40" fmla="*/ 127814 h 443198"/>
              <a:gd name="connsiteX41" fmla="*/ 104394 w 225721"/>
              <a:gd name="connsiteY41" fmla="*/ 191044 h 443198"/>
              <a:gd name="connsiteX42" fmla="*/ 89055 w 225721"/>
              <a:gd name="connsiteY42" fmla="*/ 226124 h 443198"/>
              <a:gd name="connsiteX43" fmla="*/ 71936 w 225721"/>
              <a:gd name="connsiteY43" fmla="*/ 263032 h 443198"/>
              <a:gd name="connsiteX44" fmla="*/ 34862 w 225721"/>
              <a:gd name="connsiteY44" fmla="*/ 342623 h 443198"/>
              <a:gd name="connsiteX45" fmla="*/ 16061 w 225721"/>
              <a:gd name="connsiteY45" fmla="*/ 385354 h 443198"/>
              <a:gd name="connsiteX46" fmla="*/ 7165 w 225721"/>
              <a:gd name="connsiteY46" fmla="*/ 407729 h 443198"/>
              <a:gd name="connsiteX47" fmla="*/ 3126 w 225721"/>
              <a:gd name="connsiteY47" fmla="*/ 419375 h 443198"/>
              <a:gd name="connsiteX48" fmla="*/ 2212 w 225721"/>
              <a:gd name="connsiteY48" fmla="*/ 422358 h 443198"/>
              <a:gd name="connsiteX49" fmla="*/ 1250 w 225721"/>
              <a:gd name="connsiteY49" fmla="*/ 425919 h 443198"/>
              <a:gd name="connsiteX50" fmla="*/ 337 w 225721"/>
              <a:gd name="connsiteY50" fmla="*/ 431597 h 443198"/>
              <a:gd name="connsiteX51" fmla="*/ 0 w 225721"/>
              <a:gd name="connsiteY51" fmla="*/ 434388 h 443198"/>
              <a:gd name="connsiteX52" fmla="*/ 144 w 225721"/>
              <a:gd name="connsiteY52" fmla="*/ 436890 h 443198"/>
              <a:gd name="connsiteX53" fmla="*/ 2164 w 225721"/>
              <a:gd name="connsiteY53" fmla="*/ 440980 h 443198"/>
              <a:gd name="connsiteX54" fmla="*/ 6395 w 225721"/>
              <a:gd name="connsiteY54" fmla="*/ 443146 h 443198"/>
              <a:gd name="connsiteX55" fmla="*/ 16157 w 225721"/>
              <a:gd name="connsiteY55" fmla="*/ 438478 h 443198"/>
              <a:gd name="connsiteX56" fmla="*/ 18705 w 225721"/>
              <a:gd name="connsiteY56" fmla="*/ 435928 h 443198"/>
              <a:gd name="connsiteX57" fmla="*/ 19859 w 225721"/>
              <a:gd name="connsiteY57" fmla="*/ 434725 h 443198"/>
              <a:gd name="connsiteX58" fmla="*/ 20485 w 225721"/>
              <a:gd name="connsiteY58" fmla="*/ 434003 h 443198"/>
              <a:gd name="connsiteX59" fmla="*/ 22985 w 225721"/>
              <a:gd name="connsiteY59" fmla="*/ 431116 h 443198"/>
              <a:gd name="connsiteX60" fmla="*/ 27649 w 225721"/>
              <a:gd name="connsiteY60" fmla="*/ 425197 h 443198"/>
              <a:gd name="connsiteX61" fmla="*/ 56501 w 225721"/>
              <a:gd name="connsiteY61" fmla="*/ 383092 h 443198"/>
              <a:gd name="connsiteX62" fmla="*/ 82515 w 225721"/>
              <a:gd name="connsiteY62" fmla="*/ 341275 h 443198"/>
              <a:gd name="connsiteX63" fmla="*/ 129447 w 225721"/>
              <a:gd name="connsiteY63" fmla="*/ 260915 h 443198"/>
              <a:gd name="connsiteX64" fmla="*/ 202874 w 225721"/>
              <a:gd name="connsiteY64" fmla="*/ 121414 h 443198"/>
              <a:gd name="connsiteX65" fmla="*/ 222734 w 225721"/>
              <a:gd name="connsiteY65" fmla="*/ 63718 h 44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25721" h="443198">
                <a:moveTo>
                  <a:pt x="222589" y="63815"/>
                </a:moveTo>
                <a:cubicBezTo>
                  <a:pt x="226148" y="46155"/>
                  <a:pt x="227013" y="30082"/>
                  <a:pt x="223407" y="17427"/>
                </a:cubicBezTo>
                <a:cubicBezTo>
                  <a:pt x="221772" y="11123"/>
                  <a:pt x="218406" y="5734"/>
                  <a:pt x="214078" y="2654"/>
                </a:cubicBezTo>
                <a:cubicBezTo>
                  <a:pt x="209702" y="-570"/>
                  <a:pt x="204557" y="-426"/>
                  <a:pt x="201335" y="825"/>
                </a:cubicBezTo>
                <a:cubicBezTo>
                  <a:pt x="200518" y="1162"/>
                  <a:pt x="199748" y="1499"/>
                  <a:pt x="199075" y="1836"/>
                </a:cubicBezTo>
                <a:cubicBezTo>
                  <a:pt x="198450" y="2317"/>
                  <a:pt x="197873" y="2750"/>
                  <a:pt x="197344" y="3135"/>
                </a:cubicBezTo>
                <a:cubicBezTo>
                  <a:pt x="196815" y="3520"/>
                  <a:pt x="196383" y="3905"/>
                  <a:pt x="195950" y="4242"/>
                </a:cubicBezTo>
                <a:lnTo>
                  <a:pt x="195036" y="5397"/>
                </a:lnTo>
                <a:cubicBezTo>
                  <a:pt x="193930" y="6792"/>
                  <a:pt x="193497" y="7514"/>
                  <a:pt x="193642" y="7610"/>
                </a:cubicBezTo>
                <a:cubicBezTo>
                  <a:pt x="193786" y="7707"/>
                  <a:pt x="194507" y="7225"/>
                  <a:pt x="195806" y="6167"/>
                </a:cubicBezTo>
                <a:lnTo>
                  <a:pt x="196863" y="5252"/>
                </a:lnTo>
                <a:cubicBezTo>
                  <a:pt x="197296" y="5012"/>
                  <a:pt x="197777" y="4723"/>
                  <a:pt x="198306" y="4434"/>
                </a:cubicBezTo>
                <a:cubicBezTo>
                  <a:pt x="198835" y="4146"/>
                  <a:pt x="199364" y="3809"/>
                  <a:pt x="199989" y="3472"/>
                </a:cubicBezTo>
                <a:cubicBezTo>
                  <a:pt x="200614" y="3279"/>
                  <a:pt x="201335" y="3087"/>
                  <a:pt x="202057" y="2846"/>
                </a:cubicBezTo>
                <a:cubicBezTo>
                  <a:pt x="204942" y="2076"/>
                  <a:pt x="208885" y="2317"/>
                  <a:pt x="212251" y="5156"/>
                </a:cubicBezTo>
                <a:cubicBezTo>
                  <a:pt x="215569" y="7899"/>
                  <a:pt x="218262" y="12615"/>
                  <a:pt x="219464" y="18486"/>
                </a:cubicBezTo>
                <a:cubicBezTo>
                  <a:pt x="222157" y="30179"/>
                  <a:pt x="220858" y="45529"/>
                  <a:pt x="216819" y="62467"/>
                </a:cubicBezTo>
                <a:cubicBezTo>
                  <a:pt x="212828" y="79550"/>
                  <a:pt x="205278" y="98124"/>
                  <a:pt x="195902" y="118335"/>
                </a:cubicBezTo>
                <a:cubicBezTo>
                  <a:pt x="177004" y="158660"/>
                  <a:pt x="150268" y="204758"/>
                  <a:pt x="120792" y="256103"/>
                </a:cubicBezTo>
                <a:cubicBezTo>
                  <a:pt x="106125" y="281751"/>
                  <a:pt x="90257" y="308410"/>
                  <a:pt x="73475" y="335886"/>
                </a:cubicBezTo>
                <a:cubicBezTo>
                  <a:pt x="65060" y="349600"/>
                  <a:pt x="56453" y="363507"/>
                  <a:pt x="47461" y="377414"/>
                </a:cubicBezTo>
                <a:cubicBezTo>
                  <a:pt x="38469" y="391320"/>
                  <a:pt x="29188" y="405420"/>
                  <a:pt x="19090" y="418749"/>
                </a:cubicBezTo>
                <a:cubicBezTo>
                  <a:pt x="17647" y="420674"/>
                  <a:pt x="16157" y="422502"/>
                  <a:pt x="14666" y="424331"/>
                </a:cubicBezTo>
                <a:lnTo>
                  <a:pt x="11733" y="427747"/>
                </a:lnTo>
                <a:lnTo>
                  <a:pt x="11733" y="427747"/>
                </a:lnTo>
                <a:cubicBezTo>
                  <a:pt x="11733" y="427747"/>
                  <a:pt x="11733" y="427747"/>
                  <a:pt x="11733" y="427747"/>
                </a:cubicBezTo>
                <a:lnTo>
                  <a:pt x="12358" y="425438"/>
                </a:lnTo>
                <a:lnTo>
                  <a:pt x="13224" y="422647"/>
                </a:lnTo>
                <a:cubicBezTo>
                  <a:pt x="14378" y="418941"/>
                  <a:pt x="15676" y="415188"/>
                  <a:pt x="17070" y="411531"/>
                </a:cubicBezTo>
                <a:cubicBezTo>
                  <a:pt x="19811" y="404120"/>
                  <a:pt x="22744" y="396806"/>
                  <a:pt x="25774" y="389540"/>
                </a:cubicBezTo>
                <a:cubicBezTo>
                  <a:pt x="31833" y="375056"/>
                  <a:pt x="38036" y="360860"/>
                  <a:pt x="44287" y="347002"/>
                </a:cubicBezTo>
                <a:cubicBezTo>
                  <a:pt x="56934" y="319285"/>
                  <a:pt x="69099" y="292578"/>
                  <a:pt x="80688" y="267171"/>
                </a:cubicBezTo>
                <a:cubicBezTo>
                  <a:pt x="86506" y="254467"/>
                  <a:pt x="92132" y="242052"/>
                  <a:pt x="97422" y="229926"/>
                </a:cubicBezTo>
                <a:cubicBezTo>
                  <a:pt x="102711" y="217751"/>
                  <a:pt x="107616" y="205913"/>
                  <a:pt x="112328" y="194461"/>
                </a:cubicBezTo>
                <a:cubicBezTo>
                  <a:pt x="121657" y="171508"/>
                  <a:pt x="130312" y="150190"/>
                  <a:pt x="138199" y="130702"/>
                </a:cubicBezTo>
                <a:cubicBezTo>
                  <a:pt x="153875" y="91772"/>
                  <a:pt x="166858" y="60543"/>
                  <a:pt x="176908" y="39562"/>
                </a:cubicBezTo>
                <a:cubicBezTo>
                  <a:pt x="181861" y="29024"/>
                  <a:pt x="186188" y="21132"/>
                  <a:pt x="189170" y="15791"/>
                </a:cubicBezTo>
                <a:cubicBezTo>
                  <a:pt x="192295" y="10546"/>
                  <a:pt x="194026" y="7851"/>
                  <a:pt x="193690" y="7562"/>
                </a:cubicBezTo>
                <a:cubicBezTo>
                  <a:pt x="193449" y="7370"/>
                  <a:pt x="191141" y="9679"/>
                  <a:pt x="187438" y="14636"/>
                </a:cubicBezTo>
                <a:cubicBezTo>
                  <a:pt x="183832" y="19640"/>
                  <a:pt x="178879" y="27339"/>
                  <a:pt x="173349" y="37685"/>
                </a:cubicBezTo>
                <a:cubicBezTo>
                  <a:pt x="162097" y="58329"/>
                  <a:pt x="148008" y="89222"/>
                  <a:pt x="131419" y="127814"/>
                </a:cubicBezTo>
                <a:cubicBezTo>
                  <a:pt x="123148" y="147111"/>
                  <a:pt x="114108" y="168284"/>
                  <a:pt x="104394" y="191044"/>
                </a:cubicBezTo>
                <a:cubicBezTo>
                  <a:pt x="99490" y="202401"/>
                  <a:pt x="94441" y="214190"/>
                  <a:pt x="89055" y="226124"/>
                </a:cubicBezTo>
                <a:cubicBezTo>
                  <a:pt x="83525" y="238106"/>
                  <a:pt x="77803" y="250424"/>
                  <a:pt x="71936" y="263032"/>
                </a:cubicBezTo>
                <a:cubicBezTo>
                  <a:pt x="60107" y="288295"/>
                  <a:pt x="47509" y="314857"/>
                  <a:pt x="34862" y="342623"/>
                </a:cubicBezTo>
                <a:cubicBezTo>
                  <a:pt x="28515" y="356530"/>
                  <a:pt x="22216" y="370725"/>
                  <a:pt x="16061" y="385354"/>
                </a:cubicBezTo>
                <a:cubicBezTo>
                  <a:pt x="12983" y="392668"/>
                  <a:pt x="10002" y="400078"/>
                  <a:pt x="7165" y="407729"/>
                </a:cubicBezTo>
                <a:cubicBezTo>
                  <a:pt x="5770" y="411531"/>
                  <a:pt x="4376" y="415381"/>
                  <a:pt x="3126" y="419375"/>
                </a:cubicBezTo>
                <a:lnTo>
                  <a:pt x="2212" y="422358"/>
                </a:lnTo>
                <a:lnTo>
                  <a:pt x="1250" y="425919"/>
                </a:lnTo>
                <a:cubicBezTo>
                  <a:pt x="721" y="427892"/>
                  <a:pt x="625" y="429720"/>
                  <a:pt x="337" y="431597"/>
                </a:cubicBezTo>
                <a:cubicBezTo>
                  <a:pt x="240" y="432511"/>
                  <a:pt x="0" y="433522"/>
                  <a:pt x="0" y="434388"/>
                </a:cubicBezTo>
                <a:lnTo>
                  <a:pt x="144" y="436890"/>
                </a:lnTo>
                <a:cubicBezTo>
                  <a:pt x="529" y="438478"/>
                  <a:pt x="1250" y="439777"/>
                  <a:pt x="2164" y="440980"/>
                </a:cubicBezTo>
                <a:cubicBezTo>
                  <a:pt x="3126" y="442135"/>
                  <a:pt x="5049" y="443050"/>
                  <a:pt x="6395" y="443146"/>
                </a:cubicBezTo>
                <a:cubicBezTo>
                  <a:pt x="9184" y="443531"/>
                  <a:pt x="12647" y="441798"/>
                  <a:pt x="16157" y="438478"/>
                </a:cubicBezTo>
                <a:cubicBezTo>
                  <a:pt x="17022" y="437757"/>
                  <a:pt x="17840" y="436794"/>
                  <a:pt x="18705" y="435928"/>
                </a:cubicBezTo>
                <a:lnTo>
                  <a:pt x="19859" y="434725"/>
                </a:lnTo>
                <a:lnTo>
                  <a:pt x="20485" y="434003"/>
                </a:lnTo>
                <a:lnTo>
                  <a:pt x="22985" y="431116"/>
                </a:lnTo>
                <a:cubicBezTo>
                  <a:pt x="24572" y="429143"/>
                  <a:pt x="26159" y="427218"/>
                  <a:pt x="27649" y="425197"/>
                </a:cubicBezTo>
                <a:cubicBezTo>
                  <a:pt x="38180" y="411338"/>
                  <a:pt x="47413" y="397143"/>
                  <a:pt x="56501" y="383092"/>
                </a:cubicBezTo>
                <a:cubicBezTo>
                  <a:pt x="65493" y="369041"/>
                  <a:pt x="74148" y="355038"/>
                  <a:pt x="82515" y="341275"/>
                </a:cubicBezTo>
                <a:cubicBezTo>
                  <a:pt x="99201" y="313654"/>
                  <a:pt x="114925" y="286804"/>
                  <a:pt x="129447" y="260915"/>
                </a:cubicBezTo>
                <a:cubicBezTo>
                  <a:pt x="158443" y="209330"/>
                  <a:pt x="184602" y="162653"/>
                  <a:pt x="202874" y="121414"/>
                </a:cubicBezTo>
                <a:cubicBezTo>
                  <a:pt x="211866" y="100819"/>
                  <a:pt x="219175" y="81475"/>
                  <a:pt x="222734" y="63718"/>
                </a:cubicBezTo>
                <a:close/>
              </a:path>
            </a:pathLst>
          </a:custGeom>
          <a:solidFill>
            <a:srgbClr val="29C8C1"/>
          </a:solidFill>
          <a:ln w="0"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4827CABE-0CB2-D508-0638-38C81AB1C215}"/>
              </a:ext>
            </a:extLst>
          </p:cNvPr>
          <p:cNvSpPr/>
          <p:nvPr/>
        </p:nvSpPr>
        <p:spPr>
          <a:xfrm>
            <a:off x="9120767" y="4384920"/>
            <a:ext cx="239450" cy="251499"/>
          </a:xfrm>
          <a:custGeom>
            <a:avLst/>
            <a:gdLst>
              <a:gd name="connsiteX0" fmla="*/ 18518 w 239450"/>
              <a:gd name="connsiteY0" fmla="*/ 245545 h 251499"/>
              <a:gd name="connsiteX1" fmla="*/ 36839 w 239450"/>
              <a:gd name="connsiteY1" fmla="*/ 251464 h 251499"/>
              <a:gd name="connsiteX2" fmla="*/ 55496 w 239450"/>
              <a:gd name="connsiteY2" fmla="*/ 249202 h 251499"/>
              <a:gd name="connsiteX3" fmla="*/ 72615 w 239450"/>
              <a:gd name="connsiteY3" fmla="*/ 242610 h 251499"/>
              <a:gd name="connsiteX4" fmla="*/ 133972 w 239450"/>
              <a:gd name="connsiteY4" fmla="*/ 201130 h 251499"/>
              <a:gd name="connsiteX5" fmla="*/ 186578 w 239450"/>
              <a:gd name="connsiteY5" fmla="*/ 149594 h 251499"/>
              <a:gd name="connsiteX6" fmla="*/ 226778 w 239450"/>
              <a:gd name="connsiteY6" fmla="*/ 93630 h 251499"/>
              <a:gd name="connsiteX7" fmla="*/ 238415 w 239450"/>
              <a:gd name="connsiteY7" fmla="*/ 62737 h 251499"/>
              <a:gd name="connsiteX8" fmla="*/ 239328 w 239450"/>
              <a:gd name="connsiteY8" fmla="*/ 46472 h 251499"/>
              <a:gd name="connsiteX9" fmla="*/ 235529 w 239450"/>
              <a:gd name="connsiteY9" fmla="*/ 30833 h 251499"/>
              <a:gd name="connsiteX10" fmla="*/ 215189 w 239450"/>
              <a:gd name="connsiteY10" fmla="*/ 8650 h 251499"/>
              <a:gd name="connsiteX11" fmla="*/ 189319 w 239450"/>
              <a:gd name="connsiteY11" fmla="*/ 614 h 251499"/>
              <a:gd name="connsiteX12" fmla="*/ 144311 w 239450"/>
              <a:gd name="connsiteY12" fmla="*/ 5329 h 251499"/>
              <a:gd name="connsiteX13" fmla="*/ 113199 w 239450"/>
              <a:gd name="connsiteY13" fmla="*/ 18659 h 251499"/>
              <a:gd name="connsiteX14" fmla="*/ 95408 w 239450"/>
              <a:gd name="connsiteY14" fmla="*/ 30352 h 251499"/>
              <a:gd name="connsiteX15" fmla="*/ 89974 w 239450"/>
              <a:gd name="connsiteY15" fmla="*/ 35405 h 251499"/>
              <a:gd name="connsiteX16" fmla="*/ 115123 w 239450"/>
              <a:gd name="connsiteY16" fmla="*/ 22364 h 251499"/>
              <a:gd name="connsiteX17" fmla="*/ 145898 w 239450"/>
              <a:gd name="connsiteY17" fmla="*/ 11104 h 251499"/>
              <a:gd name="connsiteX18" fmla="*/ 188309 w 239450"/>
              <a:gd name="connsiteY18" fmla="*/ 8120 h 251499"/>
              <a:gd name="connsiteX19" fmla="*/ 211006 w 239450"/>
              <a:gd name="connsiteY19" fmla="*/ 15820 h 251499"/>
              <a:gd name="connsiteX20" fmla="*/ 227307 w 239450"/>
              <a:gd name="connsiteY20" fmla="*/ 34298 h 251499"/>
              <a:gd name="connsiteX21" fmla="*/ 230144 w 239450"/>
              <a:gd name="connsiteY21" fmla="*/ 47146 h 251499"/>
              <a:gd name="connsiteX22" fmla="*/ 229134 w 239450"/>
              <a:gd name="connsiteY22" fmla="*/ 61053 h 251499"/>
              <a:gd name="connsiteX23" fmla="*/ 218075 w 239450"/>
              <a:gd name="connsiteY23" fmla="*/ 88914 h 251499"/>
              <a:gd name="connsiteX24" fmla="*/ 178644 w 239450"/>
              <a:gd name="connsiteY24" fmla="*/ 142664 h 251499"/>
              <a:gd name="connsiteX25" fmla="*/ 127000 w 239450"/>
              <a:gd name="connsiteY25" fmla="*/ 192950 h 251499"/>
              <a:gd name="connsiteX26" fmla="*/ 68047 w 239450"/>
              <a:gd name="connsiteY26" fmla="*/ 233130 h 251499"/>
              <a:gd name="connsiteX27" fmla="*/ 37368 w 239450"/>
              <a:gd name="connsiteY27" fmla="*/ 241215 h 251499"/>
              <a:gd name="connsiteX28" fmla="*/ 24048 w 239450"/>
              <a:gd name="connsiteY28" fmla="*/ 237124 h 251499"/>
              <a:gd name="connsiteX29" fmla="*/ 15104 w 239450"/>
              <a:gd name="connsiteY29" fmla="*/ 226730 h 251499"/>
              <a:gd name="connsiteX30" fmla="*/ 9430 w 239450"/>
              <a:gd name="connsiteY30" fmla="*/ 198195 h 251499"/>
              <a:gd name="connsiteX31" fmla="*/ 12508 w 239450"/>
              <a:gd name="connsiteY31" fmla="*/ 169467 h 251499"/>
              <a:gd name="connsiteX32" fmla="*/ 28809 w 239450"/>
              <a:gd name="connsiteY32" fmla="*/ 119567 h 251499"/>
              <a:gd name="connsiteX33" fmla="*/ 70114 w 239450"/>
              <a:gd name="connsiteY33" fmla="*/ 55471 h 251499"/>
              <a:gd name="connsiteX34" fmla="*/ 89974 w 239450"/>
              <a:gd name="connsiteY34" fmla="*/ 35308 h 251499"/>
              <a:gd name="connsiteX35" fmla="*/ 83482 w 239450"/>
              <a:gd name="connsiteY35" fmla="*/ 38965 h 251499"/>
              <a:gd name="connsiteX36" fmla="*/ 67085 w 239450"/>
              <a:gd name="connsiteY36" fmla="*/ 52535 h 251499"/>
              <a:gd name="connsiteX37" fmla="*/ 21932 w 239450"/>
              <a:gd name="connsiteY37" fmla="*/ 116343 h 251499"/>
              <a:gd name="connsiteX38" fmla="*/ 3804 w 239450"/>
              <a:gd name="connsiteY38" fmla="*/ 167639 h 251499"/>
              <a:gd name="connsiteX39" fmla="*/ 5 w 239450"/>
              <a:gd name="connsiteY39" fmla="*/ 198099 h 251499"/>
              <a:gd name="connsiteX40" fmla="*/ 6304 w 239450"/>
              <a:gd name="connsiteY40" fmla="*/ 231109 h 251499"/>
              <a:gd name="connsiteX41" fmla="*/ 18422 w 239450"/>
              <a:gd name="connsiteY41" fmla="*/ 245401 h 25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9450" h="251499">
                <a:moveTo>
                  <a:pt x="18518" y="245545"/>
                </a:moveTo>
                <a:cubicBezTo>
                  <a:pt x="24000" y="249106"/>
                  <a:pt x="30444" y="251079"/>
                  <a:pt x="36839" y="251464"/>
                </a:cubicBezTo>
                <a:cubicBezTo>
                  <a:pt x="43090" y="251657"/>
                  <a:pt x="49630" y="251079"/>
                  <a:pt x="55496" y="249202"/>
                </a:cubicBezTo>
                <a:cubicBezTo>
                  <a:pt x="61411" y="247470"/>
                  <a:pt x="67133" y="245256"/>
                  <a:pt x="72615" y="242610"/>
                </a:cubicBezTo>
                <a:cubicBezTo>
                  <a:pt x="94590" y="232023"/>
                  <a:pt x="114594" y="217299"/>
                  <a:pt x="133972" y="201130"/>
                </a:cubicBezTo>
                <a:cubicBezTo>
                  <a:pt x="153255" y="184818"/>
                  <a:pt x="170806" y="167494"/>
                  <a:pt x="186578" y="149594"/>
                </a:cubicBezTo>
                <a:cubicBezTo>
                  <a:pt x="202206" y="131645"/>
                  <a:pt x="216199" y="113215"/>
                  <a:pt x="226778" y="93630"/>
                </a:cubicBezTo>
                <a:cubicBezTo>
                  <a:pt x="231923" y="83813"/>
                  <a:pt x="236539" y="73708"/>
                  <a:pt x="238415" y="62737"/>
                </a:cubicBezTo>
                <a:cubicBezTo>
                  <a:pt x="239424" y="57347"/>
                  <a:pt x="239617" y="51862"/>
                  <a:pt x="239328" y="46472"/>
                </a:cubicBezTo>
                <a:cubicBezTo>
                  <a:pt x="238800" y="41083"/>
                  <a:pt x="237549" y="35790"/>
                  <a:pt x="235529" y="30833"/>
                </a:cubicBezTo>
                <a:cubicBezTo>
                  <a:pt x="231250" y="20968"/>
                  <a:pt x="223604" y="13365"/>
                  <a:pt x="215189" y="8650"/>
                </a:cubicBezTo>
                <a:cubicBezTo>
                  <a:pt x="206726" y="3982"/>
                  <a:pt x="197830" y="1528"/>
                  <a:pt x="189319" y="614"/>
                </a:cubicBezTo>
                <a:cubicBezTo>
                  <a:pt x="172249" y="-1311"/>
                  <a:pt x="157006" y="1576"/>
                  <a:pt x="144311" y="5329"/>
                </a:cubicBezTo>
                <a:cubicBezTo>
                  <a:pt x="131616" y="9227"/>
                  <a:pt x="121278" y="14136"/>
                  <a:pt x="113199" y="18659"/>
                </a:cubicBezTo>
                <a:cubicBezTo>
                  <a:pt x="105121" y="23182"/>
                  <a:pt x="99254" y="27369"/>
                  <a:pt x="95408" y="30352"/>
                </a:cubicBezTo>
                <a:cubicBezTo>
                  <a:pt x="91609" y="33384"/>
                  <a:pt x="89734" y="35116"/>
                  <a:pt x="89974" y="35405"/>
                </a:cubicBezTo>
                <a:cubicBezTo>
                  <a:pt x="90503" y="36174"/>
                  <a:pt x="98773" y="30159"/>
                  <a:pt x="115123" y="22364"/>
                </a:cubicBezTo>
                <a:cubicBezTo>
                  <a:pt x="123297" y="18466"/>
                  <a:pt x="133540" y="14280"/>
                  <a:pt x="145898" y="11104"/>
                </a:cubicBezTo>
                <a:cubicBezTo>
                  <a:pt x="158208" y="8072"/>
                  <a:pt x="172778" y="5907"/>
                  <a:pt x="188309" y="8120"/>
                </a:cubicBezTo>
                <a:cubicBezTo>
                  <a:pt x="196051" y="9227"/>
                  <a:pt x="203889" y="11681"/>
                  <a:pt x="211006" y="15820"/>
                </a:cubicBezTo>
                <a:cubicBezTo>
                  <a:pt x="218075" y="20054"/>
                  <a:pt x="224037" y="26358"/>
                  <a:pt x="227307" y="34298"/>
                </a:cubicBezTo>
                <a:cubicBezTo>
                  <a:pt x="228846" y="38292"/>
                  <a:pt x="229807" y="42623"/>
                  <a:pt x="230144" y="47146"/>
                </a:cubicBezTo>
                <a:cubicBezTo>
                  <a:pt x="230288" y="51669"/>
                  <a:pt x="230144" y="56337"/>
                  <a:pt x="229134" y="61053"/>
                </a:cubicBezTo>
                <a:cubicBezTo>
                  <a:pt x="227451" y="70340"/>
                  <a:pt x="223075" y="79723"/>
                  <a:pt x="218075" y="88914"/>
                </a:cubicBezTo>
                <a:cubicBezTo>
                  <a:pt x="207832" y="107344"/>
                  <a:pt x="194032" y="125197"/>
                  <a:pt x="178644" y="142664"/>
                </a:cubicBezTo>
                <a:cubicBezTo>
                  <a:pt x="163160" y="160036"/>
                  <a:pt x="145898" y="177022"/>
                  <a:pt x="127000" y="192950"/>
                </a:cubicBezTo>
                <a:cubicBezTo>
                  <a:pt x="108102" y="208781"/>
                  <a:pt x="88531" y="223170"/>
                  <a:pt x="68047" y="233130"/>
                </a:cubicBezTo>
                <a:cubicBezTo>
                  <a:pt x="57804" y="238038"/>
                  <a:pt x="47322" y="241744"/>
                  <a:pt x="37368" y="241215"/>
                </a:cubicBezTo>
                <a:cubicBezTo>
                  <a:pt x="32415" y="240926"/>
                  <a:pt x="27895" y="239530"/>
                  <a:pt x="24048" y="237124"/>
                </a:cubicBezTo>
                <a:cubicBezTo>
                  <a:pt x="20201" y="234670"/>
                  <a:pt x="17364" y="230869"/>
                  <a:pt x="15104" y="226730"/>
                </a:cubicBezTo>
                <a:cubicBezTo>
                  <a:pt x="10873" y="218117"/>
                  <a:pt x="9430" y="208012"/>
                  <a:pt x="9430" y="198195"/>
                </a:cubicBezTo>
                <a:cubicBezTo>
                  <a:pt x="9430" y="188378"/>
                  <a:pt x="10632" y="178706"/>
                  <a:pt x="12508" y="169467"/>
                </a:cubicBezTo>
                <a:cubicBezTo>
                  <a:pt x="16258" y="151037"/>
                  <a:pt x="22173" y="134243"/>
                  <a:pt x="28809" y="119567"/>
                </a:cubicBezTo>
                <a:cubicBezTo>
                  <a:pt x="42032" y="90069"/>
                  <a:pt x="58045" y="68896"/>
                  <a:pt x="70114" y="55471"/>
                </a:cubicBezTo>
                <a:cubicBezTo>
                  <a:pt x="82376" y="42141"/>
                  <a:pt x="90551" y="36078"/>
                  <a:pt x="89974" y="35308"/>
                </a:cubicBezTo>
                <a:cubicBezTo>
                  <a:pt x="89734" y="35019"/>
                  <a:pt x="87570" y="36271"/>
                  <a:pt x="83482" y="38965"/>
                </a:cubicBezTo>
                <a:cubicBezTo>
                  <a:pt x="79491" y="41708"/>
                  <a:pt x="73817" y="46183"/>
                  <a:pt x="67085" y="52535"/>
                </a:cubicBezTo>
                <a:cubicBezTo>
                  <a:pt x="53813" y="65383"/>
                  <a:pt x="36454" y="86364"/>
                  <a:pt x="21932" y="116343"/>
                </a:cubicBezTo>
                <a:cubicBezTo>
                  <a:pt x="14671" y="131260"/>
                  <a:pt x="8084" y="148391"/>
                  <a:pt x="3804" y="167639"/>
                </a:cubicBezTo>
                <a:cubicBezTo>
                  <a:pt x="1688" y="177263"/>
                  <a:pt x="150" y="187416"/>
                  <a:pt x="5" y="198099"/>
                </a:cubicBezTo>
                <a:cubicBezTo>
                  <a:pt x="-91" y="208733"/>
                  <a:pt x="1111" y="220138"/>
                  <a:pt x="6304" y="231109"/>
                </a:cubicBezTo>
                <a:cubicBezTo>
                  <a:pt x="9094" y="236450"/>
                  <a:pt x="12940" y="241744"/>
                  <a:pt x="18422" y="245401"/>
                </a:cubicBezTo>
                <a:close/>
              </a:path>
            </a:pathLst>
          </a:custGeom>
          <a:solidFill>
            <a:srgbClr val="29C8C1"/>
          </a:solidFill>
          <a:ln w="0"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CD901F8D-55B3-4522-F0F0-1481BBF7491E}"/>
              </a:ext>
            </a:extLst>
          </p:cNvPr>
          <p:cNvSpPr/>
          <p:nvPr/>
        </p:nvSpPr>
        <p:spPr>
          <a:xfrm>
            <a:off x="6086679" y="4477292"/>
            <a:ext cx="168985" cy="142695"/>
          </a:xfrm>
          <a:custGeom>
            <a:avLst/>
            <a:gdLst>
              <a:gd name="connsiteX0" fmla="*/ 166303 w 168985"/>
              <a:gd name="connsiteY0" fmla="*/ 109480 h 142695"/>
              <a:gd name="connsiteX1" fmla="*/ 165870 w 168985"/>
              <a:gd name="connsiteY1" fmla="*/ 114148 h 142695"/>
              <a:gd name="connsiteX2" fmla="*/ 164428 w 168985"/>
              <a:gd name="connsiteY2" fmla="*/ 126563 h 142695"/>
              <a:gd name="connsiteX3" fmla="*/ 160196 w 168985"/>
              <a:gd name="connsiteY3" fmla="*/ 133396 h 142695"/>
              <a:gd name="connsiteX4" fmla="*/ 151396 w 168985"/>
              <a:gd name="connsiteY4" fmla="*/ 136428 h 142695"/>
              <a:gd name="connsiteX5" fmla="*/ 126440 w 168985"/>
              <a:gd name="connsiteY5" fmla="*/ 130076 h 142695"/>
              <a:gd name="connsiteX6" fmla="*/ 67679 w 168985"/>
              <a:gd name="connsiteY6" fmla="*/ 91724 h 142695"/>
              <a:gd name="connsiteX7" fmla="*/ 37289 w 168985"/>
              <a:gd name="connsiteY7" fmla="*/ 63333 h 142695"/>
              <a:gd name="connsiteX8" fmla="*/ 23248 w 168985"/>
              <a:gd name="connsiteY8" fmla="*/ 46684 h 142695"/>
              <a:gd name="connsiteX9" fmla="*/ 12380 w 168985"/>
              <a:gd name="connsiteY9" fmla="*/ 28157 h 142695"/>
              <a:gd name="connsiteX10" fmla="*/ 10649 w 168985"/>
              <a:gd name="connsiteY10" fmla="*/ 19207 h 142695"/>
              <a:gd name="connsiteX11" fmla="*/ 13871 w 168985"/>
              <a:gd name="connsiteY11" fmla="*/ 13625 h 142695"/>
              <a:gd name="connsiteX12" fmla="*/ 22190 w 168985"/>
              <a:gd name="connsiteY12" fmla="*/ 10882 h 142695"/>
              <a:gd name="connsiteX13" fmla="*/ 32336 w 168985"/>
              <a:gd name="connsiteY13" fmla="*/ 10497 h 142695"/>
              <a:gd name="connsiteX14" fmla="*/ 42482 w 168985"/>
              <a:gd name="connsiteY14" fmla="*/ 11556 h 142695"/>
              <a:gd name="connsiteX15" fmla="*/ 52484 w 168985"/>
              <a:gd name="connsiteY15" fmla="*/ 13817 h 142695"/>
              <a:gd name="connsiteX16" fmla="*/ 62197 w 168985"/>
              <a:gd name="connsiteY16" fmla="*/ 16705 h 142695"/>
              <a:gd name="connsiteX17" fmla="*/ 71574 w 168985"/>
              <a:gd name="connsiteY17" fmla="*/ 20073 h 142695"/>
              <a:gd name="connsiteX18" fmla="*/ 131104 w 168985"/>
              <a:gd name="connsiteY18" fmla="*/ 56067 h 142695"/>
              <a:gd name="connsiteX19" fmla="*/ 159234 w 168985"/>
              <a:gd name="connsiteY19" fmla="*/ 93360 h 142695"/>
              <a:gd name="connsiteX20" fmla="*/ 164091 w 168985"/>
              <a:gd name="connsiteY20" fmla="*/ 105342 h 142695"/>
              <a:gd name="connsiteX21" fmla="*/ 166255 w 168985"/>
              <a:gd name="connsiteY21" fmla="*/ 109529 h 142695"/>
              <a:gd name="connsiteX22" fmla="*/ 166159 w 168985"/>
              <a:gd name="connsiteY22" fmla="*/ 104861 h 142695"/>
              <a:gd name="connsiteX23" fmla="*/ 163081 w 168985"/>
              <a:gd name="connsiteY23" fmla="*/ 91869 h 142695"/>
              <a:gd name="connsiteX24" fmla="*/ 136297 w 168985"/>
              <a:gd name="connsiteY24" fmla="*/ 50678 h 142695"/>
              <a:gd name="connsiteX25" fmla="*/ 75228 w 168985"/>
              <a:gd name="connsiteY25" fmla="*/ 11027 h 142695"/>
              <a:gd name="connsiteX26" fmla="*/ 65419 w 168985"/>
              <a:gd name="connsiteY26" fmla="*/ 7273 h 142695"/>
              <a:gd name="connsiteX27" fmla="*/ 55129 w 168985"/>
              <a:gd name="connsiteY27" fmla="*/ 4001 h 142695"/>
              <a:gd name="connsiteX28" fmla="*/ 44309 w 168985"/>
              <a:gd name="connsiteY28" fmla="*/ 1403 h 142695"/>
              <a:gd name="connsiteX29" fmla="*/ 32817 w 168985"/>
              <a:gd name="connsiteY29" fmla="*/ 103 h 142695"/>
              <a:gd name="connsiteX30" fmla="*/ 20795 w 168985"/>
              <a:gd name="connsiteY30" fmla="*/ 488 h 142695"/>
              <a:gd name="connsiteX31" fmla="*/ 7956 w 168985"/>
              <a:gd name="connsiteY31" fmla="*/ 4867 h 142695"/>
              <a:gd name="connsiteX32" fmla="*/ 2378 w 168985"/>
              <a:gd name="connsiteY32" fmla="*/ 10642 h 142695"/>
              <a:gd name="connsiteX33" fmla="*/ 70 w 168985"/>
              <a:gd name="connsiteY33" fmla="*/ 18341 h 142695"/>
              <a:gd name="connsiteX34" fmla="*/ 2427 w 168985"/>
              <a:gd name="connsiteY34" fmla="*/ 32007 h 142695"/>
              <a:gd name="connsiteX35" fmla="*/ 14785 w 168985"/>
              <a:gd name="connsiteY35" fmla="*/ 53132 h 142695"/>
              <a:gd name="connsiteX36" fmla="*/ 29691 w 168985"/>
              <a:gd name="connsiteY36" fmla="*/ 70600 h 142695"/>
              <a:gd name="connsiteX37" fmla="*/ 61524 w 168985"/>
              <a:gd name="connsiteY37" fmla="*/ 99472 h 142695"/>
              <a:gd name="connsiteX38" fmla="*/ 123603 w 168985"/>
              <a:gd name="connsiteY38" fmla="*/ 137198 h 142695"/>
              <a:gd name="connsiteX39" fmla="*/ 151925 w 168985"/>
              <a:gd name="connsiteY39" fmla="*/ 142491 h 142695"/>
              <a:gd name="connsiteX40" fmla="*/ 163658 w 168985"/>
              <a:gd name="connsiteY40" fmla="*/ 137246 h 142695"/>
              <a:gd name="connsiteX41" fmla="*/ 168467 w 168985"/>
              <a:gd name="connsiteY41" fmla="*/ 127718 h 142695"/>
              <a:gd name="connsiteX42" fmla="*/ 168034 w 168985"/>
              <a:gd name="connsiteY42" fmla="*/ 114052 h 142695"/>
              <a:gd name="connsiteX43" fmla="*/ 166303 w 168985"/>
              <a:gd name="connsiteY43" fmla="*/ 109625 h 14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8985" h="142695">
                <a:moveTo>
                  <a:pt x="166303" y="109480"/>
                </a:moveTo>
                <a:cubicBezTo>
                  <a:pt x="165918" y="109529"/>
                  <a:pt x="165822" y="111165"/>
                  <a:pt x="165870" y="114148"/>
                </a:cubicBezTo>
                <a:cubicBezTo>
                  <a:pt x="165726" y="117083"/>
                  <a:pt x="165966" y="121559"/>
                  <a:pt x="164428" y="126563"/>
                </a:cubicBezTo>
                <a:cubicBezTo>
                  <a:pt x="163754" y="129113"/>
                  <a:pt x="162312" y="131568"/>
                  <a:pt x="160196" y="133396"/>
                </a:cubicBezTo>
                <a:cubicBezTo>
                  <a:pt x="158032" y="135225"/>
                  <a:pt x="155003" y="136283"/>
                  <a:pt x="151396" y="136428"/>
                </a:cubicBezTo>
                <a:cubicBezTo>
                  <a:pt x="144135" y="136717"/>
                  <a:pt x="135480" y="134022"/>
                  <a:pt x="126440" y="130076"/>
                </a:cubicBezTo>
                <a:cubicBezTo>
                  <a:pt x="108360" y="121992"/>
                  <a:pt x="88164" y="108566"/>
                  <a:pt x="67679" y="91724"/>
                </a:cubicBezTo>
                <a:cubicBezTo>
                  <a:pt x="57437" y="83255"/>
                  <a:pt x="47098" y="73823"/>
                  <a:pt x="37289" y="63333"/>
                </a:cubicBezTo>
                <a:cubicBezTo>
                  <a:pt x="32384" y="58088"/>
                  <a:pt x="27624" y="52554"/>
                  <a:pt x="23248" y="46684"/>
                </a:cubicBezTo>
                <a:cubicBezTo>
                  <a:pt x="18968" y="40813"/>
                  <a:pt x="14833" y="34605"/>
                  <a:pt x="12380" y="28157"/>
                </a:cubicBezTo>
                <a:cubicBezTo>
                  <a:pt x="11178" y="24981"/>
                  <a:pt x="10457" y="21757"/>
                  <a:pt x="10649" y="19207"/>
                </a:cubicBezTo>
                <a:cubicBezTo>
                  <a:pt x="10842" y="16609"/>
                  <a:pt x="11803" y="15020"/>
                  <a:pt x="13871" y="13625"/>
                </a:cubicBezTo>
                <a:cubicBezTo>
                  <a:pt x="15939" y="12278"/>
                  <a:pt x="18920" y="11267"/>
                  <a:pt x="22190" y="10882"/>
                </a:cubicBezTo>
                <a:cubicBezTo>
                  <a:pt x="25412" y="10449"/>
                  <a:pt x="28874" y="10353"/>
                  <a:pt x="32336" y="10497"/>
                </a:cubicBezTo>
                <a:cubicBezTo>
                  <a:pt x="35846" y="10594"/>
                  <a:pt x="39164" y="11075"/>
                  <a:pt x="42482" y="11556"/>
                </a:cubicBezTo>
                <a:cubicBezTo>
                  <a:pt x="45848" y="12278"/>
                  <a:pt x="49166" y="12807"/>
                  <a:pt x="52484" y="13817"/>
                </a:cubicBezTo>
                <a:cubicBezTo>
                  <a:pt x="55754" y="14732"/>
                  <a:pt x="59024" y="15598"/>
                  <a:pt x="62197" y="16705"/>
                </a:cubicBezTo>
                <a:cubicBezTo>
                  <a:pt x="65371" y="17763"/>
                  <a:pt x="68545" y="18822"/>
                  <a:pt x="71574" y="20073"/>
                </a:cubicBezTo>
                <a:cubicBezTo>
                  <a:pt x="96098" y="29649"/>
                  <a:pt x="116486" y="42690"/>
                  <a:pt x="131104" y="56067"/>
                </a:cubicBezTo>
                <a:cubicBezTo>
                  <a:pt x="145915" y="69397"/>
                  <a:pt x="154714" y="83207"/>
                  <a:pt x="159234" y="93360"/>
                </a:cubicBezTo>
                <a:cubicBezTo>
                  <a:pt x="161927" y="98317"/>
                  <a:pt x="162937" y="102551"/>
                  <a:pt x="164091" y="105342"/>
                </a:cubicBezTo>
                <a:cubicBezTo>
                  <a:pt x="165149" y="108133"/>
                  <a:pt x="165918" y="109577"/>
                  <a:pt x="166255" y="109529"/>
                </a:cubicBezTo>
                <a:cubicBezTo>
                  <a:pt x="166592" y="109480"/>
                  <a:pt x="166592" y="107893"/>
                  <a:pt x="166159" y="104861"/>
                </a:cubicBezTo>
                <a:cubicBezTo>
                  <a:pt x="165678" y="101878"/>
                  <a:pt x="165245" y="97258"/>
                  <a:pt x="163081" y="91869"/>
                </a:cubicBezTo>
                <a:cubicBezTo>
                  <a:pt x="159571" y="80801"/>
                  <a:pt x="151204" y="65402"/>
                  <a:pt x="136297" y="50678"/>
                </a:cubicBezTo>
                <a:cubicBezTo>
                  <a:pt x="121535" y="35857"/>
                  <a:pt x="100714" y="21565"/>
                  <a:pt x="75228" y="11027"/>
                </a:cubicBezTo>
                <a:cubicBezTo>
                  <a:pt x="72055" y="9631"/>
                  <a:pt x="68785" y="8428"/>
                  <a:pt x="65419" y="7273"/>
                </a:cubicBezTo>
                <a:cubicBezTo>
                  <a:pt x="62101" y="6022"/>
                  <a:pt x="58639" y="5060"/>
                  <a:pt x="55129" y="4001"/>
                </a:cubicBezTo>
                <a:cubicBezTo>
                  <a:pt x="51666" y="2894"/>
                  <a:pt x="47964" y="2269"/>
                  <a:pt x="44309" y="1403"/>
                </a:cubicBezTo>
                <a:cubicBezTo>
                  <a:pt x="40511" y="825"/>
                  <a:pt x="36664" y="248"/>
                  <a:pt x="32817" y="103"/>
                </a:cubicBezTo>
                <a:cubicBezTo>
                  <a:pt x="28922" y="-89"/>
                  <a:pt x="24931" y="-41"/>
                  <a:pt x="20795" y="488"/>
                </a:cubicBezTo>
                <a:cubicBezTo>
                  <a:pt x="16708" y="1018"/>
                  <a:pt x="12236" y="2076"/>
                  <a:pt x="7956" y="4867"/>
                </a:cubicBezTo>
                <a:cubicBezTo>
                  <a:pt x="5793" y="6215"/>
                  <a:pt x="3869" y="8284"/>
                  <a:pt x="2378" y="10642"/>
                </a:cubicBezTo>
                <a:cubicBezTo>
                  <a:pt x="1032" y="13096"/>
                  <a:pt x="215" y="15791"/>
                  <a:pt x="70" y="18341"/>
                </a:cubicBezTo>
                <a:cubicBezTo>
                  <a:pt x="-314" y="23490"/>
                  <a:pt x="936" y="27917"/>
                  <a:pt x="2427" y="32007"/>
                </a:cubicBezTo>
                <a:cubicBezTo>
                  <a:pt x="5600" y="40091"/>
                  <a:pt x="10120" y="46780"/>
                  <a:pt x="14785" y="53132"/>
                </a:cubicBezTo>
                <a:cubicBezTo>
                  <a:pt x="19497" y="59436"/>
                  <a:pt x="24546" y="65162"/>
                  <a:pt x="29691" y="70600"/>
                </a:cubicBezTo>
                <a:cubicBezTo>
                  <a:pt x="40030" y="81427"/>
                  <a:pt x="50801" y="90954"/>
                  <a:pt x="61524" y="99472"/>
                </a:cubicBezTo>
                <a:cubicBezTo>
                  <a:pt x="82970" y="116410"/>
                  <a:pt x="104032" y="129499"/>
                  <a:pt x="123603" y="137198"/>
                </a:cubicBezTo>
                <a:cubicBezTo>
                  <a:pt x="133412" y="140903"/>
                  <a:pt x="142933" y="143453"/>
                  <a:pt x="151925" y="142491"/>
                </a:cubicBezTo>
                <a:cubicBezTo>
                  <a:pt x="156397" y="142010"/>
                  <a:pt x="160773" y="140229"/>
                  <a:pt x="163658" y="137246"/>
                </a:cubicBezTo>
                <a:cubicBezTo>
                  <a:pt x="166543" y="134311"/>
                  <a:pt x="167986" y="130750"/>
                  <a:pt x="168467" y="127718"/>
                </a:cubicBezTo>
                <a:cubicBezTo>
                  <a:pt x="169621" y="121559"/>
                  <a:pt x="168563" y="117035"/>
                  <a:pt x="168034" y="114052"/>
                </a:cubicBezTo>
                <a:cubicBezTo>
                  <a:pt x="167265" y="111068"/>
                  <a:pt x="166688" y="109577"/>
                  <a:pt x="166303" y="109625"/>
                </a:cubicBezTo>
                <a:close/>
              </a:path>
            </a:pathLst>
          </a:custGeom>
          <a:solidFill>
            <a:srgbClr val="29C8C1"/>
          </a:solidFill>
          <a:ln w="0"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594A6EED-83B9-DB07-1659-74F4F26171A1}"/>
              </a:ext>
            </a:extLst>
          </p:cNvPr>
          <p:cNvSpPr/>
          <p:nvPr/>
        </p:nvSpPr>
        <p:spPr>
          <a:xfrm>
            <a:off x="6054495" y="4444411"/>
            <a:ext cx="314135" cy="260591"/>
          </a:xfrm>
          <a:custGeom>
            <a:avLst/>
            <a:gdLst>
              <a:gd name="connsiteX0" fmla="*/ 299227 w 314135"/>
              <a:gd name="connsiteY0" fmla="*/ 199576 h 260591"/>
              <a:gd name="connsiteX1" fmla="*/ 253065 w 314135"/>
              <a:gd name="connsiteY1" fmla="*/ 121429 h 260591"/>
              <a:gd name="connsiteX2" fmla="*/ 232436 w 314135"/>
              <a:gd name="connsiteY2" fmla="*/ 95347 h 260591"/>
              <a:gd name="connsiteX3" fmla="*/ 236716 w 314135"/>
              <a:gd name="connsiteY3" fmla="*/ 102806 h 260591"/>
              <a:gd name="connsiteX4" fmla="*/ 249554 w 314135"/>
              <a:gd name="connsiteY4" fmla="*/ 123690 h 260591"/>
              <a:gd name="connsiteX5" fmla="*/ 292351 w 314135"/>
              <a:gd name="connsiteY5" fmla="*/ 202800 h 260591"/>
              <a:gd name="connsiteX6" fmla="*/ 302882 w 314135"/>
              <a:gd name="connsiteY6" fmla="*/ 230180 h 260591"/>
              <a:gd name="connsiteX7" fmla="*/ 305574 w 314135"/>
              <a:gd name="connsiteY7" fmla="*/ 244712 h 260591"/>
              <a:gd name="connsiteX8" fmla="*/ 304709 w 314135"/>
              <a:gd name="connsiteY8" fmla="*/ 250824 h 260591"/>
              <a:gd name="connsiteX9" fmla="*/ 304324 w 314135"/>
              <a:gd name="connsiteY9" fmla="*/ 251449 h 260591"/>
              <a:gd name="connsiteX10" fmla="*/ 304036 w 314135"/>
              <a:gd name="connsiteY10" fmla="*/ 251690 h 260591"/>
              <a:gd name="connsiteX11" fmla="*/ 303507 w 314135"/>
              <a:gd name="connsiteY11" fmla="*/ 251786 h 260591"/>
              <a:gd name="connsiteX12" fmla="*/ 302016 w 314135"/>
              <a:gd name="connsiteY12" fmla="*/ 251786 h 260591"/>
              <a:gd name="connsiteX13" fmla="*/ 286532 w 314135"/>
              <a:gd name="connsiteY13" fmla="*/ 248418 h 260591"/>
              <a:gd name="connsiteX14" fmla="*/ 270183 w 314135"/>
              <a:gd name="connsiteY14" fmla="*/ 242643 h 260591"/>
              <a:gd name="connsiteX15" fmla="*/ 236427 w 314135"/>
              <a:gd name="connsiteY15" fmla="*/ 228496 h 260591"/>
              <a:gd name="connsiteX16" fmla="*/ 165260 w 314135"/>
              <a:gd name="connsiteY16" fmla="*/ 194427 h 260591"/>
              <a:gd name="connsiteX17" fmla="*/ 91689 w 314135"/>
              <a:gd name="connsiteY17" fmla="*/ 153476 h 260591"/>
              <a:gd name="connsiteX18" fmla="*/ 31245 w 314135"/>
              <a:gd name="connsiteY18" fmla="*/ 96983 h 260591"/>
              <a:gd name="connsiteX19" fmla="*/ 13309 w 314135"/>
              <a:gd name="connsiteY19" fmla="*/ 62818 h 260591"/>
              <a:gd name="connsiteX20" fmla="*/ 10135 w 314135"/>
              <a:gd name="connsiteY20" fmla="*/ 45014 h 260591"/>
              <a:gd name="connsiteX21" fmla="*/ 13213 w 314135"/>
              <a:gd name="connsiteY21" fmla="*/ 28557 h 260591"/>
              <a:gd name="connsiteX22" fmla="*/ 38410 w 314135"/>
              <a:gd name="connsiteY22" fmla="*/ 10512 h 260591"/>
              <a:gd name="connsiteX23" fmla="*/ 71204 w 314135"/>
              <a:gd name="connsiteY23" fmla="*/ 11041 h 260591"/>
              <a:gd name="connsiteX24" fmla="*/ 101787 w 314135"/>
              <a:gd name="connsiteY24" fmla="*/ 19366 h 260591"/>
              <a:gd name="connsiteX25" fmla="*/ 129484 w 314135"/>
              <a:gd name="connsiteY25" fmla="*/ 30048 h 260591"/>
              <a:gd name="connsiteX26" fmla="*/ 207287 w 314135"/>
              <a:gd name="connsiteY26" fmla="*/ 73886 h 260591"/>
              <a:gd name="connsiteX27" fmla="*/ 232388 w 314135"/>
              <a:gd name="connsiteY27" fmla="*/ 95251 h 260591"/>
              <a:gd name="connsiteX28" fmla="*/ 227387 w 314135"/>
              <a:gd name="connsiteY28" fmla="*/ 88178 h 260591"/>
              <a:gd name="connsiteX29" fmla="*/ 209884 w 314135"/>
              <a:gd name="connsiteY29" fmla="*/ 70662 h 260591"/>
              <a:gd name="connsiteX30" fmla="*/ 132465 w 314135"/>
              <a:gd name="connsiteY30" fmla="*/ 23119 h 260591"/>
              <a:gd name="connsiteX31" fmla="*/ 104528 w 314135"/>
              <a:gd name="connsiteY31" fmla="*/ 11618 h 260591"/>
              <a:gd name="connsiteX32" fmla="*/ 72743 w 314135"/>
              <a:gd name="connsiteY32" fmla="*/ 2331 h 260591"/>
              <a:gd name="connsiteX33" fmla="*/ 36486 w 314135"/>
              <a:gd name="connsiteY33" fmla="*/ 1273 h 260591"/>
              <a:gd name="connsiteX34" fmla="*/ 17925 w 314135"/>
              <a:gd name="connsiteY34" fmla="*/ 8442 h 260591"/>
              <a:gd name="connsiteX35" fmla="*/ 4173 w 314135"/>
              <a:gd name="connsiteY35" fmla="*/ 24370 h 260591"/>
              <a:gd name="connsiteX36" fmla="*/ 37 w 314135"/>
              <a:gd name="connsiteY36" fmla="*/ 45158 h 260591"/>
              <a:gd name="connsiteX37" fmla="*/ 3499 w 314135"/>
              <a:gd name="connsiteY37" fmla="*/ 65802 h 260591"/>
              <a:gd name="connsiteX38" fmla="*/ 22686 w 314135"/>
              <a:gd name="connsiteY38" fmla="*/ 103047 h 260591"/>
              <a:gd name="connsiteX39" fmla="*/ 85630 w 314135"/>
              <a:gd name="connsiteY39" fmla="*/ 162234 h 260591"/>
              <a:gd name="connsiteX40" fmla="*/ 160500 w 314135"/>
              <a:gd name="connsiteY40" fmla="*/ 203714 h 260591"/>
              <a:gd name="connsiteX41" fmla="*/ 232388 w 314135"/>
              <a:gd name="connsiteY41" fmla="*/ 237398 h 260591"/>
              <a:gd name="connsiteX42" fmla="*/ 266769 w 314135"/>
              <a:gd name="connsiteY42" fmla="*/ 251353 h 260591"/>
              <a:gd name="connsiteX43" fmla="*/ 283792 w 314135"/>
              <a:gd name="connsiteY43" fmla="*/ 257079 h 260591"/>
              <a:gd name="connsiteX44" fmla="*/ 301728 w 314135"/>
              <a:gd name="connsiteY44" fmla="*/ 260592 h 260591"/>
              <a:gd name="connsiteX45" fmla="*/ 304420 w 314135"/>
              <a:gd name="connsiteY45" fmla="*/ 260448 h 260591"/>
              <a:gd name="connsiteX46" fmla="*/ 307883 w 314135"/>
              <a:gd name="connsiteY46" fmla="*/ 259533 h 260591"/>
              <a:gd name="connsiteX47" fmla="*/ 310816 w 314135"/>
              <a:gd name="connsiteY47" fmla="*/ 257272 h 260591"/>
              <a:gd name="connsiteX48" fmla="*/ 312595 w 314135"/>
              <a:gd name="connsiteY48" fmla="*/ 254385 h 260591"/>
              <a:gd name="connsiteX49" fmla="*/ 314086 w 314135"/>
              <a:gd name="connsiteY49" fmla="*/ 244424 h 260591"/>
              <a:gd name="connsiteX50" fmla="*/ 310720 w 314135"/>
              <a:gd name="connsiteY50" fmla="*/ 227774 h 260591"/>
              <a:gd name="connsiteX51" fmla="*/ 299131 w 314135"/>
              <a:gd name="connsiteY51" fmla="*/ 199576 h 26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14135" h="260591">
                <a:moveTo>
                  <a:pt x="299227" y="199576"/>
                </a:moveTo>
                <a:cubicBezTo>
                  <a:pt x="282205" y="165025"/>
                  <a:pt x="265086" y="139137"/>
                  <a:pt x="253065" y="121429"/>
                </a:cubicBezTo>
                <a:cubicBezTo>
                  <a:pt x="240995" y="103768"/>
                  <a:pt x="233109" y="94770"/>
                  <a:pt x="232436" y="95347"/>
                </a:cubicBezTo>
                <a:cubicBezTo>
                  <a:pt x="232147" y="95588"/>
                  <a:pt x="233782" y="98042"/>
                  <a:pt x="236716" y="102806"/>
                </a:cubicBezTo>
                <a:cubicBezTo>
                  <a:pt x="239649" y="107570"/>
                  <a:pt x="243976" y="114644"/>
                  <a:pt x="249554" y="123690"/>
                </a:cubicBezTo>
                <a:cubicBezTo>
                  <a:pt x="260374" y="141976"/>
                  <a:pt x="276482" y="168442"/>
                  <a:pt x="292351" y="202800"/>
                </a:cubicBezTo>
                <a:cubicBezTo>
                  <a:pt x="296198" y="211413"/>
                  <a:pt x="300045" y="220556"/>
                  <a:pt x="302882" y="230180"/>
                </a:cubicBezTo>
                <a:cubicBezTo>
                  <a:pt x="304276" y="234992"/>
                  <a:pt x="305382" y="239997"/>
                  <a:pt x="305574" y="244712"/>
                </a:cubicBezTo>
                <a:cubicBezTo>
                  <a:pt x="305767" y="247118"/>
                  <a:pt x="305286" y="249187"/>
                  <a:pt x="304709" y="250824"/>
                </a:cubicBezTo>
                <a:lnTo>
                  <a:pt x="304324" y="251449"/>
                </a:lnTo>
                <a:lnTo>
                  <a:pt x="304036" y="251690"/>
                </a:lnTo>
                <a:cubicBezTo>
                  <a:pt x="304036" y="251690"/>
                  <a:pt x="303940" y="251690"/>
                  <a:pt x="303507" y="251786"/>
                </a:cubicBezTo>
                <a:cubicBezTo>
                  <a:pt x="303074" y="251786"/>
                  <a:pt x="302593" y="251834"/>
                  <a:pt x="302016" y="251786"/>
                </a:cubicBezTo>
                <a:cubicBezTo>
                  <a:pt x="297400" y="251593"/>
                  <a:pt x="291870" y="250005"/>
                  <a:pt x="286532" y="248418"/>
                </a:cubicBezTo>
                <a:cubicBezTo>
                  <a:pt x="281147" y="246733"/>
                  <a:pt x="275665" y="244761"/>
                  <a:pt x="270183" y="242643"/>
                </a:cubicBezTo>
                <a:cubicBezTo>
                  <a:pt x="259172" y="238409"/>
                  <a:pt x="247920" y="233597"/>
                  <a:pt x="236427" y="228496"/>
                </a:cubicBezTo>
                <a:cubicBezTo>
                  <a:pt x="213490" y="218246"/>
                  <a:pt x="189736" y="206745"/>
                  <a:pt x="165260" y="194427"/>
                </a:cubicBezTo>
                <a:cubicBezTo>
                  <a:pt x="140880" y="181964"/>
                  <a:pt x="115395" y="169404"/>
                  <a:pt x="91689" y="153476"/>
                </a:cubicBezTo>
                <a:cubicBezTo>
                  <a:pt x="68175" y="137260"/>
                  <a:pt x="46921" y="118589"/>
                  <a:pt x="31245" y="96983"/>
                </a:cubicBezTo>
                <a:cubicBezTo>
                  <a:pt x="23455" y="86205"/>
                  <a:pt x="17108" y="74704"/>
                  <a:pt x="13309" y="62818"/>
                </a:cubicBezTo>
                <a:cubicBezTo>
                  <a:pt x="11337" y="56900"/>
                  <a:pt x="10279" y="50884"/>
                  <a:pt x="10135" y="45014"/>
                </a:cubicBezTo>
                <a:cubicBezTo>
                  <a:pt x="9847" y="39143"/>
                  <a:pt x="11001" y="33465"/>
                  <a:pt x="13213" y="28557"/>
                </a:cubicBezTo>
                <a:cubicBezTo>
                  <a:pt x="17492" y="18451"/>
                  <a:pt x="27686" y="12581"/>
                  <a:pt x="38410" y="10512"/>
                </a:cubicBezTo>
                <a:cubicBezTo>
                  <a:pt x="49229" y="8298"/>
                  <a:pt x="60577" y="9164"/>
                  <a:pt x="71204" y="11041"/>
                </a:cubicBezTo>
                <a:cubicBezTo>
                  <a:pt x="81927" y="12918"/>
                  <a:pt x="92073" y="15997"/>
                  <a:pt x="101787" y="19366"/>
                </a:cubicBezTo>
                <a:cubicBezTo>
                  <a:pt x="111500" y="22782"/>
                  <a:pt x="120781" y="26391"/>
                  <a:pt x="129484" y="30048"/>
                </a:cubicBezTo>
                <a:cubicBezTo>
                  <a:pt x="164346" y="44773"/>
                  <a:pt x="190649" y="60893"/>
                  <a:pt x="207287" y="73886"/>
                </a:cubicBezTo>
                <a:cubicBezTo>
                  <a:pt x="224069" y="86782"/>
                  <a:pt x="231667" y="95925"/>
                  <a:pt x="232388" y="95251"/>
                </a:cubicBezTo>
                <a:cubicBezTo>
                  <a:pt x="232676" y="95011"/>
                  <a:pt x="230945" y="92605"/>
                  <a:pt x="227387" y="88178"/>
                </a:cubicBezTo>
                <a:cubicBezTo>
                  <a:pt x="223732" y="83847"/>
                  <a:pt x="218010" y="77735"/>
                  <a:pt x="209884" y="70662"/>
                </a:cubicBezTo>
                <a:cubicBezTo>
                  <a:pt x="193727" y="56418"/>
                  <a:pt x="167520" y="38950"/>
                  <a:pt x="132465" y="23119"/>
                </a:cubicBezTo>
                <a:cubicBezTo>
                  <a:pt x="123666" y="19173"/>
                  <a:pt x="114385" y="15324"/>
                  <a:pt x="104528" y="11618"/>
                </a:cubicBezTo>
                <a:cubicBezTo>
                  <a:pt x="94670" y="7961"/>
                  <a:pt x="84091" y="4497"/>
                  <a:pt x="72743" y="2331"/>
                </a:cubicBezTo>
                <a:cubicBezTo>
                  <a:pt x="61443" y="166"/>
                  <a:pt x="49181" y="-1086"/>
                  <a:pt x="36486" y="1273"/>
                </a:cubicBezTo>
                <a:cubicBezTo>
                  <a:pt x="30139" y="2235"/>
                  <a:pt x="23792" y="4785"/>
                  <a:pt x="17925" y="8442"/>
                </a:cubicBezTo>
                <a:cubicBezTo>
                  <a:pt x="12011" y="12100"/>
                  <a:pt x="7202" y="17874"/>
                  <a:pt x="4173" y="24370"/>
                </a:cubicBezTo>
                <a:cubicBezTo>
                  <a:pt x="1143" y="30866"/>
                  <a:pt x="-251" y="38133"/>
                  <a:pt x="37" y="45158"/>
                </a:cubicBezTo>
                <a:cubicBezTo>
                  <a:pt x="181" y="52184"/>
                  <a:pt x="1384" y="59161"/>
                  <a:pt x="3499" y="65802"/>
                </a:cubicBezTo>
                <a:cubicBezTo>
                  <a:pt x="7635" y="79179"/>
                  <a:pt x="14463" y="91594"/>
                  <a:pt x="22686" y="103047"/>
                </a:cubicBezTo>
                <a:cubicBezTo>
                  <a:pt x="39275" y="126048"/>
                  <a:pt x="61347" y="145440"/>
                  <a:pt x="85630" y="162234"/>
                </a:cubicBezTo>
                <a:cubicBezTo>
                  <a:pt x="110298" y="178788"/>
                  <a:pt x="136024" y="191299"/>
                  <a:pt x="160500" y="203714"/>
                </a:cubicBezTo>
                <a:cubicBezTo>
                  <a:pt x="185119" y="215985"/>
                  <a:pt x="209114" y="227341"/>
                  <a:pt x="232388" y="237398"/>
                </a:cubicBezTo>
                <a:cubicBezTo>
                  <a:pt x="244025" y="242451"/>
                  <a:pt x="255469" y="247167"/>
                  <a:pt x="266769" y="251353"/>
                </a:cubicBezTo>
                <a:cubicBezTo>
                  <a:pt x="272443" y="253422"/>
                  <a:pt x="278069" y="255395"/>
                  <a:pt x="283792" y="257079"/>
                </a:cubicBezTo>
                <a:cubicBezTo>
                  <a:pt x="289562" y="258667"/>
                  <a:pt x="295092" y="260303"/>
                  <a:pt x="301728" y="260592"/>
                </a:cubicBezTo>
                <a:cubicBezTo>
                  <a:pt x="302545" y="260592"/>
                  <a:pt x="303459" y="260592"/>
                  <a:pt x="304420" y="260448"/>
                </a:cubicBezTo>
                <a:cubicBezTo>
                  <a:pt x="305382" y="260351"/>
                  <a:pt x="306777" y="260015"/>
                  <a:pt x="307883" y="259533"/>
                </a:cubicBezTo>
                <a:cubicBezTo>
                  <a:pt x="308989" y="259004"/>
                  <a:pt x="310046" y="258234"/>
                  <a:pt x="310816" y="257272"/>
                </a:cubicBezTo>
                <a:cubicBezTo>
                  <a:pt x="311537" y="256165"/>
                  <a:pt x="312114" y="255203"/>
                  <a:pt x="312595" y="254385"/>
                </a:cubicBezTo>
                <a:cubicBezTo>
                  <a:pt x="313941" y="250824"/>
                  <a:pt x="314278" y="247407"/>
                  <a:pt x="314086" y="244424"/>
                </a:cubicBezTo>
                <a:cubicBezTo>
                  <a:pt x="313749" y="238312"/>
                  <a:pt x="312306" y="232923"/>
                  <a:pt x="310720" y="227774"/>
                </a:cubicBezTo>
                <a:cubicBezTo>
                  <a:pt x="307402" y="217524"/>
                  <a:pt x="303266" y="208285"/>
                  <a:pt x="299131" y="199576"/>
                </a:cubicBezTo>
                <a:close/>
              </a:path>
            </a:pathLst>
          </a:custGeom>
          <a:solidFill>
            <a:srgbClr val="29C8C1"/>
          </a:solidFill>
          <a:ln w="0"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56A61F3D-3A9D-A746-8919-74F52F76EB55}"/>
              </a:ext>
            </a:extLst>
          </p:cNvPr>
          <p:cNvSpPr/>
          <p:nvPr/>
        </p:nvSpPr>
        <p:spPr>
          <a:xfrm>
            <a:off x="5749417" y="4270995"/>
            <a:ext cx="30593" cy="61413"/>
          </a:xfrm>
          <a:custGeom>
            <a:avLst/>
            <a:gdLst>
              <a:gd name="connsiteX0" fmla="*/ 12898 w 30593"/>
              <a:gd name="connsiteY0" fmla="*/ 15122 h 61413"/>
              <a:gd name="connsiteX1" fmla="*/ 492 w 30593"/>
              <a:gd name="connsiteY1" fmla="*/ 108 h 61413"/>
              <a:gd name="connsiteX2" fmla="*/ 20640 w 30593"/>
              <a:gd name="connsiteY2" fmla="*/ 61413 h 61413"/>
              <a:gd name="connsiteX3" fmla="*/ 30593 w 30593"/>
              <a:gd name="connsiteY3" fmla="*/ 57612 h 61413"/>
              <a:gd name="connsiteX4" fmla="*/ 30593 w 30593"/>
              <a:gd name="connsiteY4" fmla="*/ 57516 h 61413"/>
              <a:gd name="connsiteX5" fmla="*/ 12898 w 30593"/>
              <a:gd name="connsiteY5" fmla="*/ 15074 h 6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93" h="61413">
                <a:moveTo>
                  <a:pt x="12898" y="15122"/>
                </a:moveTo>
                <a:cubicBezTo>
                  <a:pt x="7272" y="4632"/>
                  <a:pt x="1694" y="-854"/>
                  <a:pt x="492" y="108"/>
                </a:cubicBezTo>
                <a:cubicBezTo>
                  <a:pt x="-2249" y="1215"/>
                  <a:pt x="6743" y="28644"/>
                  <a:pt x="20640" y="61413"/>
                </a:cubicBezTo>
                <a:lnTo>
                  <a:pt x="30593" y="57612"/>
                </a:lnTo>
                <a:lnTo>
                  <a:pt x="30593" y="57516"/>
                </a:lnTo>
                <a:cubicBezTo>
                  <a:pt x="24967" y="40529"/>
                  <a:pt x="18668" y="25516"/>
                  <a:pt x="12898" y="15074"/>
                </a:cubicBezTo>
                <a:close/>
              </a:path>
            </a:pathLst>
          </a:custGeom>
          <a:solidFill>
            <a:srgbClr val="29C8C1"/>
          </a:solidFill>
          <a:ln w="0"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36F30E52-DDF4-3641-4B9B-7EE315654B25}"/>
              </a:ext>
            </a:extLst>
          </p:cNvPr>
          <p:cNvSpPr/>
          <p:nvPr/>
        </p:nvSpPr>
        <p:spPr>
          <a:xfrm>
            <a:off x="6430657" y="4869220"/>
            <a:ext cx="337757" cy="407129"/>
          </a:xfrm>
          <a:custGeom>
            <a:avLst/>
            <a:gdLst>
              <a:gd name="connsiteX0" fmla="*/ 310156 w 337757"/>
              <a:gd name="connsiteY0" fmla="*/ 326802 h 407129"/>
              <a:gd name="connsiteX1" fmla="*/ 330064 w 337757"/>
              <a:gd name="connsiteY1" fmla="*/ 314146 h 407129"/>
              <a:gd name="connsiteX2" fmla="*/ 336555 w 337757"/>
              <a:gd name="connsiteY2" fmla="*/ 302309 h 407129"/>
              <a:gd name="connsiteX3" fmla="*/ 337373 w 337757"/>
              <a:gd name="connsiteY3" fmla="*/ 296197 h 407129"/>
              <a:gd name="connsiteX4" fmla="*/ 337757 w 337757"/>
              <a:gd name="connsiteY4" fmla="*/ 293118 h 407129"/>
              <a:gd name="connsiteX5" fmla="*/ 337757 w 337757"/>
              <a:gd name="connsiteY5" fmla="*/ 290086 h 407129"/>
              <a:gd name="connsiteX6" fmla="*/ 337757 w 337757"/>
              <a:gd name="connsiteY6" fmla="*/ 283927 h 407129"/>
              <a:gd name="connsiteX7" fmla="*/ 337132 w 337757"/>
              <a:gd name="connsiteY7" fmla="*/ 277864 h 407129"/>
              <a:gd name="connsiteX8" fmla="*/ 335113 w 337757"/>
              <a:gd name="connsiteY8" fmla="*/ 265737 h 407129"/>
              <a:gd name="connsiteX9" fmla="*/ 318090 w 337757"/>
              <a:gd name="connsiteY9" fmla="*/ 218724 h 407129"/>
              <a:gd name="connsiteX10" fmla="*/ 260003 w 337757"/>
              <a:gd name="connsiteY10" fmla="*/ 129846 h 407129"/>
              <a:gd name="connsiteX11" fmla="*/ 179218 w 337757"/>
              <a:gd name="connsiteY11" fmla="*/ 49582 h 407129"/>
              <a:gd name="connsiteX12" fmla="*/ 130604 w 337757"/>
              <a:gd name="connsiteY12" fmla="*/ 17630 h 407129"/>
              <a:gd name="connsiteX13" fmla="*/ 75930 w 337757"/>
              <a:gd name="connsiteY13" fmla="*/ 307 h 407129"/>
              <a:gd name="connsiteX14" fmla="*/ 60495 w 337757"/>
              <a:gd name="connsiteY14" fmla="*/ 1558 h 407129"/>
              <a:gd name="connsiteX15" fmla="*/ 47175 w 337757"/>
              <a:gd name="connsiteY15" fmla="*/ 10604 h 407129"/>
              <a:gd name="connsiteX16" fmla="*/ 35634 w 337757"/>
              <a:gd name="connsiteY16" fmla="*/ 37022 h 407129"/>
              <a:gd name="connsiteX17" fmla="*/ 30585 w 337757"/>
              <a:gd name="connsiteY17" fmla="*/ 88992 h 407129"/>
              <a:gd name="connsiteX18" fmla="*/ 28085 w 337757"/>
              <a:gd name="connsiteY18" fmla="*/ 113004 h 407129"/>
              <a:gd name="connsiteX19" fmla="*/ 26738 w 337757"/>
              <a:gd name="connsiteY19" fmla="*/ 118394 h 407129"/>
              <a:gd name="connsiteX20" fmla="*/ 24911 w 337757"/>
              <a:gd name="connsiteY20" fmla="*/ 124120 h 407129"/>
              <a:gd name="connsiteX21" fmla="*/ 21160 w 337757"/>
              <a:gd name="connsiteY21" fmla="*/ 135476 h 407129"/>
              <a:gd name="connsiteX22" fmla="*/ 7119 w 337757"/>
              <a:gd name="connsiteY22" fmla="*/ 179747 h 407129"/>
              <a:gd name="connsiteX23" fmla="*/ 1926 w 337757"/>
              <a:gd name="connsiteY23" fmla="*/ 201497 h 407129"/>
              <a:gd name="connsiteX24" fmla="*/ 3 w 337757"/>
              <a:gd name="connsiteY24" fmla="*/ 223295 h 407129"/>
              <a:gd name="connsiteX25" fmla="*/ 6254 w 337757"/>
              <a:gd name="connsiteY25" fmla="*/ 263668 h 407129"/>
              <a:gd name="connsiteX26" fmla="*/ 41453 w 337757"/>
              <a:gd name="connsiteY26" fmla="*/ 323434 h 407129"/>
              <a:gd name="connsiteX27" fmla="*/ 46453 w 337757"/>
              <a:gd name="connsiteY27" fmla="*/ 329064 h 407129"/>
              <a:gd name="connsiteX28" fmla="*/ 51647 w 337757"/>
              <a:gd name="connsiteY28" fmla="*/ 334116 h 407129"/>
              <a:gd name="connsiteX29" fmla="*/ 61552 w 337757"/>
              <a:gd name="connsiteY29" fmla="*/ 343500 h 407129"/>
              <a:gd name="connsiteX30" fmla="*/ 71170 w 337757"/>
              <a:gd name="connsiteY30" fmla="*/ 351439 h 407129"/>
              <a:gd name="connsiteX31" fmla="*/ 80113 w 337757"/>
              <a:gd name="connsiteY31" fmla="*/ 358321 h 407129"/>
              <a:gd name="connsiteX32" fmla="*/ 95693 w 337757"/>
              <a:gd name="connsiteY32" fmla="*/ 369148 h 407129"/>
              <a:gd name="connsiteX33" fmla="*/ 107667 w 337757"/>
              <a:gd name="connsiteY33" fmla="*/ 376125 h 407129"/>
              <a:gd name="connsiteX34" fmla="*/ 117861 w 337757"/>
              <a:gd name="connsiteY34" fmla="*/ 381322 h 407129"/>
              <a:gd name="connsiteX35" fmla="*/ 108821 w 337757"/>
              <a:gd name="connsiteY35" fmla="*/ 374297 h 407129"/>
              <a:gd name="connsiteX36" fmla="*/ 97472 w 337757"/>
              <a:gd name="connsiteY36" fmla="*/ 366501 h 407129"/>
              <a:gd name="connsiteX37" fmla="*/ 82662 w 337757"/>
              <a:gd name="connsiteY37" fmla="*/ 355000 h 407129"/>
              <a:gd name="connsiteX38" fmla="*/ 74151 w 337757"/>
              <a:gd name="connsiteY38" fmla="*/ 347830 h 407129"/>
              <a:gd name="connsiteX39" fmla="*/ 64966 w 337757"/>
              <a:gd name="connsiteY39" fmla="*/ 339698 h 407129"/>
              <a:gd name="connsiteX40" fmla="*/ 55590 w 337757"/>
              <a:gd name="connsiteY40" fmla="*/ 330218 h 407129"/>
              <a:gd name="connsiteX41" fmla="*/ 50685 w 337757"/>
              <a:gd name="connsiteY41" fmla="*/ 325118 h 407129"/>
              <a:gd name="connsiteX42" fmla="*/ 45973 w 337757"/>
              <a:gd name="connsiteY42" fmla="*/ 319488 h 407129"/>
              <a:gd name="connsiteX43" fmla="*/ 13467 w 337757"/>
              <a:gd name="connsiteY43" fmla="*/ 261407 h 407129"/>
              <a:gd name="connsiteX44" fmla="*/ 8225 w 337757"/>
              <a:gd name="connsiteY44" fmla="*/ 223295 h 407129"/>
              <a:gd name="connsiteX45" fmla="*/ 15630 w 337757"/>
              <a:gd name="connsiteY45" fmla="*/ 182056 h 407129"/>
              <a:gd name="connsiteX46" fmla="*/ 30008 w 337757"/>
              <a:gd name="connsiteY46" fmla="*/ 138363 h 407129"/>
              <a:gd name="connsiteX47" fmla="*/ 33903 w 337757"/>
              <a:gd name="connsiteY47" fmla="*/ 126959 h 407129"/>
              <a:gd name="connsiteX48" fmla="*/ 35826 w 337757"/>
              <a:gd name="connsiteY48" fmla="*/ 121184 h 407129"/>
              <a:gd name="connsiteX49" fmla="*/ 37509 w 337757"/>
              <a:gd name="connsiteY49" fmla="*/ 114785 h 407129"/>
              <a:gd name="connsiteX50" fmla="*/ 40443 w 337757"/>
              <a:gd name="connsiteY50" fmla="*/ 89473 h 407129"/>
              <a:gd name="connsiteX51" fmla="*/ 45636 w 337757"/>
              <a:gd name="connsiteY51" fmla="*/ 39043 h 407129"/>
              <a:gd name="connsiteX52" fmla="*/ 55061 w 337757"/>
              <a:gd name="connsiteY52" fmla="*/ 17197 h 407129"/>
              <a:gd name="connsiteX53" fmla="*/ 75257 w 337757"/>
              <a:gd name="connsiteY53" fmla="*/ 10556 h 407129"/>
              <a:gd name="connsiteX54" fmla="*/ 100887 w 337757"/>
              <a:gd name="connsiteY54" fmla="*/ 15994 h 407129"/>
              <a:gd name="connsiteX55" fmla="*/ 125795 w 337757"/>
              <a:gd name="connsiteY55" fmla="*/ 26869 h 407129"/>
              <a:gd name="connsiteX56" fmla="*/ 172727 w 337757"/>
              <a:gd name="connsiteY56" fmla="*/ 57810 h 407129"/>
              <a:gd name="connsiteX57" fmla="*/ 252020 w 337757"/>
              <a:gd name="connsiteY57" fmla="*/ 136294 h 407129"/>
              <a:gd name="connsiteX58" fmla="*/ 309339 w 337757"/>
              <a:gd name="connsiteY58" fmla="*/ 222862 h 407129"/>
              <a:gd name="connsiteX59" fmla="*/ 326024 w 337757"/>
              <a:gd name="connsiteY59" fmla="*/ 267614 h 407129"/>
              <a:gd name="connsiteX60" fmla="*/ 327996 w 337757"/>
              <a:gd name="connsiteY60" fmla="*/ 278778 h 407129"/>
              <a:gd name="connsiteX61" fmla="*/ 328621 w 337757"/>
              <a:gd name="connsiteY61" fmla="*/ 284312 h 407129"/>
              <a:gd name="connsiteX62" fmla="*/ 328621 w 337757"/>
              <a:gd name="connsiteY62" fmla="*/ 289749 h 407129"/>
              <a:gd name="connsiteX63" fmla="*/ 328717 w 337757"/>
              <a:gd name="connsiteY63" fmla="*/ 292444 h 407129"/>
              <a:gd name="connsiteX64" fmla="*/ 328429 w 337757"/>
              <a:gd name="connsiteY64" fmla="*/ 295091 h 407129"/>
              <a:gd name="connsiteX65" fmla="*/ 327804 w 337757"/>
              <a:gd name="connsiteY65" fmla="*/ 300288 h 407129"/>
              <a:gd name="connsiteX66" fmla="*/ 323572 w 337757"/>
              <a:gd name="connsiteY66" fmla="*/ 307987 h 407129"/>
              <a:gd name="connsiteX67" fmla="*/ 306694 w 337757"/>
              <a:gd name="connsiteY67" fmla="*/ 318814 h 407129"/>
              <a:gd name="connsiteX68" fmla="*/ 287315 w 337757"/>
              <a:gd name="connsiteY68" fmla="*/ 326802 h 407129"/>
              <a:gd name="connsiteX69" fmla="*/ 251636 w 337757"/>
              <a:gd name="connsiteY69" fmla="*/ 347060 h 407129"/>
              <a:gd name="connsiteX70" fmla="*/ 239518 w 337757"/>
              <a:gd name="connsiteY70" fmla="*/ 362074 h 407129"/>
              <a:gd name="connsiteX71" fmla="*/ 229420 w 337757"/>
              <a:gd name="connsiteY71" fmla="*/ 376318 h 407129"/>
              <a:gd name="connsiteX72" fmla="*/ 206627 w 337757"/>
              <a:gd name="connsiteY72" fmla="*/ 396624 h 407129"/>
              <a:gd name="connsiteX73" fmla="*/ 180805 w 337757"/>
              <a:gd name="connsiteY73" fmla="*/ 401821 h 407129"/>
              <a:gd name="connsiteX74" fmla="*/ 158205 w 337757"/>
              <a:gd name="connsiteY74" fmla="*/ 397875 h 407129"/>
              <a:gd name="connsiteX75" fmla="*/ 128199 w 337757"/>
              <a:gd name="connsiteY75" fmla="*/ 385845 h 407129"/>
              <a:gd name="connsiteX76" fmla="*/ 117765 w 337757"/>
              <a:gd name="connsiteY76" fmla="*/ 381226 h 407129"/>
              <a:gd name="connsiteX77" fmla="*/ 127190 w 337757"/>
              <a:gd name="connsiteY77" fmla="*/ 387770 h 407129"/>
              <a:gd name="connsiteX78" fmla="*/ 156955 w 337757"/>
              <a:gd name="connsiteY78" fmla="*/ 401821 h 407129"/>
              <a:gd name="connsiteX79" fmla="*/ 180517 w 337757"/>
              <a:gd name="connsiteY79" fmla="*/ 406922 h 407129"/>
              <a:gd name="connsiteX80" fmla="*/ 209224 w 337757"/>
              <a:gd name="connsiteY80" fmla="*/ 402062 h 407129"/>
              <a:gd name="connsiteX81" fmla="*/ 234757 w 337757"/>
              <a:gd name="connsiteY81" fmla="*/ 380552 h 407129"/>
              <a:gd name="connsiteX82" fmla="*/ 245336 w 337757"/>
              <a:gd name="connsiteY82" fmla="*/ 366260 h 407129"/>
              <a:gd name="connsiteX83" fmla="*/ 256733 w 337757"/>
              <a:gd name="connsiteY83" fmla="*/ 352594 h 407129"/>
              <a:gd name="connsiteX84" fmla="*/ 290297 w 337757"/>
              <a:gd name="connsiteY84" fmla="*/ 334501 h 407129"/>
              <a:gd name="connsiteX85" fmla="*/ 310156 w 337757"/>
              <a:gd name="connsiteY85" fmla="*/ 326657 h 4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37757" h="407129">
                <a:moveTo>
                  <a:pt x="310156" y="326802"/>
                </a:moveTo>
                <a:cubicBezTo>
                  <a:pt x="316888" y="323770"/>
                  <a:pt x="324005" y="320450"/>
                  <a:pt x="330064" y="314146"/>
                </a:cubicBezTo>
                <a:cubicBezTo>
                  <a:pt x="333189" y="311163"/>
                  <a:pt x="335305" y="306832"/>
                  <a:pt x="336555" y="302309"/>
                </a:cubicBezTo>
                <a:cubicBezTo>
                  <a:pt x="336844" y="300288"/>
                  <a:pt x="337084" y="298267"/>
                  <a:pt x="337373" y="296197"/>
                </a:cubicBezTo>
                <a:lnTo>
                  <a:pt x="337757" y="293118"/>
                </a:lnTo>
                <a:lnTo>
                  <a:pt x="337757" y="290086"/>
                </a:lnTo>
                <a:cubicBezTo>
                  <a:pt x="337757" y="288065"/>
                  <a:pt x="337757" y="285996"/>
                  <a:pt x="337757" y="283927"/>
                </a:cubicBezTo>
                <a:lnTo>
                  <a:pt x="337132" y="277864"/>
                </a:lnTo>
                <a:cubicBezTo>
                  <a:pt x="336844" y="273773"/>
                  <a:pt x="335882" y="269779"/>
                  <a:pt x="335113" y="265737"/>
                </a:cubicBezTo>
                <a:cubicBezTo>
                  <a:pt x="331602" y="249665"/>
                  <a:pt x="325495" y="234026"/>
                  <a:pt x="318090" y="218724"/>
                </a:cubicBezTo>
                <a:cubicBezTo>
                  <a:pt x="303136" y="188071"/>
                  <a:pt x="283180" y="158429"/>
                  <a:pt x="260003" y="129846"/>
                </a:cubicBezTo>
                <a:cubicBezTo>
                  <a:pt x="236681" y="101359"/>
                  <a:pt x="209993" y="73882"/>
                  <a:pt x="179218" y="49582"/>
                </a:cubicBezTo>
                <a:cubicBezTo>
                  <a:pt x="163831" y="37504"/>
                  <a:pt x="147674" y="26532"/>
                  <a:pt x="130604" y="17630"/>
                </a:cubicBezTo>
                <a:cubicBezTo>
                  <a:pt x="113533" y="8776"/>
                  <a:pt x="95309" y="1702"/>
                  <a:pt x="75930" y="307"/>
                </a:cubicBezTo>
                <a:cubicBezTo>
                  <a:pt x="71362" y="-271"/>
                  <a:pt x="65640" y="-126"/>
                  <a:pt x="60495" y="1558"/>
                </a:cubicBezTo>
                <a:cubicBezTo>
                  <a:pt x="55253" y="3242"/>
                  <a:pt x="50589" y="6610"/>
                  <a:pt x="47175" y="10604"/>
                </a:cubicBezTo>
                <a:cubicBezTo>
                  <a:pt x="40347" y="18737"/>
                  <a:pt x="37654" y="28168"/>
                  <a:pt x="35634" y="37022"/>
                </a:cubicBezTo>
                <a:cubicBezTo>
                  <a:pt x="31883" y="54971"/>
                  <a:pt x="31643" y="72391"/>
                  <a:pt x="30585" y="88992"/>
                </a:cubicBezTo>
                <a:cubicBezTo>
                  <a:pt x="30056" y="97269"/>
                  <a:pt x="29527" y="105497"/>
                  <a:pt x="28085" y="113004"/>
                </a:cubicBezTo>
                <a:cubicBezTo>
                  <a:pt x="27700" y="114881"/>
                  <a:pt x="27267" y="116613"/>
                  <a:pt x="26738" y="118394"/>
                </a:cubicBezTo>
                <a:lnTo>
                  <a:pt x="24911" y="124120"/>
                </a:lnTo>
                <a:cubicBezTo>
                  <a:pt x="23661" y="127921"/>
                  <a:pt x="22411" y="131723"/>
                  <a:pt x="21160" y="135476"/>
                </a:cubicBezTo>
                <a:cubicBezTo>
                  <a:pt x="16159" y="150538"/>
                  <a:pt x="11158" y="165214"/>
                  <a:pt x="7119" y="179747"/>
                </a:cubicBezTo>
                <a:cubicBezTo>
                  <a:pt x="5148" y="187061"/>
                  <a:pt x="3320" y="194135"/>
                  <a:pt x="1926" y="201497"/>
                </a:cubicBezTo>
                <a:cubicBezTo>
                  <a:pt x="580" y="208859"/>
                  <a:pt x="-46" y="216173"/>
                  <a:pt x="3" y="223295"/>
                </a:cubicBezTo>
                <a:cubicBezTo>
                  <a:pt x="3" y="237635"/>
                  <a:pt x="2455" y="251205"/>
                  <a:pt x="6254" y="263668"/>
                </a:cubicBezTo>
                <a:cubicBezTo>
                  <a:pt x="14428" y="288498"/>
                  <a:pt x="27844" y="308276"/>
                  <a:pt x="41453" y="323434"/>
                </a:cubicBezTo>
                <a:cubicBezTo>
                  <a:pt x="43136" y="325358"/>
                  <a:pt x="44722" y="327331"/>
                  <a:pt x="46453" y="329064"/>
                </a:cubicBezTo>
                <a:cubicBezTo>
                  <a:pt x="48233" y="330796"/>
                  <a:pt x="49964" y="332480"/>
                  <a:pt x="51647" y="334116"/>
                </a:cubicBezTo>
                <a:cubicBezTo>
                  <a:pt x="55109" y="337340"/>
                  <a:pt x="58186" y="340708"/>
                  <a:pt x="61552" y="343500"/>
                </a:cubicBezTo>
                <a:cubicBezTo>
                  <a:pt x="64918" y="346291"/>
                  <a:pt x="68140" y="348937"/>
                  <a:pt x="71170" y="351439"/>
                </a:cubicBezTo>
                <a:cubicBezTo>
                  <a:pt x="74199" y="353990"/>
                  <a:pt x="77132" y="356348"/>
                  <a:pt x="80113" y="358321"/>
                </a:cubicBezTo>
                <a:cubicBezTo>
                  <a:pt x="85980" y="362363"/>
                  <a:pt x="91173" y="366020"/>
                  <a:pt x="95693" y="369148"/>
                </a:cubicBezTo>
                <a:cubicBezTo>
                  <a:pt x="100406" y="371891"/>
                  <a:pt x="104445" y="374248"/>
                  <a:pt x="107667" y="376125"/>
                </a:cubicBezTo>
                <a:cubicBezTo>
                  <a:pt x="114158" y="379830"/>
                  <a:pt x="117669" y="381611"/>
                  <a:pt x="117861" y="381322"/>
                </a:cubicBezTo>
                <a:cubicBezTo>
                  <a:pt x="118053" y="380985"/>
                  <a:pt x="114928" y="378579"/>
                  <a:pt x="108821" y="374297"/>
                </a:cubicBezTo>
                <a:cubicBezTo>
                  <a:pt x="105743" y="372179"/>
                  <a:pt x="101944" y="369581"/>
                  <a:pt x="97472" y="366501"/>
                </a:cubicBezTo>
                <a:cubicBezTo>
                  <a:pt x="93193" y="363181"/>
                  <a:pt x="88240" y="359331"/>
                  <a:pt x="82662" y="355000"/>
                </a:cubicBezTo>
                <a:cubicBezTo>
                  <a:pt x="79825" y="352931"/>
                  <a:pt x="77036" y="350477"/>
                  <a:pt x="74151" y="347830"/>
                </a:cubicBezTo>
                <a:cubicBezTo>
                  <a:pt x="71218" y="345232"/>
                  <a:pt x="68188" y="342537"/>
                  <a:pt x="64966" y="339698"/>
                </a:cubicBezTo>
                <a:cubicBezTo>
                  <a:pt x="61745" y="336859"/>
                  <a:pt x="58860" y="333490"/>
                  <a:pt x="55590" y="330218"/>
                </a:cubicBezTo>
                <a:cubicBezTo>
                  <a:pt x="54003" y="328534"/>
                  <a:pt x="52368" y="326850"/>
                  <a:pt x="50685" y="325118"/>
                </a:cubicBezTo>
                <a:cubicBezTo>
                  <a:pt x="49050" y="323385"/>
                  <a:pt x="47608" y="321413"/>
                  <a:pt x="45973" y="319488"/>
                </a:cubicBezTo>
                <a:cubicBezTo>
                  <a:pt x="33182" y="304378"/>
                  <a:pt x="20824" y="285034"/>
                  <a:pt x="13467" y="261407"/>
                </a:cubicBezTo>
                <a:cubicBezTo>
                  <a:pt x="10101" y="249569"/>
                  <a:pt x="8033" y="236721"/>
                  <a:pt x="8225" y="223295"/>
                </a:cubicBezTo>
                <a:cubicBezTo>
                  <a:pt x="8129" y="209870"/>
                  <a:pt x="11495" y="196348"/>
                  <a:pt x="15630" y="182056"/>
                </a:cubicBezTo>
                <a:cubicBezTo>
                  <a:pt x="19718" y="167909"/>
                  <a:pt x="24815" y="153425"/>
                  <a:pt x="30008" y="138363"/>
                </a:cubicBezTo>
                <a:cubicBezTo>
                  <a:pt x="31306" y="134610"/>
                  <a:pt x="32605" y="130808"/>
                  <a:pt x="33903" y="126959"/>
                </a:cubicBezTo>
                <a:lnTo>
                  <a:pt x="35826" y="121184"/>
                </a:lnTo>
                <a:cubicBezTo>
                  <a:pt x="36500" y="119115"/>
                  <a:pt x="37077" y="116902"/>
                  <a:pt x="37509" y="114785"/>
                </a:cubicBezTo>
                <a:cubicBezTo>
                  <a:pt x="39241" y="106267"/>
                  <a:pt x="39818" y="97894"/>
                  <a:pt x="40443" y="89473"/>
                </a:cubicBezTo>
                <a:cubicBezTo>
                  <a:pt x="41597" y="72679"/>
                  <a:pt x="42078" y="55500"/>
                  <a:pt x="45636" y="39043"/>
                </a:cubicBezTo>
                <a:cubicBezTo>
                  <a:pt x="47463" y="30959"/>
                  <a:pt x="50204" y="22827"/>
                  <a:pt x="55061" y="17197"/>
                </a:cubicBezTo>
                <a:cubicBezTo>
                  <a:pt x="59966" y="11470"/>
                  <a:pt x="66650" y="9401"/>
                  <a:pt x="75257" y="10556"/>
                </a:cubicBezTo>
                <a:cubicBezTo>
                  <a:pt x="83816" y="10989"/>
                  <a:pt x="92375" y="13395"/>
                  <a:pt x="100887" y="15994"/>
                </a:cubicBezTo>
                <a:cubicBezTo>
                  <a:pt x="109302" y="19073"/>
                  <a:pt x="117669" y="22538"/>
                  <a:pt x="125795" y="26869"/>
                </a:cubicBezTo>
                <a:cubicBezTo>
                  <a:pt x="142096" y="35386"/>
                  <a:pt x="157724" y="46021"/>
                  <a:pt x="172727" y="57810"/>
                </a:cubicBezTo>
                <a:cubicBezTo>
                  <a:pt x="202684" y="81485"/>
                  <a:pt x="229035" y="108433"/>
                  <a:pt x="252020" y="136294"/>
                </a:cubicBezTo>
                <a:cubicBezTo>
                  <a:pt x="274861" y="164252"/>
                  <a:pt x="294624" y="193269"/>
                  <a:pt x="309339" y="222862"/>
                </a:cubicBezTo>
                <a:cubicBezTo>
                  <a:pt x="316600" y="237635"/>
                  <a:pt x="322610" y="252649"/>
                  <a:pt x="326024" y="267614"/>
                </a:cubicBezTo>
                <a:cubicBezTo>
                  <a:pt x="326746" y="271367"/>
                  <a:pt x="327707" y="275073"/>
                  <a:pt x="327996" y="278778"/>
                </a:cubicBezTo>
                <a:lnTo>
                  <a:pt x="328621" y="284312"/>
                </a:lnTo>
                <a:lnTo>
                  <a:pt x="328621" y="289749"/>
                </a:lnTo>
                <a:cubicBezTo>
                  <a:pt x="328621" y="289749"/>
                  <a:pt x="328717" y="292444"/>
                  <a:pt x="328717" y="292444"/>
                </a:cubicBezTo>
                <a:lnTo>
                  <a:pt x="328429" y="295091"/>
                </a:lnTo>
                <a:lnTo>
                  <a:pt x="327804" y="300288"/>
                </a:lnTo>
                <a:cubicBezTo>
                  <a:pt x="326938" y="303031"/>
                  <a:pt x="325880" y="305725"/>
                  <a:pt x="323572" y="307987"/>
                </a:cubicBezTo>
                <a:cubicBezTo>
                  <a:pt x="319340" y="312606"/>
                  <a:pt x="312993" y="315927"/>
                  <a:pt x="306694" y="318814"/>
                </a:cubicBezTo>
                <a:cubicBezTo>
                  <a:pt x="300347" y="321701"/>
                  <a:pt x="293759" y="324203"/>
                  <a:pt x="287315" y="326802"/>
                </a:cubicBezTo>
                <a:cubicBezTo>
                  <a:pt x="274428" y="331999"/>
                  <a:pt x="261686" y="337773"/>
                  <a:pt x="251636" y="347060"/>
                </a:cubicBezTo>
                <a:cubicBezTo>
                  <a:pt x="246683" y="351824"/>
                  <a:pt x="243028" y="357118"/>
                  <a:pt x="239518" y="362074"/>
                </a:cubicBezTo>
                <a:cubicBezTo>
                  <a:pt x="236056" y="367079"/>
                  <a:pt x="232834" y="371891"/>
                  <a:pt x="229420" y="376318"/>
                </a:cubicBezTo>
                <a:cubicBezTo>
                  <a:pt x="222736" y="385220"/>
                  <a:pt x="215187" y="392438"/>
                  <a:pt x="206627" y="396624"/>
                </a:cubicBezTo>
                <a:cubicBezTo>
                  <a:pt x="198164" y="400907"/>
                  <a:pt x="189076" y="402206"/>
                  <a:pt x="180805" y="401821"/>
                </a:cubicBezTo>
                <a:cubicBezTo>
                  <a:pt x="172486" y="401484"/>
                  <a:pt x="164889" y="399752"/>
                  <a:pt x="158205" y="397875"/>
                </a:cubicBezTo>
                <a:cubicBezTo>
                  <a:pt x="144837" y="393785"/>
                  <a:pt x="134931" y="389021"/>
                  <a:pt x="128199" y="385845"/>
                </a:cubicBezTo>
                <a:cubicBezTo>
                  <a:pt x="121515" y="382573"/>
                  <a:pt x="117957" y="380889"/>
                  <a:pt x="117765" y="381226"/>
                </a:cubicBezTo>
                <a:cubicBezTo>
                  <a:pt x="117572" y="381515"/>
                  <a:pt x="120794" y="383824"/>
                  <a:pt x="127190" y="387770"/>
                </a:cubicBezTo>
                <a:cubicBezTo>
                  <a:pt x="133681" y="391523"/>
                  <a:pt x="143346" y="397009"/>
                  <a:pt x="156955" y="401821"/>
                </a:cubicBezTo>
                <a:cubicBezTo>
                  <a:pt x="163783" y="404083"/>
                  <a:pt x="171621" y="406248"/>
                  <a:pt x="180517" y="406922"/>
                </a:cubicBezTo>
                <a:cubicBezTo>
                  <a:pt x="189364" y="407644"/>
                  <a:pt x="199559" y="406585"/>
                  <a:pt x="209224" y="402062"/>
                </a:cubicBezTo>
                <a:cubicBezTo>
                  <a:pt x="218985" y="397635"/>
                  <a:pt x="227545" y="389695"/>
                  <a:pt x="234757" y="380552"/>
                </a:cubicBezTo>
                <a:cubicBezTo>
                  <a:pt x="238412" y="375981"/>
                  <a:pt x="241826" y="371120"/>
                  <a:pt x="245336" y="366260"/>
                </a:cubicBezTo>
                <a:cubicBezTo>
                  <a:pt x="248847" y="361448"/>
                  <a:pt x="252453" y="356540"/>
                  <a:pt x="256733" y="352594"/>
                </a:cubicBezTo>
                <a:cubicBezTo>
                  <a:pt x="265581" y="344703"/>
                  <a:pt x="277506" y="339361"/>
                  <a:pt x="290297" y="334501"/>
                </a:cubicBezTo>
                <a:cubicBezTo>
                  <a:pt x="296692" y="332047"/>
                  <a:pt x="303376" y="329593"/>
                  <a:pt x="310156" y="326657"/>
                </a:cubicBezTo>
                <a:close/>
              </a:path>
            </a:pathLst>
          </a:custGeom>
          <a:solidFill>
            <a:srgbClr val="29C8C1"/>
          </a:solidFill>
          <a:ln w="0"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DC83C007-45EB-91E1-1CF0-38C60DD6934C}"/>
              </a:ext>
            </a:extLst>
          </p:cNvPr>
          <p:cNvSpPr/>
          <p:nvPr/>
        </p:nvSpPr>
        <p:spPr>
          <a:xfrm>
            <a:off x="7370352" y="5437868"/>
            <a:ext cx="416874" cy="160398"/>
          </a:xfrm>
          <a:custGeom>
            <a:avLst/>
            <a:gdLst>
              <a:gd name="connsiteX0" fmla="*/ 2164 w 416874"/>
              <a:gd name="connsiteY0" fmla="*/ 76275 h 160398"/>
              <a:gd name="connsiteX1" fmla="*/ 21639 w 416874"/>
              <a:gd name="connsiteY1" fmla="*/ 95138 h 160398"/>
              <a:gd name="connsiteX2" fmla="*/ 111078 w 416874"/>
              <a:gd name="connsiteY2" fmla="*/ 136618 h 160398"/>
              <a:gd name="connsiteX3" fmla="*/ 177004 w 416874"/>
              <a:gd name="connsiteY3" fmla="*/ 154278 h 160398"/>
              <a:gd name="connsiteX4" fmla="*/ 214847 w 416874"/>
              <a:gd name="connsiteY4" fmla="*/ 159764 h 160398"/>
              <a:gd name="connsiteX5" fmla="*/ 255913 w 416874"/>
              <a:gd name="connsiteY5" fmla="*/ 157743 h 160398"/>
              <a:gd name="connsiteX6" fmla="*/ 338043 w 416874"/>
              <a:gd name="connsiteY6" fmla="*/ 128534 h 160398"/>
              <a:gd name="connsiteX7" fmla="*/ 377041 w 416874"/>
              <a:gd name="connsiteY7" fmla="*/ 103559 h 160398"/>
              <a:gd name="connsiteX8" fmla="*/ 410220 w 416874"/>
              <a:gd name="connsiteY8" fmla="*/ 68047 h 160398"/>
              <a:gd name="connsiteX9" fmla="*/ 416664 w 416874"/>
              <a:gd name="connsiteY9" fmla="*/ 42351 h 160398"/>
              <a:gd name="connsiteX10" fmla="*/ 402526 w 416874"/>
              <a:gd name="connsiteY10" fmla="*/ 19638 h 160398"/>
              <a:gd name="connsiteX11" fmla="*/ 380407 w 416874"/>
              <a:gd name="connsiteY11" fmla="*/ 8955 h 160398"/>
              <a:gd name="connsiteX12" fmla="*/ 357710 w 416874"/>
              <a:gd name="connsiteY12" fmla="*/ 3710 h 160398"/>
              <a:gd name="connsiteX13" fmla="*/ 313327 w 416874"/>
              <a:gd name="connsiteY13" fmla="*/ 101 h 160398"/>
              <a:gd name="connsiteX14" fmla="*/ 270867 w 416874"/>
              <a:gd name="connsiteY14" fmla="*/ 1015 h 160398"/>
              <a:gd name="connsiteX15" fmla="*/ 230620 w 416874"/>
              <a:gd name="connsiteY15" fmla="*/ 6309 h 160398"/>
              <a:gd name="connsiteX16" fmla="*/ 193738 w 416874"/>
              <a:gd name="connsiteY16" fmla="*/ 16366 h 160398"/>
              <a:gd name="connsiteX17" fmla="*/ 160318 w 416874"/>
              <a:gd name="connsiteY17" fmla="*/ 27385 h 160398"/>
              <a:gd name="connsiteX18" fmla="*/ 129255 w 416874"/>
              <a:gd name="connsiteY18" fmla="*/ 35854 h 160398"/>
              <a:gd name="connsiteX19" fmla="*/ 74581 w 416874"/>
              <a:gd name="connsiteY19" fmla="*/ 45863 h 160398"/>
              <a:gd name="connsiteX20" fmla="*/ 32843 w 416874"/>
              <a:gd name="connsiteY20" fmla="*/ 52648 h 160398"/>
              <a:gd name="connsiteX21" fmla="*/ 6876 w 416874"/>
              <a:gd name="connsiteY21" fmla="*/ 60011 h 160398"/>
              <a:gd name="connsiteX22" fmla="*/ 1154 w 416874"/>
              <a:gd name="connsiteY22" fmla="*/ 64486 h 160398"/>
              <a:gd name="connsiteX23" fmla="*/ 625 w 416874"/>
              <a:gd name="connsiteY23" fmla="*/ 66940 h 160398"/>
              <a:gd name="connsiteX24" fmla="*/ 2020 w 416874"/>
              <a:gd name="connsiteY24" fmla="*/ 65112 h 160398"/>
              <a:gd name="connsiteX25" fmla="*/ 7742 w 416874"/>
              <a:gd name="connsiteY25" fmla="*/ 61936 h 160398"/>
              <a:gd name="connsiteX26" fmla="*/ 33516 w 416874"/>
              <a:gd name="connsiteY26" fmla="*/ 56691 h 160398"/>
              <a:gd name="connsiteX27" fmla="*/ 75350 w 416874"/>
              <a:gd name="connsiteY27" fmla="*/ 51734 h 160398"/>
              <a:gd name="connsiteX28" fmla="*/ 130890 w 416874"/>
              <a:gd name="connsiteY28" fmla="*/ 43217 h 160398"/>
              <a:gd name="connsiteX29" fmla="*/ 162722 w 416874"/>
              <a:gd name="connsiteY29" fmla="*/ 35277 h 160398"/>
              <a:gd name="connsiteX30" fmla="*/ 196431 w 416874"/>
              <a:gd name="connsiteY30" fmla="*/ 24787 h 160398"/>
              <a:gd name="connsiteX31" fmla="*/ 232447 w 416874"/>
              <a:gd name="connsiteY31" fmla="*/ 15500 h 160398"/>
              <a:gd name="connsiteX32" fmla="*/ 271492 w 416874"/>
              <a:gd name="connsiteY32" fmla="*/ 10784 h 160398"/>
              <a:gd name="connsiteX33" fmla="*/ 356027 w 416874"/>
              <a:gd name="connsiteY33" fmla="*/ 14008 h 160398"/>
              <a:gd name="connsiteX34" fmla="*/ 396179 w 416874"/>
              <a:gd name="connsiteY34" fmla="*/ 28155 h 160398"/>
              <a:gd name="connsiteX35" fmla="*/ 406085 w 416874"/>
              <a:gd name="connsiteY35" fmla="*/ 43602 h 160398"/>
              <a:gd name="connsiteX36" fmla="*/ 400940 w 416874"/>
              <a:gd name="connsiteY36" fmla="*/ 62802 h 160398"/>
              <a:gd name="connsiteX37" fmla="*/ 370501 w 416874"/>
              <a:gd name="connsiteY37" fmla="*/ 95235 h 160398"/>
              <a:gd name="connsiteX38" fmla="*/ 333090 w 416874"/>
              <a:gd name="connsiteY38" fmla="*/ 119343 h 160398"/>
              <a:gd name="connsiteX39" fmla="*/ 254134 w 416874"/>
              <a:gd name="connsiteY39" fmla="*/ 148071 h 160398"/>
              <a:gd name="connsiteX40" fmla="*/ 215521 w 416874"/>
              <a:gd name="connsiteY40" fmla="*/ 150380 h 160398"/>
              <a:gd name="connsiteX41" fmla="*/ 178591 w 416874"/>
              <a:gd name="connsiteY41" fmla="*/ 145568 h 160398"/>
              <a:gd name="connsiteX42" fmla="*/ 113338 w 416874"/>
              <a:gd name="connsiteY42" fmla="*/ 129448 h 160398"/>
              <a:gd name="connsiteX43" fmla="*/ 23851 w 416874"/>
              <a:gd name="connsiteY43" fmla="*/ 91674 h 160398"/>
              <a:gd name="connsiteX44" fmla="*/ 3895 w 416874"/>
              <a:gd name="connsiteY44" fmla="*/ 75121 h 160398"/>
              <a:gd name="connsiteX45" fmla="*/ 481 w 416874"/>
              <a:gd name="connsiteY45" fmla="*/ 66892 h 160398"/>
              <a:gd name="connsiteX46" fmla="*/ 0 w 416874"/>
              <a:gd name="connsiteY46" fmla="*/ 69298 h 160398"/>
              <a:gd name="connsiteX47" fmla="*/ 2068 w 416874"/>
              <a:gd name="connsiteY47" fmla="*/ 76227 h 16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6874" h="160398">
                <a:moveTo>
                  <a:pt x="2164" y="76275"/>
                </a:moveTo>
                <a:cubicBezTo>
                  <a:pt x="5337" y="81809"/>
                  <a:pt x="11973" y="88498"/>
                  <a:pt x="21639" y="95138"/>
                </a:cubicBezTo>
                <a:cubicBezTo>
                  <a:pt x="40921" y="108612"/>
                  <a:pt x="71600" y="123289"/>
                  <a:pt x="111078" y="136618"/>
                </a:cubicBezTo>
                <a:cubicBezTo>
                  <a:pt x="130841" y="143210"/>
                  <a:pt x="152865" y="149466"/>
                  <a:pt x="177004" y="154278"/>
                </a:cubicBezTo>
                <a:cubicBezTo>
                  <a:pt x="189073" y="156636"/>
                  <a:pt x="201672" y="158609"/>
                  <a:pt x="214847" y="159764"/>
                </a:cubicBezTo>
                <a:cubicBezTo>
                  <a:pt x="228167" y="161159"/>
                  <a:pt x="242160" y="160149"/>
                  <a:pt x="255913" y="157743"/>
                </a:cubicBezTo>
                <a:cubicBezTo>
                  <a:pt x="283562" y="152834"/>
                  <a:pt x="311260" y="142681"/>
                  <a:pt x="338043" y="128534"/>
                </a:cubicBezTo>
                <a:cubicBezTo>
                  <a:pt x="351411" y="121412"/>
                  <a:pt x="364587" y="113280"/>
                  <a:pt x="377041" y="103559"/>
                </a:cubicBezTo>
                <a:cubicBezTo>
                  <a:pt x="389399" y="93791"/>
                  <a:pt x="401468" y="82772"/>
                  <a:pt x="410220" y="68047"/>
                </a:cubicBezTo>
                <a:cubicBezTo>
                  <a:pt x="414355" y="60685"/>
                  <a:pt x="417770" y="51927"/>
                  <a:pt x="416664" y="42351"/>
                </a:cubicBezTo>
                <a:cubicBezTo>
                  <a:pt x="415654" y="32727"/>
                  <a:pt x="409403" y="24498"/>
                  <a:pt x="402526" y="19638"/>
                </a:cubicBezTo>
                <a:cubicBezTo>
                  <a:pt x="395554" y="14537"/>
                  <a:pt x="387956" y="11361"/>
                  <a:pt x="380407" y="8955"/>
                </a:cubicBezTo>
                <a:cubicBezTo>
                  <a:pt x="372857" y="6549"/>
                  <a:pt x="365260" y="4961"/>
                  <a:pt x="357710" y="3710"/>
                </a:cubicBezTo>
                <a:cubicBezTo>
                  <a:pt x="342611" y="1352"/>
                  <a:pt x="327801" y="390"/>
                  <a:pt x="313327" y="101"/>
                </a:cubicBezTo>
                <a:cubicBezTo>
                  <a:pt x="298853" y="-188"/>
                  <a:pt x="284716" y="149"/>
                  <a:pt x="270867" y="1015"/>
                </a:cubicBezTo>
                <a:cubicBezTo>
                  <a:pt x="257019" y="1882"/>
                  <a:pt x="243555" y="3710"/>
                  <a:pt x="230620" y="6309"/>
                </a:cubicBezTo>
                <a:cubicBezTo>
                  <a:pt x="217684" y="8907"/>
                  <a:pt x="205374" y="12564"/>
                  <a:pt x="193738" y="16366"/>
                </a:cubicBezTo>
                <a:cubicBezTo>
                  <a:pt x="182101" y="20167"/>
                  <a:pt x="171041" y="24113"/>
                  <a:pt x="160318" y="27385"/>
                </a:cubicBezTo>
                <a:cubicBezTo>
                  <a:pt x="149595" y="30658"/>
                  <a:pt x="139256" y="33593"/>
                  <a:pt x="129255" y="35854"/>
                </a:cubicBezTo>
                <a:cubicBezTo>
                  <a:pt x="109251" y="40522"/>
                  <a:pt x="90834" y="43361"/>
                  <a:pt x="74581" y="45863"/>
                </a:cubicBezTo>
                <a:cubicBezTo>
                  <a:pt x="58328" y="48318"/>
                  <a:pt x="44287" y="50435"/>
                  <a:pt x="32843" y="52648"/>
                </a:cubicBezTo>
                <a:cubicBezTo>
                  <a:pt x="21398" y="54862"/>
                  <a:pt x="12550" y="57220"/>
                  <a:pt x="6876" y="60011"/>
                </a:cubicBezTo>
                <a:cubicBezTo>
                  <a:pt x="4039" y="61406"/>
                  <a:pt x="2068" y="62994"/>
                  <a:pt x="1154" y="64486"/>
                </a:cubicBezTo>
                <a:cubicBezTo>
                  <a:pt x="289" y="66026"/>
                  <a:pt x="529" y="66988"/>
                  <a:pt x="625" y="66940"/>
                </a:cubicBezTo>
                <a:cubicBezTo>
                  <a:pt x="866" y="66940"/>
                  <a:pt x="1010" y="66170"/>
                  <a:pt x="2020" y="65112"/>
                </a:cubicBezTo>
                <a:cubicBezTo>
                  <a:pt x="3029" y="64101"/>
                  <a:pt x="4953" y="62946"/>
                  <a:pt x="7742" y="61936"/>
                </a:cubicBezTo>
                <a:cubicBezTo>
                  <a:pt x="13320" y="59914"/>
                  <a:pt x="22120" y="58230"/>
                  <a:pt x="33516" y="56691"/>
                </a:cubicBezTo>
                <a:cubicBezTo>
                  <a:pt x="44912" y="55102"/>
                  <a:pt x="59001" y="53659"/>
                  <a:pt x="75350" y="51734"/>
                </a:cubicBezTo>
                <a:cubicBezTo>
                  <a:pt x="91700" y="49809"/>
                  <a:pt x="110405" y="47452"/>
                  <a:pt x="130890" y="43217"/>
                </a:cubicBezTo>
                <a:cubicBezTo>
                  <a:pt x="141132" y="41196"/>
                  <a:pt x="151759" y="38405"/>
                  <a:pt x="162722" y="35277"/>
                </a:cubicBezTo>
                <a:cubicBezTo>
                  <a:pt x="173686" y="32149"/>
                  <a:pt x="184890" y="28396"/>
                  <a:pt x="196431" y="24787"/>
                </a:cubicBezTo>
                <a:cubicBezTo>
                  <a:pt x="207971" y="21178"/>
                  <a:pt x="219944" y="17857"/>
                  <a:pt x="232447" y="15500"/>
                </a:cubicBezTo>
                <a:cubicBezTo>
                  <a:pt x="244949" y="13142"/>
                  <a:pt x="258029" y="11506"/>
                  <a:pt x="271492" y="10784"/>
                </a:cubicBezTo>
                <a:cubicBezTo>
                  <a:pt x="298421" y="9533"/>
                  <a:pt x="327320" y="9533"/>
                  <a:pt x="356027" y="14008"/>
                </a:cubicBezTo>
                <a:cubicBezTo>
                  <a:pt x="370165" y="16510"/>
                  <a:pt x="385023" y="20071"/>
                  <a:pt x="396179" y="28155"/>
                </a:cubicBezTo>
                <a:cubicBezTo>
                  <a:pt x="401709" y="32149"/>
                  <a:pt x="405411" y="37539"/>
                  <a:pt x="406085" y="43602"/>
                </a:cubicBezTo>
                <a:cubicBezTo>
                  <a:pt x="406902" y="49713"/>
                  <a:pt x="404498" y="56546"/>
                  <a:pt x="400940" y="62802"/>
                </a:cubicBezTo>
                <a:cubicBezTo>
                  <a:pt x="393534" y="75409"/>
                  <a:pt x="382234" y="85996"/>
                  <a:pt x="370501" y="95235"/>
                </a:cubicBezTo>
                <a:cubicBezTo>
                  <a:pt x="358672" y="104474"/>
                  <a:pt x="345977" y="112414"/>
                  <a:pt x="333090" y="119343"/>
                </a:cubicBezTo>
                <a:cubicBezTo>
                  <a:pt x="307268" y="133154"/>
                  <a:pt x="280437" y="143162"/>
                  <a:pt x="254134" y="148071"/>
                </a:cubicBezTo>
                <a:cubicBezTo>
                  <a:pt x="240958" y="150477"/>
                  <a:pt x="228071" y="151535"/>
                  <a:pt x="215521" y="150380"/>
                </a:cubicBezTo>
                <a:cubicBezTo>
                  <a:pt x="202826" y="149466"/>
                  <a:pt x="190468" y="147686"/>
                  <a:pt x="178591" y="145568"/>
                </a:cubicBezTo>
                <a:cubicBezTo>
                  <a:pt x="154884" y="141238"/>
                  <a:pt x="133005" y="135511"/>
                  <a:pt x="113338" y="129448"/>
                </a:cubicBezTo>
                <a:cubicBezTo>
                  <a:pt x="74052" y="117226"/>
                  <a:pt x="43277" y="103752"/>
                  <a:pt x="23851" y="91674"/>
                </a:cubicBezTo>
                <a:cubicBezTo>
                  <a:pt x="14089" y="85707"/>
                  <a:pt x="7357" y="79836"/>
                  <a:pt x="3895" y="75121"/>
                </a:cubicBezTo>
                <a:cubicBezTo>
                  <a:pt x="433" y="70309"/>
                  <a:pt x="1010" y="66892"/>
                  <a:pt x="481" y="66892"/>
                </a:cubicBezTo>
                <a:cubicBezTo>
                  <a:pt x="289" y="66892"/>
                  <a:pt x="144" y="67662"/>
                  <a:pt x="0" y="69298"/>
                </a:cubicBezTo>
                <a:cubicBezTo>
                  <a:pt x="0" y="70934"/>
                  <a:pt x="577" y="73388"/>
                  <a:pt x="2068" y="76227"/>
                </a:cubicBezTo>
                <a:close/>
              </a:path>
            </a:pathLst>
          </a:custGeom>
          <a:solidFill>
            <a:srgbClr val="29C8C1"/>
          </a:solidFill>
          <a:ln w="0" cap="flat">
            <a:noFill/>
            <a:prstDash val="solid"/>
            <a:miter/>
          </a:ln>
        </p:spPr>
        <p:txBody>
          <a:bodyPr rtlCol="0" anchor="ctr"/>
          <a:lstStyle/>
          <a:p>
            <a:pPr rtl="0"/>
            <a:endParaRPr lang="en-AU" dirty="0"/>
          </a:p>
        </p:txBody>
      </p:sp>
      <p:sp>
        <p:nvSpPr>
          <p:cNvPr id="90" name="Freeform: Shape 89">
            <a:extLst>
              <a:ext uri="{FF2B5EF4-FFF2-40B4-BE49-F238E27FC236}">
                <a16:creationId xmlns:a16="http://schemas.microsoft.com/office/drawing/2014/main" id="{94D0FA9A-A3AB-4223-467A-A5E79EA0024F}"/>
              </a:ext>
            </a:extLst>
          </p:cNvPr>
          <p:cNvSpPr/>
          <p:nvPr/>
        </p:nvSpPr>
        <p:spPr>
          <a:xfrm>
            <a:off x="6392266" y="4748867"/>
            <a:ext cx="1472486" cy="860938"/>
          </a:xfrm>
          <a:custGeom>
            <a:avLst/>
            <a:gdLst>
              <a:gd name="connsiteX0" fmla="*/ 297480 w 1472486"/>
              <a:gd name="connsiteY0" fmla="*/ 548977 h 860938"/>
              <a:gd name="connsiteX1" fmla="*/ 299740 w 1472486"/>
              <a:gd name="connsiteY1" fmla="*/ 547918 h 860938"/>
              <a:gd name="connsiteX2" fmla="*/ 290123 w 1472486"/>
              <a:gd name="connsiteY2" fmla="*/ 549987 h 860938"/>
              <a:gd name="connsiteX3" fmla="*/ 261416 w 1472486"/>
              <a:gd name="connsiteY3" fmla="*/ 552153 h 860938"/>
              <a:gd name="connsiteX4" fmla="*/ 215013 w 1472486"/>
              <a:gd name="connsiteY4" fmla="*/ 547437 h 860938"/>
              <a:gd name="connsiteX5" fmla="*/ 187219 w 1472486"/>
              <a:gd name="connsiteY5" fmla="*/ 537091 h 860938"/>
              <a:gd name="connsiteX6" fmla="*/ 158512 w 1472486"/>
              <a:gd name="connsiteY6" fmla="*/ 518998 h 860938"/>
              <a:gd name="connsiteX7" fmla="*/ 95904 w 1472486"/>
              <a:gd name="connsiteY7" fmla="*/ 468664 h 860938"/>
              <a:gd name="connsiteX8" fmla="*/ 61860 w 1472486"/>
              <a:gd name="connsiteY8" fmla="*/ 437819 h 860938"/>
              <a:gd name="connsiteX9" fmla="*/ 28680 w 1472486"/>
              <a:gd name="connsiteY9" fmla="*/ 401536 h 860938"/>
              <a:gd name="connsiteX10" fmla="*/ 7426 w 1472486"/>
              <a:gd name="connsiteY10" fmla="*/ 354764 h 860938"/>
              <a:gd name="connsiteX11" fmla="*/ 7859 w 1472486"/>
              <a:gd name="connsiteY11" fmla="*/ 328009 h 860938"/>
              <a:gd name="connsiteX12" fmla="*/ 16322 w 1472486"/>
              <a:gd name="connsiteY12" fmla="*/ 301254 h 860938"/>
              <a:gd name="connsiteX13" fmla="*/ 41664 w 1472486"/>
              <a:gd name="connsiteY13" fmla="*/ 246638 h 860938"/>
              <a:gd name="connsiteX14" fmla="*/ 52483 w 1472486"/>
              <a:gd name="connsiteY14" fmla="*/ 183071 h 860938"/>
              <a:gd name="connsiteX15" fmla="*/ 37769 w 1472486"/>
              <a:gd name="connsiteY15" fmla="*/ 117676 h 860938"/>
              <a:gd name="connsiteX16" fmla="*/ 21804 w 1472486"/>
              <a:gd name="connsiteY16" fmla="*/ 50452 h 860938"/>
              <a:gd name="connsiteX17" fmla="*/ 18823 w 1472486"/>
              <a:gd name="connsiteY17" fmla="*/ 33032 h 860938"/>
              <a:gd name="connsiteX18" fmla="*/ 17573 w 1472486"/>
              <a:gd name="connsiteY18" fmla="*/ 24226 h 860938"/>
              <a:gd name="connsiteX19" fmla="*/ 16947 w 1472486"/>
              <a:gd name="connsiteY19" fmla="*/ 19799 h 860938"/>
              <a:gd name="connsiteX20" fmla="*/ 16947 w 1472486"/>
              <a:gd name="connsiteY20" fmla="*/ 17297 h 860938"/>
              <a:gd name="connsiteX21" fmla="*/ 17813 w 1472486"/>
              <a:gd name="connsiteY21" fmla="*/ 16527 h 860938"/>
              <a:gd name="connsiteX22" fmla="*/ 21660 w 1472486"/>
              <a:gd name="connsiteY22" fmla="*/ 15180 h 860938"/>
              <a:gd name="connsiteX23" fmla="*/ 22910 w 1472486"/>
              <a:gd name="connsiteY23" fmla="*/ 14699 h 860938"/>
              <a:gd name="connsiteX24" fmla="*/ 23535 w 1472486"/>
              <a:gd name="connsiteY24" fmla="*/ 14458 h 860938"/>
              <a:gd name="connsiteX25" fmla="*/ 25747 w 1472486"/>
              <a:gd name="connsiteY25" fmla="*/ 12629 h 860938"/>
              <a:gd name="connsiteX26" fmla="*/ 26228 w 1472486"/>
              <a:gd name="connsiteY26" fmla="*/ 11523 h 860938"/>
              <a:gd name="connsiteX27" fmla="*/ 26228 w 1472486"/>
              <a:gd name="connsiteY27" fmla="*/ 11426 h 860938"/>
              <a:gd name="connsiteX28" fmla="*/ 26228 w 1472486"/>
              <a:gd name="connsiteY28" fmla="*/ 11186 h 860938"/>
              <a:gd name="connsiteX29" fmla="*/ 26324 w 1472486"/>
              <a:gd name="connsiteY29" fmla="*/ 10368 h 860938"/>
              <a:gd name="connsiteX30" fmla="*/ 26757 w 1472486"/>
              <a:gd name="connsiteY30" fmla="*/ 10512 h 860938"/>
              <a:gd name="connsiteX31" fmla="*/ 27430 w 1472486"/>
              <a:gd name="connsiteY31" fmla="*/ 10897 h 860938"/>
              <a:gd name="connsiteX32" fmla="*/ 30940 w 1472486"/>
              <a:gd name="connsiteY32" fmla="*/ 12870 h 860938"/>
              <a:gd name="connsiteX33" fmla="*/ 37913 w 1472486"/>
              <a:gd name="connsiteY33" fmla="*/ 16768 h 860938"/>
              <a:gd name="connsiteX34" fmla="*/ 44981 w 1472486"/>
              <a:gd name="connsiteY34" fmla="*/ 20761 h 860938"/>
              <a:gd name="connsiteX35" fmla="*/ 53012 w 1472486"/>
              <a:gd name="connsiteY35" fmla="*/ 25381 h 860938"/>
              <a:gd name="connsiteX36" fmla="*/ 69121 w 1472486"/>
              <a:gd name="connsiteY36" fmla="*/ 34716 h 860938"/>
              <a:gd name="connsiteX37" fmla="*/ 101434 w 1472486"/>
              <a:gd name="connsiteY37" fmla="*/ 54205 h 860938"/>
              <a:gd name="connsiteX38" fmla="*/ 230160 w 1472486"/>
              <a:gd name="connsiteY38" fmla="*/ 144238 h 860938"/>
              <a:gd name="connsiteX39" fmla="*/ 291854 w 1472486"/>
              <a:gd name="connsiteY39" fmla="*/ 198277 h 860938"/>
              <a:gd name="connsiteX40" fmla="*/ 306616 w 1472486"/>
              <a:gd name="connsiteY40" fmla="*/ 212953 h 860938"/>
              <a:gd name="connsiteX41" fmla="*/ 320994 w 1472486"/>
              <a:gd name="connsiteY41" fmla="*/ 228208 h 860938"/>
              <a:gd name="connsiteX42" fmla="*/ 347201 w 1472486"/>
              <a:gd name="connsiteY42" fmla="*/ 261026 h 860938"/>
              <a:gd name="connsiteX43" fmla="*/ 439381 w 1472486"/>
              <a:gd name="connsiteY43" fmla="*/ 410679 h 860938"/>
              <a:gd name="connsiteX44" fmla="*/ 501027 w 1472486"/>
              <a:gd name="connsiteY44" fmla="*/ 478914 h 860938"/>
              <a:gd name="connsiteX45" fmla="*/ 540987 w 1472486"/>
              <a:gd name="connsiteY45" fmla="*/ 503936 h 860938"/>
              <a:gd name="connsiteX46" fmla="*/ 585033 w 1472486"/>
              <a:gd name="connsiteY46" fmla="*/ 520826 h 860938"/>
              <a:gd name="connsiteX47" fmla="*/ 676541 w 1472486"/>
              <a:gd name="connsiteY47" fmla="*/ 544453 h 860938"/>
              <a:gd name="connsiteX48" fmla="*/ 766846 w 1472486"/>
              <a:gd name="connsiteY48" fmla="*/ 572796 h 860938"/>
              <a:gd name="connsiteX49" fmla="*/ 806853 w 1472486"/>
              <a:gd name="connsiteY49" fmla="*/ 597049 h 860938"/>
              <a:gd name="connsiteX50" fmla="*/ 840946 w 1472486"/>
              <a:gd name="connsiteY50" fmla="*/ 630829 h 860938"/>
              <a:gd name="connsiteX51" fmla="*/ 876626 w 1472486"/>
              <a:gd name="connsiteY51" fmla="*/ 665572 h 860938"/>
              <a:gd name="connsiteX52" fmla="*/ 920480 w 1472486"/>
              <a:gd name="connsiteY52" fmla="*/ 691172 h 860938"/>
              <a:gd name="connsiteX53" fmla="*/ 944763 w 1472486"/>
              <a:gd name="connsiteY53" fmla="*/ 698871 h 860938"/>
              <a:gd name="connsiteX54" fmla="*/ 969191 w 1472486"/>
              <a:gd name="connsiteY54" fmla="*/ 703972 h 860938"/>
              <a:gd name="connsiteX55" fmla="*/ 1018912 w 1472486"/>
              <a:gd name="connsiteY55" fmla="*/ 708976 h 860938"/>
              <a:gd name="connsiteX56" fmla="*/ 1044157 w 1472486"/>
              <a:gd name="connsiteY56" fmla="*/ 706715 h 860938"/>
              <a:gd name="connsiteX57" fmla="*/ 1068536 w 1472486"/>
              <a:gd name="connsiteY57" fmla="*/ 698678 h 860938"/>
              <a:gd name="connsiteX58" fmla="*/ 1089646 w 1472486"/>
              <a:gd name="connsiteY58" fmla="*/ 684290 h 860938"/>
              <a:gd name="connsiteX59" fmla="*/ 1107341 w 1472486"/>
              <a:gd name="connsiteY59" fmla="*/ 667448 h 860938"/>
              <a:gd name="connsiteX60" fmla="*/ 1145185 w 1472486"/>
              <a:gd name="connsiteY60" fmla="*/ 642089 h 860938"/>
              <a:gd name="connsiteX61" fmla="*/ 1190289 w 1472486"/>
              <a:gd name="connsiteY61" fmla="*/ 634246 h 860938"/>
              <a:gd name="connsiteX62" fmla="*/ 1283143 w 1472486"/>
              <a:gd name="connsiteY62" fmla="*/ 640501 h 860938"/>
              <a:gd name="connsiteX63" fmla="*/ 1372727 w 1472486"/>
              <a:gd name="connsiteY63" fmla="*/ 660279 h 860938"/>
              <a:gd name="connsiteX64" fmla="*/ 1415235 w 1472486"/>
              <a:gd name="connsiteY64" fmla="*/ 675196 h 860938"/>
              <a:gd name="connsiteX65" fmla="*/ 1435142 w 1472486"/>
              <a:gd name="connsiteY65" fmla="*/ 684724 h 860938"/>
              <a:gd name="connsiteX66" fmla="*/ 1452261 w 1472486"/>
              <a:gd name="connsiteY66" fmla="*/ 696850 h 860938"/>
              <a:gd name="connsiteX67" fmla="*/ 1455290 w 1472486"/>
              <a:gd name="connsiteY67" fmla="*/ 700363 h 860938"/>
              <a:gd name="connsiteX68" fmla="*/ 1457839 w 1472486"/>
              <a:gd name="connsiteY68" fmla="*/ 704693 h 860938"/>
              <a:gd name="connsiteX69" fmla="*/ 1461205 w 1472486"/>
              <a:gd name="connsiteY69" fmla="*/ 713981 h 860938"/>
              <a:gd name="connsiteX70" fmla="*/ 1460195 w 1472486"/>
              <a:gd name="connsiteY70" fmla="*/ 733277 h 860938"/>
              <a:gd name="connsiteX71" fmla="*/ 1435864 w 1472486"/>
              <a:gd name="connsiteY71" fmla="*/ 766432 h 860938"/>
              <a:gd name="connsiteX72" fmla="*/ 1365129 w 1472486"/>
              <a:gd name="connsiteY72" fmla="*/ 815081 h 860938"/>
              <a:gd name="connsiteX73" fmla="*/ 1328200 w 1472486"/>
              <a:gd name="connsiteY73" fmla="*/ 834666 h 860938"/>
              <a:gd name="connsiteX74" fmla="*/ 1288913 w 1472486"/>
              <a:gd name="connsiteY74" fmla="*/ 846455 h 860938"/>
              <a:gd name="connsiteX75" fmla="*/ 1248425 w 1472486"/>
              <a:gd name="connsiteY75" fmla="*/ 851027 h 860938"/>
              <a:gd name="connsiteX76" fmla="*/ 1207985 w 1472486"/>
              <a:gd name="connsiteY76" fmla="*/ 850546 h 860938"/>
              <a:gd name="connsiteX77" fmla="*/ 1129557 w 1472486"/>
              <a:gd name="connsiteY77" fmla="*/ 839237 h 860938"/>
              <a:gd name="connsiteX78" fmla="*/ 1056322 w 1472486"/>
              <a:gd name="connsiteY78" fmla="*/ 815995 h 860938"/>
              <a:gd name="connsiteX79" fmla="*/ 923365 w 1472486"/>
              <a:gd name="connsiteY79" fmla="*/ 753391 h 860938"/>
              <a:gd name="connsiteX80" fmla="*/ 797765 w 1472486"/>
              <a:gd name="connsiteY80" fmla="*/ 700892 h 860938"/>
              <a:gd name="connsiteX81" fmla="*/ 682696 w 1472486"/>
              <a:gd name="connsiteY81" fmla="*/ 656718 h 860938"/>
              <a:gd name="connsiteX82" fmla="*/ 632975 w 1472486"/>
              <a:gd name="connsiteY82" fmla="*/ 630540 h 860938"/>
              <a:gd name="connsiteX83" fmla="*/ 589601 w 1472486"/>
              <a:gd name="connsiteY83" fmla="*/ 599840 h 860938"/>
              <a:gd name="connsiteX84" fmla="*/ 510837 w 1472486"/>
              <a:gd name="connsiteY84" fmla="*/ 544935 h 860938"/>
              <a:gd name="connsiteX85" fmla="*/ 437121 w 1472486"/>
              <a:gd name="connsiteY85" fmla="*/ 511635 h 860938"/>
              <a:gd name="connsiteX86" fmla="*/ 372927 w 1472486"/>
              <a:gd name="connsiteY86" fmla="*/ 504562 h 860938"/>
              <a:gd name="connsiteX87" fmla="*/ 329698 w 1472486"/>
              <a:gd name="connsiteY87" fmla="*/ 523617 h 860938"/>
              <a:gd name="connsiteX88" fmla="*/ 308011 w 1472486"/>
              <a:gd name="connsiteY88" fmla="*/ 542817 h 860938"/>
              <a:gd name="connsiteX89" fmla="*/ 304597 w 1472486"/>
              <a:gd name="connsiteY89" fmla="*/ 545368 h 860938"/>
              <a:gd name="connsiteX90" fmla="*/ 301904 w 1472486"/>
              <a:gd name="connsiteY90" fmla="*/ 546811 h 860938"/>
              <a:gd name="connsiteX91" fmla="*/ 299788 w 1472486"/>
              <a:gd name="connsiteY91" fmla="*/ 548159 h 860938"/>
              <a:gd name="connsiteX92" fmla="*/ 302144 w 1472486"/>
              <a:gd name="connsiteY92" fmla="*/ 547341 h 860938"/>
              <a:gd name="connsiteX93" fmla="*/ 305030 w 1472486"/>
              <a:gd name="connsiteY93" fmla="*/ 546090 h 860938"/>
              <a:gd name="connsiteX94" fmla="*/ 308684 w 1472486"/>
              <a:gd name="connsiteY94" fmla="*/ 543732 h 860938"/>
              <a:gd name="connsiteX95" fmla="*/ 331092 w 1472486"/>
              <a:gd name="connsiteY95" fmla="*/ 525302 h 860938"/>
              <a:gd name="connsiteX96" fmla="*/ 373408 w 1472486"/>
              <a:gd name="connsiteY96" fmla="*/ 507738 h 860938"/>
              <a:gd name="connsiteX97" fmla="*/ 436015 w 1472486"/>
              <a:gd name="connsiteY97" fmla="*/ 515678 h 860938"/>
              <a:gd name="connsiteX98" fmla="*/ 508240 w 1472486"/>
              <a:gd name="connsiteY98" fmla="*/ 549362 h 860938"/>
              <a:gd name="connsiteX99" fmla="*/ 586139 w 1472486"/>
              <a:gd name="connsiteY99" fmla="*/ 604748 h 860938"/>
              <a:gd name="connsiteX100" fmla="*/ 629609 w 1472486"/>
              <a:gd name="connsiteY100" fmla="*/ 636026 h 860938"/>
              <a:gd name="connsiteX101" fmla="*/ 680099 w 1472486"/>
              <a:gd name="connsiteY101" fmla="*/ 663021 h 860938"/>
              <a:gd name="connsiteX102" fmla="*/ 795265 w 1472486"/>
              <a:gd name="connsiteY102" fmla="*/ 708062 h 860938"/>
              <a:gd name="connsiteX103" fmla="*/ 919999 w 1472486"/>
              <a:gd name="connsiteY103" fmla="*/ 760946 h 860938"/>
              <a:gd name="connsiteX104" fmla="*/ 1053197 w 1472486"/>
              <a:gd name="connsiteY104" fmla="*/ 824320 h 860938"/>
              <a:gd name="connsiteX105" fmla="*/ 1127682 w 1472486"/>
              <a:gd name="connsiteY105" fmla="*/ 848236 h 860938"/>
              <a:gd name="connsiteX106" fmla="*/ 1207600 w 1472486"/>
              <a:gd name="connsiteY106" fmla="*/ 860025 h 860938"/>
              <a:gd name="connsiteX107" fmla="*/ 1249002 w 1472486"/>
              <a:gd name="connsiteY107" fmla="*/ 860651 h 860938"/>
              <a:gd name="connsiteX108" fmla="*/ 1290933 w 1472486"/>
              <a:gd name="connsiteY108" fmla="*/ 855983 h 860938"/>
              <a:gd name="connsiteX109" fmla="*/ 1332143 w 1472486"/>
              <a:gd name="connsiteY109" fmla="*/ 843713 h 860938"/>
              <a:gd name="connsiteX110" fmla="*/ 1370515 w 1472486"/>
              <a:gd name="connsiteY110" fmla="*/ 823502 h 860938"/>
              <a:gd name="connsiteX111" fmla="*/ 1442836 w 1472486"/>
              <a:gd name="connsiteY111" fmla="*/ 773938 h 860938"/>
              <a:gd name="connsiteX112" fmla="*/ 1458560 w 1472486"/>
              <a:gd name="connsiteY112" fmla="*/ 757289 h 860938"/>
              <a:gd name="connsiteX113" fmla="*/ 1470053 w 1472486"/>
              <a:gd name="connsiteY113" fmla="*/ 736453 h 860938"/>
              <a:gd name="connsiteX114" fmla="*/ 1471351 w 1472486"/>
              <a:gd name="connsiteY114" fmla="*/ 711767 h 860938"/>
              <a:gd name="connsiteX115" fmla="*/ 1467119 w 1472486"/>
              <a:gd name="connsiteY115" fmla="*/ 700074 h 860938"/>
              <a:gd name="connsiteX116" fmla="*/ 1463994 w 1472486"/>
              <a:gd name="connsiteY116" fmla="*/ 694732 h 860938"/>
              <a:gd name="connsiteX117" fmla="*/ 1459762 w 1472486"/>
              <a:gd name="connsiteY117" fmla="*/ 689680 h 860938"/>
              <a:gd name="connsiteX118" fmla="*/ 1440336 w 1472486"/>
              <a:gd name="connsiteY118" fmla="*/ 675725 h 860938"/>
              <a:gd name="connsiteX119" fmla="*/ 1419418 w 1472486"/>
              <a:gd name="connsiteY119" fmla="*/ 665716 h 860938"/>
              <a:gd name="connsiteX120" fmla="*/ 1375901 w 1472486"/>
              <a:gd name="connsiteY120" fmla="*/ 650366 h 860938"/>
              <a:gd name="connsiteX121" fmla="*/ 1284922 w 1472486"/>
              <a:gd name="connsiteY121" fmla="*/ 630155 h 860938"/>
              <a:gd name="connsiteX122" fmla="*/ 1190097 w 1472486"/>
              <a:gd name="connsiteY122" fmla="*/ 623707 h 860938"/>
              <a:gd name="connsiteX123" fmla="*/ 1141675 w 1472486"/>
              <a:gd name="connsiteY123" fmla="*/ 632176 h 860938"/>
              <a:gd name="connsiteX124" fmla="*/ 1100177 w 1472486"/>
              <a:gd name="connsiteY124" fmla="*/ 659797 h 860938"/>
              <a:gd name="connsiteX125" fmla="*/ 1064016 w 1472486"/>
              <a:gd name="connsiteY125" fmla="*/ 689151 h 860938"/>
              <a:gd name="connsiteX126" fmla="*/ 1042329 w 1472486"/>
              <a:gd name="connsiteY126" fmla="*/ 696224 h 860938"/>
              <a:gd name="connsiteX127" fmla="*/ 1019008 w 1472486"/>
              <a:gd name="connsiteY127" fmla="*/ 698294 h 860938"/>
              <a:gd name="connsiteX128" fmla="*/ 971258 w 1472486"/>
              <a:gd name="connsiteY128" fmla="*/ 693433 h 860938"/>
              <a:gd name="connsiteX129" fmla="*/ 947408 w 1472486"/>
              <a:gd name="connsiteY129" fmla="*/ 688477 h 860938"/>
              <a:gd name="connsiteX130" fmla="*/ 924567 w 1472486"/>
              <a:gd name="connsiteY130" fmla="*/ 681211 h 860938"/>
              <a:gd name="connsiteX131" fmla="*/ 883502 w 1472486"/>
              <a:gd name="connsiteY131" fmla="*/ 657247 h 860938"/>
              <a:gd name="connsiteX132" fmla="*/ 848976 w 1472486"/>
              <a:gd name="connsiteY132" fmla="*/ 623563 h 860938"/>
              <a:gd name="connsiteX133" fmla="*/ 813826 w 1472486"/>
              <a:gd name="connsiteY133" fmla="*/ 588820 h 860938"/>
              <a:gd name="connsiteX134" fmla="*/ 771366 w 1472486"/>
              <a:gd name="connsiteY134" fmla="*/ 563076 h 860938"/>
              <a:gd name="connsiteX135" fmla="*/ 679233 w 1472486"/>
              <a:gd name="connsiteY135" fmla="*/ 534204 h 860938"/>
              <a:gd name="connsiteX136" fmla="*/ 588351 w 1472486"/>
              <a:gd name="connsiteY136" fmla="*/ 510866 h 860938"/>
              <a:gd name="connsiteX137" fmla="*/ 545603 w 1472486"/>
              <a:gd name="connsiteY137" fmla="*/ 494553 h 860938"/>
              <a:gd name="connsiteX138" fmla="*/ 507615 w 1472486"/>
              <a:gd name="connsiteY138" fmla="*/ 470830 h 860938"/>
              <a:gd name="connsiteX139" fmla="*/ 447892 w 1472486"/>
              <a:gd name="connsiteY139" fmla="*/ 404857 h 860938"/>
              <a:gd name="connsiteX140" fmla="*/ 355375 w 1472486"/>
              <a:gd name="connsiteY140" fmla="*/ 255395 h 860938"/>
              <a:gd name="connsiteX141" fmla="*/ 328255 w 1472486"/>
              <a:gd name="connsiteY141" fmla="*/ 221663 h 860938"/>
              <a:gd name="connsiteX142" fmla="*/ 313589 w 1472486"/>
              <a:gd name="connsiteY142" fmla="*/ 206217 h 860938"/>
              <a:gd name="connsiteX143" fmla="*/ 298586 w 1472486"/>
              <a:gd name="connsiteY143" fmla="*/ 191348 h 860938"/>
              <a:gd name="connsiteX144" fmla="*/ 236075 w 1472486"/>
              <a:gd name="connsiteY144" fmla="*/ 136924 h 860938"/>
              <a:gd name="connsiteX145" fmla="*/ 106147 w 1472486"/>
              <a:gd name="connsiteY145" fmla="*/ 46698 h 860938"/>
              <a:gd name="connsiteX146" fmla="*/ 73593 w 1472486"/>
              <a:gd name="connsiteY146" fmla="*/ 27258 h 860938"/>
              <a:gd name="connsiteX147" fmla="*/ 57388 w 1472486"/>
              <a:gd name="connsiteY147" fmla="*/ 17923 h 860938"/>
              <a:gd name="connsiteX148" fmla="*/ 49309 w 1472486"/>
              <a:gd name="connsiteY148" fmla="*/ 13303 h 860938"/>
              <a:gd name="connsiteX149" fmla="*/ 40269 w 1472486"/>
              <a:gd name="connsiteY149" fmla="*/ 8347 h 860938"/>
              <a:gd name="connsiteX150" fmla="*/ 31229 w 1472486"/>
              <a:gd name="connsiteY150" fmla="*/ 3390 h 860938"/>
              <a:gd name="connsiteX151" fmla="*/ 26709 w 1472486"/>
              <a:gd name="connsiteY151" fmla="*/ 936 h 860938"/>
              <a:gd name="connsiteX152" fmla="*/ 23631 w 1472486"/>
              <a:gd name="connsiteY152" fmla="*/ 22 h 860938"/>
              <a:gd name="connsiteX153" fmla="*/ 20794 w 1472486"/>
              <a:gd name="connsiteY153" fmla="*/ 359 h 860938"/>
              <a:gd name="connsiteX154" fmla="*/ 18775 w 1472486"/>
              <a:gd name="connsiteY154" fmla="*/ 2139 h 860938"/>
              <a:gd name="connsiteX155" fmla="*/ 17957 w 1472486"/>
              <a:gd name="connsiteY155" fmla="*/ 4497 h 860938"/>
              <a:gd name="connsiteX156" fmla="*/ 17861 w 1472486"/>
              <a:gd name="connsiteY156" fmla="*/ 6374 h 860938"/>
              <a:gd name="connsiteX157" fmla="*/ 17957 w 1472486"/>
              <a:gd name="connsiteY157" fmla="*/ 7577 h 860938"/>
              <a:gd name="connsiteX158" fmla="*/ 17957 w 1472486"/>
              <a:gd name="connsiteY158" fmla="*/ 7577 h 860938"/>
              <a:gd name="connsiteX159" fmla="*/ 14255 w 1472486"/>
              <a:gd name="connsiteY159" fmla="*/ 8972 h 860938"/>
              <a:gd name="connsiteX160" fmla="*/ 9061 w 1472486"/>
              <a:gd name="connsiteY160" fmla="*/ 14554 h 860938"/>
              <a:gd name="connsiteX161" fmla="*/ 8629 w 1472486"/>
              <a:gd name="connsiteY161" fmla="*/ 20954 h 860938"/>
              <a:gd name="connsiteX162" fmla="*/ 9302 w 1472486"/>
              <a:gd name="connsiteY162" fmla="*/ 25429 h 860938"/>
              <a:gd name="connsiteX163" fmla="*/ 10600 w 1472486"/>
              <a:gd name="connsiteY163" fmla="*/ 34380 h 860938"/>
              <a:gd name="connsiteX164" fmla="*/ 13678 w 1472486"/>
              <a:gd name="connsiteY164" fmla="*/ 52040 h 860938"/>
              <a:gd name="connsiteX165" fmla="*/ 30123 w 1472486"/>
              <a:gd name="connsiteY165" fmla="*/ 119841 h 860938"/>
              <a:gd name="connsiteX166" fmla="*/ 44981 w 1472486"/>
              <a:gd name="connsiteY166" fmla="*/ 183889 h 860938"/>
              <a:gd name="connsiteX167" fmla="*/ 35028 w 1472486"/>
              <a:gd name="connsiteY167" fmla="*/ 244087 h 860938"/>
              <a:gd name="connsiteX168" fmla="*/ 10071 w 1472486"/>
              <a:gd name="connsiteY168" fmla="*/ 298704 h 860938"/>
              <a:gd name="connsiteX169" fmla="*/ 1368 w 1472486"/>
              <a:gd name="connsiteY169" fmla="*/ 326902 h 860938"/>
              <a:gd name="connsiteX170" fmla="*/ 1127 w 1472486"/>
              <a:gd name="connsiteY170" fmla="*/ 355822 h 860938"/>
              <a:gd name="connsiteX171" fmla="*/ 23872 w 1472486"/>
              <a:gd name="connsiteY171" fmla="*/ 405145 h 860938"/>
              <a:gd name="connsiteX172" fmla="*/ 58061 w 1472486"/>
              <a:gd name="connsiteY172" fmla="*/ 441909 h 860938"/>
              <a:gd name="connsiteX173" fmla="*/ 92586 w 1472486"/>
              <a:gd name="connsiteY173" fmla="*/ 472610 h 860938"/>
              <a:gd name="connsiteX174" fmla="*/ 156108 w 1472486"/>
              <a:gd name="connsiteY174" fmla="*/ 522462 h 860938"/>
              <a:gd name="connsiteX175" fmla="*/ 185584 w 1472486"/>
              <a:gd name="connsiteY175" fmla="*/ 540459 h 860938"/>
              <a:gd name="connsiteX176" fmla="*/ 214244 w 1472486"/>
              <a:gd name="connsiteY176" fmla="*/ 550613 h 860938"/>
              <a:gd name="connsiteX177" fmla="*/ 261464 w 1472486"/>
              <a:gd name="connsiteY177" fmla="*/ 554414 h 860938"/>
              <a:gd name="connsiteX178" fmla="*/ 290363 w 1472486"/>
              <a:gd name="connsiteY178" fmla="*/ 551190 h 860938"/>
              <a:gd name="connsiteX179" fmla="*/ 297480 w 1472486"/>
              <a:gd name="connsiteY179" fmla="*/ 549073 h 860938"/>
              <a:gd name="connsiteX180" fmla="*/ 21516 w 1472486"/>
              <a:gd name="connsiteY180" fmla="*/ 9405 h 860938"/>
              <a:gd name="connsiteX181" fmla="*/ 21516 w 1472486"/>
              <a:gd name="connsiteY181" fmla="*/ 9405 h 860938"/>
              <a:gd name="connsiteX182" fmla="*/ 21516 w 1472486"/>
              <a:gd name="connsiteY182" fmla="*/ 9405 h 86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472486" h="860938">
                <a:moveTo>
                  <a:pt x="297480" y="548977"/>
                </a:moveTo>
                <a:cubicBezTo>
                  <a:pt x="299019" y="548351"/>
                  <a:pt x="299788" y="548014"/>
                  <a:pt x="299740" y="547918"/>
                </a:cubicBezTo>
                <a:cubicBezTo>
                  <a:pt x="299644" y="547677"/>
                  <a:pt x="296518" y="548832"/>
                  <a:pt x="290123" y="549987"/>
                </a:cubicBezTo>
                <a:cubicBezTo>
                  <a:pt x="283728" y="551142"/>
                  <a:pt x="274110" y="552153"/>
                  <a:pt x="261416" y="552153"/>
                </a:cubicBezTo>
                <a:cubicBezTo>
                  <a:pt x="248769" y="551960"/>
                  <a:pt x="232853" y="552008"/>
                  <a:pt x="215013" y="547437"/>
                </a:cubicBezTo>
                <a:cubicBezTo>
                  <a:pt x="206117" y="545127"/>
                  <a:pt x="196692" y="541903"/>
                  <a:pt x="187219" y="537091"/>
                </a:cubicBezTo>
                <a:cubicBezTo>
                  <a:pt x="177746" y="532375"/>
                  <a:pt x="168322" y="526023"/>
                  <a:pt x="158512" y="518998"/>
                </a:cubicBezTo>
                <a:cubicBezTo>
                  <a:pt x="138989" y="504899"/>
                  <a:pt x="118120" y="487912"/>
                  <a:pt x="95904" y="468664"/>
                </a:cubicBezTo>
                <a:cubicBezTo>
                  <a:pt x="84845" y="458992"/>
                  <a:pt x="73400" y="448790"/>
                  <a:pt x="61860" y="437819"/>
                </a:cubicBezTo>
                <a:cubicBezTo>
                  <a:pt x="50415" y="426703"/>
                  <a:pt x="38490" y="415347"/>
                  <a:pt x="28680" y="401536"/>
                </a:cubicBezTo>
                <a:cubicBezTo>
                  <a:pt x="18823" y="387919"/>
                  <a:pt x="10119" y="372280"/>
                  <a:pt x="7426" y="354764"/>
                </a:cubicBezTo>
                <a:cubicBezTo>
                  <a:pt x="6032" y="346054"/>
                  <a:pt x="6176" y="337007"/>
                  <a:pt x="7859" y="328009"/>
                </a:cubicBezTo>
                <a:cubicBezTo>
                  <a:pt x="9542" y="319010"/>
                  <a:pt x="12572" y="310108"/>
                  <a:pt x="16322" y="301254"/>
                </a:cubicBezTo>
                <a:cubicBezTo>
                  <a:pt x="23824" y="283546"/>
                  <a:pt x="33970" y="266126"/>
                  <a:pt x="41664" y="246638"/>
                </a:cubicBezTo>
                <a:cubicBezTo>
                  <a:pt x="49357" y="227245"/>
                  <a:pt x="54695" y="205591"/>
                  <a:pt x="52483" y="183071"/>
                </a:cubicBezTo>
                <a:cubicBezTo>
                  <a:pt x="50079" y="160887"/>
                  <a:pt x="43539" y="139522"/>
                  <a:pt x="37769" y="117676"/>
                </a:cubicBezTo>
                <a:cubicBezTo>
                  <a:pt x="31806" y="95829"/>
                  <a:pt x="26180" y="73501"/>
                  <a:pt x="21804" y="50452"/>
                </a:cubicBezTo>
                <a:cubicBezTo>
                  <a:pt x="20794" y="44677"/>
                  <a:pt x="19736" y="38855"/>
                  <a:pt x="18823" y="33032"/>
                </a:cubicBezTo>
                <a:lnTo>
                  <a:pt x="17573" y="24226"/>
                </a:lnTo>
                <a:lnTo>
                  <a:pt x="16947" y="19799"/>
                </a:lnTo>
                <a:cubicBezTo>
                  <a:pt x="16803" y="18644"/>
                  <a:pt x="16899" y="17538"/>
                  <a:pt x="16947" y="17297"/>
                </a:cubicBezTo>
                <a:cubicBezTo>
                  <a:pt x="17140" y="16960"/>
                  <a:pt x="17092" y="16864"/>
                  <a:pt x="17813" y="16527"/>
                </a:cubicBezTo>
                <a:cubicBezTo>
                  <a:pt x="18630" y="16142"/>
                  <a:pt x="20073" y="15757"/>
                  <a:pt x="21660" y="15180"/>
                </a:cubicBezTo>
                <a:lnTo>
                  <a:pt x="22910" y="14699"/>
                </a:lnTo>
                <a:lnTo>
                  <a:pt x="23535" y="14458"/>
                </a:lnTo>
                <a:cubicBezTo>
                  <a:pt x="23535" y="14458"/>
                  <a:pt x="25411" y="13351"/>
                  <a:pt x="25747" y="12629"/>
                </a:cubicBezTo>
                <a:lnTo>
                  <a:pt x="26228" y="11523"/>
                </a:lnTo>
                <a:lnTo>
                  <a:pt x="26228" y="11426"/>
                </a:lnTo>
                <a:cubicBezTo>
                  <a:pt x="26228" y="11426"/>
                  <a:pt x="26228" y="11186"/>
                  <a:pt x="26228" y="11186"/>
                </a:cubicBezTo>
                <a:lnTo>
                  <a:pt x="26324" y="10368"/>
                </a:lnTo>
                <a:lnTo>
                  <a:pt x="26757" y="10512"/>
                </a:lnTo>
                <a:lnTo>
                  <a:pt x="27430" y="10897"/>
                </a:lnTo>
                <a:lnTo>
                  <a:pt x="30940" y="12870"/>
                </a:lnTo>
                <a:lnTo>
                  <a:pt x="37913" y="16768"/>
                </a:lnTo>
                <a:lnTo>
                  <a:pt x="44981" y="20761"/>
                </a:lnTo>
                <a:lnTo>
                  <a:pt x="53012" y="25381"/>
                </a:lnTo>
                <a:cubicBezTo>
                  <a:pt x="58349" y="28461"/>
                  <a:pt x="63783" y="31541"/>
                  <a:pt x="69121" y="34716"/>
                </a:cubicBezTo>
                <a:cubicBezTo>
                  <a:pt x="79892" y="41020"/>
                  <a:pt x="90663" y="47516"/>
                  <a:pt x="101434" y="54205"/>
                </a:cubicBezTo>
                <a:cubicBezTo>
                  <a:pt x="144519" y="80960"/>
                  <a:pt x="188037" y="110458"/>
                  <a:pt x="230160" y="144238"/>
                </a:cubicBezTo>
                <a:cubicBezTo>
                  <a:pt x="251222" y="161128"/>
                  <a:pt x="271947" y="179029"/>
                  <a:pt x="291854" y="198277"/>
                </a:cubicBezTo>
                <a:cubicBezTo>
                  <a:pt x="296759" y="203137"/>
                  <a:pt x="301712" y="208045"/>
                  <a:pt x="306616" y="212953"/>
                </a:cubicBezTo>
                <a:cubicBezTo>
                  <a:pt x="311377" y="218006"/>
                  <a:pt x="316185" y="223107"/>
                  <a:pt x="320994" y="228208"/>
                </a:cubicBezTo>
                <a:cubicBezTo>
                  <a:pt x="330467" y="238409"/>
                  <a:pt x="339074" y="249429"/>
                  <a:pt x="347201" y="261026"/>
                </a:cubicBezTo>
                <a:cubicBezTo>
                  <a:pt x="379707" y="307462"/>
                  <a:pt x="404808" y="360971"/>
                  <a:pt x="439381" y="410679"/>
                </a:cubicBezTo>
                <a:cubicBezTo>
                  <a:pt x="456644" y="435461"/>
                  <a:pt x="476504" y="459377"/>
                  <a:pt x="501027" y="478914"/>
                </a:cubicBezTo>
                <a:cubicBezTo>
                  <a:pt x="513241" y="488682"/>
                  <a:pt x="526657" y="497199"/>
                  <a:pt x="540987" y="503936"/>
                </a:cubicBezTo>
                <a:cubicBezTo>
                  <a:pt x="555268" y="510625"/>
                  <a:pt x="570030" y="516014"/>
                  <a:pt x="585033" y="520826"/>
                </a:cubicBezTo>
                <a:cubicBezTo>
                  <a:pt x="615087" y="530210"/>
                  <a:pt x="645862" y="536995"/>
                  <a:pt x="676541" y="544453"/>
                </a:cubicBezTo>
                <a:cubicBezTo>
                  <a:pt x="707171" y="551960"/>
                  <a:pt x="737946" y="560092"/>
                  <a:pt x="766846" y="572796"/>
                </a:cubicBezTo>
                <a:cubicBezTo>
                  <a:pt x="781320" y="579244"/>
                  <a:pt x="794784" y="586895"/>
                  <a:pt x="806853" y="597049"/>
                </a:cubicBezTo>
                <a:cubicBezTo>
                  <a:pt x="819019" y="607058"/>
                  <a:pt x="829886" y="618847"/>
                  <a:pt x="840946" y="630829"/>
                </a:cubicBezTo>
                <a:cubicBezTo>
                  <a:pt x="852006" y="642811"/>
                  <a:pt x="863450" y="654985"/>
                  <a:pt x="876626" y="665572"/>
                </a:cubicBezTo>
                <a:cubicBezTo>
                  <a:pt x="889705" y="676206"/>
                  <a:pt x="904612" y="684964"/>
                  <a:pt x="920480" y="691172"/>
                </a:cubicBezTo>
                <a:cubicBezTo>
                  <a:pt x="928366" y="694492"/>
                  <a:pt x="936589" y="696609"/>
                  <a:pt x="944763" y="698871"/>
                </a:cubicBezTo>
                <a:cubicBezTo>
                  <a:pt x="952890" y="700700"/>
                  <a:pt x="960968" y="702576"/>
                  <a:pt x="969191" y="703972"/>
                </a:cubicBezTo>
                <a:cubicBezTo>
                  <a:pt x="985540" y="706907"/>
                  <a:pt x="1002130" y="709024"/>
                  <a:pt x="1018912" y="708976"/>
                </a:cubicBezTo>
                <a:cubicBezTo>
                  <a:pt x="1027279" y="708976"/>
                  <a:pt x="1035790" y="708302"/>
                  <a:pt x="1044157" y="706715"/>
                </a:cubicBezTo>
                <a:cubicBezTo>
                  <a:pt x="1052524" y="705175"/>
                  <a:pt x="1060842" y="702576"/>
                  <a:pt x="1068536" y="698678"/>
                </a:cubicBezTo>
                <a:cubicBezTo>
                  <a:pt x="1076278" y="694829"/>
                  <a:pt x="1083347" y="689824"/>
                  <a:pt x="1089646" y="684290"/>
                </a:cubicBezTo>
                <a:cubicBezTo>
                  <a:pt x="1095993" y="678805"/>
                  <a:pt x="1101619" y="672934"/>
                  <a:pt x="1107341" y="667448"/>
                </a:cubicBezTo>
                <a:cubicBezTo>
                  <a:pt x="1118594" y="656381"/>
                  <a:pt x="1130807" y="647190"/>
                  <a:pt x="1145185" y="642089"/>
                </a:cubicBezTo>
                <a:cubicBezTo>
                  <a:pt x="1159418" y="636748"/>
                  <a:pt x="1174758" y="634919"/>
                  <a:pt x="1190289" y="634246"/>
                </a:cubicBezTo>
                <a:cubicBezTo>
                  <a:pt x="1221449" y="633139"/>
                  <a:pt x="1252609" y="635978"/>
                  <a:pt x="1283143" y="640501"/>
                </a:cubicBezTo>
                <a:cubicBezTo>
                  <a:pt x="1313678" y="645169"/>
                  <a:pt x="1343683" y="651713"/>
                  <a:pt x="1372727" y="660279"/>
                </a:cubicBezTo>
                <a:cubicBezTo>
                  <a:pt x="1387249" y="664561"/>
                  <a:pt x="1401530" y="669422"/>
                  <a:pt x="1415235" y="675196"/>
                </a:cubicBezTo>
                <a:cubicBezTo>
                  <a:pt x="1422111" y="678035"/>
                  <a:pt x="1428795" y="681163"/>
                  <a:pt x="1435142" y="684724"/>
                </a:cubicBezTo>
                <a:cubicBezTo>
                  <a:pt x="1441442" y="688236"/>
                  <a:pt x="1447597" y="692182"/>
                  <a:pt x="1452261" y="696850"/>
                </a:cubicBezTo>
                <a:cubicBezTo>
                  <a:pt x="1453559" y="697957"/>
                  <a:pt x="1454281" y="699208"/>
                  <a:pt x="1455290" y="700363"/>
                </a:cubicBezTo>
                <a:cubicBezTo>
                  <a:pt x="1456156" y="701710"/>
                  <a:pt x="1456973" y="703250"/>
                  <a:pt x="1457839" y="704693"/>
                </a:cubicBezTo>
                <a:cubicBezTo>
                  <a:pt x="1459282" y="707725"/>
                  <a:pt x="1460580" y="710805"/>
                  <a:pt x="1461205" y="713981"/>
                </a:cubicBezTo>
                <a:cubicBezTo>
                  <a:pt x="1462647" y="720332"/>
                  <a:pt x="1462311" y="726973"/>
                  <a:pt x="1460195" y="733277"/>
                </a:cubicBezTo>
                <a:cubicBezTo>
                  <a:pt x="1456060" y="745981"/>
                  <a:pt x="1446250" y="756952"/>
                  <a:pt x="1435864" y="766432"/>
                </a:cubicBezTo>
                <a:cubicBezTo>
                  <a:pt x="1414610" y="785487"/>
                  <a:pt x="1389269" y="799731"/>
                  <a:pt x="1365129" y="815081"/>
                </a:cubicBezTo>
                <a:cubicBezTo>
                  <a:pt x="1353108" y="822636"/>
                  <a:pt x="1340942" y="829373"/>
                  <a:pt x="1328200" y="834666"/>
                </a:cubicBezTo>
                <a:cubicBezTo>
                  <a:pt x="1315505" y="840007"/>
                  <a:pt x="1302281" y="843857"/>
                  <a:pt x="1288913" y="846455"/>
                </a:cubicBezTo>
                <a:cubicBezTo>
                  <a:pt x="1275546" y="849054"/>
                  <a:pt x="1261985" y="850594"/>
                  <a:pt x="1248425" y="851027"/>
                </a:cubicBezTo>
                <a:cubicBezTo>
                  <a:pt x="1234913" y="851701"/>
                  <a:pt x="1221401" y="851267"/>
                  <a:pt x="1207985" y="850546"/>
                </a:cubicBezTo>
                <a:cubicBezTo>
                  <a:pt x="1181153" y="848717"/>
                  <a:pt x="1154898" y="845012"/>
                  <a:pt x="1129557" y="839237"/>
                </a:cubicBezTo>
                <a:cubicBezTo>
                  <a:pt x="1104168" y="833463"/>
                  <a:pt x="1079740" y="825475"/>
                  <a:pt x="1056322" y="815995"/>
                </a:cubicBezTo>
                <a:cubicBezTo>
                  <a:pt x="1009535" y="796940"/>
                  <a:pt x="966210" y="773457"/>
                  <a:pt x="923365" y="753391"/>
                </a:cubicBezTo>
                <a:cubicBezTo>
                  <a:pt x="880665" y="732892"/>
                  <a:pt x="838349" y="715954"/>
                  <a:pt x="797765" y="700892"/>
                </a:cubicBezTo>
                <a:cubicBezTo>
                  <a:pt x="757229" y="685686"/>
                  <a:pt x="718279" y="672212"/>
                  <a:pt x="682696" y="656718"/>
                </a:cubicBezTo>
                <a:cubicBezTo>
                  <a:pt x="664904" y="648922"/>
                  <a:pt x="648170" y="640597"/>
                  <a:pt x="632975" y="630540"/>
                </a:cubicBezTo>
                <a:cubicBezTo>
                  <a:pt x="617684" y="620628"/>
                  <a:pt x="603450" y="610041"/>
                  <a:pt x="589601" y="599840"/>
                </a:cubicBezTo>
                <a:cubicBezTo>
                  <a:pt x="562000" y="579340"/>
                  <a:pt x="536130" y="560285"/>
                  <a:pt x="510837" y="544935"/>
                </a:cubicBezTo>
                <a:cubicBezTo>
                  <a:pt x="485592" y="529584"/>
                  <a:pt x="460635" y="518035"/>
                  <a:pt x="437121" y="511635"/>
                </a:cubicBezTo>
                <a:cubicBezTo>
                  <a:pt x="413752" y="504899"/>
                  <a:pt x="391728" y="501963"/>
                  <a:pt x="372927" y="504562"/>
                </a:cubicBezTo>
                <a:cubicBezTo>
                  <a:pt x="354077" y="507257"/>
                  <a:pt x="339507" y="515485"/>
                  <a:pt x="329698" y="523617"/>
                </a:cubicBezTo>
                <a:cubicBezTo>
                  <a:pt x="319840" y="531846"/>
                  <a:pt x="313204" y="538968"/>
                  <a:pt x="308011" y="542817"/>
                </a:cubicBezTo>
                <a:cubicBezTo>
                  <a:pt x="306713" y="543780"/>
                  <a:pt x="305559" y="544646"/>
                  <a:pt x="304597" y="545368"/>
                </a:cubicBezTo>
                <a:cubicBezTo>
                  <a:pt x="303539" y="545945"/>
                  <a:pt x="302625" y="546426"/>
                  <a:pt x="301904" y="546811"/>
                </a:cubicBezTo>
                <a:cubicBezTo>
                  <a:pt x="300461" y="547629"/>
                  <a:pt x="299740" y="548062"/>
                  <a:pt x="299788" y="548159"/>
                </a:cubicBezTo>
                <a:cubicBezTo>
                  <a:pt x="299836" y="548255"/>
                  <a:pt x="300606" y="547966"/>
                  <a:pt x="302144" y="547341"/>
                </a:cubicBezTo>
                <a:cubicBezTo>
                  <a:pt x="302914" y="547004"/>
                  <a:pt x="303875" y="546571"/>
                  <a:pt x="305030" y="546090"/>
                </a:cubicBezTo>
                <a:cubicBezTo>
                  <a:pt x="306087" y="545416"/>
                  <a:pt x="307290" y="544646"/>
                  <a:pt x="308684" y="543732"/>
                </a:cubicBezTo>
                <a:cubicBezTo>
                  <a:pt x="314214" y="540075"/>
                  <a:pt x="321138" y="533145"/>
                  <a:pt x="331092" y="525302"/>
                </a:cubicBezTo>
                <a:cubicBezTo>
                  <a:pt x="340998" y="517554"/>
                  <a:pt x="355135" y="509999"/>
                  <a:pt x="373408" y="507738"/>
                </a:cubicBezTo>
                <a:cubicBezTo>
                  <a:pt x="391680" y="505572"/>
                  <a:pt x="413078" y="508748"/>
                  <a:pt x="436015" y="515678"/>
                </a:cubicBezTo>
                <a:cubicBezTo>
                  <a:pt x="459145" y="522318"/>
                  <a:pt x="483380" y="533867"/>
                  <a:pt x="508240" y="549362"/>
                </a:cubicBezTo>
                <a:cubicBezTo>
                  <a:pt x="533149" y="564808"/>
                  <a:pt x="558682" y="584008"/>
                  <a:pt x="586139" y="604748"/>
                </a:cubicBezTo>
                <a:cubicBezTo>
                  <a:pt x="599892" y="615045"/>
                  <a:pt x="614125" y="625825"/>
                  <a:pt x="629609" y="636026"/>
                </a:cubicBezTo>
                <a:cubicBezTo>
                  <a:pt x="645044" y="646372"/>
                  <a:pt x="662211" y="655082"/>
                  <a:pt x="680099" y="663021"/>
                </a:cubicBezTo>
                <a:cubicBezTo>
                  <a:pt x="715923" y="678949"/>
                  <a:pt x="754872" y="692663"/>
                  <a:pt x="795265" y="708062"/>
                </a:cubicBezTo>
                <a:cubicBezTo>
                  <a:pt x="835705" y="723316"/>
                  <a:pt x="877587" y="740302"/>
                  <a:pt x="919999" y="760946"/>
                </a:cubicBezTo>
                <a:cubicBezTo>
                  <a:pt x="962555" y="781108"/>
                  <a:pt x="1005784" y="804784"/>
                  <a:pt x="1053197" y="824320"/>
                </a:cubicBezTo>
                <a:cubicBezTo>
                  <a:pt x="1076903" y="834040"/>
                  <a:pt x="1101812" y="842269"/>
                  <a:pt x="1127682" y="848236"/>
                </a:cubicBezTo>
                <a:cubicBezTo>
                  <a:pt x="1153552" y="854251"/>
                  <a:pt x="1180336" y="858100"/>
                  <a:pt x="1207600" y="860025"/>
                </a:cubicBezTo>
                <a:cubicBezTo>
                  <a:pt x="1221257" y="860795"/>
                  <a:pt x="1235105" y="861277"/>
                  <a:pt x="1249002" y="860651"/>
                </a:cubicBezTo>
                <a:cubicBezTo>
                  <a:pt x="1262947" y="860218"/>
                  <a:pt x="1276988" y="858678"/>
                  <a:pt x="1290933" y="855983"/>
                </a:cubicBezTo>
                <a:cubicBezTo>
                  <a:pt x="1304878" y="853288"/>
                  <a:pt x="1318775" y="849295"/>
                  <a:pt x="1332143" y="843713"/>
                </a:cubicBezTo>
                <a:cubicBezTo>
                  <a:pt x="1345510" y="838227"/>
                  <a:pt x="1358301" y="831153"/>
                  <a:pt x="1370515" y="823502"/>
                </a:cubicBezTo>
                <a:cubicBezTo>
                  <a:pt x="1394606" y="808248"/>
                  <a:pt x="1420284" y="794053"/>
                  <a:pt x="1442836" y="773938"/>
                </a:cubicBezTo>
                <a:cubicBezTo>
                  <a:pt x="1448414" y="768886"/>
                  <a:pt x="1453800" y="763400"/>
                  <a:pt x="1458560" y="757289"/>
                </a:cubicBezTo>
                <a:cubicBezTo>
                  <a:pt x="1463321" y="751178"/>
                  <a:pt x="1467504" y="744248"/>
                  <a:pt x="1470053" y="736453"/>
                </a:cubicBezTo>
                <a:cubicBezTo>
                  <a:pt x="1472697" y="728705"/>
                  <a:pt x="1473275" y="719948"/>
                  <a:pt x="1471351" y="711767"/>
                </a:cubicBezTo>
                <a:cubicBezTo>
                  <a:pt x="1470485" y="707677"/>
                  <a:pt x="1468899" y="703827"/>
                  <a:pt x="1467119" y="700074"/>
                </a:cubicBezTo>
                <a:cubicBezTo>
                  <a:pt x="1466110" y="698294"/>
                  <a:pt x="1465148" y="696513"/>
                  <a:pt x="1463994" y="694732"/>
                </a:cubicBezTo>
                <a:cubicBezTo>
                  <a:pt x="1462647" y="692952"/>
                  <a:pt x="1461301" y="691076"/>
                  <a:pt x="1459762" y="689680"/>
                </a:cubicBezTo>
                <a:cubicBezTo>
                  <a:pt x="1453800" y="683713"/>
                  <a:pt x="1447116" y="679575"/>
                  <a:pt x="1440336" y="675725"/>
                </a:cubicBezTo>
                <a:cubicBezTo>
                  <a:pt x="1433556" y="671924"/>
                  <a:pt x="1426535" y="668651"/>
                  <a:pt x="1419418" y="665716"/>
                </a:cubicBezTo>
                <a:cubicBezTo>
                  <a:pt x="1405233" y="659701"/>
                  <a:pt x="1390663" y="654793"/>
                  <a:pt x="1375901" y="650366"/>
                </a:cubicBezTo>
                <a:cubicBezTo>
                  <a:pt x="1346328" y="641608"/>
                  <a:pt x="1315938" y="634919"/>
                  <a:pt x="1284922" y="630155"/>
                </a:cubicBezTo>
                <a:cubicBezTo>
                  <a:pt x="1253907" y="625488"/>
                  <a:pt x="1222267" y="622600"/>
                  <a:pt x="1190097" y="623707"/>
                </a:cubicBezTo>
                <a:cubicBezTo>
                  <a:pt x="1174085" y="624333"/>
                  <a:pt x="1157399" y="626258"/>
                  <a:pt x="1141675" y="632176"/>
                </a:cubicBezTo>
                <a:cubicBezTo>
                  <a:pt x="1125758" y="637758"/>
                  <a:pt x="1111765" y="648393"/>
                  <a:pt x="1100177" y="659797"/>
                </a:cubicBezTo>
                <a:cubicBezTo>
                  <a:pt x="1088492" y="671202"/>
                  <a:pt x="1077721" y="682510"/>
                  <a:pt x="1064016" y="689151"/>
                </a:cubicBezTo>
                <a:cubicBezTo>
                  <a:pt x="1057236" y="692567"/>
                  <a:pt x="1049927" y="694877"/>
                  <a:pt x="1042329" y="696224"/>
                </a:cubicBezTo>
                <a:cubicBezTo>
                  <a:pt x="1034732" y="697668"/>
                  <a:pt x="1026942" y="698341"/>
                  <a:pt x="1019008" y="698294"/>
                </a:cubicBezTo>
                <a:cubicBezTo>
                  <a:pt x="1003188" y="698341"/>
                  <a:pt x="987175" y="696321"/>
                  <a:pt x="971258" y="693433"/>
                </a:cubicBezTo>
                <a:cubicBezTo>
                  <a:pt x="963276" y="692086"/>
                  <a:pt x="955342" y="690209"/>
                  <a:pt x="947408" y="688477"/>
                </a:cubicBezTo>
                <a:cubicBezTo>
                  <a:pt x="939714" y="686311"/>
                  <a:pt x="931924" y="684339"/>
                  <a:pt x="924567" y="681211"/>
                </a:cubicBezTo>
                <a:cubicBezTo>
                  <a:pt x="909709" y="675388"/>
                  <a:pt x="895908" y="667256"/>
                  <a:pt x="883502" y="657247"/>
                </a:cubicBezTo>
                <a:cubicBezTo>
                  <a:pt x="871048" y="647238"/>
                  <a:pt x="859988" y="635497"/>
                  <a:pt x="848976" y="623563"/>
                </a:cubicBezTo>
                <a:cubicBezTo>
                  <a:pt x="837917" y="611629"/>
                  <a:pt x="826713" y="599406"/>
                  <a:pt x="813826" y="588820"/>
                </a:cubicBezTo>
                <a:cubicBezTo>
                  <a:pt x="801083" y="578089"/>
                  <a:pt x="786224" y="569668"/>
                  <a:pt x="771366" y="563076"/>
                </a:cubicBezTo>
                <a:cubicBezTo>
                  <a:pt x="741312" y="549891"/>
                  <a:pt x="710056" y="541759"/>
                  <a:pt x="679233" y="534204"/>
                </a:cubicBezTo>
                <a:cubicBezTo>
                  <a:pt x="648410" y="526745"/>
                  <a:pt x="617780" y="520008"/>
                  <a:pt x="588351" y="510866"/>
                </a:cubicBezTo>
                <a:cubicBezTo>
                  <a:pt x="573685" y="506150"/>
                  <a:pt x="559307" y="500953"/>
                  <a:pt x="545603" y="494553"/>
                </a:cubicBezTo>
                <a:cubicBezTo>
                  <a:pt x="531995" y="488201"/>
                  <a:pt x="519300" y="480117"/>
                  <a:pt x="507615" y="470830"/>
                </a:cubicBezTo>
                <a:cubicBezTo>
                  <a:pt x="484197" y="452207"/>
                  <a:pt x="464867" y="429109"/>
                  <a:pt x="447892" y="404857"/>
                </a:cubicBezTo>
                <a:cubicBezTo>
                  <a:pt x="413848" y="356159"/>
                  <a:pt x="388699" y="302746"/>
                  <a:pt x="355375" y="255395"/>
                </a:cubicBezTo>
                <a:cubicBezTo>
                  <a:pt x="347008" y="243606"/>
                  <a:pt x="338065" y="232201"/>
                  <a:pt x="328255" y="221663"/>
                </a:cubicBezTo>
                <a:cubicBezTo>
                  <a:pt x="323350" y="216515"/>
                  <a:pt x="318494" y="211366"/>
                  <a:pt x="313589" y="206217"/>
                </a:cubicBezTo>
                <a:cubicBezTo>
                  <a:pt x="308588" y="201260"/>
                  <a:pt x="303539" y="196304"/>
                  <a:pt x="298586" y="191348"/>
                </a:cubicBezTo>
                <a:cubicBezTo>
                  <a:pt x="278342" y="171907"/>
                  <a:pt x="257328" y="153862"/>
                  <a:pt x="236075" y="136924"/>
                </a:cubicBezTo>
                <a:cubicBezTo>
                  <a:pt x="193471" y="102951"/>
                  <a:pt x="149568" y="73405"/>
                  <a:pt x="106147" y="46698"/>
                </a:cubicBezTo>
                <a:cubicBezTo>
                  <a:pt x="95279" y="40058"/>
                  <a:pt x="84412" y="33562"/>
                  <a:pt x="73593" y="27258"/>
                </a:cubicBezTo>
                <a:cubicBezTo>
                  <a:pt x="68207" y="24034"/>
                  <a:pt x="62773" y="21002"/>
                  <a:pt x="57388" y="17923"/>
                </a:cubicBezTo>
                <a:lnTo>
                  <a:pt x="49309" y="13303"/>
                </a:lnTo>
                <a:lnTo>
                  <a:pt x="40269" y="8347"/>
                </a:lnTo>
                <a:lnTo>
                  <a:pt x="31229" y="3390"/>
                </a:lnTo>
                <a:lnTo>
                  <a:pt x="26709" y="936"/>
                </a:lnTo>
                <a:cubicBezTo>
                  <a:pt x="26036" y="551"/>
                  <a:pt x="24593" y="263"/>
                  <a:pt x="23631" y="22"/>
                </a:cubicBezTo>
                <a:cubicBezTo>
                  <a:pt x="22622" y="-26"/>
                  <a:pt x="21708" y="-26"/>
                  <a:pt x="20794" y="359"/>
                </a:cubicBezTo>
                <a:cubicBezTo>
                  <a:pt x="19736" y="744"/>
                  <a:pt x="19015" y="1562"/>
                  <a:pt x="18775" y="2139"/>
                </a:cubicBezTo>
                <a:cubicBezTo>
                  <a:pt x="18438" y="2765"/>
                  <a:pt x="18150" y="3487"/>
                  <a:pt x="17957" y="4497"/>
                </a:cubicBezTo>
                <a:cubicBezTo>
                  <a:pt x="17861" y="5026"/>
                  <a:pt x="17813" y="5652"/>
                  <a:pt x="17861" y="6374"/>
                </a:cubicBezTo>
                <a:lnTo>
                  <a:pt x="17957" y="7577"/>
                </a:lnTo>
                <a:cubicBezTo>
                  <a:pt x="17957" y="7577"/>
                  <a:pt x="17957" y="7577"/>
                  <a:pt x="17957" y="7577"/>
                </a:cubicBezTo>
                <a:cubicBezTo>
                  <a:pt x="16899" y="7913"/>
                  <a:pt x="15697" y="8299"/>
                  <a:pt x="14255" y="8972"/>
                </a:cubicBezTo>
                <a:cubicBezTo>
                  <a:pt x="12235" y="9838"/>
                  <a:pt x="9783" y="12004"/>
                  <a:pt x="9061" y="14554"/>
                </a:cubicBezTo>
                <a:cubicBezTo>
                  <a:pt x="8244" y="17201"/>
                  <a:pt x="8436" y="19126"/>
                  <a:pt x="8629" y="20954"/>
                </a:cubicBezTo>
                <a:lnTo>
                  <a:pt x="9302" y="25429"/>
                </a:lnTo>
                <a:lnTo>
                  <a:pt x="10600" y="34380"/>
                </a:lnTo>
                <a:cubicBezTo>
                  <a:pt x="11562" y="40298"/>
                  <a:pt x="12620" y="46217"/>
                  <a:pt x="13678" y="52040"/>
                </a:cubicBezTo>
                <a:cubicBezTo>
                  <a:pt x="18198" y="75426"/>
                  <a:pt x="24016" y="97995"/>
                  <a:pt x="30123" y="119841"/>
                </a:cubicBezTo>
                <a:cubicBezTo>
                  <a:pt x="36038" y="141687"/>
                  <a:pt x="42625" y="162957"/>
                  <a:pt x="44981" y="183889"/>
                </a:cubicBezTo>
                <a:cubicBezTo>
                  <a:pt x="47145" y="204677"/>
                  <a:pt x="42337" y="225369"/>
                  <a:pt x="35028" y="244087"/>
                </a:cubicBezTo>
                <a:cubicBezTo>
                  <a:pt x="27719" y="262999"/>
                  <a:pt x="17717" y="280418"/>
                  <a:pt x="10071" y="298704"/>
                </a:cubicBezTo>
                <a:cubicBezTo>
                  <a:pt x="6272" y="307847"/>
                  <a:pt x="3099" y="317230"/>
                  <a:pt x="1368" y="326902"/>
                </a:cubicBezTo>
                <a:cubicBezTo>
                  <a:pt x="-363" y="336574"/>
                  <a:pt x="-460" y="346439"/>
                  <a:pt x="1127" y="355822"/>
                </a:cubicBezTo>
                <a:cubicBezTo>
                  <a:pt x="4205" y="374830"/>
                  <a:pt x="13581" y="391143"/>
                  <a:pt x="23872" y="405145"/>
                </a:cubicBezTo>
                <a:cubicBezTo>
                  <a:pt x="34162" y="419341"/>
                  <a:pt x="46520" y="430938"/>
                  <a:pt x="58061" y="441909"/>
                </a:cubicBezTo>
                <a:cubicBezTo>
                  <a:pt x="69794" y="452881"/>
                  <a:pt x="81334" y="463034"/>
                  <a:pt x="92586" y="472610"/>
                </a:cubicBezTo>
                <a:cubicBezTo>
                  <a:pt x="115091" y="491713"/>
                  <a:pt x="136200" y="508508"/>
                  <a:pt x="156108" y="522462"/>
                </a:cubicBezTo>
                <a:cubicBezTo>
                  <a:pt x="166062" y="529392"/>
                  <a:pt x="175775" y="535744"/>
                  <a:pt x="185584" y="540459"/>
                </a:cubicBezTo>
                <a:cubicBezTo>
                  <a:pt x="195346" y="545223"/>
                  <a:pt x="205059" y="548399"/>
                  <a:pt x="214244" y="550613"/>
                </a:cubicBezTo>
                <a:cubicBezTo>
                  <a:pt x="232660" y="554943"/>
                  <a:pt x="248721" y="554559"/>
                  <a:pt x="261464" y="554414"/>
                </a:cubicBezTo>
                <a:cubicBezTo>
                  <a:pt x="274255" y="554077"/>
                  <a:pt x="283968" y="552730"/>
                  <a:pt x="290363" y="551190"/>
                </a:cubicBezTo>
                <a:cubicBezTo>
                  <a:pt x="293537" y="550420"/>
                  <a:pt x="295941" y="549650"/>
                  <a:pt x="297480" y="549073"/>
                </a:cubicBezTo>
                <a:close/>
                <a:moveTo>
                  <a:pt x="21516" y="9405"/>
                </a:moveTo>
                <a:cubicBezTo>
                  <a:pt x="22237" y="10031"/>
                  <a:pt x="22045" y="10175"/>
                  <a:pt x="21516" y="9405"/>
                </a:cubicBezTo>
                <a:lnTo>
                  <a:pt x="21516" y="9405"/>
                </a:lnTo>
                <a:close/>
              </a:path>
            </a:pathLst>
          </a:custGeom>
          <a:solidFill>
            <a:srgbClr val="29C8C1"/>
          </a:solidFill>
          <a:ln w="0"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C5178186-413A-1508-195A-ABCC6BECE730}"/>
              </a:ext>
            </a:extLst>
          </p:cNvPr>
          <p:cNvSpPr/>
          <p:nvPr/>
        </p:nvSpPr>
        <p:spPr>
          <a:xfrm>
            <a:off x="8130904" y="4984569"/>
            <a:ext cx="252566" cy="216485"/>
          </a:xfrm>
          <a:custGeom>
            <a:avLst/>
            <a:gdLst>
              <a:gd name="connsiteX0" fmla="*/ 221553 w 252566"/>
              <a:gd name="connsiteY0" fmla="*/ 49528 h 216485"/>
              <a:gd name="connsiteX1" fmla="*/ 203521 w 252566"/>
              <a:gd name="connsiteY1" fmla="*/ 31338 h 216485"/>
              <a:gd name="connsiteX2" fmla="*/ 166302 w 252566"/>
              <a:gd name="connsiteY2" fmla="*/ 8048 h 216485"/>
              <a:gd name="connsiteX3" fmla="*/ 134085 w 252566"/>
              <a:gd name="connsiteY3" fmla="*/ 204 h 216485"/>
              <a:gd name="connsiteX4" fmla="*/ 127641 w 252566"/>
              <a:gd name="connsiteY4" fmla="*/ 60 h 216485"/>
              <a:gd name="connsiteX5" fmla="*/ 121967 w 252566"/>
              <a:gd name="connsiteY5" fmla="*/ 301 h 216485"/>
              <a:gd name="connsiteX6" fmla="*/ 113216 w 252566"/>
              <a:gd name="connsiteY6" fmla="*/ 1744 h 216485"/>
              <a:gd name="connsiteX7" fmla="*/ 106388 w 252566"/>
              <a:gd name="connsiteY7" fmla="*/ 4295 h 216485"/>
              <a:gd name="connsiteX8" fmla="*/ 133652 w 252566"/>
              <a:gd name="connsiteY8" fmla="*/ 4295 h 216485"/>
              <a:gd name="connsiteX9" fmla="*/ 163850 w 252566"/>
              <a:gd name="connsiteY9" fmla="*/ 13437 h 216485"/>
              <a:gd name="connsiteX10" fmla="*/ 198520 w 252566"/>
              <a:gd name="connsiteY10" fmla="*/ 36920 h 216485"/>
              <a:gd name="connsiteX11" fmla="*/ 215206 w 252566"/>
              <a:gd name="connsiteY11" fmla="*/ 54725 h 216485"/>
              <a:gd name="connsiteX12" fmla="*/ 229824 w 252566"/>
              <a:gd name="connsiteY12" fmla="*/ 76619 h 216485"/>
              <a:gd name="connsiteX13" fmla="*/ 242422 w 252566"/>
              <a:gd name="connsiteY13" fmla="*/ 131332 h 216485"/>
              <a:gd name="connsiteX14" fmla="*/ 232180 w 252566"/>
              <a:gd name="connsiteY14" fmla="*/ 159145 h 216485"/>
              <a:gd name="connsiteX15" fmla="*/ 209243 w 252566"/>
              <a:gd name="connsiteY15" fmla="*/ 180607 h 216485"/>
              <a:gd name="connsiteX16" fmla="*/ 145481 w 252566"/>
              <a:gd name="connsiteY16" fmla="*/ 204667 h 216485"/>
              <a:gd name="connsiteX17" fmla="*/ 78594 w 252566"/>
              <a:gd name="connsiteY17" fmla="*/ 196294 h 216485"/>
              <a:gd name="connsiteX18" fmla="*/ 50608 w 252566"/>
              <a:gd name="connsiteY18" fmla="*/ 180126 h 216485"/>
              <a:gd name="connsiteX19" fmla="*/ 38683 w 252566"/>
              <a:gd name="connsiteY19" fmla="*/ 169876 h 216485"/>
              <a:gd name="connsiteX20" fmla="*/ 28681 w 252566"/>
              <a:gd name="connsiteY20" fmla="*/ 158279 h 216485"/>
              <a:gd name="connsiteX21" fmla="*/ 14303 w 252566"/>
              <a:gd name="connsiteY21" fmla="*/ 132727 h 216485"/>
              <a:gd name="connsiteX22" fmla="*/ 10504 w 252566"/>
              <a:gd name="connsiteY22" fmla="*/ 119254 h 216485"/>
              <a:gd name="connsiteX23" fmla="*/ 9350 w 252566"/>
              <a:gd name="connsiteY23" fmla="*/ 112517 h 216485"/>
              <a:gd name="connsiteX24" fmla="*/ 8869 w 252566"/>
              <a:gd name="connsiteY24" fmla="*/ 105828 h 216485"/>
              <a:gd name="connsiteX25" fmla="*/ 23007 w 252566"/>
              <a:gd name="connsiteY25" fmla="*/ 59296 h 216485"/>
              <a:gd name="connsiteX26" fmla="*/ 26229 w 252566"/>
              <a:gd name="connsiteY26" fmla="*/ 54628 h 216485"/>
              <a:gd name="connsiteX27" fmla="*/ 29883 w 252566"/>
              <a:gd name="connsiteY27" fmla="*/ 50442 h 216485"/>
              <a:gd name="connsiteX28" fmla="*/ 37336 w 252566"/>
              <a:gd name="connsiteY28" fmla="*/ 42743 h 216485"/>
              <a:gd name="connsiteX29" fmla="*/ 45030 w 252566"/>
              <a:gd name="connsiteY29" fmla="*/ 36054 h 216485"/>
              <a:gd name="connsiteX30" fmla="*/ 52916 w 252566"/>
              <a:gd name="connsiteY30" fmla="*/ 30520 h 216485"/>
              <a:gd name="connsiteX31" fmla="*/ 67775 w 252566"/>
              <a:gd name="connsiteY31" fmla="*/ 21570 h 216485"/>
              <a:gd name="connsiteX32" fmla="*/ 80950 w 252566"/>
              <a:gd name="connsiteY32" fmla="*/ 15170 h 216485"/>
              <a:gd name="connsiteX33" fmla="*/ 99848 w 252566"/>
              <a:gd name="connsiteY33" fmla="*/ 7422 h 216485"/>
              <a:gd name="connsiteX34" fmla="*/ 106339 w 252566"/>
              <a:gd name="connsiteY34" fmla="*/ 4247 h 216485"/>
              <a:gd name="connsiteX35" fmla="*/ 99175 w 252566"/>
              <a:gd name="connsiteY35" fmla="*/ 5401 h 216485"/>
              <a:gd name="connsiteX36" fmla="*/ 79363 w 252566"/>
              <a:gd name="connsiteY36" fmla="*/ 11320 h 216485"/>
              <a:gd name="connsiteX37" fmla="*/ 65466 w 252566"/>
              <a:gd name="connsiteY37" fmla="*/ 16998 h 216485"/>
              <a:gd name="connsiteX38" fmla="*/ 49646 w 252566"/>
              <a:gd name="connsiteY38" fmla="*/ 25467 h 216485"/>
              <a:gd name="connsiteX39" fmla="*/ 41183 w 252566"/>
              <a:gd name="connsiteY39" fmla="*/ 30857 h 216485"/>
              <a:gd name="connsiteX40" fmla="*/ 32816 w 252566"/>
              <a:gd name="connsiteY40" fmla="*/ 37594 h 216485"/>
              <a:gd name="connsiteX41" fmla="*/ 24594 w 252566"/>
              <a:gd name="connsiteY41" fmla="*/ 45534 h 216485"/>
              <a:gd name="connsiteX42" fmla="*/ 20506 w 252566"/>
              <a:gd name="connsiteY42" fmla="*/ 49913 h 216485"/>
              <a:gd name="connsiteX43" fmla="*/ 16852 w 252566"/>
              <a:gd name="connsiteY43" fmla="*/ 54821 h 216485"/>
              <a:gd name="connsiteX44" fmla="*/ 22 w 252566"/>
              <a:gd name="connsiteY44" fmla="*/ 105925 h 216485"/>
              <a:gd name="connsiteX45" fmla="*/ 406 w 252566"/>
              <a:gd name="connsiteY45" fmla="*/ 113383 h 216485"/>
              <a:gd name="connsiteX46" fmla="*/ 1561 w 252566"/>
              <a:gd name="connsiteY46" fmla="*/ 120890 h 216485"/>
              <a:gd name="connsiteX47" fmla="*/ 5503 w 252566"/>
              <a:gd name="connsiteY47" fmla="*/ 135855 h 216485"/>
              <a:gd name="connsiteX48" fmla="*/ 20843 w 252566"/>
              <a:gd name="connsiteY48" fmla="*/ 164054 h 216485"/>
              <a:gd name="connsiteX49" fmla="*/ 31566 w 252566"/>
              <a:gd name="connsiteY49" fmla="*/ 176805 h 216485"/>
              <a:gd name="connsiteX50" fmla="*/ 44357 w 252566"/>
              <a:gd name="connsiteY50" fmla="*/ 188018 h 216485"/>
              <a:gd name="connsiteX51" fmla="*/ 74555 w 252566"/>
              <a:gd name="connsiteY51" fmla="*/ 205774 h 216485"/>
              <a:gd name="connsiteX52" fmla="*/ 146876 w 252566"/>
              <a:gd name="connsiteY52" fmla="*/ 215109 h 216485"/>
              <a:gd name="connsiteX53" fmla="*/ 214869 w 252566"/>
              <a:gd name="connsiteY53" fmla="*/ 189268 h 216485"/>
              <a:gd name="connsiteX54" fmla="*/ 240643 w 252566"/>
              <a:gd name="connsiteY54" fmla="*/ 164679 h 216485"/>
              <a:gd name="connsiteX55" fmla="*/ 252184 w 252566"/>
              <a:gd name="connsiteY55" fmla="*/ 132246 h 216485"/>
              <a:gd name="connsiteX56" fmla="*/ 237566 w 252566"/>
              <a:gd name="connsiteY56" fmla="*/ 72192 h 216485"/>
              <a:gd name="connsiteX57" fmla="*/ 221553 w 252566"/>
              <a:gd name="connsiteY57" fmla="*/ 49335 h 21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52566" h="216485">
                <a:moveTo>
                  <a:pt x="221553" y="49528"/>
                </a:moveTo>
                <a:cubicBezTo>
                  <a:pt x="215879" y="42646"/>
                  <a:pt x="209628" y="36680"/>
                  <a:pt x="203521" y="31338"/>
                </a:cubicBezTo>
                <a:cubicBezTo>
                  <a:pt x="191067" y="20752"/>
                  <a:pt x="178276" y="13101"/>
                  <a:pt x="166302" y="8048"/>
                </a:cubicBezTo>
                <a:cubicBezTo>
                  <a:pt x="154329" y="2995"/>
                  <a:pt x="143173" y="734"/>
                  <a:pt x="134085" y="204"/>
                </a:cubicBezTo>
                <a:cubicBezTo>
                  <a:pt x="131825" y="-36"/>
                  <a:pt x="129661" y="-36"/>
                  <a:pt x="127641" y="60"/>
                </a:cubicBezTo>
                <a:cubicBezTo>
                  <a:pt x="125622" y="156"/>
                  <a:pt x="123746" y="108"/>
                  <a:pt x="121967" y="301"/>
                </a:cubicBezTo>
                <a:cubicBezTo>
                  <a:pt x="118505" y="830"/>
                  <a:pt x="115524" y="1119"/>
                  <a:pt x="113216" y="1744"/>
                </a:cubicBezTo>
                <a:cubicBezTo>
                  <a:pt x="108599" y="3092"/>
                  <a:pt x="106291" y="3910"/>
                  <a:pt x="106388" y="4295"/>
                </a:cubicBezTo>
                <a:cubicBezTo>
                  <a:pt x="106580" y="5498"/>
                  <a:pt x="116293" y="1937"/>
                  <a:pt x="133652" y="4295"/>
                </a:cubicBezTo>
                <a:cubicBezTo>
                  <a:pt x="142259" y="5401"/>
                  <a:pt x="152694" y="8144"/>
                  <a:pt x="163850" y="13437"/>
                </a:cubicBezTo>
                <a:cubicBezTo>
                  <a:pt x="175006" y="18731"/>
                  <a:pt x="186931" y="26478"/>
                  <a:pt x="198520" y="36920"/>
                </a:cubicBezTo>
                <a:cubicBezTo>
                  <a:pt x="204194" y="42213"/>
                  <a:pt x="209964" y="48036"/>
                  <a:pt x="215206" y="54725"/>
                </a:cubicBezTo>
                <a:cubicBezTo>
                  <a:pt x="220543" y="61317"/>
                  <a:pt x="225544" y="68583"/>
                  <a:pt x="229824" y="76619"/>
                </a:cubicBezTo>
                <a:cubicBezTo>
                  <a:pt x="238431" y="92451"/>
                  <a:pt x="244586" y="111651"/>
                  <a:pt x="242422" y="131332"/>
                </a:cubicBezTo>
                <a:cubicBezTo>
                  <a:pt x="241316" y="141100"/>
                  <a:pt x="237950" y="150724"/>
                  <a:pt x="232180" y="159145"/>
                </a:cubicBezTo>
                <a:cubicBezTo>
                  <a:pt x="226458" y="167614"/>
                  <a:pt x="218476" y="174736"/>
                  <a:pt x="209243" y="180607"/>
                </a:cubicBezTo>
                <a:cubicBezTo>
                  <a:pt x="190441" y="192637"/>
                  <a:pt x="168707" y="201539"/>
                  <a:pt x="145481" y="204667"/>
                </a:cubicBezTo>
                <a:cubicBezTo>
                  <a:pt x="122256" y="208132"/>
                  <a:pt x="98982" y="204475"/>
                  <a:pt x="78594" y="196294"/>
                </a:cubicBezTo>
                <a:cubicBezTo>
                  <a:pt x="68544" y="191819"/>
                  <a:pt x="58879" y="186766"/>
                  <a:pt x="50608" y="180126"/>
                </a:cubicBezTo>
                <a:cubicBezTo>
                  <a:pt x="46184" y="177142"/>
                  <a:pt x="42626" y="173245"/>
                  <a:pt x="38683" y="169876"/>
                </a:cubicBezTo>
                <a:cubicBezTo>
                  <a:pt x="35317" y="165978"/>
                  <a:pt x="31470" y="162466"/>
                  <a:pt x="28681" y="158279"/>
                </a:cubicBezTo>
                <a:cubicBezTo>
                  <a:pt x="22286" y="150388"/>
                  <a:pt x="17910" y="141533"/>
                  <a:pt x="14303" y="132727"/>
                </a:cubicBezTo>
                <a:cubicBezTo>
                  <a:pt x="12861" y="128204"/>
                  <a:pt x="11178" y="123825"/>
                  <a:pt x="10504" y="119254"/>
                </a:cubicBezTo>
                <a:cubicBezTo>
                  <a:pt x="10168" y="116992"/>
                  <a:pt x="9399" y="114779"/>
                  <a:pt x="9350" y="112517"/>
                </a:cubicBezTo>
                <a:cubicBezTo>
                  <a:pt x="9206" y="110255"/>
                  <a:pt x="9014" y="108042"/>
                  <a:pt x="8869" y="105828"/>
                </a:cubicBezTo>
                <a:cubicBezTo>
                  <a:pt x="8100" y="87976"/>
                  <a:pt x="14399" y="71759"/>
                  <a:pt x="23007" y="59296"/>
                </a:cubicBezTo>
                <a:cubicBezTo>
                  <a:pt x="24113" y="57708"/>
                  <a:pt x="25171" y="56168"/>
                  <a:pt x="26229" y="54628"/>
                </a:cubicBezTo>
                <a:cubicBezTo>
                  <a:pt x="27334" y="53137"/>
                  <a:pt x="28681" y="51837"/>
                  <a:pt x="29883" y="50442"/>
                </a:cubicBezTo>
                <a:cubicBezTo>
                  <a:pt x="32432" y="47795"/>
                  <a:pt x="34547" y="44860"/>
                  <a:pt x="37336" y="42743"/>
                </a:cubicBezTo>
                <a:cubicBezTo>
                  <a:pt x="39981" y="40433"/>
                  <a:pt x="42529" y="38219"/>
                  <a:pt x="45030" y="36054"/>
                </a:cubicBezTo>
                <a:cubicBezTo>
                  <a:pt x="47675" y="34081"/>
                  <a:pt x="50367" y="32349"/>
                  <a:pt x="52916" y="30520"/>
                </a:cubicBezTo>
                <a:cubicBezTo>
                  <a:pt x="57869" y="26767"/>
                  <a:pt x="63158" y="24313"/>
                  <a:pt x="67775" y="21570"/>
                </a:cubicBezTo>
                <a:cubicBezTo>
                  <a:pt x="72343" y="18779"/>
                  <a:pt x="77007" y="17095"/>
                  <a:pt x="80950" y="15170"/>
                </a:cubicBezTo>
                <a:cubicBezTo>
                  <a:pt x="88884" y="11272"/>
                  <a:pt x="95520" y="9299"/>
                  <a:pt x="99848" y="7422"/>
                </a:cubicBezTo>
                <a:cubicBezTo>
                  <a:pt x="104224" y="5690"/>
                  <a:pt x="106436" y="4583"/>
                  <a:pt x="106339" y="4247"/>
                </a:cubicBezTo>
                <a:cubicBezTo>
                  <a:pt x="106243" y="3910"/>
                  <a:pt x="103791" y="4247"/>
                  <a:pt x="99175" y="5401"/>
                </a:cubicBezTo>
                <a:cubicBezTo>
                  <a:pt x="94606" y="6604"/>
                  <a:pt x="87730" y="7952"/>
                  <a:pt x="79363" y="11320"/>
                </a:cubicBezTo>
                <a:cubicBezTo>
                  <a:pt x="75180" y="12956"/>
                  <a:pt x="70323" y="14400"/>
                  <a:pt x="65466" y="16998"/>
                </a:cubicBezTo>
                <a:cubicBezTo>
                  <a:pt x="60562" y="19501"/>
                  <a:pt x="54984" y="21762"/>
                  <a:pt x="49646" y="25467"/>
                </a:cubicBezTo>
                <a:cubicBezTo>
                  <a:pt x="46905" y="27200"/>
                  <a:pt x="44020" y="28932"/>
                  <a:pt x="41183" y="30857"/>
                </a:cubicBezTo>
                <a:cubicBezTo>
                  <a:pt x="38490" y="33022"/>
                  <a:pt x="35653" y="35284"/>
                  <a:pt x="32816" y="37594"/>
                </a:cubicBezTo>
                <a:cubicBezTo>
                  <a:pt x="29787" y="39759"/>
                  <a:pt x="27383" y="42791"/>
                  <a:pt x="24594" y="45534"/>
                </a:cubicBezTo>
                <a:cubicBezTo>
                  <a:pt x="23247" y="46977"/>
                  <a:pt x="21756" y="48325"/>
                  <a:pt x="20506" y="49913"/>
                </a:cubicBezTo>
                <a:cubicBezTo>
                  <a:pt x="19304" y="51549"/>
                  <a:pt x="18054" y="53185"/>
                  <a:pt x="16852" y="54821"/>
                </a:cubicBezTo>
                <a:cubicBezTo>
                  <a:pt x="7090" y="68054"/>
                  <a:pt x="-459" y="86003"/>
                  <a:pt x="22" y="105925"/>
                </a:cubicBezTo>
                <a:cubicBezTo>
                  <a:pt x="166" y="108378"/>
                  <a:pt x="262" y="110881"/>
                  <a:pt x="406" y="113383"/>
                </a:cubicBezTo>
                <a:cubicBezTo>
                  <a:pt x="406" y="115933"/>
                  <a:pt x="1176" y="118339"/>
                  <a:pt x="1561" y="120890"/>
                </a:cubicBezTo>
                <a:cubicBezTo>
                  <a:pt x="2234" y="125991"/>
                  <a:pt x="3965" y="130851"/>
                  <a:pt x="5503" y="135855"/>
                </a:cubicBezTo>
                <a:cubicBezTo>
                  <a:pt x="9302" y="145576"/>
                  <a:pt x="14015" y="155392"/>
                  <a:pt x="20843" y="164054"/>
                </a:cubicBezTo>
                <a:cubicBezTo>
                  <a:pt x="23872" y="168673"/>
                  <a:pt x="27960" y="172523"/>
                  <a:pt x="31566" y="176805"/>
                </a:cubicBezTo>
                <a:cubicBezTo>
                  <a:pt x="35749" y="180511"/>
                  <a:pt x="39644" y="184745"/>
                  <a:pt x="44357" y="188018"/>
                </a:cubicBezTo>
                <a:cubicBezTo>
                  <a:pt x="53253" y="195332"/>
                  <a:pt x="63687" y="200914"/>
                  <a:pt x="74555" y="205774"/>
                </a:cubicBezTo>
                <a:cubicBezTo>
                  <a:pt x="96578" y="214820"/>
                  <a:pt x="121871" y="218814"/>
                  <a:pt x="146876" y="215109"/>
                </a:cubicBezTo>
                <a:cubicBezTo>
                  <a:pt x="171929" y="211741"/>
                  <a:pt x="195154" y="202069"/>
                  <a:pt x="214869" y="189268"/>
                </a:cubicBezTo>
                <a:cubicBezTo>
                  <a:pt x="224919" y="182820"/>
                  <a:pt x="234103" y="174592"/>
                  <a:pt x="240643" y="164679"/>
                </a:cubicBezTo>
                <a:cubicBezTo>
                  <a:pt x="247279" y="154815"/>
                  <a:pt x="251126" y="143410"/>
                  <a:pt x="252184" y="132246"/>
                </a:cubicBezTo>
                <a:cubicBezTo>
                  <a:pt x="254347" y="109630"/>
                  <a:pt x="247039" y="88890"/>
                  <a:pt x="237566" y="72192"/>
                </a:cubicBezTo>
                <a:cubicBezTo>
                  <a:pt x="232853" y="63723"/>
                  <a:pt x="227371" y="56120"/>
                  <a:pt x="221553" y="49335"/>
                </a:cubicBezTo>
                <a:close/>
              </a:path>
            </a:pathLst>
          </a:custGeom>
          <a:solidFill>
            <a:srgbClr val="29C8C1"/>
          </a:solidFill>
          <a:ln w="0"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07ECFDD2-209C-8956-884D-3D0F000A10C1}"/>
              </a:ext>
            </a:extLst>
          </p:cNvPr>
          <p:cNvSpPr/>
          <p:nvPr/>
        </p:nvSpPr>
        <p:spPr>
          <a:xfrm>
            <a:off x="6132948" y="4763532"/>
            <a:ext cx="134053" cy="117698"/>
          </a:xfrm>
          <a:custGeom>
            <a:avLst/>
            <a:gdLst>
              <a:gd name="connsiteX0" fmla="*/ 105320 w 134053"/>
              <a:gd name="connsiteY0" fmla="*/ 117302 h 117698"/>
              <a:gd name="connsiteX1" fmla="*/ 124314 w 134053"/>
              <a:gd name="connsiteY1" fmla="*/ 109554 h 117698"/>
              <a:gd name="connsiteX2" fmla="*/ 134028 w 134053"/>
              <a:gd name="connsiteY2" fmla="*/ 89585 h 117698"/>
              <a:gd name="connsiteX3" fmla="*/ 128305 w 134053"/>
              <a:gd name="connsiteY3" fmla="*/ 69374 h 117698"/>
              <a:gd name="connsiteX4" fmla="*/ 116717 w 134053"/>
              <a:gd name="connsiteY4" fmla="*/ 54168 h 117698"/>
              <a:gd name="connsiteX5" fmla="*/ 89548 w 134053"/>
              <a:gd name="connsiteY5" fmla="*/ 32226 h 117698"/>
              <a:gd name="connsiteX6" fmla="*/ 37712 w 134053"/>
              <a:gd name="connsiteY6" fmla="*/ 6000 h 117698"/>
              <a:gd name="connsiteX7" fmla="*/ 15640 w 134053"/>
              <a:gd name="connsiteY7" fmla="*/ 81 h 117698"/>
              <a:gd name="connsiteX8" fmla="*/ 5350 w 134053"/>
              <a:gd name="connsiteY8" fmla="*/ 1477 h 117698"/>
              <a:gd name="connsiteX9" fmla="*/ 61 w 134053"/>
              <a:gd name="connsiteY9" fmla="*/ 9272 h 117698"/>
              <a:gd name="connsiteX10" fmla="*/ 2080 w 134053"/>
              <a:gd name="connsiteY10" fmla="*/ 20292 h 117698"/>
              <a:gd name="connsiteX11" fmla="*/ 4148 w 134053"/>
              <a:gd name="connsiteY11" fmla="*/ 23516 h 117698"/>
              <a:gd name="connsiteX12" fmla="*/ 4148 w 134053"/>
              <a:gd name="connsiteY12" fmla="*/ 19714 h 117698"/>
              <a:gd name="connsiteX13" fmla="*/ 4148 w 134053"/>
              <a:gd name="connsiteY13" fmla="*/ 9994 h 117698"/>
              <a:gd name="connsiteX14" fmla="*/ 7466 w 134053"/>
              <a:gd name="connsiteY14" fmla="*/ 6096 h 117698"/>
              <a:gd name="connsiteX15" fmla="*/ 14919 w 134053"/>
              <a:gd name="connsiteY15" fmla="*/ 6000 h 117698"/>
              <a:gd name="connsiteX16" fmla="*/ 34827 w 134053"/>
              <a:gd name="connsiteY16" fmla="*/ 12978 h 117698"/>
              <a:gd name="connsiteX17" fmla="*/ 84115 w 134053"/>
              <a:gd name="connsiteY17" fmla="*/ 40406 h 117698"/>
              <a:gd name="connsiteX18" fmla="*/ 109119 w 134053"/>
              <a:gd name="connsiteY18" fmla="*/ 61338 h 117698"/>
              <a:gd name="connsiteX19" fmla="*/ 119073 w 134053"/>
              <a:gd name="connsiteY19" fmla="*/ 74571 h 117698"/>
              <a:gd name="connsiteX20" fmla="*/ 123401 w 134053"/>
              <a:gd name="connsiteY20" fmla="*/ 89344 h 117698"/>
              <a:gd name="connsiteX21" fmla="*/ 117582 w 134053"/>
              <a:gd name="connsiteY21" fmla="*/ 101374 h 117698"/>
              <a:gd name="connsiteX22" fmla="*/ 103926 w 134053"/>
              <a:gd name="connsiteY22" fmla="*/ 106956 h 117698"/>
              <a:gd name="connsiteX23" fmla="*/ 73632 w 134053"/>
              <a:gd name="connsiteY23" fmla="*/ 102096 h 117698"/>
              <a:gd name="connsiteX24" fmla="*/ 49012 w 134053"/>
              <a:gd name="connsiteY24" fmla="*/ 86746 h 117698"/>
              <a:gd name="connsiteX25" fmla="*/ 39299 w 134053"/>
              <a:gd name="connsiteY25" fmla="*/ 77555 h 117698"/>
              <a:gd name="connsiteX26" fmla="*/ 31268 w 134053"/>
              <a:gd name="connsiteY26" fmla="*/ 68075 h 117698"/>
              <a:gd name="connsiteX27" fmla="*/ 11217 w 134053"/>
              <a:gd name="connsiteY27" fmla="*/ 35882 h 117698"/>
              <a:gd name="connsiteX28" fmla="*/ 4196 w 134053"/>
              <a:gd name="connsiteY28" fmla="*/ 23468 h 117698"/>
              <a:gd name="connsiteX29" fmla="*/ 7418 w 134053"/>
              <a:gd name="connsiteY29" fmla="*/ 37519 h 117698"/>
              <a:gd name="connsiteX30" fmla="*/ 25209 w 134053"/>
              <a:gd name="connsiteY30" fmla="*/ 72550 h 117698"/>
              <a:gd name="connsiteX31" fmla="*/ 33192 w 134053"/>
              <a:gd name="connsiteY31" fmla="*/ 83040 h 117698"/>
              <a:gd name="connsiteX32" fmla="*/ 43194 w 134053"/>
              <a:gd name="connsiteY32" fmla="*/ 93338 h 117698"/>
              <a:gd name="connsiteX33" fmla="*/ 69785 w 134053"/>
              <a:gd name="connsiteY33" fmla="*/ 111094 h 117698"/>
              <a:gd name="connsiteX34" fmla="*/ 105369 w 134053"/>
              <a:gd name="connsiteY34" fmla="*/ 117254 h 11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053" h="117698">
                <a:moveTo>
                  <a:pt x="105320" y="117302"/>
                </a:moveTo>
                <a:cubicBezTo>
                  <a:pt x="111812" y="116580"/>
                  <a:pt x="118592" y="114174"/>
                  <a:pt x="124314" y="109554"/>
                </a:cubicBezTo>
                <a:cubicBezTo>
                  <a:pt x="130133" y="104983"/>
                  <a:pt x="133980" y="97236"/>
                  <a:pt x="134028" y="89585"/>
                </a:cubicBezTo>
                <a:cubicBezTo>
                  <a:pt x="134364" y="81837"/>
                  <a:pt x="131335" y="75245"/>
                  <a:pt x="128305" y="69374"/>
                </a:cubicBezTo>
                <a:cubicBezTo>
                  <a:pt x="124939" y="63648"/>
                  <a:pt x="120948" y="58595"/>
                  <a:pt x="116717" y="54168"/>
                </a:cubicBezTo>
                <a:cubicBezTo>
                  <a:pt x="108254" y="45122"/>
                  <a:pt x="98637" y="38433"/>
                  <a:pt x="89548" y="32226"/>
                </a:cubicBezTo>
                <a:cubicBezTo>
                  <a:pt x="70987" y="20243"/>
                  <a:pt x="53099" y="12207"/>
                  <a:pt x="37712" y="6000"/>
                </a:cubicBezTo>
                <a:cubicBezTo>
                  <a:pt x="29922" y="3064"/>
                  <a:pt x="22661" y="755"/>
                  <a:pt x="15640" y="81"/>
                </a:cubicBezTo>
                <a:cubicBezTo>
                  <a:pt x="12130" y="-63"/>
                  <a:pt x="8620" y="-208"/>
                  <a:pt x="5350" y="1477"/>
                </a:cubicBezTo>
                <a:cubicBezTo>
                  <a:pt x="1936" y="3113"/>
                  <a:pt x="349" y="6673"/>
                  <a:pt x="61" y="9272"/>
                </a:cubicBezTo>
                <a:cubicBezTo>
                  <a:pt x="-324" y="14613"/>
                  <a:pt x="1215" y="17982"/>
                  <a:pt x="2080" y="20292"/>
                </a:cubicBezTo>
                <a:cubicBezTo>
                  <a:pt x="3138" y="22553"/>
                  <a:pt x="3811" y="23660"/>
                  <a:pt x="4148" y="23516"/>
                </a:cubicBezTo>
                <a:cubicBezTo>
                  <a:pt x="4485" y="23420"/>
                  <a:pt x="4485" y="22072"/>
                  <a:pt x="4148" y="19714"/>
                </a:cubicBezTo>
                <a:cubicBezTo>
                  <a:pt x="3907" y="17404"/>
                  <a:pt x="3234" y="13795"/>
                  <a:pt x="4148" y="9994"/>
                </a:cubicBezTo>
                <a:cubicBezTo>
                  <a:pt x="4725" y="8213"/>
                  <a:pt x="5639" y="6722"/>
                  <a:pt x="7466" y="6096"/>
                </a:cubicBezTo>
                <a:cubicBezTo>
                  <a:pt x="9245" y="5326"/>
                  <a:pt x="12082" y="5567"/>
                  <a:pt x="14919" y="6000"/>
                </a:cubicBezTo>
                <a:cubicBezTo>
                  <a:pt x="20786" y="7107"/>
                  <a:pt x="27566" y="9705"/>
                  <a:pt x="34827" y="12978"/>
                </a:cubicBezTo>
                <a:cubicBezTo>
                  <a:pt x="49300" y="19810"/>
                  <a:pt x="66659" y="28520"/>
                  <a:pt x="84115" y="40406"/>
                </a:cubicBezTo>
                <a:cubicBezTo>
                  <a:pt x="92626" y="46565"/>
                  <a:pt x="101666" y="53061"/>
                  <a:pt x="109119" y="61338"/>
                </a:cubicBezTo>
                <a:cubicBezTo>
                  <a:pt x="112918" y="65380"/>
                  <a:pt x="116332" y="69807"/>
                  <a:pt x="119073" y="74571"/>
                </a:cubicBezTo>
                <a:cubicBezTo>
                  <a:pt x="121525" y="79335"/>
                  <a:pt x="123737" y="84484"/>
                  <a:pt x="123401" y="89344"/>
                </a:cubicBezTo>
                <a:cubicBezTo>
                  <a:pt x="123305" y="94156"/>
                  <a:pt x="121237" y="98391"/>
                  <a:pt x="117582" y="101374"/>
                </a:cubicBezTo>
                <a:cubicBezTo>
                  <a:pt x="113928" y="104309"/>
                  <a:pt x="109071" y="106330"/>
                  <a:pt x="103926" y="106956"/>
                </a:cubicBezTo>
                <a:cubicBezTo>
                  <a:pt x="93636" y="108448"/>
                  <a:pt x="82913" y="105945"/>
                  <a:pt x="73632" y="102096"/>
                </a:cubicBezTo>
                <a:cubicBezTo>
                  <a:pt x="64351" y="98102"/>
                  <a:pt x="55936" y="92857"/>
                  <a:pt x="49012" y="86746"/>
                </a:cubicBezTo>
                <a:cubicBezTo>
                  <a:pt x="45406" y="83858"/>
                  <a:pt x="42376" y="80538"/>
                  <a:pt x="39299" y="77555"/>
                </a:cubicBezTo>
                <a:cubicBezTo>
                  <a:pt x="36510" y="74234"/>
                  <a:pt x="33625" y="71251"/>
                  <a:pt x="31268" y="68075"/>
                </a:cubicBezTo>
                <a:cubicBezTo>
                  <a:pt x="21363" y="55612"/>
                  <a:pt x="15592" y="43822"/>
                  <a:pt x="11217" y="35882"/>
                </a:cubicBezTo>
                <a:cubicBezTo>
                  <a:pt x="7370" y="27702"/>
                  <a:pt x="4869" y="23227"/>
                  <a:pt x="4196" y="23468"/>
                </a:cubicBezTo>
                <a:cubicBezTo>
                  <a:pt x="3523" y="23708"/>
                  <a:pt x="4677" y="28664"/>
                  <a:pt x="7418" y="37519"/>
                </a:cubicBezTo>
                <a:cubicBezTo>
                  <a:pt x="10688" y="46132"/>
                  <a:pt x="15544" y="58788"/>
                  <a:pt x="25209" y="72550"/>
                </a:cubicBezTo>
                <a:cubicBezTo>
                  <a:pt x="27518" y="76015"/>
                  <a:pt x="30403" y="79383"/>
                  <a:pt x="33192" y="83040"/>
                </a:cubicBezTo>
                <a:cubicBezTo>
                  <a:pt x="36365" y="86361"/>
                  <a:pt x="39443" y="90066"/>
                  <a:pt x="43194" y="93338"/>
                </a:cubicBezTo>
                <a:cubicBezTo>
                  <a:pt x="50406" y="100219"/>
                  <a:pt x="59399" y="106330"/>
                  <a:pt x="69785" y="111094"/>
                </a:cubicBezTo>
                <a:cubicBezTo>
                  <a:pt x="80172" y="115618"/>
                  <a:pt x="92289" y="118938"/>
                  <a:pt x="105369" y="117254"/>
                </a:cubicBezTo>
                <a:close/>
              </a:path>
            </a:pathLst>
          </a:custGeom>
          <a:solidFill>
            <a:srgbClr val="29C8C1"/>
          </a:solidFill>
          <a:ln w="0"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1B5DABD2-C76F-EFE4-E6BF-E8E6B774E062}"/>
              </a:ext>
            </a:extLst>
          </p:cNvPr>
          <p:cNvSpPr/>
          <p:nvPr/>
        </p:nvSpPr>
        <p:spPr>
          <a:xfrm>
            <a:off x="6072035" y="4715040"/>
            <a:ext cx="218591" cy="215721"/>
          </a:xfrm>
          <a:custGeom>
            <a:avLst/>
            <a:gdLst>
              <a:gd name="connsiteX0" fmla="*/ 14858 w 218591"/>
              <a:gd name="connsiteY0" fmla="*/ 51654 h 215721"/>
              <a:gd name="connsiteX1" fmla="*/ 45201 w 218591"/>
              <a:gd name="connsiteY1" fmla="*/ 95876 h 215721"/>
              <a:gd name="connsiteX2" fmla="*/ 73860 w 218591"/>
              <a:gd name="connsiteY2" fmla="*/ 132592 h 215721"/>
              <a:gd name="connsiteX3" fmla="*/ 119734 w 218591"/>
              <a:gd name="connsiteY3" fmla="*/ 182107 h 215721"/>
              <a:gd name="connsiteX4" fmla="*/ 139689 w 218591"/>
              <a:gd name="connsiteY4" fmla="*/ 196832 h 215721"/>
              <a:gd name="connsiteX5" fmla="*/ 122619 w 218591"/>
              <a:gd name="connsiteY5" fmla="*/ 179124 h 215721"/>
              <a:gd name="connsiteX6" fmla="*/ 79774 w 218591"/>
              <a:gd name="connsiteY6" fmla="*/ 127876 h 215721"/>
              <a:gd name="connsiteX7" fmla="*/ 52414 w 218591"/>
              <a:gd name="connsiteY7" fmla="*/ 90679 h 215721"/>
              <a:gd name="connsiteX8" fmla="*/ 23322 w 218591"/>
              <a:gd name="connsiteY8" fmla="*/ 46553 h 215721"/>
              <a:gd name="connsiteX9" fmla="*/ 11252 w 218591"/>
              <a:gd name="connsiteY9" fmla="*/ 22012 h 215721"/>
              <a:gd name="connsiteX10" fmla="*/ 11396 w 218591"/>
              <a:gd name="connsiteY10" fmla="*/ 12484 h 215721"/>
              <a:gd name="connsiteX11" fmla="*/ 21254 w 218591"/>
              <a:gd name="connsiteY11" fmla="*/ 10511 h 215721"/>
              <a:gd name="connsiteX12" fmla="*/ 49865 w 218591"/>
              <a:gd name="connsiteY12" fmla="*/ 17825 h 215721"/>
              <a:gd name="connsiteX13" fmla="*/ 79005 w 218591"/>
              <a:gd name="connsiteY13" fmla="*/ 30000 h 215721"/>
              <a:gd name="connsiteX14" fmla="*/ 176811 w 218591"/>
              <a:gd name="connsiteY14" fmla="*/ 97512 h 215721"/>
              <a:gd name="connsiteX15" fmla="*/ 204220 w 218591"/>
              <a:gd name="connsiteY15" fmla="*/ 140916 h 215721"/>
              <a:gd name="connsiteX16" fmla="*/ 210183 w 218591"/>
              <a:gd name="connsiteY16" fmla="*/ 163148 h 215721"/>
              <a:gd name="connsiteX17" fmla="*/ 209654 w 218591"/>
              <a:gd name="connsiteY17" fmla="*/ 183936 h 215721"/>
              <a:gd name="connsiteX18" fmla="*/ 201912 w 218591"/>
              <a:gd name="connsiteY18" fmla="*/ 200441 h 215721"/>
              <a:gd name="connsiteX19" fmla="*/ 188544 w 218591"/>
              <a:gd name="connsiteY19" fmla="*/ 209103 h 215721"/>
              <a:gd name="connsiteX20" fmla="*/ 161809 w 218591"/>
              <a:gd name="connsiteY20" fmla="*/ 206986 h 215721"/>
              <a:gd name="connsiteX21" fmla="*/ 156664 w 218591"/>
              <a:gd name="connsiteY21" fmla="*/ 205061 h 215721"/>
              <a:gd name="connsiteX22" fmla="*/ 152288 w 218591"/>
              <a:gd name="connsiteY22" fmla="*/ 202943 h 215721"/>
              <a:gd name="connsiteX23" fmla="*/ 148537 w 218591"/>
              <a:gd name="connsiteY23" fmla="*/ 201163 h 215721"/>
              <a:gd name="connsiteX24" fmla="*/ 145508 w 218591"/>
              <a:gd name="connsiteY24" fmla="*/ 199431 h 215721"/>
              <a:gd name="connsiteX25" fmla="*/ 139641 w 218591"/>
              <a:gd name="connsiteY25" fmla="*/ 196784 h 215721"/>
              <a:gd name="connsiteX26" fmla="*/ 144306 w 218591"/>
              <a:gd name="connsiteY26" fmla="*/ 201259 h 215721"/>
              <a:gd name="connsiteX27" fmla="*/ 147094 w 218591"/>
              <a:gd name="connsiteY27" fmla="*/ 203473 h 215721"/>
              <a:gd name="connsiteX28" fmla="*/ 150701 w 218591"/>
              <a:gd name="connsiteY28" fmla="*/ 205783 h 215721"/>
              <a:gd name="connsiteX29" fmla="*/ 154981 w 218591"/>
              <a:gd name="connsiteY29" fmla="*/ 208381 h 215721"/>
              <a:gd name="connsiteX30" fmla="*/ 160174 w 218591"/>
              <a:gd name="connsiteY30" fmla="*/ 210835 h 215721"/>
              <a:gd name="connsiteX31" fmla="*/ 189891 w 218591"/>
              <a:gd name="connsiteY31" fmla="*/ 214877 h 215721"/>
              <a:gd name="connsiteX32" fmla="*/ 206817 w 218591"/>
              <a:gd name="connsiteY32" fmla="*/ 204964 h 215721"/>
              <a:gd name="connsiteX33" fmla="*/ 216867 w 218591"/>
              <a:gd name="connsiteY33" fmla="*/ 185620 h 215721"/>
              <a:gd name="connsiteX34" fmla="*/ 218213 w 218591"/>
              <a:gd name="connsiteY34" fmla="*/ 162138 h 215721"/>
              <a:gd name="connsiteX35" fmla="*/ 212347 w 218591"/>
              <a:gd name="connsiteY35" fmla="*/ 137741 h 215721"/>
              <a:gd name="connsiteX36" fmla="*/ 184121 w 218591"/>
              <a:gd name="connsiteY36" fmla="*/ 91016 h 215721"/>
              <a:gd name="connsiteX37" fmla="*/ 83333 w 218591"/>
              <a:gd name="connsiteY37" fmla="*/ 20231 h 215721"/>
              <a:gd name="connsiteX38" fmla="*/ 53327 w 218591"/>
              <a:gd name="connsiteY38" fmla="*/ 7816 h 215721"/>
              <a:gd name="connsiteX39" fmla="*/ 21783 w 218591"/>
              <a:gd name="connsiteY39" fmla="*/ 69 h 215721"/>
              <a:gd name="connsiteX40" fmla="*/ 12839 w 218591"/>
              <a:gd name="connsiteY40" fmla="*/ 550 h 215721"/>
              <a:gd name="connsiteX41" fmla="*/ 3414 w 218591"/>
              <a:gd name="connsiteY41" fmla="*/ 5795 h 215721"/>
              <a:gd name="connsiteX42" fmla="*/ 0 w 218591"/>
              <a:gd name="connsiteY42" fmla="*/ 16045 h 215721"/>
              <a:gd name="connsiteX43" fmla="*/ 1346 w 218591"/>
              <a:gd name="connsiteY43" fmla="*/ 24755 h 215721"/>
              <a:gd name="connsiteX44" fmla="*/ 7501 w 218591"/>
              <a:gd name="connsiteY44" fmla="*/ 39142 h 215721"/>
              <a:gd name="connsiteX45" fmla="*/ 14858 w 218591"/>
              <a:gd name="connsiteY45" fmla="*/ 51654 h 21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8591" h="215721">
                <a:moveTo>
                  <a:pt x="14858" y="51654"/>
                </a:moveTo>
                <a:cubicBezTo>
                  <a:pt x="24860" y="67774"/>
                  <a:pt x="35247" y="82354"/>
                  <a:pt x="45201" y="95876"/>
                </a:cubicBezTo>
                <a:cubicBezTo>
                  <a:pt x="55154" y="109350"/>
                  <a:pt x="64772" y="121621"/>
                  <a:pt x="73860" y="132592"/>
                </a:cubicBezTo>
                <a:cubicBezTo>
                  <a:pt x="91988" y="154583"/>
                  <a:pt x="107856" y="171377"/>
                  <a:pt x="119734" y="182107"/>
                </a:cubicBezTo>
                <a:cubicBezTo>
                  <a:pt x="131611" y="192838"/>
                  <a:pt x="139353" y="197362"/>
                  <a:pt x="139689" y="196832"/>
                </a:cubicBezTo>
                <a:cubicBezTo>
                  <a:pt x="140218" y="196110"/>
                  <a:pt x="133438" y="190577"/>
                  <a:pt x="122619" y="179124"/>
                </a:cubicBezTo>
                <a:cubicBezTo>
                  <a:pt x="111800" y="167671"/>
                  <a:pt x="96941" y="150252"/>
                  <a:pt x="79774" y="127876"/>
                </a:cubicBezTo>
                <a:cubicBezTo>
                  <a:pt x="71167" y="116712"/>
                  <a:pt x="61935" y="104249"/>
                  <a:pt x="52414" y="90679"/>
                </a:cubicBezTo>
                <a:cubicBezTo>
                  <a:pt x="42893" y="77109"/>
                  <a:pt x="32843" y="62432"/>
                  <a:pt x="23322" y="46553"/>
                </a:cubicBezTo>
                <a:cubicBezTo>
                  <a:pt x="18609" y="38613"/>
                  <a:pt x="13656" y="30433"/>
                  <a:pt x="11252" y="22012"/>
                </a:cubicBezTo>
                <a:cubicBezTo>
                  <a:pt x="10002" y="17873"/>
                  <a:pt x="10098" y="13639"/>
                  <a:pt x="11396" y="12484"/>
                </a:cubicBezTo>
                <a:cubicBezTo>
                  <a:pt x="12406" y="10944"/>
                  <a:pt x="16782" y="10126"/>
                  <a:pt x="21254" y="10511"/>
                </a:cubicBezTo>
                <a:cubicBezTo>
                  <a:pt x="30390" y="11233"/>
                  <a:pt x="40200" y="14360"/>
                  <a:pt x="49865" y="17825"/>
                </a:cubicBezTo>
                <a:cubicBezTo>
                  <a:pt x="59578" y="21386"/>
                  <a:pt x="69292" y="25524"/>
                  <a:pt x="79005" y="30000"/>
                </a:cubicBezTo>
                <a:cubicBezTo>
                  <a:pt x="118099" y="47371"/>
                  <a:pt x="152672" y="69891"/>
                  <a:pt x="176811" y="97512"/>
                </a:cubicBezTo>
                <a:cubicBezTo>
                  <a:pt x="188785" y="111275"/>
                  <a:pt x="198354" y="125951"/>
                  <a:pt x="204220" y="140916"/>
                </a:cubicBezTo>
                <a:cubicBezTo>
                  <a:pt x="207202" y="148375"/>
                  <a:pt x="209029" y="155882"/>
                  <a:pt x="210183" y="163148"/>
                </a:cubicBezTo>
                <a:cubicBezTo>
                  <a:pt x="211049" y="170462"/>
                  <a:pt x="210952" y="177488"/>
                  <a:pt x="209654" y="183936"/>
                </a:cubicBezTo>
                <a:cubicBezTo>
                  <a:pt x="208452" y="190432"/>
                  <a:pt x="205663" y="196110"/>
                  <a:pt x="201912" y="200441"/>
                </a:cubicBezTo>
                <a:cubicBezTo>
                  <a:pt x="198162" y="204772"/>
                  <a:pt x="193449" y="207659"/>
                  <a:pt x="188544" y="209103"/>
                </a:cubicBezTo>
                <a:cubicBezTo>
                  <a:pt x="178543" y="211701"/>
                  <a:pt x="168974" y="209440"/>
                  <a:pt x="161809" y="206986"/>
                </a:cubicBezTo>
                <a:cubicBezTo>
                  <a:pt x="159981" y="206312"/>
                  <a:pt x="158298" y="205686"/>
                  <a:pt x="156664" y="205061"/>
                </a:cubicBezTo>
                <a:cubicBezTo>
                  <a:pt x="155125" y="204291"/>
                  <a:pt x="153634" y="203617"/>
                  <a:pt x="152288" y="202943"/>
                </a:cubicBezTo>
                <a:cubicBezTo>
                  <a:pt x="150941" y="202318"/>
                  <a:pt x="149691" y="201692"/>
                  <a:pt x="148537" y="201163"/>
                </a:cubicBezTo>
                <a:cubicBezTo>
                  <a:pt x="147431" y="200537"/>
                  <a:pt x="146421" y="199960"/>
                  <a:pt x="145508" y="199431"/>
                </a:cubicBezTo>
                <a:cubicBezTo>
                  <a:pt x="141901" y="197410"/>
                  <a:pt x="139882" y="196495"/>
                  <a:pt x="139641" y="196784"/>
                </a:cubicBezTo>
                <a:cubicBezTo>
                  <a:pt x="139401" y="197073"/>
                  <a:pt x="141036" y="198613"/>
                  <a:pt x="144306" y="201259"/>
                </a:cubicBezTo>
                <a:cubicBezTo>
                  <a:pt x="145123" y="201933"/>
                  <a:pt x="146085" y="202655"/>
                  <a:pt x="147094" y="203473"/>
                </a:cubicBezTo>
                <a:cubicBezTo>
                  <a:pt x="148200" y="204195"/>
                  <a:pt x="149403" y="204917"/>
                  <a:pt x="150701" y="205783"/>
                </a:cubicBezTo>
                <a:cubicBezTo>
                  <a:pt x="152047" y="206601"/>
                  <a:pt x="153442" y="207467"/>
                  <a:pt x="154981" y="208381"/>
                </a:cubicBezTo>
                <a:cubicBezTo>
                  <a:pt x="156615" y="209151"/>
                  <a:pt x="158347" y="209969"/>
                  <a:pt x="160174" y="210835"/>
                </a:cubicBezTo>
                <a:cubicBezTo>
                  <a:pt x="167531" y="213963"/>
                  <a:pt x="177725" y="217331"/>
                  <a:pt x="189891" y="214877"/>
                </a:cubicBezTo>
                <a:cubicBezTo>
                  <a:pt x="195902" y="213482"/>
                  <a:pt x="202008" y="210161"/>
                  <a:pt x="206817" y="204964"/>
                </a:cubicBezTo>
                <a:cubicBezTo>
                  <a:pt x="211626" y="199816"/>
                  <a:pt x="215184" y="193031"/>
                  <a:pt x="216867" y="185620"/>
                </a:cubicBezTo>
                <a:cubicBezTo>
                  <a:pt x="218598" y="178210"/>
                  <a:pt x="218983" y="170270"/>
                  <a:pt x="218213" y="162138"/>
                </a:cubicBezTo>
                <a:cubicBezTo>
                  <a:pt x="217204" y="154102"/>
                  <a:pt x="215376" y="145825"/>
                  <a:pt x="212347" y="137741"/>
                </a:cubicBezTo>
                <a:cubicBezTo>
                  <a:pt x="206432" y="121476"/>
                  <a:pt x="196527" y="105692"/>
                  <a:pt x="184121" y="91016"/>
                </a:cubicBezTo>
                <a:cubicBezTo>
                  <a:pt x="159164" y="61615"/>
                  <a:pt x="123100" y="37939"/>
                  <a:pt x="83333" y="20231"/>
                </a:cubicBezTo>
                <a:cubicBezTo>
                  <a:pt x="73427" y="15708"/>
                  <a:pt x="63473" y="11473"/>
                  <a:pt x="53327" y="7816"/>
                </a:cubicBezTo>
                <a:cubicBezTo>
                  <a:pt x="43181" y="4255"/>
                  <a:pt x="33035" y="935"/>
                  <a:pt x="21783" y="69"/>
                </a:cubicBezTo>
                <a:cubicBezTo>
                  <a:pt x="18946" y="-76"/>
                  <a:pt x="15964" y="-27"/>
                  <a:pt x="12839" y="550"/>
                </a:cubicBezTo>
                <a:cubicBezTo>
                  <a:pt x="9761" y="1176"/>
                  <a:pt x="6059" y="2619"/>
                  <a:pt x="3414" y="5795"/>
                </a:cubicBezTo>
                <a:cubicBezTo>
                  <a:pt x="721" y="8971"/>
                  <a:pt x="0" y="12917"/>
                  <a:pt x="0" y="16045"/>
                </a:cubicBezTo>
                <a:cubicBezTo>
                  <a:pt x="0" y="19269"/>
                  <a:pt x="577" y="22108"/>
                  <a:pt x="1346" y="24755"/>
                </a:cubicBezTo>
                <a:cubicBezTo>
                  <a:pt x="2837" y="30048"/>
                  <a:pt x="5193" y="34667"/>
                  <a:pt x="7501" y="39142"/>
                </a:cubicBezTo>
                <a:cubicBezTo>
                  <a:pt x="9906" y="43473"/>
                  <a:pt x="12310" y="47660"/>
                  <a:pt x="14858" y="51654"/>
                </a:cubicBezTo>
                <a:close/>
              </a:path>
            </a:pathLst>
          </a:custGeom>
          <a:solidFill>
            <a:srgbClr val="29C8C1"/>
          </a:solidFill>
          <a:ln w="0"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2EDF62AF-4B01-45A4-A06B-3E973CFF8C45}"/>
              </a:ext>
            </a:extLst>
          </p:cNvPr>
          <p:cNvSpPr/>
          <p:nvPr/>
        </p:nvSpPr>
        <p:spPr>
          <a:xfrm>
            <a:off x="6475262" y="4992886"/>
            <a:ext cx="170172" cy="231698"/>
          </a:xfrm>
          <a:custGeom>
            <a:avLst/>
            <a:gdLst>
              <a:gd name="connsiteX0" fmla="*/ 93115 w 170172"/>
              <a:gd name="connsiteY0" fmla="*/ 231479 h 231698"/>
              <a:gd name="connsiteX1" fmla="*/ 111003 w 170172"/>
              <a:gd name="connsiteY1" fmla="*/ 228062 h 231698"/>
              <a:gd name="connsiteX2" fmla="*/ 122592 w 170172"/>
              <a:gd name="connsiteY2" fmla="*/ 214637 h 231698"/>
              <a:gd name="connsiteX3" fmla="*/ 127689 w 170172"/>
              <a:gd name="connsiteY3" fmla="*/ 199719 h 231698"/>
              <a:gd name="connsiteX4" fmla="*/ 134854 w 170172"/>
              <a:gd name="connsiteY4" fmla="*/ 173253 h 231698"/>
              <a:gd name="connsiteX5" fmla="*/ 148270 w 170172"/>
              <a:gd name="connsiteY5" fmla="*/ 149530 h 231698"/>
              <a:gd name="connsiteX6" fmla="*/ 167793 w 170172"/>
              <a:gd name="connsiteY6" fmla="*/ 101458 h 231698"/>
              <a:gd name="connsiteX7" fmla="*/ 165629 w 170172"/>
              <a:gd name="connsiteY7" fmla="*/ 55599 h 231698"/>
              <a:gd name="connsiteX8" fmla="*/ 142788 w 170172"/>
              <a:gd name="connsiteY8" fmla="*/ 25428 h 231698"/>
              <a:gd name="connsiteX9" fmla="*/ 118649 w 170172"/>
              <a:gd name="connsiteY9" fmla="*/ 11040 h 231698"/>
              <a:gd name="connsiteX10" fmla="*/ 102107 w 170172"/>
              <a:gd name="connsiteY10" fmla="*/ 5073 h 231698"/>
              <a:gd name="connsiteX11" fmla="*/ 96049 w 170172"/>
              <a:gd name="connsiteY11" fmla="*/ 3918 h 231698"/>
              <a:gd name="connsiteX12" fmla="*/ 101338 w 170172"/>
              <a:gd name="connsiteY12" fmla="*/ 7046 h 231698"/>
              <a:gd name="connsiteX13" fmla="*/ 116774 w 170172"/>
              <a:gd name="connsiteY13" fmla="*/ 14745 h 231698"/>
              <a:gd name="connsiteX14" fmla="*/ 138941 w 170172"/>
              <a:gd name="connsiteY14" fmla="*/ 29999 h 231698"/>
              <a:gd name="connsiteX15" fmla="*/ 158560 w 170172"/>
              <a:gd name="connsiteY15" fmla="*/ 58198 h 231698"/>
              <a:gd name="connsiteX16" fmla="*/ 159185 w 170172"/>
              <a:gd name="connsiteY16" fmla="*/ 99485 h 231698"/>
              <a:gd name="connsiteX17" fmla="*/ 139711 w 170172"/>
              <a:gd name="connsiteY17" fmla="*/ 144766 h 231698"/>
              <a:gd name="connsiteX18" fmla="*/ 125766 w 170172"/>
              <a:gd name="connsiteY18" fmla="*/ 168634 h 231698"/>
              <a:gd name="connsiteX19" fmla="*/ 122736 w 170172"/>
              <a:gd name="connsiteY19" fmla="*/ 175948 h 231698"/>
              <a:gd name="connsiteX20" fmla="*/ 120813 w 170172"/>
              <a:gd name="connsiteY20" fmla="*/ 183166 h 231698"/>
              <a:gd name="connsiteX21" fmla="*/ 117543 w 170172"/>
              <a:gd name="connsiteY21" fmla="*/ 197169 h 231698"/>
              <a:gd name="connsiteX22" fmla="*/ 105522 w 170172"/>
              <a:gd name="connsiteY22" fmla="*/ 218967 h 231698"/>
              <a:gd name="connsiteX23" fmla="*/ 80853 w 170172"/>
              <a:gd name="connsiteY23" fmla="*/ 217187 h 231698"/>
              <a:gd name="connsiteX24" fmla="*/ 55464 w 170172"/>
              <a:gd name="connsiteY24" fmla="*/ 202606 h 231698"/>
              <a:gd name="connsiteX25" fmla="*/ 49646 w 170172"/>
              <a:gd name="connsiteY25" fmla="*/ 198372 h 231698"/>
              <a:gd name="connsiteX26" fmla="*/ 44308 w 170172"/>
              <a:gd name="connsiteY26" fmla="*/ 193656 h 231698"/>
              <a:gd name="connsiteX27" fmla="*/ 34547 w 170172"/>
              <a:gd name="connsiteY27" fmla="*/ 183599 h 231698"/>
              <a:gd name="connsiteX28" fmla="*/ 11754 w 170172"/>
              <a:gd name="connsiteY28" fmla="*/ 135816 h 231698"/>
              <a:gd name="connsiteX29" fmla="*/ 9590 w 170172"/>
              <a:gd name="connsiteY29" fmla="*/ 110986 h 231698"/>
              <a:gd name="connsiteX30" fmla="*/ 13678 w 170172"/>
              <a:gd name="connsiteY30" fmla="*/ 88417 h 231698"/>
              <a:gd name="connsiteX31" fmla="*/ 31566 w 170172"/>
              <a:gd name="connsiteY31" fmla="*/ 48526 h 231698"/>
              <a:gd name="connsiteX32" fmla="*/ 51858 w 170172"/>
              <a:gd name="connsiteY32" fmla="*/ 19461 h 231698"/>
              <a:gd name="connsiteX33" fmla="*/ 73448 w 170172"/>
              <a:gd name="connsiteY33" fmla="*/ 5025 h 231698"/>
              <a:gd name="connsiteX34" fmla="*/ 89942 w 170172"/>
              <a:gd name="connsiteY34" fmla="*/ 3437 h 231698"/>
              <a:gd name="connsiteX35" fmla="*/ 96000 w 170172"/>
              <a:gd name="connsiteY35" fmla="*/ 3870 h 231698"/>
              <a:gd name="connsiteX36" fmla="*/ 90326 w 170172"/>
              <a:gd name="connsiteY36" fmla="*/ 1320 h 231698"/>
              <a:gd name="connsiteX37" fmla="*/ 72342 w 170172"/>
              <a:gd name="connsiteY37" fmla="*/ 983 h 231698"/>
              <a:gd name="connsiteX38" fmla="*/ 47626 w 170172"/>
              <a:gd name="connsiteY38" fmla="*/ 15179 h 231698"/>
              <a:gd name="connsiteX39" fmla="*/ 24930 w 170172"/>
              <a:gd name="connsiteY39" fmla="*/ 44772 h 231698"/>
              <a:gd name="connsiteX40" fmla="*/ 5455 w 170172"/>
              <a:gd name="connsiteY40" fmla="*/ 84953 h 231698"/>
              <a:gd name="connsiteX41" fmla="*/ 165 w 170172"/>
              <a:gd name="connsiteY41" fmla="*/ 110553 h 231698"/>
              <a:gd name="connsiteX42" fmla="*/ 2041 w 170172"/>
              <a:gd name="connsiteY42" fmla="*/ 137644 h 231698"/>
              <a:gd name="connsiteX43" fmla="*/ 26468 w 170172"/>
              <a:gd name="connsiteY43" fmla="*/ 190288 h 231698"/>
              <a:gd name="connsiteX44" fmla="*/ 37143 w 170172"/>
              <a:gd name="connsiteY44" fmla="*/ 201403 h 231698"/>
              <a:gd name="connsiteX45" fmla="*/ 42962 w 170172"/>
              <a:gd name="connsiteY45" fmla="*/ 206601 h 231698"/>
              <a:gd name="connsiteX46" fmla="*/ 49261 w 170172"/>
              <a:gd name="connsiteY46" fmla="*/ 211268 h 231698"/>
              <a:gd name="connsiteX47" fmla="*/ 76718 w 170172"/>
              <a:gd name="connsiteY47" fmla="*/ 227052 h 231698"/>
              <a:gd name="connsiteX48" fmla="*/ 92971 w 170172"/>
              <a:gd name="connsiteY48" fmla="*/ 231479 h 231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0172" h="231698">
                <a:moveTo>
                  <a:pt x="93115" y="231479"/>
                </a:moveTo>
                <a:cubicBezTo>
                  <a:pt x="98838" y="232104"/>
                  <a:pt x="105473" y="231527"/>
                  <a:pt x="111003" y="228062"/>
                </a:cubicBezTo>
                <a:cubicBezTo>
                  <a:pt x="116629" y="224790"/>
                  <a:pt x="120140" y="219545"/>
                  <a:pt x="122592" y="214637"/>
                </a:cubicBezTo>
                <a:cubicBezTo>
                  <a:pt x="124996" y="209632"/>
                  <a:pt x="126439" y="204580"/>
                  <a:pt x="127689" y="199719"/>
                </a:cubicBezTo>
                <a:cubicBezTo>
                  <a:pt x="130189" y="190095"/>
                  <a:pt x="131296" y="180279"/>
                  <a:pt x="134854" y="173253"/>
                </a:cubicBezTo>
                <a:cubicBezTo>
                  <a:pt x="138989" y="165410"/>
                  <a:pt x="143990" y="157422"/>
                  <a:pt x="148270" y="149530"/>
                </a:cubicBezTo>
                <a:cubicBezTo>
                  <a:pt x="157021" y="133699"/>
                  <a:pt x="164186" y="117626"/>
                  <a:pt x="167793" y="101458"/>
                </a:cubicBezTo>
                <a:cubicBezTo>
                  <a:pt x="171591" y="85386"/>
                  <a:pt x="170822" y="69025"/>
                  <a:pt x="165629" y="55599"/>
                </a:cubicBezTo>
                <a:cubicBezTo>
                  <a:pt x="160291" y="42174"/>
                  <a:pt x="151492" y="32261"/>
                  <a:pt x="142788" y="25428"/>
                </a:cubicBezTo>
                <a:cubicBezTo>
                  <a:pt x="134084" y="18451"/>
                  <a:pt x="125525" y="14360"/>
                  <a:pt x="118649" y="11040"/>
                </a:cubicBezTo>
                <a:cubicBezTo>
                  <a:pt x="111580" y="8105"/>
                  <a:pt x="106002" y="6036"/>
                  <a:pt x="102107" y="5073"/>
                </a:cubicBezTo>
                <a:cubicBezTo>
                  <a:pt x="98261" y="3967"/>
                  <a:pt x="96193" y="3582"/>
                  <a:pt x="96049" y="3918"/>
                </a:cubicBezTo>
                <a:cubicBezTo>
                  <a:pt x="95952" y="4255"/>
                  <a:pt x="97780" y="5362"/>
                  <a:pt x="101338" y="7046"/>
                </a:cubicBezTo>
                <a:cubicBezTo>
                  <a:pt x="104944" y="8634"/>
                  <a:pt x="110186" y="11281"/>
                  <a:pt x="116774" y="14745"/>
                </a:cubicBezTo>
                <a:cubicBezTo>
                  <a:pt x="123169" y="18547"/>
                  <a:pt x="131151" y="23022"/>
                  <a:pt x="138941" y="29999"/>
                </a:cubicBezTo>
                <a:cubicBezTo>
                  <a:pt x="146779" y="36785"/>
                  <a:pt x="154232" y="46168"/>
                  <a:pt x="158560" y="58198"/>
                </a:cubicBezTo>
                <a:cubicBezTo>
                  <a:pt x="162647" y="70228"/>
                  <a:pt x="163032" y="84664"/>
                  <a:pt x="159185" y="99485"/>
                </a:cubicBezTo>
                <a:cubicBezTo>
                  <a:pt x="155531" y="114354"/>
                  <a:pt x="148414" y="129464"/>
                  <a:pt x="139711" y="144766"/>
                </a:cubicBezTo>
                <a:cubicBezTo>
                  <a:pt x="135335" y="152514"/>
                  <a:pt x="130478" y="159972"/>
                  <a:pt x="125766" y="168634"/>
                </a:cubicBezTo>
                <a:cubicBezTo>
                  <a:pt x="124563" y="170895"/>
                  <a:pt x="123506" y="173542"/>
                  <a:pt x="122736" y="175948"/>
                </a:cubicBezTo>
                <a:cubicBezTo>
                  <a:pt x="121967" y="178402"/>
                  <a:pt x="121342" y="180808"/>
                  <a:pt x="120813" y="183166"/>
                </a:cubicBezTo>
                <a:cubicBezTo>
                  <a:pt x="119659" y="187930"/>
                  <a:pt x="118745" y="192598"/>
                  <a:pt x="117543" y="197169"/>
                </a:cubicBezTo>
                <a:cubicBezTo>
                  <a:pt x="115235" y="206071"/>
                  <a:pt x="111917" y="215310"/>
                  <a:pt x="105522" y="218967"/>
                </a:cubicBezTo>
                <a:cubicBezTo>
                  <a:pt x="99318" y="222817"/>
                  <a:pt x="89653" y="220796"/>
                  <a:pt x="80853" y="217187"/>
                </a:cubicBezTo>
                <a:cubicBezTo>
                  <a:pt x="72006" y="213337"/>
                  <a:pt x="63254" y="208237"/>
                  <a:pt x="55464" y="202606"/>
                </a:cubicBezTo>
                <a:lnTo>
                  <a:pt x="49646" y="198372"/>
                </a:lnTo>
                <a:cubicBezTo>
                  <a:pt x="47819" y="196880"/>
                  <a:pt x="46087" y="195196"/>
                  <a:pt x="44308" y="193656"/>
                </a:cubicBezTo>
                <a:cubicBezTo>
                  <a:pt x="40654" y="190673"/>
                  <a:pt x="37720" y="187016"/>
                  <a:pt x="34547" y="183599"/>
                </a:cubicBezTo>
                <a:cubicBezTo>
                  <a:pt x="22718" y="169404"/>
                  <a:pt x="14976" y="152610"/>
                  <a:pt x="11754" y="135816"/>
                </a:cubicBezTo>
                <a:cubicBezTo>
                  <a:pt x="10119" y="127443"/>
                  <a:pt x="9254" y="119022"/>
                  <a:pt x="9590" y="110986"/>
                </a:cubicBezTo>
                <a:cubicBezTo>
                  <a:pt x="9927" y="102950"/>
                  <a:pt x="10985" y="95058"/>
                  <a:pt x="13678" y="88417"/>
                </a:cubicBezTo>
                <a:cubicBezTo>
                  <a:pt x="19496" y="73596"/>
                  <a:pt x="25218" y="60219"/>
                  <a:pt x="31566" y="48526"/>
                </a:cubicBezTo>
                <a:cubicBezTo>
                  <a:pt x="37865" y="36833"/>
                  <a:pt x="44645" y="26920"/>
                  <a:pt x="51858" y="19461"/>
                </a:cubicBezTo>
                <a:cubicBezTo>
                  <a:pt x="59022" y="12003"/>
                  <a:pt x="66620" y="7094"/>
                  <a:pt x="73448" y="5025"/>
                </a:cubicBezTo>
                <a:cubicBezTo>
                  <a:pt x="80276" y="2812"/>
                  <a:pt x="86095" y="3004"/>
                  <a:pt x="89942" y="3437"/>
                </a:cubicBezTo>
                <a:cubicBezTo>
                  <a:pt x="93789" y="3870"/>
                  <a:pt x="95856" y="4303"/>
                  <a:pt x="96000" y="3870"/>
                </a:cubicBezTo>
                <a:cubicBezTo>
                  <a:pt x="96097" y="3582"/>
                  <a:pt x="94269" y="2427"/>
                  <a:pt x="90326" y="1320"/>
                </a:cubicBezTo>
                <a:cubicBezTo>
                  <a:pt x="86431" y="165"/>
                  <a:pt x="80180" y="-797"/>
                  <a:pt x="72342" y="983"/>
                </a:cubicBezTo>
                <a:cubicBezTo>
                  <a:pt x="64504" y="2619"/>
                  <a:pt x="55753" y="7576"/>
                  <a:pt x="47626" y="15179"/>
                </a:cubicBezTo>
                <a:cubicBezTo>
                  <a:pt x="39452" y="22781"/>
                  <a:pt x="31902" y="32935"/>
                  <a:pt x="24930" y="44772"/>
                </a:cubicBezTo>
                <a:cubicBezTo>
                  <a:pt x="17957" y="56610"/>
                  <a:pt x="11610" y="70324"/>
                  <a:pt x="5455" y="84953"/>
                </a:cubicBezTo>
                <a:cubicBezTo>
                  <a:pt x="1993" y="93037"/>
                  <a:pt x="694" y="101747"/>
                  <a:pt x="165" y="110553"/>
                </a:cubicBezTo>
                <a:cubicBezTo>
                  <a:pt x="-363" y="119407"/>
                  <a:pt x="406" y="128502"/>
                  <a:pt x="2041" y="137644"/>
                </a:cubicBezTo>
                <a:cubicBezTo>
                  <a:pt x="5263" y="155978"/>
                  <a:pt x="13485" y="174553"/>
                  <a:pt x="26468" y="190288"/>
                </a:cubicBezTo>
                <a:cubicBezTo>
                  <a:pt x="29882" y="194041"/>
                  <a:pt x="33152" y="198083"/>
                  <a:pt x="37143" y="201403"/>
                </a:cubicBezTo>
                <a:cubicBezTo>
                  <a:pt x="39067" y="203136"/>
                  <a:pt x="40942" y="204916"/>
                  <a:pt x="42962" y="206601"/>
                </a:cubicBezTo>
                <a:lnTo>
                  <a:pt x="49261" y="211268"/>
                </a:lnTo>
                <a:cubicBezTo>
                  <a:pt x="57724" y="217379"/>
                  <a:pt x="66668" y="222673"/>
                  <a:pt x="76718" y="227052"/>
                </a:cubicBezTo>
                <a:cubicBezTo>
                  <a:pt x="81815" y="229121"/>
                  <a:pt x="87153" y="230853"/>
                  <a:pt x="92971" y="231479"/>
                </a:cubicBezTo>
                <a:close/>
              </a:path>
            </a:pathLst>
          </a:custGeom>
          <a:solidFill>
            <a:srgbClr val="29C8C1"/>
          </a:solidFill>
          <a:ln w="0" cap="flat">
            <a:noFill/>
            <a:prstDash val="solid"/>
            <a:miter/>
          </a:ln>
        </p:spPr>
        <p:txBody>
          <a:bodyPr rtlCol="0" anchor="ctr"/>
          <a:lstStyle/>
          <a:p>
            <a:pPr rtl="0"/>
            <a:endParaRPr lang="en-AU" dirty="0"/>
          </a:p>
        </p:txBody>
      </p:sp>
      <p:sp>
        <p:nvSpPr>
          <p:cNvPr id="95" name="Freeform: Shape 94">
            <a:extLst>
              <a:ext uri="{FF2B5EF4-FFF2-40B4-BE49-F238E27FC236}">
                <a16:creationId xmlns:a16="http://schemas.microsoft.com/office/drawing/2014/main" id="{87B0FC5B-F1F4-9E97-DBC9-0A6B957F020B}"/>
              </a:ext>
            </a:extLst>
          </p:cNvPr>
          <p:cNvSpPr/>
          <p:nvPr/>
        </p:nvSpPr>
        <p:spPr>
          <a:xfrm>
            <a:off x="7332622" y="5219715"/>
            <a:ext cx="193715" cy="117338"/>
          </a:xfrm>
          <a:custGeom>
            <a:avLst/>
            <a:gdLst>
              <a:gd name="connsiteX0" fmla="*/ 19650 w 193715"/>
              <a:gd name="connsiteY0" fmla="*/ 71055 h 117338"/>
              <a:gd name="connsiteX1" fmla="*/ 52685 w 193715"/>
              <a:gd name="connsiteY1" fmla="*/ 95019 h 117338"/>
              <a:gd name="connsiteX2" fmla="*/ 84998 w 193715"/>
              <a:gd name="connsiteY2" fmla="*/ 109214 h 117338"/>
              <a:gd name="connsiteX3" fmla="*/ 135152 w 193715"/>
              <a:gd name="connsiteY3" fmla="*/ 117250 h 117338"/>
              <a:gd name="connsiteX4" fmla="*/ 153473 w 193715"/>
              <a:gd name="connsiteY4" fmla="*/ 113786 h 117338"/>
              <a:gd name="connsiteX5" fmla="*/ 135200 w 193715"/>
              <a:gd name="connsiteY5" fmla="*/ 113064 h 117338"/>
              <a:gd name="connsiteX6" fmla="*/ 87499 w 193715"/>
              <a:gd name="connsiteY6" fmla="*/ 102044 h 117338"/>
              <a:gd name="connsiteX7" fmla="*/ 57061 w 193715"/>
              <a:gd name="connsiteY7" fmla="*/ 87271 h 117338"/>
              <a:gd name="connsiteX8" fmla="*/ 26526 w 193715"/>
              <a:gd name="connsiteY8" fmla="*/ 64029 h 117338"/>
              <a:gd name="connsiteX9" fmla="*/ 14264 w 193715"/>
              <a:gd name="connsiteY9" fmla="*/ 48246 h 117338"/>
              <a:gd name="connsiteX10" fmla="*/ 11042 w 193715"/>
              <a:gd name="connsiteY10" fmla="*/ 30778 h 117338"/>
              <a:gd name="connsiteX11" fmla="*/ 24314 w 193715"/>
              <a:gd name="connsiteY11" fmla="*/ 18363 h 117338"/>
              <a:gd name="connsiteX12" fmla="*/ 45905 w 193715"/>
              <a:gd name="connsiteY12" fmla="*/ 12589 h 117338"/>
              <a:gd name="connsiteX13" fmla="*/ 69034 w 193715"/>
              <a:gd name="connsiteY13" fmla="*/ 10712 h 117338"/>
              <a:gd name="connsiteX14" fmla="*/ 91586 w 193715"/>
              <a:gd name="connsiteY14" fmla="*/ 11193 h 117338"/>
              <a:gd name="connsiteX15" fmla="*/ 112744 w 193715"/>
              <a:gd name="connsiteY15" fmla="*/ 14947 h 117338"/>
              <a:gd name="connsiteX16" fmla="*/ 132171 w 193715"/>
              <a:gd name="connsiteY16" fmla="*/ 21876 h 117338"/>
              <a:gd name="connsiteX17" fmla="*/ 183767 w 193715"/>
              <a:gd name="connsiteY17" fmla="*/ 68408 h 117338"/>
              <a:gd name="connsiteX18" fmla="*/ 184344 w 193715"/>
              <a:gd name="connsiteY18" fmla="*/ 93190 h 117338"/>
              <a:gd name="connsiteX19" fmla="*/ 170062 w 193715"/>
              <a:gd name="connsiteY19" fmla="*/ 106568 h 117338"/>
              <a:gd name="connsiteX20" fmla="*/ 153425 w 193715"/>
              <a:gd name="connsiteY20" fmla="*/ 113737 h 117338"/>
              <a:gd name="connsiteX21" fmla="*/ 158329 w 193715"/>
              <a:gd name="connsiteY21" fmla="*/ 113737 h 117338"/>
              <a:gd name="connsiteX22" fmla="*/ 164100 w 193715"/>
              <a:gd name="connsiteY22" fmla="*/ 112727 h 117338"/>
              <a:gd name="connsiteX23" fmla="*/ 167754 w 193715"/>
              <a:gd name="connsiteY23" fmla="*/ 111813 h 117338"/>
              <a:gd name="connsiteX24" fmla="*/ 171841 w 193715"/>
              <a:gd name="connsiteY24" fmla="*/ 110321 h 117338"/>
              <a:gd name="connsiteX25" fmla="*/ 189633 w 193715"/>
              <a:gd name="connsiteY25" fmla="*/ 96077 h 117338"/>
              <a:gd name="connsiteX26" fmla="*/ 193672 w 193715"/>
              <a:gd name="connsiteY26" fmla="*/ 81786 h 117338"/>
              <a:gd name="connsiteX27" fmla="*/ 190835 w 193715"/>
              <a:gd name="connsiteY27" fmla="*/ 65665 h 117338"/>
              <a:gd name="connsiteX28" fmla="*/ 182565 w 193715"/>
              <a:gd name="connsiteY28" fmla="*/ 50171 h 117338"/>
              <a:gd name="connsiteX29" fmla="*/ 170255 w 193715"/>
              <a:gd name="connsiteY29" fmla="*/ 35975 h 117338"/>
              <a:gd name="connsiteX30" fmla="*/ 136306 w 193715"/>
              <a:gd name="connsiteY30" fmla="*/ 12926 h 117338"/>
              <a:gd name="connsiteX31" fmla="*/ 115485 w 193715"/>
              <a:gd name="connsiteY31" fmla="*/ 5130 h 117338"/>
              <a:gd name="connsiteX32" fmla="*/ 92644 w 193715"/>
              <a:gd name="connsiteY32" fmla="*/ 751 h 117338"/>
              <a:gd name="connsiteX33" fmla="*/ 68842 w 193715"/>
              <a:gd name="connsiteY33" fmla="*/ 78 h 117338"/>
              <a:gd name="connsiteX34" fmla="*/ 44366 w 193715"/>
              <a:gd name="connsiteY34" fmla="*/ 2002 h 117338"/>
              <a:gd name="connsiteX35" fmla="*/ 19986 w 193715"/>
              <a:gd name="connsiteY35" fmla="*/ 8643 h 117338"/>
              <a:gd name="connsiteX36" fmla="*/ 8783 w 193715"/>
              <a:gd name="connsiteY36" fmla="*/ 15813 h 117338"/>
              <a:gd name="connsiteX37" fmla="*/ 1089 w 193715"/>
              <a:gd name="connsiteY37" fmla="*/ 27650 h 117338"/>
              <a:gd name="connsiteX38" fmla="*/ 752 w 193715"/>
              <a:gd name="connsiteY38" fmla="*/ 41461 h 117338"/>
              <a:gd name="connsiteX39" fmla="*/ 5368 w 193715"/>
              <a:gd name="connsiteY39" fmla="*/ 53154 h 117338"/>
              <a:gd name="connsiteX40" fmla="*/ 19602 w 193715"/>
              <a:gd name="connsiteY40" fmla="*/ 71007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3715" h="117338">
                <a:moveTo>
                  <a:pt x="19650" y="71055"/>
                </a:moveTo>
                <a:cubicBezTo>
                  <a:pt x="30181" y="81208"/>
                  <a:pt x="41577" y="88811"/>
                  <a:pt x="52685" y="95019"/>
                </a:cubicBezTo>
                <a:cubicBezTo>
                  <a:pt x="63841" y="101178"/>
                  <a:pt x="74756" y="105798"/>
                  <a:pt x="84998" y="109214"/>
                </a:cubicBezTo>
                <a:cubicBezTo>
                  <a:pt x="105483" y="116047"/>
                  <a:pt x="123179" y="117779"/>
                  <a:pt x="135152" y="117250"/>
                </a:cubicBezTo>
                <a:cubicBezTo>
                  <a:pt x="147221" y="116673"/>
                  <a:pt x="153617" y="114411"/>
                  <a:pt x="153473" y="113786"/>
                </a:cubicBezTo>
                <a:cubicBezTo>
                  <a:pt x="153328" y="112967"/>
                  <a:pt x="146837" y="113786"/>
                  <a:pt x="135200" y="113064"/>
                </a:cubicBezTo>
                <a:cubicBezTo>
                  <a:pt x="123611" y="112294"/>
                  <a:pt x="106878" y="109551"/>
                  <a:pt x="87499" y="102044"/>
                </a:cubicBezTo>
                <a:cubicBezTo>
                  <a:pt x="77834" y="98339"/>
                  <a:pt x="67495" y="93479"/>
                  <a:pt x="57061" y="87271"/>
                </a:cubicBezTo>
                <a:cubicBezTo>
                  <a:pt x="46674" y="81064"/>
                  <a:pt x="35999" y="73509"/>
                  <a:pt x="26526" y="64029"/>
                </a:cubicBezTo>
                <a:cubicBezTo>
                  <a:pt x="21862" y="59314"/>
                  <a:pt x="17486" y="54020"/>
                  <a:pt x="14264" y="48246"/>
                </a:cubicBezTo>
                <a:cubicBezTo>
                  <a:pt x="11139" y="42519"/>
                  <a:pt x="9311" y="36071"/>
                  <a:pt x="11042" y="30778"/>
                </a:cubicBezTo>
                <a:cubicBezTo>
                  <a:pt x="12629" y="25485"/>
                  <a:pt x="17871" y="21202"/>
                  <a:pt x="24314" y="18363"/>
                </a:cubicBezTo>
                <a:cubicBezTo>
                  <a:pt x="30806" y="15476"/>
                  <a:pt x="38211" y="13744"/>
                  <a:pt x="45905" y="12589"/>
                </a:cubicBezTo>
                <a:cubicBezTo>
                  <a:pt x="53598" y="11434"/>
                  <a:pt x="61340" y="10953"/>
                  <a:pt x="69034" y="10712"/>
                </a:cubicBezTo>
                <a:cubicBezTo>
                  <a:pt x="76728" y="10520"/>
                  <a:pt x="84421" y="10616"/>
                  <a:pt x="91586" y="11193"/>
                </a:cubicBezTo>
                <a:cubicBezTo>
                  <a:pt x="98847" y="11867"/>
                  <a:pt x="105916" y="13214"/>
                  <a:pt x="112744" y="14947"/>
                </a:cubicBezTo>
                <a:cubicBezTo>
                  <a:pt x="119524" y="16872"/>
                  <a:pt x="126064" y="19085"/>
                  <a:pt x="132171" y="21876"/>
                </a:cubicBezTo>
                <a:cubicBezTo>
                  <a:pt x="156598" y="32895"/>
                  <a:pt x="175929" y="50219"/>
                  <a:pt x="183767" y="68408"/>
                </a:cubicBezTo>
                <a:cubicBezTo>
                  <a:pt x="187758" y="77407"/>
                  <a:pt x="187758" y="86549"/>
                  <a:pt x="184344" y="93190"/>
                </a:cubicBezTo>
                <a:cubicBezTo>
                  <a:pt x="180882" y="99879"/>
                  <a:pt x="174967" y="103873"/>
                  <a:pt x="170062" y="106568"/>
                </a:cubicBezTo>
                <a:cubicBezTo>
                  <a:pt x="159820" y="111668"/>
                  <a:pt x="153184" y="112775"/>
                  <a:pt x="153425" y="113737"/>
                </a:cubicBezTo>
                <a:cubicBezTo>
                  <a:pt x="153473" y="114122"/>
                  <a:pt x="155156" y="114122"/>
                  <a:pt x="158329" y="113737"/>
                </a:cubicBezTo>
                <a:cubicBezTo>
                  <a:pt x="159916" y="113641"/>
                  <a:pt x="161840" y="113304"/>
                  <a:pt x="164100" y="112727"/>
                </a:cubicBezTo>
                <a:cubicBezTo>
                  <a:pt x="165254" y="112438"/>
                  <a:pt x="166456" y="112198"/>
                  <a:pt x="167754" y="111813"/>
                </a:cubicBezTo>
                <a:cubicBezTo>
                  <a:pt x="169052" y="111331"/>
                  <a:pt x="170399" y="110850"/>
                  <a:pt x="171841" y="110321"/>
                </a:cubicBezTo>
                <a:cubicBezTo>
                  <a:pt x="177419" y="108011"/>
                  <a:pt x="184632" y="104162"/>
                  <a:pt x="189633" y="96077"/>
                </a:cubicBezTo>
                <a:cubicBezTo>
                  <a:pt x="192038" y="92035"/>
                  <a:pt x="193432" y="87031"/>
                  <a:pt x="193672" y="81786"/>
                </a:cubicBezTo>
                <a:cubicBezTo>
                  <a:pt x="193961" y="76493"/>
                  <a:pt x="192759" y="71007"/>
                  <a:pt x="190835" y="65665"/>
                </a:cubicBezTo>
                <a:cubicBezTo>
                  <a:pt x="188912" y="60324"/>
                  <a:pt x="186075" y="55127"/>
                  <a:pt x="182565" y="50171"/>
                </a:cubicBezTo>
                <a:cubicBezTo>
                  <a:pt x="179102" y="45166"/>
                  <a:pt x="174967" y="40402"/>
                  <a:pt x="170255" y="35975"/>
                </a:cubicBezTo>
                <a:cubicBezTo>
                  <a:pt x="160926" y="26977"/>
                  <a:pt x="149434" y="19133"/>
                  <a:pt x="136306" y="12926"/>
                </a:cubicBezTo>
                <a:cubicBezTo>
                  <a:pt x="129766" y="9798"/>
                  <a:pt x="122746" y="7296"/>
                  <a:pt x="115485" y="5130"/>
                </a:cubicBezTo>
                <a:cubicBezTo>
                  <a:pt x="108128" y="3157"/>
                  <a:pt x="100530" y="1569"/>
                  <a:pt x="92644" y="751"/>
                </a:cubicBezTo>
                <a:cubicBezTo>
                  <a:pt x="84662" y="30"/>
                  <a:pt x="76824" y="-115"/>
                  <a:pt x="68842" y="78"/>
                </a:cubicBezTo>
                <a:cubicBezTo>
                  <a:pt x="60811" y="270"/>
                  <a:pt x="52685" y="799"/>
                  <a:pt x="44366" y="2002"/>
                </a:cubicBezTo>
                <a:cubicBezTo>
                  <a:pt x="36095" y="3205"/>
                  <a:pt x="27872" y="5130"/>
                  <a:pt x="19986" y="8643"/>
                </a:cubicBezTo>
                <a:cubicBezTo>
                  <a:pt x="16043" y="10472"/>
                  <a:pt x="12197" y="12733"/>
                  <a:pt x="8783" y="15813"/>
                </a:cubicBezTo>
                <a:cubicBezTo>
                  <a:pt x="5368" y="18893"/>
                  <a:pt x="2483" y="22983"/>
                  <a:pt x="1089" y="27650"/>
                </a:cubicBezTo>
                <a:cubicBezTo>
                  <a:pt x="-402" y="32318"/>
                  <a:pt x="-210" y="37178"/>
                  <a:pt x="752" y="41461"/>
                </a:cubicBezTo>
                <a:cubicBezTo>
                  <a:pt x="1714" y="45792"/>
                  <a:pt x="3397" y="49641"/>
                  <a:pt x="5368" y="53154"/>
                </a:cubicBezTo>
                <a:cubicBezTo>
                  <a:pt x="9360" y="60132"/>
                  <a:pt x="14408" y="65906"/>
                  <a:pt x="19602" y="71007"/>
                </a:cubicBezTo>
                <a:close/>
              </a:path>
            </a:pathLst>
          </a:custGeom>
          <a:solidFill>
            <a:srgbClr val="29C8C1"/>
          </a:solidFill>
          <a:ln w="0" cap="flat">
            <a:noFill/>
            <a:prstDash val="solid"/>
            <a:miter/>
          </a:ln>
        </p:spPr>
        <p:txBody>
          <a:bodyPr rtlCol="0" anchor="ctr"/>
          <a:lstStyle/>
          <a:p>
            <a:pPr rtl="0"/>
            <a:endParaRPr lang="en-AU" dirty="0"/>
          </a:p>
        </p:txBody>
      </p:sp>
      <p:sp>
        <p:nvSpPr>
          <p:cNvPr id="96" name="Freeform: Shape 95">
            <a:extLst>
              <a:ext uri="{FF2B5EF4-FFF2-40B4-BE49-F238E27FC236}">
                <a16:creationId xmlns:a16="http://schemas.microsoft.com/office/drawing/2014/main" id="{19F8832F-1D2E-4C43-6250-4394F5DF4D38}"/>
              </a:ext>
            </a:extLst>
          </p:cNvPr>
          <p:cNvSpPr/>
          <p:nvPr/>
        </p:nvSpPr>
        <p:spPr>
          <a:xfrm>
            <a:off x="8123347" y="5355925"/>
            <a:ext cx="496891" cy="224755"/>
          </a:xfrm>
          <a:custGeom>
            <a:avLst/>
            <a:gdLst>
              <a:gd name="connsiteX0" fmla="*/ 487619 w 496891"/>
              <a:gd name="connsiteY0" fmla="*/ 818 h 224755"/>
              <a:gd name="connsiteX1" fmla="*/ 473770 w 496891"/>
              <a:gd name="connsiteY1" fmla="*/ 0 h 224755"/>
              <a:gd name="connsiteX2" fmla="*/ 447275 w 496891"/>
              <a:gd name="connsiteY2" fmla="*/ 1347 h 224755"/>
              <a:gd name="connsiteX3" fmla="*/ 393419 w 496891"/>
              <a:gd name="connsiteY3" fmla="*/ 7218 h 224755"/>
              <a:gd name="connsiteX4" fmla="*/ 281042 w 496891"/>
              <a:gd name="connsiteY4" fmla="*/ 24301 h 224755"/>
              <a:gd name="connsiteX5" fmla="*/ 224301 w 496891"/>
              <a:gd name="connsiteY5" fmla="*/ 34743 h 224755"/>
              <a:gd name="connsiteX6" fmla="*/ 196700 w 496891"/>
              <a:gd name="connsiteY6" fmla="*/ 40662 h 224755"/>
              <a:gd name="connsiteX7" fmla="*/ 169483 w 496891"/>
              <a:gd name="connsiteY7" fmla="*/ 46292 h 224755"/>
              <a:gd name="connsiteX8" fmla="*/ 142699 w 496891"/>
              <a:gd name="connsiteY8" fmla="*/ 52884 h 224755"/>
              <a:gd name="connsiteX9" fmla="*/ 116974 w 496891"/>
              <a:gd name="connsiteY9" fmla="*/ 62797 h 224755"/>
              <a:gd name="connsiteX10" fmla="*/ 72542 w 496891"/>
              <a:gd name="connsiteY10" fmla="*/ 91140 h 224755"/>
              <a:gd name="connsiteX11" fmla="*/ 36045 w 496891"/>
              <a:gd name="connsiteY11" fmla="*/ 125305 h 224755"/>
              <a:gd name="connsiteX12" fmla="*/ 8492 w 496891"/>
              <a:gd name="connsiteY12" fmla="*/ 163994 h 224755"/>
              <a:gd name="connsiteX13" fmla="*/ 654 w 496891"/>
              <a:gd name="connsiteY13" fmla="*/ 185985 h 224755"/>
              <a:gd name="connsiteX14" fmla="*/ 366 w 496891"/>
              <a:gd name="connsiteY14" fmla="*/ 198015 h 224755"/>
              <a:gd name="connsiteX15" fmla="*/ 1856 w 496891"/>
              <a:gd name="connsiteY15" fmla="*/ 204030 h 224755"/>
              <a:gd name="connsiteX16" fmla="*/ 4934 w 496891"/>
              <a:gd name="connsiteY16" fmla="*/ 209515 h 224755"/>
              <a:gd name="connsiteX17" fmla="*/ 14503 w 496891"/>
              <a:gd name="connsiteY17" fmla="*/ 217214 h 224755"/>
              <a:gd name="connsiteX18" fmla="*/ 24889 w 496891"/>
              <a:gd name="connsiteY18" fmla="*/ 220342 h 224755"/>
              <a:gd name="connsiteX19" fmla="*/ 34939 w 496891"/>
              <a:gd name="connsiteY19" fmla="*/ 222171 h 224755"/>
              <a:gd name="connsiteX20" fmla="*/ 44700 w 496891"/>
              <a:gd name="connsiteY20" fmla="*/ 223326 h 224755"/>
              <a:gd name="connsiteX21" fmla="*/ 113944 w 496891"/>
              <a:gd name="connsiteY21" fmla="*/ 223326 h 224755"/>
              <a:gd name="connsiteX22" fmla="*/ 165685 w 496891"/>
              <a:gd name="connsiteY22" fmla="*/ 216685 h 224755"/>
              <a:gd name="connsiteX23" fmla="*/ 197758 w 496891"/>
              <a:gd name="connsiteY23" fmla="*/ 209130 h 224755"/>
              <a:gd name="connsiteX24" fmla="*/ 208577 w 496891"/>
              <a:gd name="connsiteY24" fmla="*/ 205233 h 224755"/>
              <a:gd name="connsiteX25" fmla="*/ 165011 w 496891"/>
              <a:gd name="connsiteY25" fmla="*/ 212643 h 224755"/>
              <a:gd name="connsiteX26" fmla="*/ 113608 w 496891"/>
              <a:gd name="connsiteY26" fmla="*/ 217455 h 224755"/>
              <a:gd name="connsiteX27" fmla="*/ 45518 w 496891"/>
              <a:gd name="connsiteY27" fmla="*/ 215915 h 224755"/>
              <a:gd name="connsiteX28" fmla="*/ 36141 w 496891"/>
              <a:gd name="connsiteY28" fmla="*/ 214616 h 224755"/>
              <a:gd name="connsiteX29" fmla="*/ 26765 w 496891"/>
              <a:gd name="connsiteY29" fmla="*/ 212739 h 224755"/>
              <a:gd name="connsiteX30" fmla="*/ 17869 w 496891"/>
              <a:gd name="connsiteY30" fmla="*/ 209900 h 224755"/>
              <a:gd name="connsiteX31" fmla="*/ 14406 w 496891"/>
              <a:gd name="connsiteY31" fmla="*/ 207783 h 224755"/>
              <a:gd name="connsiteX32" fmla="*/ 11617 w 496891"/>
              <a:gd name="connsiteY32" fmla="*/ 204751 h 224755"/>
              <a:gd name="connsiteX33" fmla="*/ 9069 w 496891"/>
              <a:gd name="connsiteY33" fmla="*/ 187524 h 224755"/>
              <a:gd name="connsiteX34" fmla="*/ 16330 w 496891"/>
              <a:gd name="connsiteY34" fmla="*/ 168132 h 224755"/>
              <a:gd name="connsiteX35" fmla="*/ 42969 w 496891"/>
              <a:gd name="connsiteY35" fmla="*/ 131657 h 224755"/>
              <a:gd name="connsiteX36" fmla="*/ 78553 w 496891"/>
              <a:gd name="connsiteY36" fmla="*/ 98935 h 224755"/>
              <a:gd name="connsiteX37" fmla="*/ 121397 w 496891"/>
              <a:gd name="connsiteY37" fmla="*/ 71988 h 224755"/>
              <a:gd name="connsiteX38" fmla="*/ 145488 w 496891"/>
              <a:gd name="connsiteY38" fmla="*/ 62845 h 224755"/>
              <a:gd name="connsiteX39" fmla="*/ 171647 w 496891"/>
              <a:gd name="connsiteY39" fmla="*/ 56541 h 224755"/>
              <a:gd name="connsiteX40" fmla="*/ 198768 w 496891"/>
              <a:gd name="connsiteY40" fmla="*/ 51055 h 224755"/>
              <a:gd name="connsiteX41" fmla="*/ 226273 w 496891"/>
              <a:gd name="connsiteY41" fmla="*/ 45185 h 224755"/>
              <a:gd name="connsiteX42" fmla="*/ 282773 w 496891"/>
              <a:gd name="connsiteY42" fmla="*/ 34887 h 224755"/>
              <a:gd name="connsiteX43" fmla="*/ 394717 w 496891"/>
              <a:gd name="connsiteY43" fmla="*/ 17612 h 224755"/>
              <a:gd name="connsiteX44" fmla="*/ 448092 w 496891"/>
              <a:gd name="connsiteY44" fmla="*/ 11501 h 224755"/>
              <a:gd name="connsiteX45" fmla="*/ 473818 w 496891"/>
              <a:gd name="connsiteY45" fmla="*/ 10057 h 224755"/>
              <a:gd name="connsiteX46" fmla="*/ 485599 w 496891"/>
              <a:gd name="connsiteY46" fmla="*/ 10635 h 224755"/>
              <a:gd name="connsiteX47" fmla="*/ 485840 w 496891"/>
              <a:gd name="connsiteY47" fmla="*/ 11308 h 224755"/>
              <a:gd name="connsiteX48" fmla="*/ 482185 w 496891"/>
              <a:gd name="connsiteY48" fmla="*/ 15110 h 224755"/>
              <a:gd name="connsiteX49" fmla="*/ 477713 w 496891"/>
              <a:gd name="connsiteY49" fmla="*/ 18959 h 224755"/>
              <a:gd name="connsiteX50" fmla="*/ 468048 w 496891"/>
              <a:gd name="connsiteY50" fmla="*/ 26177 h 224755"/>
              <a:gd name="connsiteX51" fmla="*/ 447996 w 496891"/>
              <a:gd name="connsiteY51" fmla="*/ 39362 h 224755"/>
              <a:gd name="connsiteX52" fmla="*/ 408229 w 496891"/>
              <a:gd name="connsiteY52" fmla="*/ 62989 h 224755"/>
              <a:gd name="connsiteX53" fmla="*/ 336101 w 496891"/>
              <a:gd name="connsiteY53" fmla="*/ 104806 h 224755"/>
              <a:gd name="connsiteX54" fmla="*/ 305181 w 496891"/>
              <a:gd name="connsiteY54" fmla="*/ 124343 h 224755"/>
              <a:gd name="connsiteX55" fmla="*/ 291573 w 496891"/>
              <a:gd name="connsiteY55" fmla="*/ 134688 h 224755"/>
              <a:gd name="connsiteX56" fmla="*/ 280706 w 496891"/>
              <a:gd name="connsiteY56" fmla="*/ 146959 h 224755"/>
              <a:gd name="connsiteX57" fmla="*/ 264453 w 496891"/>
              <a:gd name="connsiteY57" fmla="*/ 169720 h 224755"/>
              <a:gd name="connsiteX58" fmla="*/ 247478 w 496891"/>
              <a:gd name="connsiteY58" fmla="*/ 185359 h 224755"/>
              <a:gd name="connsiteX59" fmla="*/ 219012 w 496891"/>
              <a:gd name="connsiteY59" fmla="*/ 200661 h 224755"/>
              <a:gd name="connsiteX60" fmla="*/ 208481 w 496891"/>
              <a:gd name="connsiteY60" fmla="*/ 205136 h 224755"/>
              <a:gd name="connsiteX61" fmla="*/ 219733 w 496891"/>
              <a:gd name="connsiteY61" fmla="*/ 202682 h 224755"/>
              <a:gd name="connsiteX62" fmla="*/ 249835 w 496891"/>
              <a:gd name="connsiteY62" fmla="*/ 188775 h 224755"/>
              <a:gd name="connsiteX63" fmla="*/ 268251 w 496891"/>
              <a:gd name="connsiteY63" fmla="*/ 173040 h 224755"/>
              <a:gd name="connsiteX64" fmla="*/ 285466 w 496891"/>
              <a:gd name="connsiteY64" fmla="*/ 150424 h 224755"/>
              <a:gd name="connsiteX65" fmla="*/ 295612 w 496891"/>
              <a:gd name="connsiteY65" fmla="*/ 139500 h 224755"/>
              <a:gd name="connsiteX66" fmla="*/ 308884 w 496891"/>
              <a:gd name="connsiteY66" fmla="*/ 129924 h 224755"/>
              <a:gd name="connsiteX67" fmla="*/ 339803 w 496891"/>
              <a:gd name="connsiteY67" fmla="*/ 111302 h 224755"/>
              <a:gd name="connsiteX68" fmla="*/ 374713 w 496891"/>
              <a:gd name="connsiteY68" fmla="*/ 91909 h 224755"/>
              <a:gd name="connsiteX69" fmla="*/ 412509 w 496891"/>
              <a:gd name="connsiteY69" fmla="*/ 70640 h 224755"/>
              <a:gd name="connsiteX70" fmla="*/ 452853 w 496891"/>
              <a:gd name="connsiteY70" fmla="*/ 47302 h 224755"/>
              <a:gd name="connsiteX71" fmla="*/ 473482 w 496891"/>
              <a:gd name="connsiteY71" fmla="*/ 34021 h 224755"/>
              <a:gd name="connsiteX72" fmla="*/ 483724 w 496891"/>
              <a:gd name="connsiteY72" fmla="*/ 26514 h 224755"/>
              <a:gd name="connsiteX73" fmla="*/ 488773 w 496891"/>
              <a:gd name="connsiteY73" fmla="*/ 22231 h 224755"/>
              <a:gd name="connsiteX74" fmla="*/ 493774 w 496891"/>
              <a:gd name="connsiteY74" fmla="*/ 16890 h 224755"/>
              <a:gd name="connsiteX75" fmla="*/ 495409 w 496891"/>
              <a:gd name="connsiteY75" fmla="*/ 14436 h 224755"/>
              <a:gd name="connsiteX76" fmla="*/ 496515 w 496891"/>
              <a:gd name="connsiteY76" fmla="*/ 11838 h 224755"/>
              <a:gd name="connsiteX77" fmla="*/ 496611 w 496891"/>
              <a:gd name="connsiteY77" fmla="*/ 6544 h 224755"/>
              <a:gd name="connsiteX78" fmla="*/ 487523 w 496891"/>
              <a:gd name="connsiteY78" fmla="*/ 818 h 22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96891" h="224755">
                <a:moveTo>
                  <a:pt x="487619" y="818"/>
                </a:moveTo>
                <a:cubicBezTo>
                  <a:pt x="482426" y="0"/>
                  <a:pt x="478290" y="0"/>
                  <a:pt x="473770" y="0"/>
                </a:cubicBezTo>
                <a:cubicBezTo>
                  <a:pt x="464922" y="48"/>
                  <a:pt x="456123" y="626"/>
                  <a:pt x="447275" y="1347"/>
                </a:cubicBezTo>
                <a:cubicBezTo>
                  <a:pt x="429580" y="2791"/>
                  <a:pt x="411643" y="4908"/>
                  <a:pt x="393419" y="7218"/>
                </a:cubicBezTo>
                <a:cubicBezTo>
                  <a:pt x="356970" y="11934"/>
                  <a:pt x="319415" y="17756"/>
                  <a:pt x="281042" y="24301"/>
                </a:cubicBezTo>
                <a:cubicBezTo>
                  <a:pt x="261856" y="27621"/>
                  <a:pt x="242910" y="30989"/>
                  <a:pt x="224301" y="34743"/>
                </a:cubicBezTo>
                <a:cubicBezTo>
                  <a:pt x="215020" y="36523"/>
                  <a:pt x="205548" y="38785"/>
                  <a:pt x="196700" y="40662"/>
                </a:cubicBezTo>
                <a:cubicBezTo>
                  <a:pt x="187564" y="42538"/>
                  <a:pt x="178475" y="44415"/>
                  <a:pt x="169483" y="46292"/>
                </a:cubicBezTo>
                <a:cubicBezTo>
                  <a:pt x="160443" y="48264"/>
                  <a:pt x="151547" y="50334"/>
                  <a:pt x="142699" y="52884"/>
                </a:cubicBezTo>
                <a:cubicBezTo>
                  <a:pt x="133900" y="55290"/>
                  <a:pt x="125004" y="58755"/>
                  <a:pt x="116974" y="62797"/>
                </a:cubicBezTo>
                <a:cubicBezTo>
                  <a:pt x="100721" y="70737"/>
                  <a:pt x="86054" y="80601"/>
                  <a:pt x="72542" y="91140"/>
                </a:cubicBezTo>
                <a:cubicBezTo>
                  <a:pt x="59126" y="101774"/>
                  <a:pt x="46864" y="113227"/>
                  <a:pt x="36045" y="125305"/>
                </a:cubicBezTo>
                <a:cubicBezTo>
                  <a:pt x="25226" y="137431"/>
                  <a:pt x="15657" y="150183"/>
                  <a:pt x="8492" y="163994"/>
                </a:cubicBezTo>
                <a:cubicBezTo>
                  <a:pt x="4982" y="170923"/>
                  <a:pt x="2000" y="178141"/>
                  <a:pt x="654" y="185985"/>
                </a:cubicBezTo>
                <a:cubicBezTo>
                  <a:pt x="125" y="189882"/>
                  <a:pt x="-356" y="193876"/>
                  <a:pt x="366" y="198015"/>
                </a:cubicBezTo>
                <a:cubicBezTo>
                  <a:pt x="461" y="200036"/>
                  <a:pt x="1327" y="202057"/>
                  <a:pt x="1856" y="204030"/>
                </a:cubicBezTo>
                <a:cubicBezTo>
                  <a:pt x="2818" y="205906"/>
                  <a:pt x="3539" y="207927"/>
                  <a:pt x="4934" y="209515"/>
                </a:cubicBezTo>
                <a:cubicBezTo>
                  <a:pt x="7290" y="213076"/>
                  <a:pt x="10800" y="215386"/>
                  <a:pt x="14503" y="217214"/>
                </a:cubicBezTo>
                <a:cubicBezTo>
                  <a:pt x="18013" y="218562"/>
                  <a:pt x="21475" y="219717"/>
                  <a:pt x="24889" y="220342"/>
                </a:cubicBezTo>
                <a:cubicBezTo>
                  <a:pt x="28303" y="221160"/>
                  <a:pt x="31621" y="221738"/>
                  <a:pt x="34939" y="222171"/>
                </a:cubicBezTo>
                <a:cubicBezTo>
                  <a:pt x="38257" y="222748"/>
                  <a:pt x="41479" y="223037"/>
                  <a:pt x="44700" y="223326"/>
                </a:cubicBezTo>
                <a:cubicBezTo>
                  <a:pt x="70427" y="225684"/>
                  <a:pt x="93652" y="224721"/>
                  <a:pt x="113944" y="223326"/>
                </a:cubicBezTo>
                <a:cubicBezTo>
                  <a:pt x="134236" y="221786"/>
                  <a:pt x="151595" y="219235"/>
                  <a:pt x="165685" y="216685"/>
                </a:cubicBezTo>
                <a:cubicBezTo>
                  <a:pt x="179726" y="213990"/>
                  <a:pt x="190545" y="211296"/>
                  <a:pt x="197758" y="209130"/>
                </a:cubicBezTo>
                <a:cubicBezTo>
                  <a:pt x="204971" y="206917"/>
                  <a:pt x="208673" y="205569"/>
                  <a:pt x="208577" y="205233"/>
                </a:cubicBezTo>
                <a:cubicBezTo>
                  <a:pt x="208337" y="204318"/>
                  <a:pt x="193141" y="208553"/>
                  <a:pt x="165011" y="212643"/>
                </a:cubicBezTo>
                <a:cubicBezTo>
                  <a:pt x="150970" y="214568"/>
                  <a:pt x="133707" y="216493"/>
                  <a:pt x="113608" y="217455"/>
                </a:cubicBezTo>
                <a:cubicBezTo>
                  <a:pt x="93556" y="218273"/>
                  <a:pt x="70474" y="218658"/>
                  <a:pt x="45518" y="215915"/>
                </a:cubicBezTo>
                <a:cubicBezTo>
                  <a:pt x="42392" y="215578"/>
                  <a:pt x="39267" y="215193"/>
                  <a:pt x="36141" y="214616"/>
                </a:cubicBezTo>
                <a:cubicBezTo>
                  <a:pt x="32968" y="214135"/>
                  <a:pt x="29842" y="213557"/>
                  <a:pt x="26765" y="212739"/>
                </a:cubicBezTo>
                <a:cubicBezTo>
                  <a:pt x="23591" y="212114"/>
                  <a:pt x="20706" y="210959"/>
                  <a:pt x="17869" y="209900"/>
                </a:cubicBezTo>
                <a:cubicBezTo>
                  <a:pt x="16763" y="209130"/>
                  <a:pt x="15416" y="208745"/>
                  <a:pt x="14406" y="207783"/>
                </a:cubicBezTo>
                <a:cubicBezTo>
                  <a:pt x="13397" y="206820"/>
                  <a:pt x="12339" y="205906"/>
                  <a:pt x="11617" y="204751"/>
                </a:cubicBezTo>
                <a:cubicBezTo>
                  <a:pt x="8204" y="200372"/>
                  <a:pt x="7963" y="193924"/>
                  <a:pt x="9069" y="187524"/>
                </a:cubicBezTo>
                <a:cubicBezTo>
                  <a:pt x="10223" y="181028"/>
                  <a:pt x="13012" y="174484"/>
                  <a:pt x="16330" y="168132"/>
                </a:cubicBezTo>
                <a:cubicBezTo>
                  <a:pt x="23158" y="155380"/>
                  <a:pt x="32439" y="143254"/>
                  <a:pt x="42969" y="131657"/>
                </a:cubicBezTo>
                <a:cubicBezTo>
                  <a:pt x="53548" y="120108"/>
                  <a:pt x="65522" y="109136"/>
                  <a:pt x="78553" y="98935"/>
                </a:cubicBezTo>
                <a:cubicBezTo>
                  <a:pt x="91680" y="88878"/>
                  <a:pt x="105914" y="79446"/>
                  <a:pt x="121397" y="71988"/>
                </a:cubicBezTo>
                <a:cubicBezTo>
                  <a:pt x="129187" y="68186"/>
                  <a:pt x="136929" y="65155"/>
                  <a:pt x="145488" y="62845"/>
                </a:cubicBezTo>
                <a:cubicBezTo>
                  <a:pt x="153952" y="60487"/>
                  <a:pt x="162751" y="58466"/>
                  <a:pt x="171647" y="56541"/>
                </a:cubicBezTo>
                <a:cubicBezTo>
                  <a:pt x="180639" y="54713"/>
                  <a:pt x="189679" y="52884"/>
                  <a:pt x="198768" y="51055"/>
                </a:cubicBezTo>
                <a:cubicBezTo>
                  <a:pt x="208144" y="49083"/>
                  <a:pt x="216944" y="46965"/>
                  <a:pt x="226273" y="45185"/>
                </a:cubicBezTo>
                <a:cubicBezTo>
                  <a:pt x="244785" y="41528"/>
                  <a:pt x="263635" y="38159"/>
                  <a:pt x="282773" y="34887"/>
                </a:cubicBezTo>
                <a:cubicBezTo>
                  <a:pt x="321002" y="28343"/>
                  <a:pt x="358460" y="22472"/>
                  <a:pt x="394717" y="17612"/>
                </a:cubicBezTo>
                <a:cubicBezTo>
                  <a:pt x="412845" y="15206"/>
                  <a:pt x="430637" y="13041"/>
                  <a:pt x="448092" y="11501"/>
                </a:cubicBezTo>
                <a:cubicBezTo>
                  <a:pt x="456796" y="10779"/>
                  <a:pt x="465451" y="10153"/>
                  <a:pt x="473818" y="10057"/>
                </a:cubicBezTo>
                <a:cubicBezTo>
                  <a:pt x="477906" y="10057"/>
                  <a:pt x="482378" y="10105"/>
                  <a:pt x="485599" y="10635"/>
                </a:cubicBezTo>
                <a:lnTo>
                  <a:pt x="485840" y="11308"/>
                </a:lnTo>
                <a:cubicBezTo>
                  <a:pt x="485070" y="12222"/>
                  <a:pt x="483532" y="13859"/>
                  <a:pt x="482185" y="15110"/>
                </a:cubicBezTo>
                <a:cubicBezTo>
                  <a:pt x="480743" y="16409"/>
                  <a:pt x="479252" y="17708"/>
                  <a:pt x="477713" y="18959"/>
                </a:cubicBezTo>
                <a:cubicBezTo>
                  <a:pt x="474588" y="21462"/>
                  <a:pt x="471318" y="23868"/>
                  <a:pt x="468048" y="26177"/>
                </a:cubicBezTo>
                <a:cubicBezTo>
                  <a:pt x="461460" y="30797"/>
                  <a:pt x="454680" y="35176"/>
                  <a:pt x="447996" y="39362"/>
                </a:cubicBezTo>
                <a:cubicBezTo>
                  <a:pt x="434532" y="47735"/>
                  <a:pt x="421165" y="55531"/>
                  <a:pt x="408229" y="62989"/>
                </a:cubicBezTo>
                <a:cubicBezTo>
                  <a:pt x="382311" y="78003"/>
                  <a:pt x="358124" y="92006"/>
                  <a:pt x="336101" y="104806"/>
                </a:cubicBezTo>
                <a:cubicBezTo>
                  <a:pt x="325137" y="111350"/>
                  <a:pt x="314751" y="117750"/>
                  <a:pt x="305181" y="124343"/>
                </a:cubicBezTo>
                <a:cubicBezTo>
                  <a:pt x="300421" y="127711"/>
                  <a:pt x="295853" y="130983"/>
                  <a:pt x="291573" y="134688"/>
                </a:cubicBezTo>
                <a:cubicBezTo>
                  <a:pt x="287245" y="138345"/>
                  <a:pt x="283591" y="142772"/>
                  <a:pt x="280706" y="146959"/>
                </a:cubicBezTo>
                <a:cubicBezTo>
                  <a:pt x="274839" y="155428"/>
                  <a:pt x="269983" y="163272"/>
                  <a:pt x="264453" y="169720"/>
                </a:cubicBezTo>
                <a:cubicBezTo>
                  <a:pt x="259019" y="176216"/>
                  <a:pt x="253153" y="181317"/>
                  <a:pt x="247478" y="185359"/>
                </a:cubicBezTo>
                <a:cubicBezTo>
                  <a:pt x="236130" y="193539"/>
                  <a:pt x="225840" y="197678"/>
                  <a:pt x="219012" y="200661"/>
                </a:cubicBezTo>
                <a:cubicBezTo>
                  <a:pt x="212039" y="203260"/>
                  <a:pt x="208385" y="204751"/>
                  <a:pt x="208481" y="205136"/>
                </a:cubicBezTo>
                <a:cubicBezTo>
                  <a:pt x="208577" y="205473"/>
                  <a:pt x="212424" y="204655"/>
                  <a:pt x="219733" y="202682"/>
                </a:cubicBezTo>
                <a:cubicBezTo>
                  <a:pt x="226850" y="200276"/>
                  <a:pt x="237621" y="196763"/>
                  <a:pt x="249835" y="188775"/>
                </a:cubicBezTo>
                <a:cubicBezTo>
                  <a:pt x="255893" y="184782"/>
                  <a:pt x="262337" y="179681"/>
                  <a:pt x="268251" y="173040"/>
                </a:cubicBezTo>
                <a:cubicBezTo>
                  <a:pt x="274262" y="166496"/>
                  <a:pt x="279600" y="158411"/>
                  <a:pt x="285466" y="150424"/>
                </a:cubicBezTo>
                <a:cubicBezTo>
                  <a:pt x="288448" y="146381"/>
                  <a:pt x="291621" y="142724"/>
                  <a:pt x="295612" y="139500"/>
                </a:cubicBezTo>
                <a:cubicBezTo>
                  <a:pt x="299603" y="136180"/>
                  <a:pt x="304172" y="133052"/>
                  <a:pt x="308884" y="129924"/>
                </a:cubicBezTo>
                <a:cubicBezTo>
                  <a:pt x="318357" y="123717"/>
                  <a:pt x="328792" y="117558"/>
                  <a:pt x="339803" y="111302"/>
                </a:cubicBezTo>
                <a:cubicBezTo>
                  <a:pt x="350815" y="104998"/>
                  <a:pt x="362548" y="98646"/>
                  <a:pt x="374713" y="91909"/>
                </a:cubicBezTo>
                <a:cubicBezTo>
                  <a:pt x="386831" y="85076"/>
                  <a:pt x="399478" y="78003"/>
                  <a:pt x="412509" y="70640"/>
                </a:cubicBezTo>
                <a:cubicBezTo>
                  <a:pt x="425588" y="63326"/>
                  <a:pt x="439100" y="55675"/>
                  <a:pt x="452853" y="47302"/>
                </a:cubicBezTo>
                <a:cubicBezTo>
                  <a:pt x="459729" y="43116"/>
                  <a:pt x="466605" y="38737"/>
                  <a:pt x="473482" y="34021"/>
                </a:cubicBezTo>
                <a:cubicBezTo>
                  <a:pt x="476896" y="31615"/>
                  <a:pt x="480358" y="29161"/>
                  <a:pt x="483724" y="26514"/>
                </a:cubicBezTo>
                <a:cubicBezTo>
                  <a:pt x="485407" y="25167"/>
                  <a:pt x="487090" y="23771"/>
                  <a:pt x="488773" y="22231"/>
                </a:cubicBezTo>
                <a:cubicBezTo>
                  <a:pt x="490456" y="20595"/>
                  <a:pt x="491947" y="19296"/>
                  <a:pt x="493774" y="16890"/>
                </a:cubicBezTo>
                <a:lnTo>
                  <a:pt x="495409" y="14436"/>
                </a:lnTo>
                <a:cubicBezTo>
                  <a:pt x="495938" y="13618"/>
                  <a:pt x="496130" y="12704"/>
                  <a:pt x="496515" y="11838"/>
                </a:cubicBezTo>
                <a:cubicBezTo>
                  <a:pt x="497140" y="10057"/>
                  <a:pt x="496852" y="8325"/>
                  <a:pt x="496611" y="6544"/>
                </a:cubicBezTo>
                <a:cubicBezTo>
                  <a:pt x="495361" y="3080"/>
                  <a:pt x="491514" y="1588"/>
                  <a:pt x="487523" y="818"/>
                </a:cubicBezTo>
                <a:close/>
              </a:path>
            </a:pathLst>
          </a:custGeom>
          <a:solidFill>
            <a:srgbClr val="29C8C1"/>
          </a:solidFill>
          <a:ln w="0" cap="flat">
            <a:noFill/>
            <a:prstDash val="solid"/>
            <a:miter/>
          </a:ln>
        </p:spPr>
        <p:txBody>
          <a:bodyPr rtlCol="0" anchor="ctr"/>
          <a:lstStyle/>
          <a:p>
            <a:pPr rtl="0"/>
            <a:endParaRPr lang="en-AU" dirty="0"/>
          </a:p>
        </p:txBody>
      </p:sp>
      <p:sp>
        <p:nvSpPr>
          <p:cNvPr id="97" name="Freeform: Shape 96">
            <a:extLst>
              <a:ext uri="{FF2B5EF4-FFF2-40B4-BE49-F238E27FC236}">
                <a16:creationId xmlns:a16="http://schemas.microsoft.com/office/drawing/2014/main" id="{1F3DD414-D004-AD21-EBC4-06A3E418E319}"/>
              </a:ext>
            </a:extLst>
          </p:cNvPr>
          <p:cNvSpPr/>
          <p:nvPr/>
        </p:nvSpPr>
        <p:spPr>
          <a:xfrm>
            <a:off x="8192677" y="5414266"/>
            <a:ext cx="234092" cy="133674"/>
          </a:xfrm>
          <a:custGeom>
            <a:avLst/>
            <a:gdLst>
              <a:gd name="connsiteX0" fmla="*/ 225369 w 234092"/>
              <a:gd name="connsiteY0" fmla="*/ 32365 h 133674"/>
              <a:gd name="connsiteX1" fmla="*/ 231813 w 234092"/>
              <a:gd name="connsiteY1" fmla="*/ 22693 h 133674"/>
              <a:gd name="connsiteX2" fmla="*/ 233015 w 234092"/>
              <a:gd name="connsiteY2" fmla="*/ 19854 h 133674"/>
              <a:gd name="connsiteX3" fmla="*/ 233833 w 234092"/>
              <a:gd name="connsiteY3" fmla="*/ 16678 h 133674"/>
              <a:gd name="connsiteX4" fmla="*/ 234025 w 234092"/>
              <a:gd name="connsiteY4" fmla="*/ 13117 h 133674"/>
              <a:gd name="connsiteX5" fmla="*/ 233159 w 234092"/>
              <a:gd name="connsiteY5" fmla="*/ 9364 h 133674"/>
              <a:gd name="connsiteX6" fmla="*/ 231092 w 234092"/>
              <a:gd name="connsiteY6" fmla="*/ 6140 h 133674"/>
              <a:gd name="connsiteX7" fmla="*/ 228399 w 234092"/>
              <a:gd name="connsiteY7" fmla="*/ 3878 h 133674"/>
              <a:gd name="connsiteX8" fmla="*/ 222917 w 234092"/>
              <a:gd name="connsiteY8" fmla="*/ 1520 h 133674"/>
              <a:gd name="connsiteX9" fmla="*/ 212723 w 234092"/>
              <a:gd name="connsiteY9" fmla="*/ 28 h 133674"/>
              <a:gd name="connsiteX10" fmla="*/ 179063 w 234092"/>
              <a:gd name="connsiteY10" fmla="*/ 3493 h 133674"/>
              <a:gd name="connsiteX11" fmla="*/ 154587 w 234092"/>
              <a:gd name="connsiteY11" fmla="*/ 9219 h 133674"/>
              <a:gd name="connsiteX12" fmla="*/ 134343 w 234092"/>
              <a:gd name="connsiteY12" fmla="*/ 16245 h 133674"/>
              <a:gd name="connsiteX13" fmla="*/ 155501 w 234092"/>
              <a:gd name="connsiteY13" fmla="*/ 13310 h 133674"/>
              <a:gd name="connsiteX14" fmla="*/ 180073 w 234092"/>
              <a:gd name="connsiteY14" fmla="*/ 9412 h 133674"/>
              <a:gd name="connsiteX15" fmla="*/ 212290 w 234092"/>
              <a:gd name="connsiteY15" fmla="*/ 7583 h 133674"/>
              <a:gd name="connsiteX16" fmla="*/ 220609 w 234092"/>
              <a:gd name="connsiteY16" fmla="*/ 9075 h 133674"/>
              <a:gd name="connsiteX17" fmla="*/ 225562 w 234092"/>
              <a:gd name="connsiteY17" fmla="*/ 12539 h 133674"/>
              <a:gd name="connsiteX18" fmla="*/ 224167 w 234092"/>
              <a:gd name="connsiteY18" fmla="*/ 18891 h 133674"/>
              <a:gd name="connsiteX19" fmla="*/ 218589 w 234092"/>
              <a:gd name="connsiteY19" fmla="*/ 26687 h 133674"/>
              <a:gd name="connsiteX20" fmla="*/ 184256 w 234092"/>
              <a:gd name="connsiteY20" fmla="*/ 55415 h 133674"/>
              <a:gd name="connsiteX21" fmla="*/ 92845 w 234092"/>
              <a:gd name="connsiteY21" fmla="*/ 105604 h 133674"/>
              <a:gd name="connsiteX22" fmla="*/ 42114 w 234092"/>
              <a:gd name="connsiteY22" fmla="*/ 121965 h 133674"/>
              <a:gd name="connsiteX23" fmla="*/ 29853 w 234092"/>
              <a:gd name="connsiteY23" fmla="*/ 123312 h 133674"/>
              <a:gd name="connsiteX24" fmla="*/ 18745 w 234092"/>
              <a:gd name="connsiteY24" fmla="*/ 122157 h 133674"/>
              <a:gd name="connsiteX25" fmla="*/ 11628 w 234092"/>
              <a:gd name="connsiteY25" fmla="*/ 117249 h 133674"/>
              <a:gd name="connsiteX26" fmla="*/ 9801 w 234092"/>
              <a:gd name="connsiteY26" fmla="*/ 108202 h 133674"/>
              <a:gd name="connsiteX27" fmla="*/ 17398 w 234092"/>
              <a:gd name="connsiteY27" fmla="*/ 88906 h 133674"/>
              <a:gd name="connsiteX28" fmla="*/ 31536 w 234092"/>
              <a:gd name="connsiteY28" fmla="*/ 72978 h 133674"/>
              <a:gd name="connsiteX29" fmla="*/ 63080 w 234092"/>
              <a:gd name="connsiteY29" fmla="*/ 49688 h 133674"/>
              <a:gd name="connsiteX30" fmla="*/ 114676 w 234092"/>
              <a:gd name="connsiteY30" fmla="*/ 24377 h 133674"/>
              <a:gd name="connsiteX31" fmla="*/ 134391 w 234092"/>
              <a:gd name="connsiteY31" fmla="*/ 16293 h 133674"/>
              <a:gd name="connsiteX32" fmla="*/ 113330 w 234092"/>
              <a:gd name="connsiteY32" fmla="*/ 20479 h 133674"/>
              <a:gd name="connsiteX33" fmla="*/ 59281 w 234092"/>
              <a:gd name="connsiteY33" fmla="*/ 43192 h 133674"/>
              <a:gd name="connsiteX34" fmla="*/ 25621 w 234092"/>
              <a:gd name="connsiteY34" fmla="*/ 66434 h 133674"/>
              <a:gd name="connsiteX35" fmla="*/ 9753 w 234092"/>
              <a:gd name="connsiteY35" fmla="*/ 83517 h 133674"/>
              <a:gd name="connsiteX36" fmla="*/ 39 w 234092"/>
              <a:gd name="connsiteY36" fmla="*/ 107673 h 133674"/>
              <a:gd name="connsiteX37" fmla="*/ 3117 w 234092"/>
              <a:gd name="connsiteY37" fmla="*/ 122398 h 133674"/>
              <a:gd name="connsiteX38" fmla="*/ 15860 w 234092"/>
              <a:gd name="connsiteY38" fmla="*/ 131926 h 133674"/>
              <a:gd name="connsiteX39" fmla="*/ 30189 w 234092"/>
              <a:gd name="connsiteY39" fmla="*/ 133658 h 133674"/>
              <a:gd name="connsiteX40" fmla="*/ 43990 w 234092"/>
              <a:gd name="connsiteY40" fmla="*/ 132311 h 133674"/>
              <a:gd name="connsiteX41" fmla="*/ 97125 w 234092"/>
              <a:gd name="connsiteY41" fmla="*/ 115469 h 133674"/>
              <a:gd name="connsiteX42" fmla="*/ 190026 w 234092"/>
              <a:gd name="connsiteY42" fmla="*/ 63499 h 133674"/>
              <a:gd name="connsiteX43" fmla="*/ 225466 w 234092"/>
              <a:gd name="connsiteY43" fmla="*/ 32413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34092" h="133674">
                <a:moveTo>
                  <a:pt x="225369" y="32365"/>
                </a:moveTo>
                <a:cubicBezTo>
                  <a:pt x="227774" y="29381"/>
                  <a:pt x="230082" y="26350"/>
                  <a:pt x="231813" y="22693"/>
                </a:cubicBezTo>
                <a:cubicBezTo>
                  <a:pt x="232294" y="21827"/>
                  <a:pt x="232679" y="20816"/>
                  <a:pt x="233015" y="19854"/>
                </a:cubicBezTo>
                <a:cubicBezTo>
                  <a:pt x="233400" y="18891"/>
                  <a:pt x="233688" y="17833"/>
                  <a:pt x="233833" y="16678"/>
                </a:cubicBezTo>
                <a:cubicBezTo>
                  <a:pt x="234073" y="15619"/>
                  <a:pt x="234169" y="14416"/>
                  <a:pt x="234025" y="13117"/>
                </a:cubicBezTo>
                <a:cubicBezTo>
                  <a:pt x="234025" y="11914"/>
                  <a:pt x="233592" y="10615"/>
                  <a:pt x="233159" y="9364"/>
                </a:cubicBezTo>
                <a:cubicBezTo>
                  <a:pt x="232775" y="8112"/>
                  <a:pt x="231813" y="7150"/>
                  <a:pt x="231092" y="6140"/>
                </a:cubicBezTo>
                <a:cubicBezTo>
                  <a:pt x="230274" y="5225"/>
                  <a:pt x="229313" y="4600"/>
                  <a:pt x="228399" y="3878"/>
                </a:cubicBezTo>
                <a:cubicBezTo>
                  <a:pt x="226572" y="2819"/>
                  <a:pt x="224648" y="1953"/>
                  <a:pt x="222917" y="1520"/>
                </a:cubicBezTo>
                <a:cubicBezTo>
                  <a:pt x="219311" y="461"/>
                  <a:pt x="215945" y="221"/>
                  <a:pt x="212723" y="28"/>
                </a:cubicBezTo>
                <a:cubicBezTo>
                  <a:pt x="199836" y="-260"/>
                  <a:pt x="188776" y="1712"/>
                  <a:pt x="179063" y="3493"/>
                </a:cubicBezTo>
                <a:cubicBezTo>
                  <a:pt x="169398" y="5370"/>
                  <a:pt x="161223" y="7439"/>
                  <a:pt x="154587" y="9219"/>
                </a:cubicBezTo>
                <a:cubicBezTo>
                  <a:pt x="141316" y="12876"/>
                  <a:pt x="134151" y="15571"/>
                  <a:pt x="134343" y="16245"/>
                </a:cubicBezTo>
                <a:cubicBezTo>
                  <a:pt x="134536" y="17015"/>
                  <a:pt x="142037" y="15667"/>
                  <a:pt x="155501" y="13310"/>
                </a:cubicBezTo>
                <a:cubicBezTo>
                  <a:pt x="162233" y="12107"/>
                  <a:pt x="170504" y="10711"/>
                  <a:pt x="180073" y="9412"/>
                </a:cubicBezTo>
                <a:cubicBezTo>
                  <a:pt x="189594" y="8161"/>
                  <a:pt x="200654" y="6861"/>
                  <a:pt x="212290" y="7583"/>
                </a:cubicBezTo>
                <a:cubicBezTo>
                  <a:pt x="215127" y="7872"/>
                  <a:pt x="218109" y="8209"/>
                  <a:pt x="220609" y="9075"/>
                </a:cubicBezTo>
                <a:cubicBezTo>
                  <a:pt x="223206" y="9845"/>
                  <a:pt x="225273" y="11240"/>
                  <a:pt x="225562" y="12539"/>
                </a:cubicBezTo>
                <a:cubicBezTo>
                  <a:pt x="226091" y="13791"/>
                  <a:pt x="225562" y="16293"/>
                  <a:pt x="224167" y="18891"/>
                </a:cubicBezTo>
                <a:cubicBezTo>
                  <a:pt x="222869" y="21490"/>
                  <a:pt x="220753" y="24137"/>
                  <a:pt x="218589" y="26687"/>
                </a:cubicBezTo>
                <a:cubicBezTo>
                  <a:pt x="209501" y="36888"/>
                  <a:pt x="197287" y="46272"/>
                  <a:pt x="184256" y="55415"/>
                </a:cubicBezTo>
                <a:cubicBezTo>
                  <a:pt x="157905" y="73556"/>
                  <a:pt x="126842" y="91023"/>
                  <a:pt x="92845" y="105604"/>
                </a:cubicBezTo>
                <a:cubicBezTo>
                  <a:pt x="75871" y="112726"/>
                  <a:pt x="58752" y="118885"/>
                  <a:pt x="42114" y="121965"/>
                </a:cubicBezTo>
                <a:cubicBezTo>
                  <a:pt x="37979" y="122687"/>
                  <a:pt x="33844" y="123216"/>
                  <a:pt x="29853" y="123312"/>
                </a:cubicBezTo>
                <a:cubicBezTo>
                  <a:pt x="25861" y="123456"/>
                  <a:pt x="21967" y="123168"/>
                  <a:pt x="18745" y="122157"/>
                </a:cubicBezTo>
                <a:cubicBezTo>
                  <a:pt x="15427" y="121195"/>
                  <a:pt x="12974" y="119559"/>
                  <a:pt x="11628" y="117249"/>
                </a:cubicBezTo>
                <a:cubicBezTo>
                  <a:pt x="10234" y="115035"/>
                  <a:pt x="9657" y="111474"/>
                  <a:pt x="9801" y="108202"/>
                </a:cubicBezTo>
                <a:cubicBezTo>
                  <a:pt x="10041" y="101514"/>
                  <a:pt x="13359" y="94777"/>
                  <a:pt x="17398" y="88906"/>
                </a:cubicBezTo>
                <a:cubicBezTo>
                  <a:pt x="21486" y="82987"/>
                  <a:pt x="26390" y="77694"/>
                  <a:pt x="31536" y="72978"/>
                </a:cubicBezTo>
                <a:cubicBezTo>
                  <a:pt x="41826" y="63499"/>
                  <a:pt x="52838" y="55992"/>
                  <a:pt x="63080" y="49688"/>
                </a:cubicBezTo>
                <a:cubicBezTo>
                  <a:pt x="83805" y="37129"/>
                  <a:pt x="102030" y="29381"/>
                  <a:pt x="114676" y="24377"/>
                </a:cubicBezTo>
                <a:cubicBezTo>
                  <a:pt x="127371" y="19373"/>
                  <a:pt x="134632" y="17063"/>
                  <a:pt x="134391" y="16293"/>
                </a:cubicBezTo>
                <a:cubicBezTo>
                  <a:pt x="134247" y="15667"/>
                  <a:pt x="126601" y="16630"/>
                  <a:pt x="113330" y="20479"/>
                </a:cubicBezTo>
                <a:cubicBezTo>
                  <a:pt x="100058" y="24329"/>
                  <a:pt x="81064" y="31114"/>
                  <a:pt x="59281" y="43192"/>
                </a:cubicBezTo>
                <a:cubicBezTo>
                  <a:pt x="48462" y="49303"/>
                  <a:pt x="36825" y="56618"/>
                  <a:pt x="25621" y="66434"/>
                </a:cubicBezTo>
                <a:cubicBezTo>
                  <a:pt x="20043" y="71342"/>
                  <a:pt x="14561" y="76876"/>
                  <a:pt x="9753" y="83517"/>
                </a:cubicBezTo>
                <a:cubicBezTo>
                  <a:pt x="5040" y="90109"/>
                  <a:pt x="665" y="98049"/>
                  <a:pt x="39" y="107673"/>
                </a:cubicBezTo>
                <a:cubicBezTo>
                  <a:pt x="-153" y="112437"/>
                  <a:pt x="280" y="117393"/>
                  <a:pt x="3117" y="122398"/>
                </a:cubicBezTo>
                <a:cubicBezTo>
                  <a:pt x="5954" y="127354"/>
                  <a:pt x="11099" y="130482"/>
                  <a:pt x="15860" y="131926"/>
                </a:cubicBezTo>
                <a:cubicBezTo>
                  <a:pt x="20716" y="133465"/>
                  <a:pt x="25525" y="133754"/>
                  <a:pt x="30189" y="133658"/>
                </a:cubicBezTo>
                <a:cubicBezTo>
                  <a:pt x="34902" y="133658"/>
                  <a:pt x="39470" y="133033"/>
                  <a:pt x="43990" y="132311"/>
                </a:cubicBezTo>
                <a:cubicBezTo>
                  <a:pt x="62118" y="129135"/>
                  <a:pt x="79669" y="122831"/>
                  <a:pt x="97125" y="115469"/>
                </a:cubicBezTo>
                <a:cubicBezTo>
                  <a:pt x="131987" y="100503"/>
                  <a:pt x="163291" y="82554"/>
                  <a:pt x="190026" y="63499"/>
                </a:cubicBezTo>
                <a:cubicBezTo>
                  <a:pt x="203298" y="53827"/>
                  <a:pt x="215608" y="44058"/>
                  <a:pt x="225466" y="32413"/>
                </a:cubicBezTo>
                <a:close/>
              </a:path>
            </a:pathLst>
          </a:custGeom>
          <a:solidFill>
            <a:srgbClr val="29C8C1"/>
          </a:solidFill>
          <a:ln w="0" cap="flat">
            <a:noFill/>
            <a:prstDash val="solid"/>
            <a:miter/>
          </a:ln>
        </p:spPr>
        <p:txBody>
          <a:bodyPr rtlCol="0" anchor="ctr"/>
          <a:lstStyle/>
          <a:p>
            <a:pPr rtl="0"/>
            <a:endParaRPr lang="en-AU" dirty="0"/>
          </a:p>
        </p:txBody>
      </p:sp>
      <p:sp>
        <p:nvSpPr>
          <p:cNvPr id="98" name="Freeform: Shape 97">
            <a:extLst>
              <a:ext uri="{FF2B5EF4-FFF2-40B4-BE49-F238E27FC236}">
                <a16:creationId xmlns:a16="http://schemas.microsoft.com/office/drawing/2014/main" id="{5A633FF2-2B29-0AFE-FEF4-A8169FD8A6FF}"/>
              </a:ext>
            </a:extLst>
          </p:cNvPr>
          <p:cNvSpPr/>
          <p:nvPr/>
        </p:nvSpPr>
        <p:spPr>
          <a:xfrm>
            <a:off x="7500080" y="5521122"/>
            <a:ext cx="126827" cy="47944"/>
          </a:xfrm>
          <a:custGeom>
            <a:avLst/>
            <a:gdLst>
              <a:gd name="connsiteX0" fmla="*/ 7462 w 126827"/>
              <a:gd name="connsiteY0" fmla="*/ 32673 h 47944"/>
              <a:gd name="connsiteX1" fmla="*/ 26215 w 126827"/>
              <a:gd name="connsiteY1" fmla="*/ 41816 h 47944"/>
              <a:gd name="connsiteX2" fmla="*/ 54634 w 126827"/>
              <a:gd name="connsiteY2" fmla="*/ 46628 h 47944"/>
              <a:gd name="connsiteX3" fmla="*/ 65165 w 126827"/>
              <a:gd name="connsiteY3" fmla="*/ 45665 h 47944"/>
              <a:gd name="connsiteX4" fmla="*/ 55163 w 126827"/>
              <a:gd name="connsiteY4" fmla="*/ 42489 h 47944"/>
              <a:gd name="connsiteX5" fmla="*/ 28716 w 126827"/>
              <a:gd name="connsiteY5" fmla="*/ 34694 h 47944"/>
              <a:gd name="connsiteX6" fmla="*/ 13136 w 126827"/>
              <a:gd name="connsiteY6" fmla="*/ 25840 h 47944"/>
              <a:gd name="connsiteX7" fmla="*/ 9529 w 126827"/>
              <a:gd name="connsiteY7" fmla="*/ 20306 h 47944"/>
              <a:gd name="connsiteX8" fmla="*/ 14001 w 126827"/>
              <a:gd name="connsiteY8" fmla="*/ 16168 h 47944"/>
              <a:gd name="connsiteX9" fmla="*/ 36121 w 126827"/>
              <a:gd name="connsiteY9" fmla="*/ 11356 h 47944"/>
              <a:gd name="connsiteX10" fmla="*/ 61943 w 126827"/>
              <a:gd name="connsiteY10" fmla="*/ 10778 h 47944"/>
              <a:gd name="connsiteX11" fmla="*/ 87861 w 126827"/>
              <a:gd name="connsiteY11" fmla="*/ 12511 h 47944"/>
              <a:gd name="connsiteX12" fmla="*/ 110461 w 126827"/>
              <a:gd name="connsiteY12" fmla="*/ 17563 h 47944"/>
              <a:gd name="connsiteX13" fmla="*/ 117194 w 126827"/>
              <a:gd name="connsiteY13" fmla="*/ 22135 h 47944"/>
              <a:gd name="connsiteX14" fmla="*/ 117530 w 126827"/>
              <a:gd name="connsiteY14" fmla="*/ 24108 h 47944"/>
              <a:gd name="connsiteX15" fmla="*/ 115991 w 126827"/>
              <a:gd name="connsiteY15" fmla="*/ 26995 h 47944"/>
              <a:gd name="connsiteX16" fmla="*/ 101614 w 126827"/>
              <a:gd name="connsiteY16" fmla="*/ 36571 h 47944"/>
              <a:gd name="connsiteX17" fmla="*/ 75359 w 126827"/>
              <a:gd name="connsiteY17" fmla="*/ 43692 h 47944"/>
              <a:gd name="connsiteX18" fmla="*/ 65117 w 126827"/>
              <a:gd name="connsiteY18" fmla="*/ 45665 h 47944"/>
              <a:gd name="connsiteX19" fmla="*/ 75551 w 126827"/>
              <a:gd name="connsiteY19" fmla="*/ 47879 h 47944"/>
              <a:gd name="connsiteX20" fmla="*/ 104306 w 126827"/>
              <a:gd name="connsiteY20" fmla="*/ 43645 h 47944"/>
              <a:gd name="connsiteX21" fmla="*/ 113443 w 126827"/>
              <a:gd name="connsiteY21" fmla="*/ 39699 h 47944"/>
              <a:gd name="connsiteX22" fmla="*/ 122675 w 126827"/>
              <a:gd name="connsiteY22" fmla="*/ 32817 h 47944"/>
              <a:gd name="connsiteX23" fmla="*/ 126330 w 126827"/>
              <a:gd name="connsiteY23" fmla="*/ 26466 h 47944"/>
              <a:gd name="connsiteX24" fmla="*/ 125512 w 126827"/>
              <a:gd name="connsiteY24" fmla="*/ 17804 h 47944"/>
              <a:gd name="connsiteX25" fmla="*/ 114404 w 126827"/>
              <a:gd name="connsiteY25" fmla="*/ 8565 h 47944"/>
              <a:gd name="connsiteX26" fmla="*/ 89159 w 126827"/>
              <a:gd name="connsiteY26" fmla="*/ 2117 h 47944"/>
              <a:gd name="connsiteX27" fmla="*/ 62183 w 126827"/>
              <a:gd name="connsiteY27" fmla="*/ 96 h 47944"/>
              <a:gd name="connsiteX28" fmla="*/ 35063 w 126827"/>
              <a:gd name="connsiteY28" fmla="*/ 914 h 47944"/>
              <a:gd name="connsiteX29" fmla="*/ 9385 w 126827"/>
              <a:gd name="connsiteY29" fmla="*/ 7458 h 47944"/>
              <a:gd name="connsiteX30" fmla="*/ 6308 w 126827"/>
              <a:gd name="connsiteY30" fmla="*/ 9383 h 47944"/>
              <a:gd name="connsiteX31" fmla="*/ 3374 w 126827"/>
              <a:gd name="connsiteY31" fmla="*/ 11981 h 47944"/>
              <a:gd name="connsiteX32" fmla="*/ 8 w 126827"/>
              <a:gd name="connsiteY32" fmla="*/ 20258 h 47944"/>
              <a:gd name="connsiteX33" fmla="*/ 2749 w 126827"/>
              <a:gd name="connsiteY33" fmla="*/ 27957 h 47944"/>
              <a:gd name="connsiteX34" fmla="*/ 7317 w 126827"/>
              <a:gd name="connsiteY34" fmla="*/ 32625 h 4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6827" h="47944">
                <a:moveTo>
                  <a:pt x="7462" y="32673"/>
                </a:moveTo>
                <a:cubicBezTo>
                  <a:pt x="13857" y="37533"/>
                  <a:pt x="20301" y="39891"/>
                  <a:pt x="26215" y="41816"/>
                </a:cubicBezTo>
                <a:cubicBezTo>
                  <a:pt x="38044" y="45377"/>
                  <a:pt x="47854" y="46339"/>
                  <a:pt x="54634" y="46628"/>
                </a:cubicBezTo>
                <a:cubicBezTo>
                  <a:pt x="61414" y="46917"/>
                  <a:pt x="65117" y="46339"/>
                  <a:pt x="65165" y="45665"/>
                </a:cubicBezTo>
                <a:cubicBezTo>
                  <a:pt x="65213" y="44848"/>
                  <a:pt x="61606" y="44029"/>
                  <a:pt x="55163" y="42489"/>
                </a:cubicBezTo>
                <a:cubicBezTo>
                  <a:pt x="48767" y="40950"/>
                  <a:pt x="39391" y="38880"/>
                  <a:pt x="28716" y="34694"/>
                </a:cubicBezTo>
                <a:cubicBezTo>
                  <a:pt x="23474" y="32529"/>
                  <a:pt x="17656" y="29786"/>
                  <a:pt x="13136" y="25840"/>
                </a:cubicBezTo>
                <a:cubicBezTo>
                  <a:pt x="10924" y="23963"/>
                  <a:pt x="9289" y="21365"/>
                  <a:pt x="9529" y="20306"/>
                </a:cubicBezTo>
                <a:cubicBezTo>
                  <a:pt x="9385" y="19488"/>
                  <a:pt x="11020" y="17611"/>
                  <a:pt x="14001" y="16168"/>
                </a:cubicBezTo>
                <a:cubicBezTo>
                  <a:pt x="19916" y="13377"/>
                  <a:pt x="27946" y="12030"/>
                  <a:pt x="36121" y="11356"/>
                </a:cubicBezTo>
                <a:cubicBezTo>
                  <a:pt x="44343" y="10682"/>
                  <a:pt x="53047" y="10538"/>
                  <a:pt x="61943" y="10778"/>
                </a:cubicBezTo>
                <a:cubicBezTo>
                  <a:pt x="70887" y="11067"/>
                  <a:pt x="79590" y="11548"/>
                  <a:pt x="87861" y="12511"/>
                </a:cubicBezTo>
                <a:cubicBezTo>
                  <a:pt x="96084" y="13473"/>
                  <a:pt x="104018" y="14965"/>
                  <a:pt x="110461" y="17563"/>
                </a:cubicBezTo>
                <a:cubicBezTo>
                  <a:pt x="113587" y="18814"/>
                  <a:pt x="116376" y="20691"/>
                  <a:pt x="117194" y="22135"/>
                </a:cubicBezTo>
                <a:cubicBezTo>
                  <a:pt x="117578" y="22857"/>
                  <a:pt x="117771" y="23241"/>
                  <a:pt x="117530" y="24108"/>
                </a:cubicBezTo>
                <a:cubicBezTo>
                  <a:pt x="117434" y="24926"/>
                  <a:pt x="116761" y="25984"/>
                  <a:pt x="115991" y="26995"/>
                </a:cubicBezTo>
                <a:cubicBezTo>
                  <a:pt x="112433" y="31229"/>
                  <a:pt x="106615" y="34309"/>
                  <a:pt x="101614" y="36571"/>
                </a:cubicBezTo>
                <a:cubicBezTo>
                  <a:pt x="91179" y="41046"/>
                  <a:pt x="81802" y="42730"/>
                  <a:pt x="75359" y="43692"/>
                </a:cubicBezTo>
                <a:cubicBezTo>
                  <a:pt x="68915" y="44607"/>
                  <a:pt x="65213" y="44848"/>
                  <a:pt x="65117" y="45665"/>
                </a:cubicBezTo>
                <a:cubicBezTo>
                  <a:pt x="65069" y="46339"/>
                  <a:pt x="68675" y="47494"/>
                  <a:pt x="75551" y="47879"/>
                </a:cubicBezTo>
                <a:cubicBezTo>
                  <a:pt x="82379" y="48168"/>
                  <a:pt x="92429" y="47638"/>
                  <a:pt x="104306" y="43645"/>
                </a:cubicBezTo>
                <a:cubicBezTo>
                  <a:pt x="107240" y="42586"/>
                  <a:pt x="110365" y="41383"/>
                  <a:pt x="113443" y="39699"/>
                </a:cubicBezTo>
                <a:cubicBezTo>
                  <a:pt x="116520" y="38014"/>
                  <a:pt x="119742" y="36041"/>
                  <a:pt x="122675" y="32817"/>
                </a:cubicBezTo>
                <a:cubicBezTo>
                  <a:pt x="124070" y="31133"/>
                  <a:pt x="125560" y="29256"/>
                  <a:pt x="126330" y="26466"/>
                </a:cubicBezTo>
                <a:cubicBezTo>
                  <a:pt x="127243" y="23867"/>
                  <a:pt x="126859" y="20354"/>
                  <a:pt x="125512" y="17804"/>
                </a:cubicBezTo>
                <a:cubicBezTo>
                  <a:pt x="122627" y="12655"/>
                  <a:pt x="118348" y="10490"/>
                  <a:pt x="114404" y="8565"/>
                </a:cubicBezTo>
                <a:cubicBezTo>
                  <a:pt x="106326" y="5004"/>
                  <a:pt x="97863" y="3368"/>
                  <a:pt x="89159" y="2117"/>
                </a:cubicBezTo>
                <a:cubicBezTo>
                  <a:pt x="80408" y="962"/>
                  <a:pt x="71416" y="384"/>
                  <a:pt x="62183" y="96"/>
                </a:cubicBezTo>
                <a:cubicBezTo>
                  <a:pt x="52951" y="-145"/>
                  <a:pt x="43863" y="48"/>
                  <a:pt x="35063" y="914"/>
                </a:cubicBezTo>
                <a:cubicBezTo>
                  <a:pt x="26263" y="1924"/>
                  <a:pt x="17656" y="3272"/>
                  <a:pt x="9385" y="7458"/>
                </a:cubicBezTo>
                <a:cubicBezTo>
                  <a:pt x="8375" y="7987"/>
                  <a:pt x="7317" y="8565"/>
                  <a:pt x="6308" y="9383"/>
                </a:cubicBezTo>
                <a:cubicBezTo>
                  <a:pt x="5298" y="10056"/>
                  <a:pt x="4336" y="10971"/>
                  <a:pt x="3374" y="11981"/>
                </a:cubicBezTo>
                <a:cubicBezTo>
                  <a:pt x="1595" y="13954"/>
                  <a:pt x="-136" y="16986"/>
                  <a:pt x="8" y="20258"/>
                </a:cubicBezTo>
                <a:cubicBezTo>
                  <a:pt x="105" y="23386"/>
                  <a:pt x="1307" y="26129"/>
                  <a:pt x="2749" y="27957"/>
                </a:cubicBezTo>
                <a:cubicBezTo>
                  <a:pt x="4144" y="29930"/>
                  <a:pt x="5731" y="31374"/>
                  <a:pt x="7317" y="32625"/>
                </a:cubicBezTo>
                <a:close/>
              </a:path>
            </a:pathLst>
          </a:custGeom>
          <a:solidFill>
            <a:srgbClr val="29C8C1"/>
          </a:solidFill>
          <a:ln w="0" cap="flat">
            <a:noFill/>
            <a:prstDash val="solid"/>
            <a:miter/>
          </a:ln>
        </p:spPr>
        <p:txBody>
          <a:bodyPr rtlCol="0" anchor="ctr"/>
          <a:lstStyle/>
          <a:p>
            <a:pPr rtl="0"/>
            <a:endParaRPr lang="en-AU" dirty="0"/>
          </a:p>
        </p:txBody>
      </p:sp>
      <p:sp>
        <p:nvSpPr>
          <p:cNvPr id="15" name="Title Placeholder 1">
            <a:extLst>
              <a:ext uri="{FF2B5EF4-FFF2-40B4-BE49-F238E27FC236}">
                <a16:creationId xmlns:a16="http://schemas.microsoft.com/office/drawing/2014/main" id="{AFB9E9B5-84E3-6B30-E11E-CED1D550695F}"/>
              </a:ext>
            </a:extLst>
          </p:cNvPr>
          <p:cNvSpPr>
            <a:spLocks noGrp="1"/>
          </p:cNvSpPr>
          <p:nvPr>
            <p:ph type="title" hasCustomPrompt="1"/>
          </p:nvPr>
        </p:nvSpPr>
        <p:spPr>
          <a:xfrm>
            <a:off x="891137" y="937931"/>
            <a:ext cx="3449865" cy="1238218"/>
          </a:xfrm>
          <a:prstGeom prst="rect">
            <a:avLst/>
          </a:prstGeom>
        </p:spPr>
        <p:txBody>
          <a:bodyPr vert="horz" lIns="144000" tIns="0" rIns="144000" bIns="0" rtlCol="0" anchor="ctr">
            <a:noAutofit/>
          </a:bodyPr>
          <a:lstStyle>
            <a:lvl1pPr algn="ctr" rtl="0">
              <a:lnSpc>
                <a:spcPct val="90000"/>
              </a:lnSpc>
              <a:defRPr sz="12100" b="1">
                <a:solidFill>
                  <a:schemeClr val="bg1"/>
                </a:solidFill>
              </a:defRPr>
            </a:lvl1pPr>
          </a:lstStyle>
          <a:p>
            <a:r>
              <a:rPr lang="en-AU"/>
              <a:t>01</a:t>
            </a:r>
            <a:endParaRPr lang="en-AU" dirty="0"/>
          </a:p>
        </p:txBody>
      </p:sp>
      <p:sp>
        <p:nvSpPr>
          <p:cNvPr id="16" name="Text Placeholder 20">
            <a:extLst>
              <a:ext uri="{FF2B5EF4-FFF2-40B4-BE49-F238E27FC236}">
                <a16:creationId xmlns:a16="http://schemas.microsoft.com/office/drawing/2014/main" id="{6A5D10D8-05A0-C009-D51B-3A982B48CAF7}"/>
              </a:ext>
            </a:extLst>
          </p:cNvPr>
          <p:cNvSpPr>
            <a:spLocks noGrp="1"/>
          </p:cNvSpPr>
          <p:nvPr>
            <p:ph type="body" sz="quarter" idx="14" hasCustomPrompt="1"/>
          </p:nvPr>
        </p:nvSpPr>
        <p:spPr>
          <a:xfrm>
            <a:off x="893232" y="2779543"/>
            <a:ext cx="3456519" cy="927126"/>
          </a:xfrm>
          <a:prstGeom prst="rect">
            <a:avLst/>
          </a:prstGeom>
        </p:spPr>
        <p:txBody>
          <a:bodyPr lIns="144000" rIns="144000"/>
          <a:lstStyle>
            <a:lvl1pPr algn="ctr" rtl="0">
              <a:lnSpc>
                <a:spcPct val="100000"/>
              </a:lnSpc>
              <a:defRPr sz="2700" b="1">
                <a:solidFill>
                  <a:schemeClr val="bg1"/>
                </a:solidFill>
              </a:defRPr>
            </a:lvl1pPr>
          </a:lstStyle>
          <a:p>
            <a:pPr lvl="0"/>
            <a:r>
              <a:rPr lang="en-AU"/>
              <a:t>Section</a:t>
            </a:r>
            <a:br>
              <a:rPr lang="en-AU"/>
            </a:br>
            <a:r>
              <a:rPr lang="en-AU"/>
              <a:t>Heading</a:t>
            </a:r>
            <a:endParaRPr lang="en-AU" dirty="0"/>
          </a:p>
        </p:txBody>
      </p:sp>
      <p:sp>
        <p:nvSpPr>
          <p:cNvPr id="17" name="Text Placeholder 20">
            <a:extLst>
              <a:ext uri="{FF2B5EF4-FFF2-40B4-BE49-F238E27FC236}">
                <a16:creationId xmlns:a16="http://schemas.microsoft.com/office/drawing/2014/main" id="{6584C68B-1FE2-5B0E-5DE4-F1F62C8BF860}"/>
              </a:ext>
            </a:extLst>
          </p:cNvPr>
          <p:cNvSpPr>
            <a:spLocks noGrp="1"/>
          </p:cNvSpPr>
          <p:nvPr>
            <p:ph type="body" sz="quarter" idx="15" hasCustomPrompt="1"/>
          </p:nvPr>
        </p:nvSpPr>
        <p:spPr>
          <a:xfrm>
            <a:off x="893232" y="3802240"/>
            <a:ext cx="3456519" cy="458957"/>
          </a:xfrm>
          <a:prstGeom prst="rect">
            <a:avLst/>
          </a:prstGeom>
        </p:spPr>
        <p:txBody>
          <a:bodyPr lIns="144000" rIns="144000"/>
          <a:lstStyle>
            <a:lvl1pPr algn="ctr" rtl="0">
              <a:lnSpc>
                <a:spcPct val="100000"/>
              </a:lnSpc>
              <a:defRPr sz="1200">
                <a:solidFill>
                  <a:schemeClr val="bg1"/>
                </a:solidFill>
              </a:defRPr>
            </a:lvl1pPr>
          </a:lstStyle>
          <a:p>
            <a:pPr lvl="0"/>
            <a:r>
              <a:rPr lang="en-AU"/>
              <a:t>Optional description about the</a:t>
            </a:r>
            <a:br>
              <a:rPr lang="en-AU"/>
            </a:br>
            <a:r>
              <a:rPr lang="en-AU"/>
              <a:t>following section content.</a:t>
            </a:r>
            <a:endParaRPr lang="en-AU" dirty="0"/>
          </a:p>
        </p:txBody>
      </p:sp>
      <p:sp>
        <p:nvSpPr>
          <p:cNvPr id="5" name="Footer Placeholder 7">
            <a:extLst>
              <a:ext uri="{FF2B5EF4-FFF2-40B4-BE49-F238E27FC236}">
                <a16:creationId xmlns:a16="http://schemas.microsoft.com/office/drawing/2014/main" id="{8272AD4B-E7D9-AE94-BF24-D3622D93A0B1}"/>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Slide Number Placeholder 3">
            <a:extLst>
              <a:ext uri="{FF2B5EF4-FFF2-40B4-BE49-F238E27FC236}">
                <a16:creationId xmlns:a16="http://schemas.microsoft.com/office/drawing/2014/main" id="{9A5582E7-0890-EED9-96C0-76FB84BC7158}"/>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14190050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19FCB8-C7F1-8D97-8AC2-DD7FDE59562C}"/>
              </a:ext>
            </a:extLst>
          </p:cNvPr>
          <p:cNvGraphicFramePr>
            <a:graphicFrameLocks noChangeAspect="1"/>
          </p:cNvGraphicFramePr>
          <p:nvPr userDrawn="1">
            <p:custDataLst>
              <p:tags r:id="rId1"/>
            </p:custDataLst>
            <p:extLst>
              <p:ext uri="{D42A27DB-BD31-4B8C-83A1-F6EECF244321}">
                <p14:modId xmlns:p14="http://schemas.microsoft.com/office/powerpoint/2010/main" val="402095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6119FCB8-C7F1-8D97-8AC2-DD7FDE5956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icture Placeholder 17">
            <a:extLst>
              <a:ext uri="{FF2B5EF4-FFF2-40B4-BE49-F238E27FC236}">
                <a16:creationId xmlns:a16="http://schemas.microsoft.com/office/drawing/2014/main" id="{9459277B-2C63-49A5-B199-0D097738FA9B}"/>
              </a:ext>
            </a:extLst>
          </p:cNvPr>
          <p:cNvSpPr>
            <a:spLocks noGrp="1"/>
          </p:cNvSpPr>
          <p:nvPr>
            <p:ph type="pic" sz="quarter" idx="16" hasCustomPrompt="1"/>
          </p:nvPr>
        </p:nvSpPr>
        <p:spPr>
          <a:xfrm>
            <a:off x="0" y="0"/>
            <a:ext cx="12198767" cy="6858000"/>
          </a:xfrm>
          <a:custGeom>
            <a:avLst/>
            <a:gdLst>
              <a:gd name="connsiteX0" fmla="*/ 0 w 12198767"/>
              <a:gd name="connsiteY0" fmla="*/ 0 h 6858000"/>
              <a:gd name="connsiteX1" fmla="*/ 889000 w 12198767"/>
              <a:gd name="connsiteY1" fmla="*/ 0 h 6858000"/>
              <a:gd name="connsiteX2" fmla="*/ 889000 w 12198767"/>
              <a:gd name="connsiteY2" fmla="*/ 5965824 h 6858000"/>
              <a:gd name="connsiteX3" fmla="*/ 4340225 w 12198767"/>
              <a:gd name="connsiteY3" fmla="*/ 5965824 h 6858000"/>
              <a:gd name="connsiteX4" fmla="*/ 4340225 w 12198767"/>
              <a:gd name="connsiteY4" fmla="*/ 0 h 6858000"/>
              <a:gd name="connsiteX5" fmla="*/ 12198767 w 12198767"/>
              <a:gd name="connsiteY5" fmla="*/ 0 h 6858000"/>
              <a:gd name="connsiteX6" fmla="*/ 12198767 w 12198767"/>
              <a:gd name="connsiteY6" fmla="*/ 6858000 h 6858000"/>
              <a:gd name="connsiteX7" fmla="*/ 0 w 121987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767" h="6858000">
                <a:moveTo>
                  <a:pt x="0" y="0"/>
                </a:moveTo>
                <a:lnTo>
                  <a:pt x="889000" y="0"/>
                </a:lnTo>
                <a:lnTo>
                  <a:pt x="889000" y="5965824"/>
                </a:lnTo>
                <a:lnTo>
                  <a:pt x="4340225" y="5965824"/>
                </a:lnTo>
                <a:lnTo>
                  <a:pt x="4340225" y="0"/>
                </a:lnTo>
                <a:lnTo>
                  <a:pt x="12198767" y="0"/>
                </a:lnTo>
                <a:lnTo>
                  <a:pt x="12198767" y="6858000"/>
                </a:lnTo>
                <a:lnTo>
                  <a:pt x="0" y="6858000"/>
                </a:lnTo>
                <a:close/>
              </a:path>
            </a:pathLst>
          </a:custGeom>
          <a:solidFill>
            <a:schemeClr val="bg1">
              <a:lumMod val="85000"/>
            </a:schemeClr>
          </a:solidFill>
        </p:spPr>
        <p:txBody>
          <a:bodyPr wrap="square" lIns="3384000" tIns="504000" anchor="t">
            <a:noAutofit/>
          </a:bodyPr>
          <a:lstStyle>
            <a:lvl1pPr algn="ctr" rtl="0">
              <a:lnSpc>
                <a:spcPct val="100000"/>
              </a:lnSpc>
              <a:defRPr sz="1400"/>
            </a:lvl1pPr>
          </a:lstStyle>
          <a:p>
            <a:r>
              <a:rPr lang="en-AU"/>
              <a:t>Drag an image from outside of PowerPoint</a:t>
            </a:r>
            <a:br>
              <a:rPr lang="en-AU"/>
            </a:br>
            <a:r>
              <a:rPr lang="en-AU"/>
              <a:t>into this container, then Right Click and Send to Back</a:t>
            </a:r>
            <a:endParaRPr lang="en-AU" dirty="0"/>
          </a:p>
        </p:txBody>
      </p:sp>
      <p:sp>
        <p:nvSpPr>
          <p:cNvPr id="2" name="Rectangle 1">
            <a:extLst>
              <a:ext uri="{FF2B5EF4-FFF2-40B4-BE49-F238E27FC236}">
                <a16:creationId xmlns:a16="http://schemas.microsoft.com/office/drawing/2014/main" id="{8884F5D3-5E0E-5F2B-BAB4-702F57222D66}"/>
              </a:ext>
            </a:extLst>
          </p:cNvPr>
          <p:cNvSpPr/>
          <p:nvPr userDrawn="1"/>
        </p:nvSpPr>
        <p:spPr>
          <a:xfrm>
            <a:off x="893763" y="1"/>
            <a:ext cx="3455988" cy="5965824"/>
          </a:xfrm>
          <a:prstGeom prst="rect">
            <a:avLst/>
          </a:prstGeom>
          <a:solidFill>
            <a:schemeClr val="accent1"/>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29C8C1"/>
              </a:solidFill>
              <a:latin typeface="Helvetica Light"/>
              <a:sym typeface="Helvetica Light"/>
            </a:endParaRPr>
          </a:p>
        </p:txBody>
      </p:sp>
      <p:sp>
        <p:nvSpPr>
          <p:cNvPr id="15" name="Title Placeholder 1">
            <a:extLst>
              <a:ext uri="{FF2B5EF4-FFF2-40B4-BE49-F238E27FC236}">
                <a16:creationId xmlns:a16="http://schemas.microsoft.com/office/drawing/2014/main" id="{AFB9E9B5-84E3-6B30-E11E-CED1D550695F}"/>
              </a:ext>
            </a:extLst>
          </p:cNvPr>
          <p:cNvSpPr>
            <a:spLocks noGrp="1"/>
          </p:cNvSpPr>
          <p:nvPr>
            <p:ph type="title" hasCustomPrompt="1"/>
          </p:nvPr>
        </p:nvSpPr>
        <p:spPr>
          <a:xfrm>
            <a:off x="891137" y="937931"/>
            <a:ext cx="3449865" cy="1238218"/>
          </a:xfrm>
          <a:prstGeom prst="rect">
            <a:avLst/>
          </a:prstGeom>
        </p:spPr>
        <p:txBody>
          <a:bodyPr vert="horz" lIns="144000" tIns="0" rIns="144000" bIns="0" rtlCol="0" anchor="ctr">
            <a:noAutofit/>
          </a:bodyPr>
          <a:lstStyle>
            <a:lvl1pPr algn="ctr" rtl="0">
              <a:lnSpc>
                <a:spcPct val="90000"/>
              </a:lnSpc>
              <a:defRPr sz="12100" b="1">
                <a:solidFill>
                  <a:schemeClr val="bg1"/>
                </a:solidFill>
              </a:defRPr>
            </a:lvl1pPr>
          </a:lstStyle>
          <a:p>
            <a:r>
              <a:rPr lang="en-AU"/>
              <a:t>02</a:t>
            </a:r>
            <a:endParaRPr lang="en-AU" dirty="0"/>
          </a:p>
        </p:txBody>
      </p:sp>
      <p:sp>
        <p:nvSpPr>
          <p:cNvPr id="16" name="Text Placeholder 20">
            <a:extLst>
              <a:ext uri="{FF2B5EF4-FFF2-40B4-BE49-F238E27FC236}">
                <a16:creationId xmlns:a16="http://schemas.microsoft.com/office/drawing/2014/main" id="{6A5D10D8-05A0-C009-D51B-3A982B48CAF7}"/>
              </a:ext>
            </a:extLst>
          </p:cNvPr>
          <p:cNvSpPr>
            <a:spLocks noGrp="1"/>
          </p:cNvSpPr>
          <p:nvPr>
            <p:ph type="body" sz="quarter" idx="14" hasCustomPrompt="1"/>
          </p:nvPr>
        </p:nvSpPr>
        <p:spPr>
          <a:xfrm>
            <a:off x="893232" y="2779543"/>
            <a:ext cx="3456519" cy="927126"/>
          </a:xfrm>
          <a:prstGeom prst="rect">
            <a:avLst/>
          </a:prstGeom>
        </p:spPr>
        <p:txBody>
          <a:bodyPr lIns="144000" rIns="144000"/>
          <a:lstStyle>
            <a:lvl1pPr algn="ctr" rtl="0">
              <a:lnSpc>
                <a:spcPct val="100000"/>
              </a:lnSpc>
              <a:defRPr sz="2700" b="1">
                <a:solidFill>
                  <a:schemeClr val="bg1"/>
                </a:solidFill>
              </a:defRPr>
            </a:lvl1pPr>
          </a:lstStyle>
          <a:p>
            <a:pPr lvl="0"/>
            <a:r>
              <a:rPr lang="en-AU"/>
              <a:t>Section</a:t>
            </a:r>
            <a:br>
              <a:rPr lang="en-AU"/>
            </a:br>
            <a:r>
              <a:rPr lang="en-AU"/>
              <a:t>Heading</a:t>
            </a:r>
            <a:endParaRPr lang="en-AU" dirty="0"/>
          </a:p>
        </p:txBody>
      </p:sp>
      <p:sp>
        <p:nvSpPr>
          <p:cNvPr id="17" name="Text Placeholder 20">
            <a:extLst>
              <a:ext uri="{FF2B5EF4-FFF2-40B4-BE49-F238E27FC236}">
                <a16:creationId xmlns:a16="http://schemas.microsoft.com/office/drawing/2014/main" id="{6584C68B-1FE2-5B0E-5DE4-F1F62C8BF860}"/>
              </a:ext>
            </a:extLst>
          </p:cNvPr>
          <p:cNvSpPr>
            <a:spLocks noGrp="1"/>
          </p:cNvSpPr>
          <p:nvPr>
            <p:ph type="body" sz="quarter" idx="15" hasCustomPrompt="1"/>
          </p:nvPr>
        </p:nvSpPr>
        <p:spPr>
          <a:xfrm>
            <a:off x="893232" y="3802240"/>
            <a:ext cx="3456519" cy="458957"/>
          </a:xfrm>
          <a:prstGeom prst="rect">
            <a:avLst/>
          </a:prstGeom>
        </p:spPr>
        <p:txBody>
          <a:bodyPr lIns="144000" rIns="144000"/>
          <a:lstStyle>
            <a:lvl1pPr algn="ctr" rtl="0">
              <a:lnSpc>
                <a:spcPct val="100000"/>
              </a:lnSpc>
              <a:defRPr sz="1200">
                <a:solidFill>
                  <a:schemeClr val="bg1"/>
                </a:solidFill>
              </a:defRPr>
            </a:lvl1pPr>
          </a:lstStyle>
          <a:p>
            <a:pPr lvl="0"/>
            <a:r>
              <a:rPr lang="en-AU"/>
              <a:t>Optional description about the</a:t>
            </a:r>
            <a:br>
              <a:rPr lang="en-AU"/>
            </a:br>
            <a:r>
              <a:rPr lang="en-AU"/>
              <a:t>following section content.</a:t>
            </a:r>
            <a:endParaRPr lang="en-AU" dirty="0"/>
          </a:p>
        </p:txBody>
      </p:sp>
      <p:sp>
        <p:nvSpPr>
          <p:cNvPr id="6" name="Footer Placeholder 7">
            <a:extLst>
              <a:ext uri="{FF2B5EF4-FFF2-40B4-BE49-F238E27FC236}">
                <a16:creationId xmlns:a16="http://schemas.microsoft.com/office/drawing/2014/main" id="{DAF6DCBF-C860-2BF0-2A91-397B27202DD8}"/>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12" name="Text Placeholder 8">
            <a:extLst>
              <a:ext uri="{FF2B5EF4-FFF2-40B4-BE49-F238E27FC236}">
                <a16:creationId xmlns:a16="http://schemas.microsoft.com/office/drawing/2014/main" id="{0040ECE5-B276-6904-4EF0-2DBAD87D8546}"/>
              </a:ext>
            </a:extLst>
          </p:cNvPr>
          <p:cNvSpPr>
            <a:spLocks noGrp="1"/>
          </p:cNvSpPr>
          <p:nvPr>
            <p:ph type="body" sz="quarter" idx="17"/>
          </p:nvPr>
        </p:nvSpPr>
        <p:spPr>
          <a:xfrm>
            <a:off x="5578386" y="1176976"/>
            <a:ext cx="4491215" cy="4504046"/>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blipFill>
                  <a:blip r:embed="rId5">
                    <a:extLst>
                      <a:ext uri="{96DAC541-7B7A-43D3-8B79-37D633B846F1}">
                        <asvg:svgBlip xmlns:asvg="http://schemas.microsoft.com/office/drawing/2016/SVG/main" r:embed="rId6"/>
                      </a:ext>
                    </a:extLst>
                  </a:blip>
                  <a:stretch>
                    <a:fillRect/>
                  </a:stretch>
                </a:blipFill>
              </a:defRPr>
            </a:lvl1pPr>
          </a:lstStyle>
          <a:p>
            <a:pPr lvl="0"/>
            <a:r>
              <a:rPr lang="en-AU"/>
              <a:t>Click to edit Master text styles</a:t>
            </a:r>
            <a:endParaRPr lang="en-AU" dirty="0"/>
          </a:p>
        </p:txBody>
      </p:sp>
      <p:sp>
        <p:nvSpPr>
          <p:cNvPr id="3" name="Slide Number Placeholder 3">
            <a:extLst>
              <a:ext uri="{FF2B5EF4-FFF2-40B4-BE49-F238E27FC236}">
                <a16:creationId xmlns:a16="http://schemas.microsoft.com/office/drawing/2014/main" id="{2ED0761A-CAC0-209C-8215-FA40CAD39099}"/>
              </a:ext>
            </a:extLst>
          </p:cNvPr>
          <p:cNvSpPr>
            <a:spLocks noGrp="1"/>
          </p:cNvSpPr>
          <p:nvPr>
            <p:ph type="sldNum" sz="quarter" idx="4"/>
          </p:nvPr>
        </p:nvSpPr>
        <p:spPr>
          <a:xfrm>
            <a:off x="11298235" y="6332642"/>
            <a:ext cx="900531"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283400633"/>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bg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7D43D1-0098-167F-0A03-D129121B1030}"/>
              </a:ext>
            </a:extLst>
          </p:cNvPr>
          <p:cNvGraphicFramePr>
            <a:graphicFrameLocks noChangeAspect="1"/>
          </p:cNvGraphicFramePr>
          <p:nvPr userDrawn="1">
            <p:custDataLst>
              <p:tags r:id="rId1"/>
            </p:custDataLst>
            <p:extLst>
              <p:ext uri="{D42A27DB-BD31-4B8C-83A1-F6EECF244321}">
                <p14:modId xmlns:p14="http://schemas.microsoft.com/office/powerpoint/2010/main" val="357781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AB7D43D1-0098-167F-0A03-D129121B10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26EFCF0D-5F44-39AE-DEE4-A634B4DBEDB1}"/>
              </a:ext>
            </a:extLst>
          </p:cNvPr>
          <p:cNvGrpSpPr/>
          <p:nvPr userDrawn="1"/>
        </p:nvGrpSpPr>
        <p:grpSpPr>
          <a:xfrm>
            <a:off x="2448599" y="1537169"/>
            <a:ext cx="9789439" cy="3316893"/>
            <a:chOff x="5212093" y="2480103"/>
            <a:chExt cx="19578877" cy="6633784"/>
          </a:xfrm>
        </p:grpSpPr>
        <p:pic>
          <p:nvPicPr>
            <p:cNvPr id="6" name="Graphic 5">
              <a:extLst>
                <a:ext uri="{FF2B5EF4-FFF2-40B4-BE49-F238E27FC236}">
                  <a16:creationId xmlns:a16="http://schemas.microsoft.com/office/drawing/2014/main" id="{67463716-30E5-4D47-98FA-4E24516CAA1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212093" y="2480103"/>
              <a:ext cx="19578877" cy="3316892"/>
            </a:xfrm>
            <a:prstGeom prst="rect">
              <a:avLst/>
            </a:prstGeom>
          </p:spPr>
        </p:pic>
        <p:pic>
          <p:nvPicPr>
            <p:cNvPr id="7" name="Graphic 6">
              <a:extLst>
                <a:ext uri="{FF2B5EF4-FFF2-40B4-BE49-F238E27FC236}">
                  <a16:creationId xmlns:a16="http://schemas.microsoft.com/office/drawing/2014/main" id="{D0E12654-FCC7-68A8-E36B-2BEF60E96FF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0800000">
              <a:off x="5212093" y="5796995"/>
              <a:ext cx="19578877" cy="3316892"/>
            </a:xfrm>
            <a:prstGeom prst="rect">
              <a:avLst/>
            </a:prstGeom>
          </p:spPr>
        </p:pic>
      </p:grpSp>
      <p:sp>
        <p:nvSpPr>
          <p:cNvPr id="2" name="Rectangle 1">
            <a:extLst>
              <a:ext uri="{FF2B5EF4-FFF2-40B4-BE49-F238E27FC236}">
                <a16:creationId xmlns:a16="http://schemas.microsoft.com/office/drawing/2014/main" id="{8884F5D3-5E0E-5F2B-BAB4-702F57222D66}"/>
              </a:ext>
            </a:extLst>
          </p:cNvPr>
          <p:cNvSpPr/>
          <p:nvPr userDrawn="1"/>
        </p:nvSpPr>
        <p:spPr>
          <a:xfrm>
            <a:off x="893763" y="1"/>
            <a:ext cx="3455988" cy="5965824"/>
          </a:xfrm>
          <a:prstGeom prst="rect">
            <a:avLst/>
          </a:prstGeom>
          <a:solidFill>
            <a:schemeClr val="tx2"/>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29C8C1"/>
              </a:solidFill>
              <a:latin typeface="Helvetica Light"/>
              <a:sym typeface="Helvetica Light"/>
            </a:endParaRPr>
          </a:p>
        </p:txBody>
      </p:sp>
      <p:sp>
        <p:nvSpPr>
          <p:cNvPr id="15" name="Title Placeholder 1">
            <a:extLst>
              <a:ext uri="{FF2B5EF4-FFF2-40B4-BE49-F238E27FC236}">
                <a16:creationId xmlns:a16="http://schemas.microsoft.com/office/drawing/2014/main" id="{AFB9E9B5-84E3-6B30-E11E-CED1D550695F}"/>
              </a:ext>
            </a:extLst>
          </p:cNvPr>
          <p:cNvSpPr>
            <a:spLocks noGrp="1"/>
          </p:cNvSpPr>
          <p:nvPr>
            <p:ph type="title" hasCustomPrompt="1"/>
          </p:nvPr>
        </p:nvSpPr>
        <p:spPr>
          <a:xfrm>
            <a:off x="891137" y="937931"/>
            <a:ext cx="3449865" cy="1238218"/>
          </a:xfrm>
          <a:prstGeom prst="rect">
            <a:avLst/>
          </a:prstGeom>
        </p:spPr>
        <p:txBody>
          <a:bodyPr vert="horz" lIns="144000" tIns="0" rIns="144000" bIns="0" rtlCol="0" anchor="ctr">
            <a:noAutofit/>
          </a:bodyPr>
          <a:lstStyle>
            <a:lvl1pPr algn="ctr" rtl="0">
              <a:lnSpc>
                <a:spcPct val="90000"/>
              </a:lnSpc>
              <a:defRPr sz="12100" b="1">
                <a:solidFill>
                  <a:schemeClr val="bg1"/>
                </a:solidFill>
              </a:defRPr>
            </a:lvl1pPr>
          </a:lstStyle>
          <a:p>
            <a:r>
              <a:rPr lang="en-AU"/>
              <a:t>03</a:t>
            </a:r>
            <a:endParaRPr lang="en-AU" dirty="0"/>
          </a:p>
        </p:txBody>
      </p:sp>
      <p:sp>
        <p:nvSpPr>
          <p:cNvPr id="16" name="Text Placeholder 20">
            <a:extLst>
              <a:ext uri="{FF2B5EF4-FFF2-40B4-BE49-F238E27FC236}">
                <a16:creationId xmlns:a16="http://schemas.microsoft.com/office/drawing/2014/main" id="{6A5D10D8-05A0-C009-D51B-3A982B48CAF7}"/>
              </a:ext>
            </a:extLst>
          </p:cNvPr>
          <p:cNvSpPr>
            <a:spLocks noGrp="1"/>
          </p:cNvSpPr>
          <p:nvPr>
            <p:ph type="body" sz="quarter" idx="14" hasCustomPrompt="1"/>
          </p:nvPr>
        </p:nvSpPr>
        <p:spPr>
          <a:xfrm>
            <a:off x="893232" y="2779543"/>
            <a:ext cx="3456519" cy="927126"/>
          </a:xfrm>
          <a:prstGeom prst="rect">
            <a:avLst/>
          </a:prstGeom>
        </p:spPr>
        <p:txBody>
          <a:bodyPr lIns="144000" rIns="144000"/>
          <a:lstStyle>
            <a:lvl1pPr algn="ctr" rtl="0">
              <a:lnSpc>
                <a:spcPct val="100000"/>
              </a:lnSpc>
              <a:defRPr sz="2700" b="1">
                <a:solidFill>
                  <a:schemeClr val="bg1"/>
                </a:solidFill>
              </a:defRPr>
            </a:lvl1pPr>
          </a:lstStyle>
          <a:p>
            <a:pPr lvl="0"/>
            <a:r>
              <a:rPr lang="en-AU"/>
              <a:t>Section</a:t>
            </a:r>
            <a:br>
              <a:rPr lang="en-AU"/>
            </a:br>
            <a:r>
              <a:rPr lang="en-AU"/>
              <a:t>Heading</a:t>
            </a:r>
            <a:endParaRPr lang="en-AU" dirty="0"/>
          </a:p>
        </p:txBody>
      </p:sp>
      <p:sp>
        <p:nvSpPr>
          <p:cNvPr id="17" name="Text Placeholder 20">
            <a:extLst>
              <a:ext uri="{FF2B5EF4-FFF2-40B4-BE49-F238E27FC236}">
                <a16:creationId xmlns:a16="http://schemas.microsoft.com/office/drawing/2014/main" id="{6584C68B-1FE2-5B0E-5DE4-F1F62C8BF860}"/>
              </a:ext>
            </a:extLst>
          </p:cNvPr>
          <p:cNvSpPr>
            <a:spLocks noGrp="1"/>
          </p:cNvSpPr>
          <p:nvPr>
            <p:ph type="body" sz="quarter" idx="15" hasCustomPrompt="1"/>
          </p:nvPr>
        </p:nvSpPr>
        <p:spPr>
          <a:xfrm>
            <a:off x="893232" y="3802240"/>
            <a:ext cx="3456519" cy="458957"/>
          </a:xfrm>
          <a:prstGeom prst="rect">
            <a:avLst/>
          </a:prstGeom>
        </p:spPr>
        <p:txBody>
          <a:bodyPr lIns="144000" rIns="144000"/>
          <a:lstStyle>
            <a:lvl1pPr algn="ctr" rtl="0">
              <a:lnSpc>
                <a:spcPct val="100000"/>
              </a:lnSpc>
              <a:defRPr sz="1200">
                <a:solidFill>
                  <a:schemeClr val="bg1"/>
                </a:solidFill>
              </a:defRPr>
            </a:lvl1pPr>
          </a:lstStyle>
          <a:p>
            <a:pPr lvl="0"/>
            <a:r>
              <a:rPr lang="en-AU"/>
              <a:t>Optional description about the</a:t>
            </a:r>
            <a:br>
              <a:rPr lang="en-AU"/>
            </a:br>
            <a:r>
              <a:rPr lang="en-AU"/>
              <a:t>following section content.</a:t>
            </a:r>
            <a:endParaRPr lang="en-AU" dirty="0"/>
          </a:p>
        </p:txBody>
      </p:sp>
      <p:sp>
        <p:nvSpPr>
          <p:cNvPr id="5" name="Footer Placeholder 7">
            <a:extLst>
              <a:ext uri="{FF2B5EF4-FFF2-40B4-BE49-F238E27FC236}">
                <a16:creationId xmlns:a16="http://schemas.microsoft.com/office/drawing/2014/main" id="{C83CC9FF-A9C4-517C-CBCB-653FBCC2AAC6}"/>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3" name="Slide Number Placeholder 3">
            <a:extLst>
              <a:ext uri="{FF2B5EF4-FFF2-40B4-BE49-F238E27FC236}">
                <a16:creationId xmlns:a16="http://schemas.microsoft.com/office/drawing/2014/main" id="{168C1E4C-A56D-52AF-6ECE-998BFD1C9FA2}"/>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208214683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4">
    <p:bg>
      <p:bgPr>
        <a:solidFill>
          <a:schemeClr val="bg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49F928-AC49-831D-20C0-E979DC444A09}"/>
              </a:ext>
            </a:extLst>
          </p:cNvPr>
          <p:cNvGraphicFramePr>
            <a:graphicFrameLocks noChangeAspect="1"/>
          </p:cNvGraphicFramePr>
          <p:nvPr userDrawn="1">
            <p:custDataLst>
              <p:tags r:id="rId1"/>
            </p:custDataLst>
            <p:extLst>
              <p:ext uri="{D42A27DB-BD31-4B8C-83A1-F6EECF244321}">
                <p14:modId xmlns:p14="http://schemas.microsoft.com/office/powerpoint/2010/main" val="99598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2849F928-AC49-831D-20C0-E979DC444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5E464C9B-DDD7-DA8A-F0A6-B6EB8373CC60}"/>
              </a:ext>
            </a:extLst>
          </p:cNvPr>
          <p:cNvSpPr>
            <a:spLocks noGrp="1"/>
          </p:cNvSpPr>
          <p:nvPr>
            <p:ph type="pic" sz="quarter" idx="16" hasCustomPrompt="1"/>
          </p:nvPr>
        </p:nvSpPr>
        <p:spPr>
          <a:xfrm>
            <a:off x="0" y="0"/>
            <a:ext cx="12198767" cy="6858000"/>
          </a:xfrm>
          <a:custGeom>
            <a:avLst/>
            <a:gdLst>
              <a:gd name="connsiteX0" fmla="*/ 0 w 12198767"/>
              <a:gd name="connsiteY0" fmla="*/ 0 h 6858000"/>
              <a:gd name="connsiteX1" fmla="*/ 889000 w 12198767"/>
              <a:gd name="connsiteY1" fmla="*/ 0 h 6858000"/>
              <a:gd name="connsiteX2" fmla="*/ 889000 w 12198767"/>
              <a:gd name="connsiteY2" fmla="*/ 5965824 h 6858000"/>
              <a:gd name="connsiteX3" fmla="*/ 4340225 w 12198767"/>
              <a:gd name="connsiteY3" fmla="*/ 5965824 h 6858000"/>
              <a:gd name="connsiteX4" fmla="*/ 4340225 w 12198767"/>
              <a:gd name="connsiteY4" fmla="*/ 0 h 6858000"/>
              <a:gd name="connsiteX5" fmla="*/ 12198767 w 12198767"/>
              <a:gd name="connsiteY5" fmla="*/ 0 h 6858000"/>
              <a:gd name="connsiteX6" fmla="*/ 12198767 w 12198767"/>
              <a:gd name="connsiteY6" fmla="*/ 6858000 h 6858000"/>
              <a:gd name="connsiteX7" fmla="*/ 0 w 121987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767" h="6858000">
                <a:moveTo>
                  <a:pt x="0" y="0"/>
                </a:moveTo>
                <a:lnTo>
                  <a:pt x="889000" y="0"/>
                </a:lnTo>
                <a:lnTo>
                  <a:pt x="889000" y="5965824"/>
                </a:lnTo>
                <a:lnTo>
                  <a:pt x="4340225" y="5965824"/>
                </a:lnTo>
                <a:lnTo>
                  <a:pt x="4340225" y="0"/>
                </a:lnTo>
                <a:lnTo>
                  <a:pt x="12198767" y="0"/>
                </a:lnTo>
                <a:lnTo>
                  <a:pt x="12198767" y="6858000"/>
                </a:lnTo>
                <a:lnTo>
                  <a:pt x="0" y="6858000"/>
                </a:lnTo>
                <a:close/>
              </a:path>
            </a:pathLst>
          </a:custGeom>
          <a:solidFill>
            <a:schemeClr val="bg1">
              <a:lumMod val="85000"/>
            </a:schemeClr>
          </a:solidFill>
        </p:spPr>
        <p:txBody>
          <a:bodyPr wrap="square" lIns="3384000" tIns="504000" anchor="t">
            <a:noAutofit/>
          </a:bodyPr>
          <a:lstStyle>
            <a:lvl1pPr algn="ctr" rtl="0">
              <a:lnSpc>
                <a:spcPct val="100000"/>
              </a:lnSpc>
              <a:defRPr sz="1400"/>
            </a:lvl1pPr>
          </a:lstStyle>
          <a:p>
            <a:r>
              <a:rPr lang="en-AU"/>
              <a:t>Drag an image from outside of PowerPoint</a:t>
            </a:r>
            <a:br>
              <a:rPr lang="en-AU"/>
            </a:br>
            <a:r>
              <a:rPr lang="en-AU"/>
              <a:t>into this container, then Right Click and Send to Back</a:t>
            </a:r>
            <a:endParaRPr lang="en-AU" dirty="0"/>
          </a:p>
        </p:txBody>
      </p:sp>
      <p:sp>
        <p:nvSpPr>
          <p:cNvPr id="2" name="Rectangle 1">
            <a:extLst>
              <a:ext uri="{FF2B5EF4-FFF2-40B4-BE49-F238E27FC236}">
                <a16:creationId xmlns:a16="http://schemas.microsoft.com/office/drawing/2014/main" id="{8884F5D3-5E0E-5F2B-BAB4-702F57222D66}"/>
              </a:ext>
            </a:extLst>
          </p:cNvPr>
          <p:cNvSpPr/>
          <p:nvPr userDrawn="1"/>
        </p:nvSpPr>
        <p:spPr>
          <a:xfrm>
            <a:off x="893763" y="1"/>
            <a:ext cx="3455988" cy="5965824"/>
          </a:xfrm>
          <a:prstGeom prst="rect">
            <a:avLst/>
          </a:prstGeom>
          <a:solidFill>
            <a:schemeClr val="accent2"/>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29C8C1"/>
              </a:solidFill>
              <a:latin typeface="Helvetica Light"/>
              <a:sym typeface="Helvetica Light"/>
            </a:endParaRPr>
          </a:p>
        </p:txBody>
      </p:sp>
      <p:sp>
        <p:nvSpPr>
          <p:cNvPr id="15" name="Title Placeholder 1">
            <a:extLst>
              <a:ext uri="{FF2B5EF4-FFF2-40B4-BE49-F238E27FC236}">
                <a16:creationId xmlns:a16="http://schemas.microsoft.com/office/drawing/2014/main" id="{AFB9E9B5-84E3-6B30-E11E-CED1D550695F}"/>
              </a:ext>
            </a:extLst>
          </p:cNvPr>
          <p:cNvSpPr>
            <a:spLocks noGrp="1"/>
          </p:cNvSpPr>
          <p:nvPr>
            <p:ph type="title" hasCustomPrompt="1"/>
          </p:nvPr>
        </p:nvSpPr>
        <p:spPr>
          <a:xfrm>
            <a:off x="891137" y="937931"/>
            <a:ext cx="3449865" cy="1238218"/>
          </a:xfrm>
          <a:prstGeom prst="rect">
            <a:avLst/>
          </a:prstGeom>
        </p:spPr>
        <p:txBody>
          <a:bodyPr vert="horz" lIns="144000" tIns="0" rIns="144000" bIns="0" rtlCol="0" anchor="ctr">
            <a:noAutofit/>
          </a:bodyPr>
          <a:lstStyle>
            <a:lvl1pPr algn="ctr" rtl="0">
              <a:lnSpc>
                <a:spcPct val="90000"/>
              </a:lnSpc>
              <a:defRPr sz="12100" b="1">
                <a:solidFill>
                  <a:schemeClr val="bg1"/>
                </a:solidFill>
              </a:defRPr>
            </a:lvl1pPr>
          </a:lstStyle>
          <a:p>
            <a:r>
              <a:rPr lang="en-AU"/>
              <a:t>04</a:t>
            </a:r>
            <a:endParaRPr lang="en-AU" dirty="0"/>
          </a:p>
        </p:txBody>
      </p:sp>
      <p:sp>
        <p:nvSpPr>
          <p:cNvPr id="16" name="Text Placeholder 20">
            <a:extLst>
              <a:ext uri="{FF2B5EF4-FFF2-40B4-BE49-F238E27FC236}">
                <a16:creationId xmlns:a16="http://schemas.microsoft.com/office/drawing/2014/main" id="{6A5D10D8-05A0-C009-D51B-3A982B48CAF7}"/>
              </a:ext>
            </a:extLst>
          </p:cNvPr>
          <p:cNvSpPr>
            <a:spLocks noGrp="1"/>
          </p:cNvSpPr>
          <p:nvPr>
            <p:ph type="body" sz="quarter" idx="14" hasCustomPrompt="1"/>
          </p:nvPr>
        </p:nvSpPr>
        <p:spPr>
          <a:xfrm>
            <a:off x="893232" y="2779543"/>
            <a:ext cx="3456519" cy="927126"/>
          </a:xfrm>
          <a:prstGeom prst="rect">
            <a:avLst/>
          </a:prstGeom>
        </p:spPr>
        <p:txBody>
          <a:bodyPr lIns="144000" rIns="144000"/>
          <a:lstStyle>
            <a:lvl1pPr algn="ctr" rtl="0">
              <a:lnSpc>
                <a:spcPct val="100000"/>
              </a:lnSpc>
              <a:defRPr sz="2700" b="1">
                <a:solidFill>
                  <a:schemeClr val="bg1"/>
                </a:solidFill>
              </a:defRPr>
            </a:lvl1pPr>
          </a:lstStyle>
          <a:p>
            <a:pPr lvl="0"/>
            <a:r>
              <a:rPr lang="en-AU"/>
              <a:t>Section</a:t>
            </a:r>
            <a:br>
              <a:rPr lang="en-AU"/>
            </a:br>
            <a:r>
              <a:rPr lang="en-AU"/>
              <a:t>Heading</a:t>
            </a:r>
            <a:endParaRPr lang="en-AU" dirty="0"/>
          </a:p>
        </p:txBody>
      </p:sp>
      <p:sp>
        <p:nvSpPr>
          <p:cNvPr id="17" name="Text Placeholder 20">
            <a:extLst>
              <a:ext uri="{FF2B5EF4-FFF2-40B4-BE49-F238E27FC236}">
                <a16:creationId xmlns:a16="http://schemas.microsoft.com/office/drawing/2014/main" id="{6584C68B-1FE2-5B0E-5DE4-F1F62C8BF860}"/>
              </a:ext>
            </a:extLst>
          </p:cNvPr>
          <p:cNvSpPr>
            <a:spLocks noGrp="1"/>
          </p:cNvSpPr>
          <p:nvPr>
            <p:ph type="body" sz="quarter" idx="15" hasCustomPrompt="1"/>
          </p:nvPr>
        </p:nvSpPr>
        <p:spPr>
          <a:xfrm>
            <a:off x="893232" y="3802240"/>
            <a:ext cx="3456519" cy="458957"/>
          </a:xfrm>
          <a:prstGeom prst="rect">
            <a:avLst/>
          </a:prstGeom>
        </p:spPr>
        <p:txBody>
          <a:bodyPr lIns="144000" rIns="144000"/>
          <a:lstStyle>
            <a:lvl1pPr algn="ctr" rtl="0">
              <a:lnSpc>
                <a:spcPct val="100000"/>
              </a:lnSpc>
              <a:defRPr sz="1200">
                <a:solidFill>
                  <a:schemeClr val="bg1"/>
                </a:solidFill>
              </a:defRPr>
            </a:lvl1pPr>
          </a:lstStyle>
          <a:p>
            <a:pPr lvl="0"/>
            <a:r>
              <a:rPr lang="en-AU"/>
              <a:t>Optional description about the</a:t>
            </a:r>
            <a:br>
              <a:rPr lang="en-AU"/>
            </a:br>
            <a:r>
              <a:rPr lang="en-AU"/>
              <a:t>following section content.</a:t>
            </a:r>
            <a:endParaRPr lang="en-AU" dirty="0"/>
          </a:p>
        </p:txBody>
      </p:sp>
      <p:sp>
        <p:nvSpPr>
          <p:cNvPr id="6" name="Footer Placeholder 7">
            <a:extLst>
              <a:ext uri="{FF2B5EF4-FFF2-40B4-BE49-F238E27FC236}">
                <a16:creationId xmlns:a16="http://schemas.microsoft.com/office/drawing/2014/main" id="{E8FB4E74-117C-D903-2D8B-F422331B89A0}"/>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0" name="Text Placeholder 8">
            <a:extLst>
              <a:ext uri="{FF2B5EF4-FFF2-40B4-BE49-F238E27FC236}">
                <a16:creationId xmlns:a16="http://schemas.microsoft.com/office/drawing/2014/main" id="{0DBC7339-9B16-FB82-2FF0-422EB21ABBDB}"/>
              </a:ext>
            </a:extLst>
          </p:cNvPr>
          <p:cNvSpPr>
            <a:spLocks noGrp="1"/>
          </p:cNvSpPr>
          <p:nvPr>
            <p:ph type="body" sz="quarter" idx="17"/>
          </p:nvPr>
        </p:nvSpPr>
        <p:spPr>
          <a:xfrm>
            <a:off x="4349751" y="1543735"/>
            <a:ext cx="7888287" cy="3319503"/>
          </a:xfrm>
          <a:prstGeom prst="rect">
            <a:avLst/>
          </a:prstGeom>
          <a:blipFill>
            <a:blip r:embed="rId5"/>
            <a:stretch>
              <a:fillRect/>
            </a:stretch>
          </a:blipFill>
        </p:spPr>
        <p:txBody>
          <a:bodyPr/>
          <a:lstStyle>
            <a:lvl1pPr rtl="0">
              <a:defRPr sz="100">
                <a:blipFill>
                  <a:blip r:embed="rId6">
                    <a:extLst>
                      <a:ext uri="{96DAC541-7B7A-43D3-8B79-37D633B846F1}">
                        <asvg:svgBlip xmlns:asvg="http://schemas.microsoft.com/office/drawing/2016/SVG/main" r:embed="rId7"/>
                      </a:ext>
                    </a:extLst>
                  </a:blip>
                  <a:stretch>
                    <a:fillRect/>
                  </a:stretch>
                </a:blipFill>
              </a:defRPr>
            </a:lvl1pPr>
          </a:lstStyle>
          <a:p>
            <a:pPr lvl="0"/>
            <a:r>
              <a:rPr lang="en-AU"/>
              <a:t>Click to edit Master text styles</a:t>
            </a:r>
            <a:endParaRPr lang="en-AU" dirty="0"/>
          </a:p>
        </p:txBody>
      </p:sp>
      <p:sp>
        <p:nvSpPr>
          <p:cNvPr id="3" name="Slide Number Placeholder 3">
            <a:extLst>
              <a:ext uri="{FF2B5EF4-FFF2-40B4-BE49-F238E27FC236}">
                <a16:creationId xmlns:a16="http://schemas.microsoft.com/office/drawing/2014/main" id="{D23534DE-0B88-154A-101F-A3065B13B8D8}"/>
              </a:ext>
            </a:extLst>
          </p:cNvPr>
          <p:cNvSpPr>
            <a:spLocks noGrp="1"/>
          </p:cNvSpPr>
          <p:nvPr>
            <p:ph type="sldNum" sz="quarter" idx="4"/>
          </p:nvPr>
        </p:nvSpPr>
        <p:spPr>
          <a:xfrm>
            <a:off x="11298235" y="6332642"/>
            <a:ext cx="900531"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409988887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Q&amp;A 1">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40D9EEF-9DBC-210F-D422-40B74F83F94B}"/>
              </a:ext>
            </a:extLst>
          </p:cNvPr>
          <p:cNvGraphicFramePr>
            <a:graphicFrameLocks noChangeAspect="1"/>
          </p:cNvGraphicFramePr>
          <p:nvPr userDrawn="1">
            <p:custDataLst>
              <p:tags r:id="rId1"/>
            </p:custDataLst>
            <p:extLst>
              <p:ext uri="{D42A27DB-BD31-4B8C-83A1-F6EECF244321}">
                <p14:modId xmlns:p14="http://schemas.microsoft.com/office/powerpoint/2010/main" val="6827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E40D9EEF-9DBC-210F-D422-40B74F83F9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EEF49586-C6A9-0F7D-470D-B058E757FEB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r="5657" b="14273"/>
          <a:stretch>
            <a:fillRect/>
          </a:stretch>
        </p:blipFill>
        <p:spPr>
          <a:xfrm rot="4639963">
            <a:off x="-458191" y="494708"/>
            <a:ext cx="7193383" cy="7311654"/>
          </a:xfrm>
          <a:custGeom>
            <a:avLst/>
            <a:gdLst>
              <a:gd name="connsiteX0" fmla="*/ 0 w 7193383"/>
              <a:gd name="connsiteY0" fmla="*/ 2328513 h 7311654"/>
              <a:gd name="connsiteX1" fmla="*/ 523356 w 7193383"/>
              <a:gd name="connsiteY1" fmla="*/ 0 h 7311654"/>
              <a:gd name="connsiteX2" fmla="*/ 7193383 w 7193383"/>
              <a:gd name="connsiteY2" fmla="*/ 0 h 7311654"/>
              <a:gd name="connsiteX3" fmla="*/ 5550017 w 7193383"/>
              <a:gd name="connsiteY3" fmla="*/ 7311654 h 7311654"/>
              <a:gd name="connsiteX4" fmla="*/ 0 w 7193383"/>
              <a:gd name="connsiteY4" fmla="*/ 6064233 h 73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3383" h="7311654">
                <a:moveTo>
                  <a:pt x="0" y="2328513"/>
                </a:moveTo>
                <a:lnTo>
                  <a:pt x="523356" y="0"/>
                </a:lnTo>
                <a:lnTo>
                  <a:pt x="7193383" y="0"/>
                </a:lnTo>
                <a:lnTo>
                  <a:pt x="5550017" y="7311654"/>
                </a:lnTo>
                <a:lnTo>
                  <a:pt x="0" y="6064233"/>
                </a:lnTo>
                <a:close/>
              </a:path>
            </a:pathLst>
          </a:custGeom>
        </p:spPr>
      </p:pic>
      <p:sp>
        <p:nvSpPr>
          <p:cNvPr id="5" name="Rectangle 4">
            <a:extLst>
              <a:ext uri="{FF2B5EF4-FFF2-40B4-BE49-F238E27FC236}">
                <a16:creationId xmlns:a16="http://schemas.microsoft.com/office/drawing/2014/main" id="{E2AA94F3-2C8F-33B0-F5DB-C61DF31C2CE5}"/>
              </a:ext>
            </a:extLst>
          </p:cNvPr>
          <p:cNvSpPr/>
          <p:nvPr userDrawn="1"/>
        </p:nvSpPr>
        <p:spPr>
          <a:xfrm>
            <a:off x="6096001" y="0"/>
            <a:ext cx="6096000" cy="6858000"/>
          </a:xfrm>
          <a:prstGeom prst="rect">
            <a:avLst/>
          </a:prstGeom>
          <a:solidFill>
            <a:srgbClr val="F43A4F"/>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FFFFFF"/>
              </a:solidFill>
              <a:latin typeface="Helvetica Light"/>
              <a:sym typeface="Helvetica Light"/>
            </a:endParaRPr>
          </a:p>
        </p:txBody>
      </p:sp>
      <p:sp>
        <p:nvSpPr>
          <p:cNvPr id="6" name="Shape 252">
            <a:extLst>
              <a:ext uri="{FF2B5EF4-FFF2-40B4-BE49-F238E27FC236}">
                <a16:creationId xmlns:a16="http://schemas.microsoft.com/office/drawing/2014/main" id="{51345874-544E-69CB-375A-027A49EAFF45}"/>
              </a:ext>
            </a:extLst>
          </p:cNvPr>
          <p:cNvSpPr/>
          <p:nvPr userDrawn="1"/>
        </p:nvSpPr>
        <p:spPr>
          <a:xfrm>
            <a:off x="2368360" y="465863"/>
            <a:ext cx="2485093" cy="5370446"/>
          </a:xfrm>
          <a:prstGeom prst="rect">
            <a:avLst/>
          </a:prstGeom>
          <a:ln w="3175">
            <a:miter lim="400000"/>
          </a:ln>
          <a:extLst>
            <a:ext uri="{C572A759-6A51-4108-AA02-DFA0A04FC94B}">
              <ma14:wrappingTextBoxFlag xmlns:ma14="http://schemas.microsoft.com/office/mac/drawingml/2011/main" xmlns="" val="1"/>
            </a:ext>
          </a:extLst>
        </p:spPr>
        <p:txBody>
          <a:bodyPr wrap="square" lIns="34989" tIns="34989" rIns="34989" bIns="34989" anchor="ctr">
            <a:spAutoFit/>
          </a:bodyPr>
          <a:lstStyle>
            <a:lvl1pPr algn="l">
              <a:lnSpc>
                <a:spcPct val="90000"/>
              </a:lnSpc>
              <a:defRPr sz="5600" b="1">
                <a:solidFill>
                  <a:srgbClr val="FFFFFF"/>
                </a:solidFill>
                <a:latin typeface="TeX Gyre Adventor"/>
                <a:ea typeface="TeX Gyre Adventor"/>
                <a:cs typeface="TeX Gyre Adventor"/>
                <a:sym typeface="TeX Gyre Adventor"/>
              </a:defRPr>
            </a:lvl1pPr>
          </a:lstStyle>
          <a:p>
            <a:pPr defTabSz="292093" rtl="0">
              <a:defRPr sz="1800" b="0">
                <a:solidFill>
                  <a:srgbClr val="000000"/>
                </a:solidFill>
              </a:defRPr>
            </a:pPr>
            <a:r>
              <a:rPr lang="en-AU" sz="38266" b="1" kern="0" dirty="0">
                <a:solidFill>
                  <a:srgbClr val="F43A4F"/>
                </a:solidFill>
                <a:latin typeface="+mj-lt"/>
                <a:ea typeface="Verdana" panose="020B0604030504040204" pitchFamily="34" charset="0"/>
                <a:cs typeface="Verdana" panose="020B0604030504040204" pitchFamily="34" charset="0"/>
              </a:rPr>
              <a:t>Q</a:t>
            </a:r>
          </a:p>
        </p:txBody>
      </p:sp>
      <p:sp>
        <p:nvSpPr>
          <p:cNvPr id="7" name="Shape 252">
            <a:extLst>
              <a:ext uri="{FF2B5EF4-FFF2-40B4-BE49-F238E27FC236}">
                <a16:creationId xmlns:a16="http://schemas.microsoft.com/office/drawing/2014/main" id="{091214CB-0A19-7B13-1E8E-6CD0F79B06C8}"/>
              </a:ext>
            </a:extLst>
          </p:cNvPr>
          <p:cNvSpPr/>
          <p:nvPr userDrawn="1"/>
        </p:nvSpPr>
        <p:spPr>
          <a:xfrm>
            <a:off x="6096000" y="602723"/>
            <a:ext cx="2485093" cy="5370446"/>
          </a:xfrm>
          <a:prstGeom prst="rect">
            <a:avLst/>
          </a:prstGeom>
          <a:ln w="3175">
            <a:miter lim="400000"/>
          </a:ln>
          <a:extLst>
            <a:ext uri="{C572A759-6A51-4108-AA02-DFA0A04FC94B}">
              <ma14:wrappingTextBoxFlag xmlns:ma14="http://schemas.microsoft.com/office/mac/drawingml/2011/main" xmlns="" val="1"/>
            </a:ext>
          </a:extLst>
        </p:spPr>
        <p:txBody>
          <a:bodyPr wrap="square" lIns="34989" tIns="34989" rIns="34989" bIns="34989" anchor="ctr">
            <a:spAutoFit/>
          </a:bodyPr>
          <a:lstStyle>
            <a:lvl1pPr algn="l">
              <a:lnSpc>
                <a:spcPct val="90000"/>
              </a:lnSpc>
              <a:defRPr sz="5600" b="1">
                <a:solidFill>
                  <a:srgbClr val="FFFFFF"/>
                </a:solidFill>
                <a:latin typeface="TeX Gyre Adventor"/>
                <a:ea typeface="TeX Gyre Adventor"/>
                <a:cs typeface="TeX Gyre Adventor"/>
                <a:sym typeface="TeX Gyre Adventor"/>
              </a:defRPr>
            </a:lvl1pPr>
          </a:lstStyle>
          <a:p>
            <a:pPr defTabSz="292093" rtl="0">
              <a:defRPr sz="1800" b="0">
                <a:solidFill>
                  <a:srgbClr val="000000"/>
                </a:solidFill>
              </a:defRPr>
            </a:pPr>
            <a:r>
              <a:rPr lang="en-AU" sz="38266" b="1" kern="0" dirty="0">
                <a:solidFill>
                  <a:srgbClr val="FAF8EF"/>
                </a:solidFill>
                <a:latin typeface="+mj-lt"/>
                <a:ea typeface="Verdana" panose="020B0604030504040204" pitchFamily="34" charset="0"/>
                <a:cs typeface="Verdana" panose="020B0604030504040204" pitchFamily="34" charset="0"/>
              </a:rPr>
              <a:t>A</a:t>
            </a:r>
          </a:p>
        </p:txBody>
      </p:sp>
      <p:sp>
        <p:nvSpPr>
          <p:cNvPr id="8" name="Shape 252">
            <a:extLst>
              <a:ext uri="{FF2B5EF4-FFF2-40B4-BE49-F238E27FC236}">
                <a16:creationId xmlns:a16="http://schemas.microsoft.com/office/drawing/2014/main" id="{87F46BA8-1623-B06E-358E-3FAE7689B852}"/>
              </a:ext>
            </a:extLst>
          </p:cNvPr>
          <p:cNvSpPr/>
          <p:nvPr userDrawn="1"/>
        </p:nvSpPr>
        <p:spPr>
          <a:xfrm>
            <a:off x="5708843" y="2582336"/>
            <a:ext cx="950064" cy="1067857"/>
          </a:xfrm>
          <a:prstGeom prst="rect">
            <a:avLst/>
          </a:prstGeom>
          <a:ln w="3175">
            <a:miter lim="400000"/>
          </a:ln>
          <a:extLst>
            <a:ext uri="{C572A759-6A51-4108-AA02-DFA0A04FC94B}">
              <ma14:wrappingTextBoxFlag xmlns:ma14="http://schemas.microsoft.com/office/mac/drawingml/2011/main" xmlns="" val="1"/>
            </a:ext>
          </a:extLst>
        </p:spPr>
        <p:txBody>
          <a:bodyPr wrap="square" lIns="34989" tIns="34989" rIns="34989" bIns="34989" anchor="ctr">
            <a:spAutoFit/>
          </a:bodyPr>
          <a:lstStyle>
            <a:lvl1pPr algn="l">
              <a:lnSpc>
                <a:spcPct val="90000"/>
              </a:lnSpc>
              <a:defRPr sz="5600" b="1">
                <a:solidFill>
                  <a:srgbClr val="FFFFFF"/>
                </a:solidFill>
                <a:latin typeface="TeX Gyre Adventor"/>
                <a:ea typeface="TeX Gyre Adventor"/>
                <a:cs typeface="TeX Gyre Adventor"/>
                <a:sym typeface="TeX Gyre Adventor"/>
              </a:defRPr>
            </a:lvl1pPr>
          </a:lstStyle>
          <a:p>
            <a:pPr defTabSz="292093" rtl="0">
              <a:defRPr sz="1800" b="0">
                <a:solidFill>
                  <a:srgbClr val="000000"/>
                </a:solidFill>
              </a:defRPr>
            </a:pPr>
            <a:r>
              <a:rPr lang="en-AU" sz="7200" b="1" kern="0" dirty="0">
                <a:solidFill>
                  <a:srgbClr val="29C8C1"/>
                </a:solidFill>
                <a:latin typeface="+mj-lt"/>
                <a:ea typeface="Verdana" panose="020B0604030504040204" pitchFamily="34" charset="0"/>
                <a:cs typeface="Verdana" panose="020B0604030504040204" pitchFamily="34" charset="0"/>
              </a:rPr>
              <a:t>&amp;</a:t>
            </a:r>
          </a:p>
        </p:txBody>
      </p:sp>
      <p:sp>
        <p:nvSpPr>
          <p:cNvPr id="9" name="Footer Placeholder 7">
            <a:extLst>
              <a:ext uri="{FF2B5EF4-FFF2-40B4-BE49-F238E27FC236}">
                <a16:creationId xmlns:a16="http://schemas.microsoft.com/office/drawing/2014/main" id="{BBE0F063-0EF2-9214-9C94-21D0140E74DB}"/>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CE75130F-1C86-A414-4F4B-45DFBA6F8DAB}"/>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106910842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Q&amp;A 2">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C69696-9F5C-35B0-D7E8-D76EB99FF702}"/>
              </a:ext>
            </a:extLst>
          </p:cNvPr>
          <p:cNvGraphicFramePr>
            <a:graphicFrameLocks noChangeAspect="1"/>
          </p:cNvGraphicFramePr>
          <p:nvPr userDrawn="1">
            <p:custDataLst>
              <p:tags r:id="rId1"/>
            </p:custDataLst>
            <p:extLst>
              <p:ext uri="{D42A27DB-BD31-4B8C-83A1-F6EECF244321}">
                <p14:modId xmlns:p14="http://schemas.microsoft.com/office/powerpoint/2010/main" val="2294585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79C69696-9F5C-35B0-D7E8-D76EB99FF7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EEF49586-C6A9-0F7D-470D-B058E757FEB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r="5657" b="14273"/>
          <a:stretch>
            <a:fillRect/>
          </a:stretch>
        </p:blipFill>
        <p:spPr>
          <a:xfrm rot="4639963">
            <a:off x="-458191" y="494708"/>
            <a:ext cx="7193383" cy="7311654"/>
          </a:xfrm>
          <a:custGeom>
            <a:avLst/>
            <a:gdLst>
              <a:gd name="connsiteX0" fmla="*/ 0 w 7193383"/>
              <a:gd name="connsiteY0" fmla="*/ 2328513 h 7311654"/>
              <a:gd name="connsiteX1" fmla="*/ 523356 w 7193383"/>
              <a:gd name="connsiteY1" fmla="*/ 0 h 7311654"/>
              <a:gd name="connsiteX2" fmla="*/ 7193383 w 7193383"/>
              <a:gd name="connsiteY2" fmla="*/ 0 h 7311654"/>
              <a:gd name="connsiteX3" fmla="*/ 5550017 w 7193383"/>
              <a:gd name="connsiteY3" fmla="*/ 7311654 h 7311654"/>
              <a:gd name="connsiteX4" fmla="*/ 0 w 7193383"/>
              <a:gd name="connsiteY4" fmla="*/ 6064233 h 73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3383" h="7311654">
                <a:moveTo>
                  <a:pt x="0" y="2328513"/>
                </a:moveTo>
                <a:lnTo>
                  <a:pt x="523356" y="0"/>
                </a:lnTo>
                <a:lnTo>
                  <a:pt x="7193383" y="0"/>
                </a:lnTo>
                <a:lnTo>
                  <a:pt x="5550017" y="7311654"/>
                </a:lnTo>
                <a:lnTo>
                  <a:pt x="0" y="6064233"/>
                </a:lnTo>
                <a:close/>
              </a:path>
            </a:pathLst>
          </a:custGeom>
        </p:spPr>
      </p:pic>
      <p:sp>
        <p:nvSpPr>
          <p:cNvPr id="5" name="Rectangle 4">
            <a:extLst>
              <a:ext uri="{FF2B5EF4-FFF2-40B4-BE49-F238E27FC236}">
                <a16:creationId xmlns:a16="http://schemas.microsoft.com/office/drawing/2014/main" id="{E2AA94F3-2C8F-33B0-F5DB-C61DF31C2CE5}"/>
              </a:ext>
            </a:extLst>
          </p:cNvPr>
          <p:cNvSpPr/>
          <p:nvPr userDrawn="1"/>
        </p:nvSpPr>
        <p:spPr>
          <a:xfrm>
            <a:off x="6096001" y="0"/>
            <a:ext cx="6096000" cy="6858000"/>
          </a:xfrm>
          <a:prstGeom prst="rect">
            <a:avLst/>
          </a:prstGeom>
          <a:solidFill>
            <a:schemeClr val="accent2"/>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chemeClr val="accent2"/>
              </a:solidFill>
              <a:latin typeface="Helvetica Light"/>
              <a:sym typeface="Helvetica Light"/>
            </a:endParaRPr>
          </a:p>
        </p:txBody>
      </p:sp>
      <p:sp>
        <p:nvSpPr>
          <p:cNvPr id="6" name="Shape 252">
            <a:extLst>
              <a:ext uri="{FF2B5EF4-FFF2-40B4-BE49-F238E27FC236}">
                <a16:creationId xmlns:a16="http://schemas.microsoft.com/office/drawing/2014/main" id="{51345874-544E-69CB-375A-027A49EAFF45}"/>
              </a:ext>
            </a:extLst>
          </p:cNvPr>
          <p:cNvSpPr/>
          <p:nvPr userDrawn="1"/>
        </p:nvSpPr>
        <p:spPr>
          <a:xfrm>
            <a:off x="2368360" y="465863"/>
            <a:ext cx="2485093" cy="5370446"/>
          </a:xfrm>
          <a:prstGeom prst="rect">
            <a:avLst/>
          </a:prstGeom>
          <a:ln w="3175">
            <a:miter lim="400000"/>
          </a:ln>
          <a:extLst>
            <a:ext uri="{C572A759-6A51-4108-AA02-DFA0A04FC94B}">
              <ma14:wrappingTextBoxFlag xmlns="" xmlns:ma14="http://schemas.microsoft.com/office/mac/drawingml/2011/main" val="1"/>
            </a:ext>
          </a:extLst>
        </p:spPr>
        <p:txBody>
          <a:bodyPr wrap="square" lIns="34989" tIns="34989" rIns="34989" bIns="34989" anchor="ctr">
            <a:spAutoFit/>
          </a:bodyPr>
          <a:lstStyle>
            <a:lvl1pPr algn="l">
              <a:lnSpc>
                <a:spcPct val="90000"/>
              </a:lnSpc>
              <a:defRPr sz="5600" b="1">
                <a:solidFill>
                  <a:srgbClr val="FFFFFF"/>
                </a:solidFill>
                <a:latin typeface="TeX Gyre Adventor"/>
                <a:ea typeface="TeX Gyre Adventor"/>
                <a:cs typeface="TeX Gyre Adventor"/>
                <a:sym typeface="TeX Gyre Adventor"/>
              </a:defRPr>
            </a:lvl1pPr>
          </a:lstStyle>
          <a:p>
            <a:pPr defTabSz="292093" rtl="0">
              <a:defRPr sz="1800" b="0">
                <a:solidFill>
                  <a:srgbClr val="000000"/>
                </a:solidFill>
              </a:defRPr>
            </a:pPr>
            <a:r>
              <a:rPr lang="en-AU" sz="38266" b="1" kern="0" dirty="0">
                <a:solidFill>
                  <a:schemeClr val="accent2"/>
                </a:solidFill>
                <a:latin typeface="+mj-lt"/>
                <a:ea typeface="Verdana" panose="020B0604030504040204" pitchFamily="34" charset="0"/>
                <a:cs typeface="Verdana" panose="020B0604030504040204" pitchFamily="34" charset="0"/>
              </a:rPr>
              <a:t>Q</a:t>
            </a:r>
          </a:p>
        </p:txBody>
      </p:sp>
      <p:sp>
        <p:nvSpPr>
          <p:cNvPr id="7" name="Shape 252">
            <a:extLst>
              <a:ext uri="{FF2B5EF4-FFF2-40B4-BE49-F238E27FC236}">
                <a16:creationId xmlns:a16="http://schemas.microsoft.com/office/drawing/2014/main" id="{091214CB-0A19-7B13-1E8E-6CD0F79B06C8}"/>
              </a:ext>
            </a:extLst>
          </p:cNvPr>
          <p:cNvSpPr/>
          <p:nvPr userDrawn="1"/>
        </p:nvSpPr>
        <p:spPr>
          <a:xfrm>
            <a:off x="6096000" y="602723"/>
            <a:ext cx="2485093" cy="5370446"/>
          </a:xfrm>
          <a:prstGeom prst="rect">
            <a:avLst/>
          </a:prstGeom>
          <a:ln w="3175">
            <a:miter lim="400000"/>
          </a:ln>
          <a:extLst>
            <a:ext uri="{C572A759-6A51-4108-AA02-DFA0A04FC94B}">
              <ma14:wrappingTextBoxFlag xmlns="" xmlns:ma14="http://schemas.microsoft.com/office/mac/drawingml/2011/main" val="1"/>
            </a:ext>
          </a:extLst>
        </p:spPr>
        <p:txBody>
          <a:bodyPr wrap="square" lIns="34989" tIns="34989" rIns="34989" bIns="34989" anchor="ctr">
            <a:spAutoFit/>
          </a:bodyPr>
          <a:lstStyle>
            <a:lvl1pPr algn="l">
              <a:lnSpc>
                <a:spcPct val="90000"/>
              </a:lnSpc>
              <a:defRPr sz="5600" b="1">
                <a:solidFill>
                  <a:srgbClr val="FFFFFF"/>
                </a:solidFill>
                <a:latin typeface="TeX Gyre Adventor"/>
                <a:ea typeface="TeX Gyre Adventor"/>
                <a:cs typeface="TeX Gyre Adventor"/>
                <a:sym typeface="TeX Gyre Adventor"/>
              </a:defRPr>
            </a:lvl1pPr>
          </a:lstStyle>
          <a:p>
            <a:pPr defTabSz="292093" rtl="0">
              <a:defRPr sz="1800" b="0">
                <a:solidFill>
                  <a:srgbClr val="000000"/>
                </a:solidFill>
              </a:defRPr>
            </a:pPr>
            <a:r>
              <a:rPr lang="en-AU" sz="38266" b="1" kern="0" dirty="0">
                <a:solidFill>
                  <a:srgbClr val="FAF8EF"/>
                </a:solidFill>
                <a:latin typeface="+mj-lt"/>
                <a:ea typeface="Verdana" panose="020B0604030504040204" pitchFamily="34" charset="0"/>
                <a:cs typeface="Verdana" panose="020B0604030504040204" pitchFamily="34" charset="0"/>
              </a:rPr>
              <a:t>A</a:t>
            </a:r>
          </a:p>
        </p:txBody>
      </p:sp>
      <p:sp>
        <p:nvSpPr>
          <p:cNvPr id="8" name="Shape 252">
            <a:extLst>
              <a:ext uri="{FF2B5EF4-FFF2-40B4-BE49-F238E27FC236}">
                <a16:creationId xmlns:a16="http://schemas.microsoft.com/office/drawing/2014/main" id="{87F46BA8-1623-B06E-358E-3FAE7689B852}"/>
              </a:ext>
            </a:extLst>
          </p:cNvPr>
          <p:cNvSpPr/>
          <p:nvPr userDrawn="1"/>
        </p:nvSpPr>
        <p:spPr>
          <a:xfrm>
            <a:off x="5708843" y="2582336"/>
            <a:ext cx="950064" cy="1067857"/>
          </a:xfrm>
          <a:prstGeom prst="rect">
            <a:avLst/>
          </a:prstGeom>
          <a:ln w="3175">
            <a:miter lim="400000"/>
          </a:ln>
          <a:extLst>
            <a:ext uri="{C572A759-6A51-4108-AA02-DFA0A04FC94B}">
              <ma14:wrappingTextBoxFlag xmlns="" xmlns:ma14="http://schemas.microsoft.com/office/mac/drawingml/2011/main" val="1"/>
            </a:ext>
          </a:extLst>
        </p:spPr>
        <p:txBody>
          <a:bodyPr wrap="square" lIns="34989" tIns="34989" rIns="34989" bIns="34989" anchor="ctr">
            <a:spAutoFit/>
          </a:bodyPr>
          <a:lstStyle>
            <a:lvl1pPr algn="l">
              <a:lnSpc>
                <a:spcPct val="90000"/>
              </a:lnSpc>
              <a:defRPr sz="5600" b="1">
                <a:solidFill>
                  <a:srgbClr val="FFFFFF"/>
                </a:solidFill>
                <a:latin typeface="TeX Gyre Adventor"/>
                <a:ea typeface="TeX Gyre Adventor"/>
                <a:cs typeface="TeX Gyre Adventor"/>
                <a:sym typeface="TeX Gyre Adventor"/>
              </a:defRPr>
            </a:lvl1pPr>
          </a:lstStyle>
          <a:p>
            <a:pPr defTabSz="292093" rtl="0">
              <a:defRPr sz="1800" b="0">
                <a:solidFill>
                  <a:srgbClr val="000000"/>
                </a:solidFill>
              </a:defRPr>
            </a:pPr>
            <a:r>
              <a:rPr lang="en-AU" sz="7200" b="1" kern="0" dirty="0">
                <a:solidFill>
                  <a:schemeClr val="bg2"/>
                </a:solidFill>
                <a:latin typeface="+mj-lt"/>
                <a:ea typeface="Verdana" panose="020B0604030504040204" pitchFamily="34" charset="0"/>
                <a:cs typeface="Verdana" panose="020B0604030504040204" pitchFamily="34" charset="0"/>
              </a:rPr>
              <a:t>&amp;</a:t>
            </a:r>
          </a:p>
        </p:txBody>
      </p:sp>
      <p:sp>
        <p:nvSpPr>
          <p:cNvPr id="9" name="Footer Placeholder 7">
            <a:extLst>
              <a:ext uri="{FF2B5EF4-FFF2-40B4-BE49-F238E27FC236}">
                <a16:creationId xmlns:a16="http://schemas.microsoft.com/office/drawing/2014/main" id="{C7B57297-17FB-78B7-BCBC-00BD6BE5F527}"/>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2" name="Slide Number Placeholder 3">
            <a:extLst>
              <a:ext uri="{FF2B5EF4-FFF2-40B4-BE49-F238E27FC236}">
                <a16:creationId xmlns:a16="http://schemas.microsoft.com/office/drawing/2014/main" id="{AE7E750E-FFB1-75E4-F9C7-BB4AF6252DB0}"/>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Tree>
    <p:extLst>
      <p:ext uri="{BB962C8B-B14F-4D97-AF65-F5344CB8AC3E}">
        <p14:creationId xmlns:p14="http://schemas.microsoft.com/office/powerpoint/2010/main" val="356448770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End Cover Logo 1">
    <p:bg>
      <p:bgPr>
        <a:solidFill>
          <a:schemeClr val="tx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AF486C10-EB73-2A1B-5873-1395536EBB66}"/>
              </a:ext>
            </a:extLst>
          </p:cNvPr>
          <p:cNvGrpSpPr/>
          <p:nvPr userDrawn="1"/>
        </p:nvGrpSpPr>
        <p:grpSpPr>
          <a:xfrm>
            <a:off x="2677166" y="2627626"/>
            <a:ext cx="6421323" cy="1500564"/>
            <a:chOff x="3230032" y="2757677"/>
            <a:chExt cx="5712037" cy="1334815"/>
          </a:xfrm>
        </p:grpSpPr>
        <p:grpSp>
          <p:nvGrpSpPr>
            <p:cNvPr id="50" name="Graphic 3">
              <a:extLst>
                <a:ext uri="{FF2B5EF4-FFF2-40B4-BE49-F238E27FC236}">
                  <a16:creationId xmlns:a16="http://schemas.microsoft.com/office/drawing/2014/main" id="{7A0B908E-A67B-A7DB-30A2-03E32660318D}"/>
                </a:ext>
              </a:extLst>
            </p:cNvPr>
            <p:cNvGrpSpPr/>
            <p:nvPr/>
          </p:nvGrpSpPr>
          <p:grpSpPr>
            <a:xfrm>
              <a:off x="4764309" y="2832258"/>
              <a:ext cx="4177760" cy="1188624"/>
              <a:chOff x="4764309" y="2832258"/>
              <a:chExt cx="4177760" cy="1188624"/>
            </a:xfrm>
            <a:solidFill>
              <a:srgbClr val="FFFFFF"/>
            </a:solidFill>
          </p:grpSpPr>
          <p:sp>
            <p:nvSpPr>
              <p:cNvPr id="89" name="Freeform: Shape 88">
                <a:extLst>
                  <a:ext uri="{FF2B5EF4-FFF2-40B4-BE49-F238E27FC236}">
                    <a16:creationId xmlns:a16="http://schemas.microsoft.com/office/drawing/2014/main" id="{DED8887A-B578-1A88-6A82-B810CC72F3BE}"/>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FFFFFF"/>
              </a:solidFill>
              <a:ln w="9525" cap="flat">
                <a:noFill/>
                <a:prstDash val="solid"/>
                <a:miter/>
              </a:ln>
            </p:spPr>
            <p:txBody>
              <a:bodyPr rtlCol="0" anchor="ctr"/>
              <a:lstStyle/>
              <a:p>
                <a:pPr rtl="0"/>
                <a:endParaRPr lang="en-AU" dirty="0"/>
              </a:p>
            </p:txBody>
          </p:sp>
          <p:sp>
            <p:nvSpPr>
              <p:cNvPr id="90" name="Freeform: Shape 89">
                <a:extLst>
                  <a:ext uri="{FF2B5EF4-FFF2-40B4-BE49-F238E27FC236}">
                    <a16:creationId xmlns:a16="http://schemas.microsoft.com/office/drawing/2014/main" id="{991DEF41-8A9F-FB3D-CAB6-5A44E94ABFBB}"/>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FFFFFF"/>
              </a:solid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A8167E94-5154-5986-BA14-9C77DCB8D956}"/>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FFFFFF"/>
              </a:solidFill>
              <a:ln w="9525"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20A9C1DB-12A0-535D-05FA-EC678BF7E38C}"/>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FFFFFF"/>
              </a:solid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BCC5833F-CD9C-CC34-25D2-9D0A4AD07061}"/>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FFFFFF"/>
              </a:solid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6538B402-A1F8-CF5A-4F7A-8D5CCCD88DAC}"/>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FFFFFF"/>
              </a:solidFill>
              <a:ln w="9525" cap="flat">
                <a:noFill/>
                <a:prstDash val="solid"/>
                <a:miter/>
              </a:ln>
            </p:spPr>
            <p:txBody>
              <a:bodyPr rtlCol="0" anchor="ctr"/>
              <a:lstStyle/>
              <a:p>
                <a:pPr rtl="0"/>
                <a:endParaRPr lang="en-AU" dirty="0"/>
              </a:p>
            </p:txBody>
          </p:sp>
        </p:grpSp>
        <p:grpSp>
          <p:nvGrpSpPr>
            <p:cNvPr id="51" name="Graphic 3">
              <a:extLst>
                <a:ext uri="{FF2B5EF4-FFF2-40B4-BE49-F238E27FC236}">
                  <a16:creationId xmlns:a16="http://schemas.microsoft.com/office/drawing/2014/main" id="{85F30A4C-687D-B402-49F9-4050DCFFFE83}"/>
                </a:ext>
              </a:extLst>
            </p:cNvPr>
            <p:cNvGrpSpPr/>
            <p:nvPr/>
          </p:nvGrpSpPr>
          <p:grpSpPr>
            <a:xfrm>
              <a:off x="3230032" y="2757677"/>
              <a:ext cx="1336243" cy="1334815"/>
              <a:chOff x="3230032" y="2757677"/>
              <a:chExt cx="1336243" cy="1334815"/>
            </a:xfrm>
          </p:grpSpPr>
          <p:sp>
            <p:nvSpPr>
              <p:cNvPr id="80" name="Freeform: Shape 79">
                <a:extLst>
                  <a:ext uri="{FF2B5EF4-FFF2-40B4-BE49-F238E27FC236}">
                    <a16:creationId xmlns:a16="http://schemas.microsoft.com/office/drawing/2014/main" id="{02941302-0A7C-4AAD-FFA8-B078444177D7}"/>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81" name="Freeform: Shape 80">
                <a:extLst>
                  <a:ext uri="{FF2B5EF4-FFF2-40B4-BE49-F238E27FC236}">
                    <a16:creationId xmlns:a16="http://schemas.microsoft.com/office/drawing/2014/main" id="{22D72876-B7C2-0E6D-52A1-3DCF53E20949}"/>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9F17EE6C-38F5-1F09-A5A4-25CDA07467D6}"/>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C5A5AB5A-F1C0-2267-A974-B7A534225565}"/>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A355F0BD-77F2-B545-5CF9-8FD935D35E3A}"/>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F2389A3C-8BC6-3C84-21F9-8F35AC800262}"/>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15D5633C-1875-36D2-68EC-75F550C62CA4}"/>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2C8139A8-5FE0-B819-262D-F4FF08AB5FE3}"/>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B609A4A7-379C-DE44-A744-4096E8C5A700}"/>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52" name="Graphic 3">
              <a:extLst>
                <a:ext uri="{FF2B5EF4-FFF2-40B4-BE49-F238E27FC236}">
                  <a16:creationId xmlns:a16="http://schemas.microsoft.com/office/drawing/2014/main" id="{B703961E-0C85-C2A4-46B9-566DCF2C2274}"/>
                </a:ext>
              </a:extLst>
            </p:cNvPr>
            <p:cNvGrpSpPr/>
            <p:nvPr/>
          </p:nvGrpSpPr>
          <p:grpSpPr>
            <a:xfrm>
              <a:off x="4765071" y="3903725"/>
              <a:ext cx="3369468" cy="119443"/>
              <a:chOff x="4765071" y="3903725"/>
              <a:chExt cx="3369468" cy="119443"/>
            </a:xfrm>
            <a:solidFill>
              <a:srgbClr val="FFFFFF"/>
            </a:solidFill>
          </p:grpSpPr>
          <p:sp>
            <p:nvSpPr>
              <p:cNvPr id="53" name="Freeform: Shape 52">
                <a:extLst>
                  <a:ext uri="{FF2B5EF4-FFF2-40B4-BE49-F238E27FC236}">
                    <a16:creationId xmlns:a16="http://schemas.microsoft.com/office/drawing/2014/main" id="{7ACC36A6-5486-848F-C877-E5067DFFF2CF}"/>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FFFFFF"/>
              </a:solidFill>
              <a:ln w="9525" cap="flat">
                <a:noFill/>
                <a:prstDash val="solid"/>
                <a:miter/>
              </a:ln>
            </p:spPr>
            <p:txBody>
              <a:bodyPr rtlCol="0" anchor="ctr"/>
              <a:lstStyle/>
              <a:p>
                <a:pPr rtl="0"/>
                <a:endParaRPr lang="en-AU" dirty="0"/>
              </a:p>
            </p:txBody>
          </p:sp>
          <p:sp>
            <p:nvSpPr>
              <p:cNvPr id="54" name="Freeform: Shape 53">
                <a:extLst>
                  <a:ext uri="{FF2B5EF4-FFF2-40B4-BE49-F238E27FC236}">
                    <a16:creationId xmlns:a16="http://schemas.microsoft.com/office/drawing/2014/main" id="{6220BB0A-81A9-B378-CB91-9BA4B875C0BF}"/>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1A7335DA-8895-4F93-884E-C11EF2385545}"/>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56" name="Freeform: Shape 55">
                <a:extLst>
                  <a:ext uri="{FF2B5EF4-FFF2-40B4-BE49-F238E27FC236}">
                    <a16:creationId xmlns:a16="http://schemas.microsoft.com/office/drawing/2014/main" id="{9BD62B3A-3893-6439-F753-598042CDAC23}"/>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7" name="Freeform: Shape 56">
                <a:extLst>
                  <a:ext uri="{FF2B5EF4-FFF2-40B4-BE49-F238E27FC236}">
                    <a16:creationId xmlns:a16="http://schemas.microsoft.com/office/drawing/2014/main" id="{6004D20C-E7A6-5432-C8C2-2FAF39FCB88E}"/>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FFFFFF"/>
              </a:solidFill>
              <a:ln w="9525" cap="flat">
                <a:noFill/>
                <a:prstDash val="solid"/>
                <a:miter/>
              </a:ln>
            </p:spPr>
            <p:txBody>
              <a:bodyPr rtlCol="0" anchor="ctr"/>
              <a:lstStyle/>
              <a:p>
                <a:pPr rtl="0"/>
                <a:endParaRPr lang="en-AU" dirty="0"/>
              </a:p>
            </p:txBody>
          </p:sp>
          <p:sp>
            <p:nvSpPr>
              <p:cNvPr id="58" name="Freeform: Shape 57">
                <a:extLst>
                  <a:ext uri="{FF2B5EF4-FFF2-40B4-BE49-F238E27FC236}">
                    <a16:creationId xmlns:a16="http://schemas.microsoft.com/office/drawing/2014/main" id="{8E344BEB-3469-EF84-7779-24EC09F1A450}"/>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9" name="Freeform: Shape 58">
                <a:extLst>
                  <a:ext uri="{FF2B5EF4-FFF2-40B4-BE49-F238E27FC236}">
                    <a16:creationId xmlns:a16="http://schemas.microsoft.com/office/drawing/2014/main" id="{EFB882B6-5AF3-F666-0470-2680957808F8}"/>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FFFFFF"/>
              </a:solidFill>
              <a:ln w="9525" cap="flat">
                <a:noFill/>
                <a:prstDash val="solid"/>
                <a:miter/>
              </a:ln>
            </p:spPr>
            <p:txBody>
              <a:bodyPr rtlCol="0" anchor="ctr"/>
              <a:lstStyle/>
              <a:p>
                <a:pPr rtl="0"/>
                <a:endParaRPr lang="en-AU" dirty="0"/>
              </a:p>
            </p:txBody>
          </p:sp>
          <p:sp>
            <p:nvSpPr>
              <p:cNvPr id="60" name="Freeform: Shape 59">
                <a:extLst>
                  <a:ext uri="{FF2B5EF4-FFF2-40B4-BE49-F238E27FC236}">
                    <a16:creationId xmlns:a16="http://schemas.microsoft.com/office/drawing/2014/main" id="{CD877CC1-284D-0903-CF55-57DB97E26EC2}"/>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1" name="Freeform: Shape 60">
                <a:extLst>
                  <a:ext uri="{FF2B5EF4-FFF2-40B4-BE49-F238E27FC236}">
                    <a16:creationId xmlns:a16="http://schemas.microsoft.com/office/drawing/2014/main" id="{0260F3EA-107A-108A-62A4-09051EE80F19}"/>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62" name="Freeform: Shape 61">
                <a:extLst>
                  <a:ext uri="{FF2B5EF4-FFF2-40B4-BE49-F238E27FC236}">
                    <a16:creationId xmlns:a16="http://schemas.microsoft.com/office/drawing/2014/main" id="{A0D3C48C-D41F-8232-58C0-CC8141974138}"/>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63" name="Freeform: Shape 62">
                <a:extLst>
                  <a:ext uri="{FF2B5EF4-FFF2-40B4-BE49-F238E27FC236}">
                    <a16:creationId xmlns:a16="http://schemas.microsoft.com/office/drawing/2014/main" id="{01DAF4D0-BF7F-DF34-917E-663EB8268E02}"/>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992E1DBA-61B9-1FB1-9021-054BB98183F9}"/>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FFFFFF"/>
              </a:solid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E4E6B472-1848-ACF3-6CC8-F22AF625F03B}"/>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64C8745A-959A-A236-90FF-17BEA6A60F39}"/>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FFFFFF"/>
              </a:solid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30F70029-79F2-F19C-DFA4-57CF8A4C0743}"/>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B8A2481B-7ACF-EE49-6C97-955338ECBD1D}"/>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A440969B-028C-B9C7-F898-DE3F8547DB58}"/>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BEB3AE46-AC5D-CE7A-0BE9-C5C5ED3909A7}"/>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FFFFFF"/>
              </a:solid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0FA6E4A9-A93A-4B4C-0BC9-87E72CB6754B}"/>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FFFFFF"/>
              </a:solid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2E70C05E-7C55-E663-B10D-F527195035EA}"/>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52A34A1C-2485-26C0-627F-9535BFCD0C61}"/>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62683230-2A6A-B7A2-124B-2346A60094BA}"/>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FFFFFF"/>
              </a:solid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CE088CCA-66AD-7F0D-B572-5DA0E842AE9A}"/>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FFFFFF"/>
              </a:solid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DC99FA3F-645E-9AF1-3939-AF6B25BE6C01}"/>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EC7D9690-85FD-DAF5-1866-CA2FEEAFFD5F}"/>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60B1571C-A593-8B54-E584-899424C92386}"/>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5B4CDAB2-90B2-9053-C57C-61281EB0B258}"/>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262275322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_Cov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B14A26-2B67-36B2-68EA-B2E4544B11A2}"/>
              </a:ext>
            </a:extLst>
          </p:cNvPr>
          <p:cNvGraphicFramePr>
            <a:graphicFrameLocks noChangeAspect="1"/>
          </p:cNvGraphicFramePr>
          <p:nvPr userDrawn="1">
            <p:custDataLst>
              <p:tags r:id="rId1"/>
            </p:custDataLst>
            <p:extLst>
              <p:ext uri="{D42A27DB-BD31-4B8C-83A1-F6EECF244321}">
                <p14:modId xmlns:p14="http://schemas.microsoft.com/office/powerpoint/2010/main" val="41354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56B14A26-2B67-36B2-68EA-B2E4544B11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04935328-5165-4BEA-58F2-DFB9A3D2CC52}"/>
              </a:ext>
            </a:extLst>
          </p:cNvPr>
          <p:cNvSpPr>
            <a:spLocks noGrp="1"/>
          </p:cNvSpPr>
          <p:nvPr>
            <p:ph type="title" hasCustomPrompt="1"/>
          </p:nvPr>
        </p:nvSpPr>
        <p:spPr>
          <a:xfrm>
            <a:off x="893234" y="1323235"/>
            <a:ext cx="4628792" cy="1892036"/>
          </a:xfrm>
          <a:prstGeom prst="rect">
            <a:avLst/>
          </a:prstGeom>
        </p:spPr>
        <p:txBody>
          <a:bodyPr vert="horz" lIns="0" tIns="0" rIns="0" bIns="0" rtlCol="0" anchor="b">
            <a:noAutofit/>
          </a:bodyPr>
          <a:lstStyle>
            <a:lvl1pPr rtl="0">
              <a:lnSpc>
                <a:spcPct val="90000"/>
              </a:lnSpc>
              <a:defRPr sz="4800">
                <a:solidFill>
                  <a:schemeClr val="tx2"/>
                </a:solidFill>
              </a:defRPr>
            </a:lvl1pPr>
          </a:lstStyle>
          <a:p>
            <a:r>
              <a:rPr lang="en-AU"/>
              <a:t>Headlines are to be Title Case</a:t>
            </a:r>
            <a:endParaRPr lang="en-AU" dirty="0"/>
          </a:p>
        </p:txBody>
      </p:sp>
      <p:sp>
        <p:nvSpPr>
          <p:cNvPr id="17" name="Text Placeholder 15">
            <a:extLst>
              <a:ext uri="{FF2B5EF4-FFF2-40B4-BE49-F238E27FC236}">
                <a16:creationId xmlns:a16="http://schemas.microsoft.com/office/drawing/2014/main" id="{58C64552-3CC2-033A-D0B2-40559B174871}"/>
              </a:ext>
            </a:extLst>
          </p:cNvPr>
          <p:cNvSpPr>
            <a:spLocks noGrp="1"/>
          </p:cNvSpPr>
          <p:nvPr>
            <p:ph type="body" sz="quarter" idx="11" hasCustomPrompt="1"/>
          </p:nvPr>
        </p:nvSpPr>
        <p:spPr>
          <a:xfrm>
            <a:off x="893232" y="5341383"/>
            <a:ext cx="4287837" cy="163314"/>
          </a:xfrm>
          <a:prstGeom prst="rect">
            <a:avLst/>
          </a:prstGeom>
        </p:spPr>
        <p:txBody>
          <a:bodyPr anchor="ctr"/>
          <a:lstStyle>
            <a:lvl1pPr rtl="0">
              <a:defRPr b="1" spc="100" baseline="0">
                <a:solidFill>
                  <a:schemeClr val="accent1"/>
                </a:solidFill>
              </a:defRPr>
            </a:lvl1pPr>
            <a:lvl2pPr>
              <a:lnSpc>
                <a:spcPct val="100000"/>
              </a:lnSpc>
              <a:defRPr lang="en-US" sz="1333" b="1" kern="0" spc="4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ATION NAME</a:t>
            </a:r>
            <a:endParaRPr lang="en-AU" dirty="0"/>
          </a:p>
        </p:txBody>
      </p:sp>
      <p:sp>
        <p:nvSpPr>
          <p:cNvPr id="18" name="Text Placeholder 15">
            <a:extLst>
              <a:ext uri="{FF2B5EF4-FFF2-40B4-BE49-F238E27FC236}">
                <a16:creationId xmlns:a16="http://schemas.microsoft.com/office/drawing/2014/main" id="{49723328-F83F-E36F-A23C-C63BA0452F08}"/>
              </a:ext>
            </a:extLst>
          </p:cNvPr>
          <p:cNvSpPr>
            <a:spLocks noGrp="1"/>
          </p:cNvSpPr>
          <p:nvPr>
            <p:ph type="body" sz="quarter" idx="12" hasCustomPrompt="1"/>
          </p:nvPr>
        </p:nvSpPr>
        <p:spPr>
          <a:xfrm>
            <a:off x="893232" y="5572952"/>
            <a:ext cx="4287837" cy="163314"/>
          </a:xfrm>
          <a:prstGeom prst="rect">
            <a:avLst/>
          </a:prstGeom>
        </p:spPr>
        <p:txBody>
          <a:bodyPr anchor="ctr"/>
          <a:lstStyle>
            <a:lvl1pPr rtl="0">
              <a:defRPr b="0" spc="100" baseline="0">
                <a:solidFill>
                  <a:schemeClr val="tx2"/>
                </a:solidFill>
              </a:defRPr>
            </a:lvl1pPr>
            <a:lvl2pPr>
              <a:lnSpc>
                <a:spcPct val="100000"/>
              </a:lnSpc>
              <a:defRPr lang="en-US" sz="1333" b="0" kern="0" spc="4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buNone/>
              <a:defRPr/>
            </a:lvl3pPr>
          </a:lstStyle>
          <a:p>
            <a:pPr lvl="0"/>
            <a:r>
              <a:rPr lang="en-AU"/>
              <a:t>PRESENTER</a:t>
            </a:r>
            <a:endParaRPr lang="en-AU" dirty="0"/>
          </a:p>
        </p:txBody>
      </p:sp>
      <p:sp>
        <p:nvSpPr>
          <p:cNvPr id="19" name="Text Placeholder 15">
            <a:extLst>
              <a:ext uri="{FF2B5EF4-FFF2-40B4-BE49-F238E27FC236}">
                <a16:creationId xmlns:a16="http://schemas.microsoft.com/office/drawing/2014/main" id="{10F85AFF-0099-B004-10E7-3264A4FAD960}"/>
              </a:ext>
            </a:extLst>
          </p:cNvPr>
          <p:cNvSpPr>
            <a:spLocks noGrp="1"/>
          </p:cNvSpPr>
          <p:nvPr>
            <p:ph type="body" sz="quarter" idx="13" hasCustomPrompt="1"/>
          </p:nvPr>
        </p:nvSpPr>
        <p:spPr>
          <a:xfrm>
            <a:off x="893232" y="5804521"/>
            <a:ext cx="4287837" cy="163314"/>
          </a:xfrm>
          <a:prstGeom prst="rect">
            <a:avLst/>
          </a:prstGeom>
        </p:spPr>
        <p:txBody>
          <a:bodyPr anchor="ctr"/>
          <a:lstStyle>
            <a:lvl1pPr rtl="0">
              <a:defRPr sz="1000">
                <a:solidFill>
                  <a:schemeClr val="accent1"/>
                </a:solidFill>
              </a:defRPr>
            </a:lvl1pPr>
            <a:lvl2pPr marL="0" algn="l" defTabSz="292093" rtl="0" eaLnBrk="1" latinLnBrk="0" hangingPunct="1">
              <a:lnSpc>
                <a:spcPct val="90000"/>
              </a:lnSpc>
              <a:defRPr lang="en-US" sz="1000" b="0" kern="0" spc="0" dirty="0" smtClean="0">
                <a:solidFill>
                  <a:schemeClr val="bg1"/>
                </a:solidFill>
                <a:latin typeface="Verdana" panose="020B0604030504040204" pitchFamily="34" charset="0"/>
                <a:ea typeface="Verdana" panose="020B0604030504040204" pitchFamily="34" charset="0"/>
                <a:cs typeface="Verdana" panose="020B0604030504040204" pitchFamily="34" charset="0"/>
                <a:sym typeface="TeX Gyre Adventor"/>
              </a:defRPr>
            </a:lvl2pPr>
            <a:lvl3pPr marL="0" indent="0">
              <a:buNone/>
              <a:defRPr/>
            </a:lvl3pPr>
          </a:lstStyle>
          <a:p>
            <a:pPr lvl="0"/>
            <a:r>
              <a:rPr lang="en-AU"/>
              <a:t>DD MONTH YYYY</a:t>
            </a:r>
            <a:endParaRPr lang="en-AU" dirty="0"/>
          </a:p>
        </p:txBody>
      </p:sp>
      <p:sp>
        <p:nvSpPr>
          <p:cNvPr id="21" name="Text Placeholder 20">
            <a:extLst>
              <a:ext uri="{FF2B5EF4-FFF2-40B4-BE49-F238E27FC236}">
                <a16:creationId xmlns:a16="http://schemas.microsoft.com/office/drawing/2014/main" id="{4FCEAD4B-3D9E-1FE1-F7EA-4DF4F676AA75}"/>
              </a:ext>
            </a:extLst>
          </p:cNvPr>
          <p:cNvSpPr>
            <a:spLocks noGrp="1"/>
          </p:cNvSpPr>
          <p:nvPr>
            <p:ph type="body" sz="quarter" idx="14" hasCustomPrompt="1"/>
          </p:nvPr>
        </p:nvSpPr>
        <p:spPr>
          <a:xfrm>
            <a:off x="893232" y="3800475"/>
            <a:ext cx="4287837" cy="1341438"/>
          </a:xfrm>
          <a:prstGeom prst="rect">
            <a:avLst/>
          </a:prstGeom>
        </p:spPr>
        <p:txBody>
          <a:bodyPr>
            <a:normAutofit/>
          </a:bodyPr>
          <a:lstStyle>
            <a:lvl1pPr rtl="0">
              <a:lnSpc>
                <a:spcPct val="100000"/>
              </a:lnSpc>
              <a:defRPr sz="2000">
                <a:solidFill>
                  <a:schemeClr val="tx2"/>
                </a:solidFill>
              </a:defRPr>
            </a:lvl1pPr>
            <a:lvl5pPr>
              <a:defRPr sz="1000"/>
            </a:lvl5pPr>
          </a:lstStyle>
          <a:p>
            <a:pPr lvl="0"/>
            <a:r>
              <a:rPr lang="en-AU"/>
              <a:t>Subtitle</a:t>
            </a:r>
            <a:endParaRPr lang="en-AU" dirty="0"/>
          </a:p>
        </p:txBody>
      </p:sp>
      <p:pic>
        <p:nvPicPr>
          <p:cNvPr id="6" name="Picture 5">
            <a:extLst>
              <a:ext uri="{FF2B5EF4-FFF2-40B4-BE49-F238E27FC236}">
                <a16:creationId xmlns:a16="http://schemas.microsoft.com/office/drawing/2014/main" id="{868A0C73-B233-02D5-69B6-2DECE46DB8FC}"/>
              </a:ext>
            </a:extLst>
          </p:cNvPr>
          <p:cNvPicPr>
            <a:picLocks noChangeAspect="1"/>
          </p:cNvPicPr>
          <p:nvPr userDrawn="1"/>
        </p:nvPicPr>
        <p:blipFill>
          <a:blip r:embed="rId5" cstate="screen">
            <a:extLst>
              <a:ext uri="{28A0092B-C50C-407E-A947-70E740481C1C}">
                <a14:useLocalDpi xmlns:a14="http://schemas.microsoft.com/office/drawing/2010/main"/>
              </a:ext>
            </a:extLst>
          </a:blip>
          <a:srcRect r="12782"/>
          <a:stretch>
            <a:fillRect/>
          </a:stretch>
        </p:blipFill>
        <p:spPr>
          <a:xfrm rot="13948384">
            <a:off x="4668857" y="-1024598"/>
            <a:ext cx="9019310" cy="6564512"/>
          </a:xfrm>
          <a:custGeom>
            <a:avLst/>
            <a:gdLst>
              <a:gd name="connsiteX0" fmla="*/ 9019310 w 9019310"/>
              <a:gd name="connsiteY0" fmla="*/ 1117215 h 6564512"/>
              <a:gd name="connsiteX1" fmla="*/ 4835382 w 9019310"/>
              <a:gd name="connsiteY1" fmla="*/ 6564512 h 6564512"/>
              <a:gd name="connsiteX2" fmla="*/ 3835849 w 9019310"/>
              <a:gd name="connsiteY2" fmla="*/ 6564512 h 6564512"/>
              <a:gd name="connsiteX3" fmla="*/ 0 w 9019310"/>
              <a:gd name="connsiteY3" fmla="*/ 3618296 h 6564512"/>
              <a:gd name="connsiteX4" fmla="*/ 0 w 9019310"/>
              <a:gd name="connsiteY4" fmla="*/ 3393534 h 6564512"/>
              <a:gd name="connsiteX5" fmla="*/ 2606485 w 9019310"/>
              <a:gd name="connsiteY5" fmla="*/ 0 h 6564512"/>
              <a:gd name="connsiteX6" fmla="*/ 7564743 w 9019310"/>
              <a:gd name="connsiteY6" fmla="*/ 0 h 656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9310" h="6564512">
                <a:moveTo>
                  <a:pt x="9019310" y="1117215"/>
                </a:moveTo>
                <a:lnTo>
                  <a:pt x="4835382" y="6564512"/>
                </a:lnTo>
                <a:lnTo>
                  <a:pt x="3835849" y="6564512"/>
                </a:lnTo>
                <a:lnTo>
                  <a:pt x="0" y="3618296"/>
                </a:lnTo>
                <a:lnTo>
                  <a:pt x="0" y="3393534"/>
                </a:lnTo>
                <a:lnTo>
                  <a:pt x="2606485" y="0"/>
                </a:lnTo>
                <a:lnTo>
                  <a:pt x="7564743" y="0"/>
                </a:lnTo>
                <a:close/>
              </a:path>
            </a:pathLst>
          </a:custGeom>
        </p:spPr>
      </p:pic>
      <p:sp>
        <p:nvSpPr>
          <p:cNvPr id="8" name="Text Placeholder 23">
            <a:extLst>
              <a:ext uri="{FF2B5EF4-FFF2-40B4-BE49-F238E27FC236}">
                <a16:creationId xmlns:a16="http://schemas.microsoft.com/office/drawing/2014/main" id="{C6887464-A75B-79CE-3F60-C838B803A18F}"/>
              </a:ext>
            </a:extLst>
          </p:cNvPr>
          <p:cNvSpPr>
            <a:spLocks noGrp="1"/>
          </p:cNvSpPr>
          <p:nvPr>
            <p:ph type="body" sz="quarter" idx="15" hasCustomPrompt="1"/>
          </p:nvPr>
        </p:nvSpPr>
        <p:spPr>
          <a:xfrm>
            <a:off x="893233" y="3429000"/>
            <a:ext cx="1009988" cy="129745"/>
          </a:xfrm>
          <a:prstGeom prst="rect">
            <a:avLst/>
          </a:prstGeom>
          <a:solidFill>
            <a:schemeClr val="accent1"/>
          </a:solidFill>
        </p:spPr>
        <p:txBody>
          <a:bodyPr/>
          <a:lstStyle>
            <a:lvl1pPr rtl="0">
              <a:defRPr sz="800">
                <a:noFill/>
              </a:defRPr>
            </a:lvl1pPr>
          </a:lstStyle>
          <a:p>
            <a:pPr lvl="0"/>
            <a:r>
              <a:rPr lang="en-AU"/>
              <a:t>.</a:t>
            </a:r>
            <a:endParaRPr lang="en-AU" dirty="0"/>
          </a:p>
        </p:txBody>
      </p:sp>
      <p:grpSp>
        <p:nvGrpSpPr>
          <p:cNvPr id="55" name="Group 54">
            <a:extLst>
              <a:ext uri="{FF2B5EF4-FFF2-40B4-BE49-F238E27FC236}">
                <a16:creationId xmlns:a16="http://schemas.microsoft.com/office/drawing/2014/main" id="{0C2DFFBB-0A07-41DB-2D55-26D45FABB077}"/>
              </a:ext>
            </a:extLst>
          </p:cNvPr>
          <p:cNvGrpSpPr/>
          <p:nvPr userDrawn="1"/>
        </p:nvGrpSpPr>
        <p:grpSpPr>
          <a:xfrm>
            <a:off x="8837889" y="5392719"/>
            <a:ext cx="2464659" cy="575951"/>
            <a:chOff x="3230032" y="2757677"/>
            <a:chExt cx="5712037" cy="1334815"/>
          </a:xfrm>
        </p:grpSpPr>
        <p:grpSp>
          <p:nvGrpSpPr>
            <p:cNvPr id="56" name="Graphic 2">
              <a:extLst>
                <a:ext uri="{FF2B5EF4-FFF2-40B4-BE49-F238E27FC236}">
                  <a16:creationId xmlns:a16="http://schemas.microsoft.com/office/drawing/2014/main" id="{B25D9764-E58A-0F66-077F-0C68CA7858B2}"/>
                </a:ext>
              </a:extLst>
            </p:cNvPr>
            <p:cNvGrpSpPr/>
            <p:nvPr/>
          </p:nvGrpSpPr>
          <p:grpSpPr>
            <a:xfrm>
              <a:off x="4764309" y="2832258"/>
              <a:ext cx="4177760" cy="1188624"/>
              <a:chOff x="4764309" y="2832258"/>
              <a:chExt cx="4177760" cy="1188624"/>
            </a:xfrm>
            <a:solidFill>
              <a:srgbClr val="003646"/>
            </a:solidFill>
          </p:grpSpPr>
          <p:sp>
            <p:nvSpPr>
              <p:cNvPr id="95" name="Freeform: Shape 94">
                <a:extLst>
                  <a:ext uri="{FF2B5EF4-FFF2-40B4-BE49-F238E27FC236}">
                    <a16:creationId xmlns:a16="http://schemas.microsoft.com/office/drawing/2014/main" id="{B3AE7A5B-559C-BBCA-297A-CA8DEBFFA105}"/>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003646"/>
              </a:solidFill>
              <a:ln w="9525" cap="flat">
                <a:noFill/>
                <a:prstDash val="solid"/>
                <a:miter/>
              </a:ln>
            </p:spPr>
            <p:txBody>
              <a:bodyPr rtlCol="0" anchor="ctr"/>
              <a:lstStyle/>
              <a:p>
                <a:pPr rtl="0"/>
                <a:endParaRPr lang="en-AU" dirty="0"/>
              </a:p>
            </p:txBody>
          </p:sp>
          <p:sp>
            <p:nvSpPr>
              <p:cNvPr id="96" name="Freeform: Shape 95">
                <a:extLst>
                  <a:ext uri="{FF2B5EF4-FFF2-40B4-BE49-F238E27FC236}">
                    <a16:creationId xmlns:a16="http://schemas.microsoft.com/office/drawing/2014/main" id="{62C95EE0-CE58-3321-9366-3ACC1D9E9FB8}"/>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003646"/>
              </a:solidFill>
              <a:ln w="9525" cap="flat">
                <a:noFill/>
                <a:prstDash val="solid"/>
                <a:miter/>
              </a:ln>
            </p:spPr>
            <p:txBody>
              <a:bodyPr rtlCol="0" anchor="ctr"/>
              <a:lstStyle/>
              <a:p>
                <a:pPr rtl="0"/>
                <a:endParaRPr lang="en-AU" dirty="0"/>
              </a:p>
            </p:txBody>
          </p:sp>
          <p:sp>
            <p:nvSpPr>
              <p:cNvPr id="98" name="Freeform: Shape 97">
                <a:extLst>
                  <a:ext uri="{FF2B5EF4-FFF2-40B4-BE49-F238E27FC236}">
                    <a16:creationId xmlns:a16="http://schemas.microsoft.com/office/drawing/2014/main" id="{DA043B1B-4420-E66C-9FEF-D191CE2A91F9}"/>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003646"/>
              </a:solidFill>
              <a:ln w="9525" cap="flat">
                <a:noFill/>
                <a:prstDash val="solid"/>
                <a:miter/>
              </a:ln>
            </p:spPr>
            <p:txBody>
              <a:bodyPr rtlCol="0" anchor="ctr"/>
              <a:lstStyle/>
              <a:p>
                <a:pPr rtl="0"/>
                <a:endParaRPr lang="en-AU" dirty="0"/>
              </a:p>
            </p:txBody>
          </p:sp>
          <p:sp>
            <p:nvSpPr>
              <p:cNvPr id="99" name="Freeform: Shape 98">
                <a:extLst>
                  <a:ext uri="{FF2B5EF4-FFF2-40B4-BE49-F238E27FC236}">
                    <a16:creationId xmlns:a16="http://schemas.microsoft.com/office/drawing/2014/main" id="{F821E4E2-22E2-B9C2-54AB-C91A4CD453F9}"/>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003646"/>
              </a:solidFill>
              <a:ln w="9525" cap="flat">
                <a:noFill/>
                <a:prstDash val="solid"/>
                <a:miter/>
              </a:ln>
            </p:spPr>
            <p:txBody>
              <a:bodyPr rtlCol="0" anchor="ctr"/>
              <a:lstStyle/>
              <a:p>
                <a:pPr rtl="0"/>
                <a:endParaRPr lang="en-AU" dirty="0"/>
              </a:p>
            </p:txBody>
          </p:sp>
          <p:sp>
            <p:nvSpPr>
              <p:cNvPr id="100" name="Freeform: Shape 99">
                <a:extLst>
                  <a:ext uri="{FF2B5EF4-FFF2-40B4-BE49-F238E27FC236}">
                    <a16:creationId xmlns:a16="http://schemas.microsoft.com/office/drawing/2014/main" id="{530D4491-3CED-4BBB-341E-5D0EB21D855C}"/>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003646"/>
              </a:solidFill>
              <a:ln w="9525" cap="flat">
                <a:noFill/>
                <a:prstDash val="solid"/>
                <a:miter/>
              </a:ln>
            </p:spPr>
            <p:txBody>
              <a:bodyPr rtlCol="0" anchor="ctr"/>
              <a:lstStyle/>
              <a:p>
                <a:pPr rtl="0"/>
                <a:endParaRPr lang="en-AU" dirty="0"/>
              </a:p>
            </p:txBody>
          </p:sp>
          <p:sp>
            <p:nvSpPr>
              <p:cNvPr id="101" name="Freeform: Shape 100">
                <a:extLst>
                  <a:ext uri="{FF2B5EF4-FFF2-40B4-BE49-F238E27FC236}">
                    <a16:creationId xmlns:a16="http://schemas.microsoft.com/office/drawing/2014/main" id="{CD7CE0A3-B682-59D3-28BF-E115B66FE570}"/>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003646"/>
              </a:solidFill>
              <a:ln w="9525" cap="flat">
                <a:noFill/>
                <a:prstDash val="solid"/>
                <a:miter/>
              </a:ln>
            </p:spPr>
            <p:txBody>
              <a:bodyPr rtlCol="0" anchor="ctr"/>
              <a:lstStyle/>
              <a:p>
                <a:pPr rtl="0"/>
                <a:endParaRPr lang="en-AU" dirty="0"/>
              </a:p>
            </p:txBody>
          </p:sp>
        </p:grpSp>
        <p:grpSp>
          <p:nvGrpSpPr>
            <p:cNvPr id="57" name="Graphic 2">
              <a:extLst>
                <a:ext uri="{FF2B5EF4-FFF2-40B4-BE49-F238E27FC236}">
                  <a16:creationId xmlns:a16="http://schemas.microsoft.com/office/drawing/2014/main" id="{2ABCDA74-40F1-8437-708B-A35809C6CB61}"/>
                </a:ext>
              </a:extLst>
            </p:cNvPr>
            <p:cNvGrpSpPr/>
            <p:nvPr/>
          </p:nvGrpSpPr>
          <p:grpSpPr>
            <a:xfrm>
              <a:off x="3230032" y="2757677"/>
              <a:ext cx="1336243" cy="1334815"/>
              <a:chOff x="3230032" y="2757677"/>
              <a:chExt cx="1336243" cy="1334815"/>
            </a:xfrm>
          </p:grpSpPr>
          <p:sp>
            <p:nvSpPr>
              <p:cNvPr id="86" name="Freeform: Shape 85">
                <a:extLst>
                  <a:ext uri="{FF2B5EF4-FFF2-40B4-BE49-F238E27FC236}">
                    <a16:creationId xmlns:a16="http://schemas.microsoft.com/office/drawing/2014/main" id="{51E7E3D5-4E2D-212B-EE17-E4697C40B280}"/>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5F3F6DCD-D092-323F-0555-9380A8DF0D06}"/>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3A4B3688-EC30-47C5-54C1-6571F7E96688}"/>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7C33F2AB-6E39-E6C5-3964-A98E3635D4ED}"/>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90" name="Freeform: Shape 89">
                <a:extLst>
                  <a:ext uri="{FF2B5EF4-FFF2-40B4-BE49-F238E27FC236}">
                    <a16:creationId xmlns:a16="http://schemas.microsoft.com/office/drawing/2014/main" id="{00B2384E-5C81-9C12-09E5-F47A154E9136}"/>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5CB10A9B-DAF7-2846-9473-0063C321E656}"/>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43EDF1C2-6BC9-7DD5-BA55-C5BB8E2AF2A1}"/>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CB23C9DD-D4B5-226A-83B7-D473410C3D17}"/>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07D7F828-29D3-2DF5-BF5B-0CBF3EAC71B9}"/>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58" name="Graphic 2">
              <a:extLst>
                <a:ext uri="{FF2B5EF4-FFF2-40B4-BE49-F238E27FC236}">
                  <a16:creationId xmlns:a16="http://schemas.microsoft.com/office/drawing/2014/main" id="{D72D5365-D1DE-1B15-B7D7-4A0B3BECD86A}"/>
                </a:ext>
              </a:extLst>
            </p:cNvPr>
            <p:cNvGrpSpPr/>
            <p:nvPr/>
          </p:nvGrpSpPr>
          <p:grpSpPr>
            <a:xfrm>
              <a:off x="4765071" y="3903725"/>
              <a:ext cx="3369468" cy="119443"/>
              <a:chOff x="4765071" y="3903725"/>
              <a:chExt cx="3369468" cy="119443"/>
            </a:xfrm>
            <a:solidFill>
              <a:srgbClr val="003646"/>
            </a:solidFill>
          </p:grpSpPr>
          <p:sp>
            <p:nvSpPr>
              <p:cNvPr id="59" name="Freeform: Shape 58">
                <a:extLst>
                  <a:ext uri="{FF2B5EF4-FFF2-40B4-BE49-F238E27FC236}">
                    <a16:creationId xmlns:a16="http://schemas.microsoft.com/office/drawing/2014/main" id="{4B087066-C18A-BCCD-B685-52F7C80E0BC0}"/>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003646"/>
              </a:solidFill>
              <a:ln w="9525" cap="flat">
                <a:noFill/>
                <a:prstDash val="solid"/>
                <a:miter/>
              </a:ln>
            </p:spPr>
            <p:txBody>
              <a:bodyPr rtlCol="0" anchor="ctr"/>
              <a:lstStyle/>
              <a:p>
                <a:pPr rtl="0"/>
                <a:endParaRPr lang="en-AU" dirty="0"/>
              </a:p>
            </p:txBody>
          </p:sp>
          <p:sp>
            <p:nvSpPr>
              <p:cNvPr id="60" name="Freeform: Shape 59">
                <a:extLst>
                  <a:ext uri="{FF2B5EF4-FFF2-40B4-BE49-F238E27FC236}">
                    <a16:creationId xmlns:a16="http://schemas.microsoft.com/office/drawing/2014/main" id="{19D2EB13-A442-EEA6-A888-F64BF20F10C2}"/>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1" name="Freeform: Shape 60">
                <a:extLst>
                  <a:ext uri="{FF2B5EF4-FFF2-40B4-BE49-F238E27FC236}">
                    <a16:creationId xmlns:a16="http://schemas.microsoft.com/office/drawing/2014/main" id="{F7F155AA-9E03-D03E-E83E-0306BFCCE517}"/>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003646"/>
              </a:solidFill>
              <a:ln w="9525" cap="flat">
                <a:noFill/>
                <a:prstDash val="solid"/>
                <a:miter/>
              </a:ln>
            </p:spPr>
            <p:txBody>
              <a:bodyPr rtlCol="0" anchor="ctr"/>
              <a:lstStyle/>
              <a:p>
                <a:pPr rtl="0"/>
                <a:endParaRPr lang="en-AU" dirty="0"/>
              </a:p>
            </p:txBody>
          </p:sp>
          <p:sp>
            <p:nvSpPr>
              <p:cNvPr id="62" name="Freeform: Shape 61">
                <a:extLst>
                  <a:ext uri="{FF2B5EF4-FFF2-40B4-BE49-F238E27FC236}">
                    <a16:creationId xmlns:a16="http://schemas.microsoft.com/office/drawing/2014/main" id="{1486225F-FC8E-6D86-EBBE-8F53D4E69974}"/>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3" name="Freeform: Shape 62">
                <a:extLst>
                  <a:ext uri="{FF2B5EF4-FFF2-40B4-BE49-F238E27FC236}">
                    <a16:creationId xmlns:a16="http://schemas.microsoft.com/office/drawing/2014/main" id="{5C50826A-119E-7BD1-CF25-682E8008DB40}"/>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003646"/>
              </a:solid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3DB9A462-579E-CBEC-2340-33D599BC5B81}"/>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3443761B-FE40-781D-9093-A7F966EC18C3}"/>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003646"/>
              </a:solid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892DD48E-46E6-54BB-14EF-DB61B262CE29}"/>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B2173CBF-FACB-10B2-6A36-9453C87A19D2}"/>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C16A3BE3-C764-E1E6-D6D2-71BFD9D3158C}"/>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003646"/>
              </a:solid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3CED3D13-C1DD-C8CD-D555-CED09C014574}"/>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003646"/>
              </a:solid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836AF897-269E-1C49-7D44-48C59B49E626}"/>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003646"/>
              </a:solid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59D9D1D4-A32A-C512-BA70-4FB606020ED6}"/>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003646"/>
              </a:solid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61AF021F-5AE8-0377-C266-A354C0D5EAB2}"/>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003646"/>
              </a:solid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2CB109A4-2979-2C0A-1ACC-1E9FA394C273}"/>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003646"/>
              </a:solid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C8AFF125-1114-A9CA-DD04-5D339EBA7530}"/>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B51A6086-DA77-6F0E-CE76-494C12472726}"/>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13108E8F-12B3-C906-94E5-DF9931E142F1}"/>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003646"/>
              </a:solid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730A18AD-F431-C15D-5629-A1B72ADC3CFE}"/>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003646"/>
              </a:solid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9753DF2D-EB78-38F3-29C1-B00FFA2FDA58}"/>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003646"/>
              </a:solid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4B6019EF-490C-803B-934F-AA011CA8E6BB}"/>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C05DD914-7CA1-C90C-226E-38DAEEBDEEE3}"/>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003646"/>
              </a:solidFill>
              <a:ln w="9525" cap="flat">
                <a:noFill/>
                <a:prstDash val="solid"/>
                <a:miter/>
              </a:ln>
            </p:spPr>
            <p:txBody>
              <a:bodyPr rtlCol="0" anchor="ctr"/>
              <a:lstStyle/>
              <a:p>
                <a:pPr rtl="0"/>
                <a:endParaRPr lang="en-AU" dirty="0"/>
              </a:p>
            </p:txBody>
          </p:sp>
          <p:sp>
            <p:nvSpPr>
              <p:cNvPr id="81" name="Freeform: Shape 80">
                <a:extLst>
                  <a:ext uri="{FF2B5EF4-FFF2-40B4-BE49-F238E27FC236}">
                    <a16:creationId xmlns:a16="http://schemas.microsoft.com/office/drawing/2014/main" id="{D044CA9B-3685-895F-F010-ACDCA40E021C}"/>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003646"/>
              </a:solid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42AF9DCC-928F-A869-65EF-D7AEACD7FBC8}"/>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003646"/>
              </a:solidFill>
              <a:ln w="9525"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B4F25377-1F53-A2E8-4516-B490236B0450}"/>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187B6C46-D9DB-6972-DB8B-D86A0D3F146B}"/>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003646"/>
              </a:solid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70134027-05C4-14EB-9BAE-767FBA90225E}"/>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249733385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End Cover Graphic 1">
    <p:bg>
      <p:bgPr>
        <a:solidFill>
          <a:schemeClr val="tx2"/>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A10CA76A-1480-4FBA-A436-58469DD8624A}"/>
              </a:ext>
            </a:extLst>
          </p:cNvPr>
          <p:cNvGrpSpPr/>
          <p:nvPr userDrawn="1"/>
        </p:nvGrpSpPr>
        <p:grpSpPr>
          <a:xfrm>
            <a:off x="889001" y="893445"/>
            <a:ext cx="3621102" cy="846196"/>
            <a:chOff x="3230032" y="2757677"/>
            <a:chExt cx="5712037" cy="1334815"/>
          </a:xfrm>
        </p:grpSpPr>
        <p:grpSp>
          <p:nvGrpSpPr>
            <p:cNvPr id="51" name="Graphic 3">
              <a:extLst>
                <a:ext uri="{FF2B5EF4-FFF2-40B4-BE49-F238E27FC236}">
                  <a16:creationId xmlns:a16="http://schemas.microsoft.com/office/drawing/2014/main" id="{31318098-D275-7349-C4B0-4D6E0DAFE599}"/>
                </a:ext>
              </a:extLst>
            </p:cNvPr>
            <p:cNvGrpSpPr/>
            <p:nvPr/>
          </p:nvGrpSpPr>
          <p:grpSpPr>
            <a:xfrm>
              <a:off x="4764309" y="2832258"/>
              <a:ext cx="4177760" cy="1188624"/>
              <a:chOff x="4764309" y="2832258"/>
              <a:chExt cx="4177760" cy="1188624"/>
            </a:xfrm>
            <a:solidFill>
              <a:srgbClr val="FFFFFF"/>
            </a:solidFill>
          </p:grpSpPr>
          <p:sp>
            <p:nvSpPr>
              <p:cNvPr id="90" name="Freeform: Shape 89">
                <a:extLst>
                  <a:ext uri="{FF2B5EF4-FFF2-40B4-BE49-F238E27FC236}">
                    <a16:creationId xmlns:a16="http://schemas.microsoft.com/office/drawing/2014/main" id="{0038B7A9-7ED3-9E21-6E15-46FA0ECAE1C3}"/>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FFFFFF"/>
              </a:solid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6142F10C-BE48-729F-2CD7-B945FFBFDB18}"/>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FFFFFF"/>
              </a:solidFill>
              <a:ln w="9525"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4ED5366E-9CF9-3C5B-9D97-D6FC4E93A0B5}"/>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FFFFFF"/>
              </a:solid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7872488D-F5D5-636C-0999-529E224B41DF}"/>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FFFFFF"/>
              </a:solid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015C39A2-2F7F-459B-E72C-CBF738EA3885}"/>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FFFFFF"/>
              </a:solidFill>
              <a:ln w="9525" cap="flat">
                <a:noFill/>
                <a:prstDash val="solid"/>
                <a:miter/>
              </a:ln>
            </p:spPr>
            <p:txBody>
              <a:bodyPr rtlCol="0" anchor="ctr"/>
              <a:lstStyle/>
              <a:p>
                <a:pPr rtl="0"/>
                <a:endParaRPr lang="en-AU" dirty="0"/>
              </a:p>
            </p:txBody>
          </p:sp>
          <p:sp>
            <p:nvSpPr>
              <p:cNvPr id="95" name="Freeform: Shape 94">
                <a:extLst>
                  <a:ext uri="{FF2B5EF4-FFF2-40B4-BE49-F238E27FC236}">
                    <a16:creationId xmlns:a16="http://schemas.microsoft.com/office/drawing/2014/main" id="{5149EF4A-C6DB-2BB6-73A0-4B34FAF83CAC}"/>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FFFFFF"/>
              </a:solidFill>
              <a:ln w="9525" cap="flat">
                <a:noFill/>
                <a:prstDash val="solid"/>
                <a:miter/>
              </a:ln>
            </p:spPr>
            <p:txBody>
              <a:bodyPr rtlCol="0" anchor="ctr"/>
              <a:lstStyle/>
              <a:p>
                <a:pPr rtl="0"/>
                <a:endParaRPr lang="en-AU" dirty="0"/>
              </a:p>
            </p:txBody>
          </p:sp>
        </p:grpSp>
        <p:grpSp>
          <p:nvGrpSpPr>
            <p:cNvPr id="52" name="Graphic 3">
              <a:extLst>
                <a:ext uri="{FF2B5EF4-FFF2-40B4-BE49-F238E27FC236}">
                  <a16:creationId xmlns:a16="http://schemas.microsoft.com/office/drawing/2014/main" id="{7FBCCD5B-435B-73CF-7DA9-BEE3FB80AA59}"/>
                </a:ext>
              </a:extLst>
            </p:cNvPr>
            <p:cNvGrpSpPr/>
            <p:nvPr/>
          </p:nvGrpSpPr>
          <p:grpSpPr>
            <a:xfrm>
              <a:off x="3230032" y="2757677"/>
              <a:ext cx="1336243" cy="1334815"/>
              <a:chOff x="3230032" y="2757677"/>
              <a:chExt cx="1336243" cy="1334815"/>
            </a:xfrm>
          </p:grpSpPr>
          <p:sp>
            <p:nvSpPr>
              <p:cNvPr id="81" name="Freeform: Shape 80">
                <a:extLst>
                  <a:ext uri="{FF2B5EF4-FFF2-40B4-BE49-F238E27FC236}">
                    <a16:creationId xmlns:a16="http://schemas.microsoft.com/office/drawing/2014/main" id="{CFFEB207-1B0A-5744-477D-3DBDB449B7D7}"/>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2A8EDD01-4689-A6C3-652F-1FC604D244E2}"/>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B13CBD13-161E-B030-0933-56B4A2654FD6}"/>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49E686E5-9C44-A082-83E4-ADB34232E39E}"/>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EE49B7AB-876F-F080-E87A-AB4D00F0D937}"/>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B5B01F0A-12A1-B62D-8CAA-1248984AC72C}"/>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C0B05414-95E9-FA39-9083-6D8AA651EDE9}"/>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A2FC16D9-AB21-8E42-280B-8E8666E4933D}"/>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599F365B-FCF8-312D-A159-C8C8DEFC1E67}"/>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53" name="Graphic 3">
              <a:extLst>
                <a:ext uri="{FF2B5EF4-FFF2-40B4-BE49-F238E27FC236}">
                  <a16:creationId xmlns:a16="http://schemas.microsoft.com/office/drawing/2014/main" id="{11033FC9-492D-4BF0-E225-1951BE0950DA}"/>
                </a:ext>
              </a:extLst>
            </p:cNvPr>
            <p:cNvGrpSpPr/>
            <p:nvPr/>
          </p:nvGrpSpPr>
          <p:grpSpPr>
            <a:xfrm>
              <a:off x="4765071" y="3903725"/>
              <a:ext cx="3369468" cy="119443"/>
              <a:chOff x="4765071" y="3903725"/>
              <a:chExt cx="3369468" cy="119443"/>
            </a:xfrm>
            <a:solidFill>
              <a:srgbClr val="FFFFFF"/>
            </a:solidFill>
          </p:grpSpPr>
          <p:sp>
            <p:nvSpPr>
              <p:cNvPr id="54" name="Freeform: Shape 53">
                <a:extLst>
                  <a:ext uri="{FF2B5EF4-FFF2-40B4-BE49-F238E27FC236}">
                    <a16:creationId xmlns:a16="http://schemas.microsoft.com/office/drawing/2014/main" id="{34EA39D6-0314-A642-C988-97B2B8687635}"/>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FFFFFF"/>
              </a:solidFill>
              <a:ln w="9525"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B2B17063-58EB-7B9F-D70D-48F5C1B097AD}"/>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6" name="Freeform: Shape 55">
                <a:extLst>
                  <a:ext uri="{FF2B5EF4-FFF2-40B4-BE49-F238E27FC236}">
                    <a16:creationId xmlns:a16="http://schemas.microsoft.com/office/drawing/2014/main" id="{292CE103-E14D-DCEB-3C79-26D5AF6EB44C}"/>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57" name="Freeform: Shape 56">
                <a:extLst>
                  <a:ext uri="{FF2B5EF4-FFF2-40B4-BE49-F238E27FC236}">
                    <a16:creationId xmlns:a16="http://schemas.microsoft.com/office/drawing/2014/main" id="{F044E930-DEA5-17F5-DD6F-36F870AA6F80}"/>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8" name="Freeform: Shape 57">
                <a:extLst>
                  <a:ext uri="{FF2B5EF4-FFF2-40B4-BE49-F238E27FC236}">
                    <a16:creationId xmlns:a16="http://schemas.microsoft.com/office/drawing/2014/main" id="{EBDF6B81-7BDE-398B-AC7B-88D53EC71D53}"/>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FFFFFF"/>
              </a:solidFill>
              <a:ln w="9525" cap="flat">
                <a:noFill/>
                <a:prstDash val="solid"/>
                <a:miter/>
              </a:ln>
            </p:spPr>
            <p:txBody>
              <a:bodyPr rtlCol="0" anchor="ctr"/>
              <a:lstStyle/>
              <a:p>
                <a:pPr rtl="0"/>
                <a:endParaRPr lang="en-AU" dirty="0"/>
              </a:p>
            </p:txBody>
          </p:sp>
          <p:sp>
            <p:nvSpPr>
              <p:cNvPr id="59" name="Freeform: Shape 58">
                <a:extLst>
                  <a:ext uri="{FF2B5EF4-FFF2-40B4-BE49-F238E27FC236}">
                    <a16:creationId xmlns:a16="http://schemas.microsoft.com/office/drawing/2014/main" id="{B49B569A-D7BD-4BFB-53E7-3F65FCF3F928}"/>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0" name="Freeform: Shape 59">
                <a:extLst>
                  <a:ext uri="{FF2B5EF4-FFF2-40B4-BE49-F238E27FC236}">
                    <a16:creationId xmlns:a16="http://schemas.microsoft.com/office/drawing/2014/main" id="{5F57ED50-C814-D11C-FECF-774558F19AC0}"/>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FFFFFF"/>
              </a:solidFill>
              <a:ln w="9525" cap="flat">
                <a:noFill/>
                <a:prstDash val="solid"/>
                <a:miter/>
              </a:ln>
            </p:spPr>
            <p:txBody>
              <a:bodyPr rtlCol="0" anchor="ctr"/>
              <a:lstStyle/>
              <a:p>
                <a:pPr rtl="0"/>
                <a:endParaRPr lang="en-AU" dirty="0"/>
              </a:p>
            </p:txBody>
          </p:sp>
          <p:sp>
            <p:nvSpPr>
              <p:cNvPr id="61" name="Freeform: Shape 60">
                <a:extLst>
                  <a:ext uri="{FF2B5EF4-FFF2-40B4-BE49-F238E27FC236}">
                    <a16:creationId xmlns:a16="http://schemas.microsoft.com/office/drawing/2014/main" id="{D7950CB6-E433-9A01-0143-55052D5F162A}"/>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2" name="Freeform: Shape 61">
                <a:extLst>
                  <a:ext uri="{FF2B5EF4-FFF2-40B4-BE49-F238E27FC236}">
                    <a16:creationId xmlns:a16="http://schemas.microsoft.com/office/drawing/2014/main" id="{A58DD185-BE66-C542-19A0-305FE1833914}"/>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63" name="Freeform: Shape 62">
                <a:extLst>
                  <a:ext uri="{FF2B5EF4-FFF2-40B4-BE49-F238E27FC236}">
                    <a16:creationId xmlns:a16="http://schemas.microsoft.com/office/drawing/2014/main" id="{657E2F9E-8DA6-643F-BAA0-854F12431F52}"/>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0CB3F4AD-AE85-FD02-4E5A-0D9CD0FBB0F8}"/>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457E81F8-5E24-F736-1339-AE616058801D}"/>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FFFFFF"/>
              </a:solid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9FB55E78-65D7-2FE5-B241-A699E5B82A32}"/>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4535F420-4E06-E5C5-EE0E-A15193289707}"/>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FFFFFF"/>
              </a:solid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628A7C49-5CB4-A330-C434-6CFDECC93320}"/>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4CD42D67-6E75-FC5F-09AE-27F4B80578C3}"/>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8A7B09E9-DBE0-00C6-8B9B-424128562E0A}"/>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EEEFBDFD-9B52-D6EB-6C26-D779D4867F0C}"/>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FFFFFF"/>
              </a:solid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6806E057-2573-4B78-AD30-2223C083DEAF}"/>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FFFFFF"/>
              </a:solid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0FD3023D-18E5-E7EB-D5BB-12F91229BA8E}"/>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C4B90466-6CF0-9062-515E-7D2516654110}"/>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928DE4C2-F156-CEE8-5EDD-341F498DD6FB}"/>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FFFFFF"/>
              </a:solid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AB9F3B3A-C8A4-B1FC-8FBA-B9D641725DB8}"/>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FFFFFF"/>
              </a:solid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71DBEC47-EBA0-223E-651A-F311CD69925A}"/>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151EE274-C22B-0806-FB23-0EBC83033CFD}"/>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6C314A20-934D-D47D-6410-DC9900E0DA64}"/>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4CB36A5B-A3D0-5F33-6D7B-26818E74531E}"/>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grpSp>
      </p:grpSp>
      <p:pic>
        <p:nvPicPr>
          <p:cNvPr id="301" name="Picture 300">
            <a:extLst>
              <a:ext uri="{FF2B5EF4-FFF2-40B4-BE49-F238E27FC236}">
                <a16:creationId xmlns:a16="http://schemas.microsoft.com/office/drawing/2014/main" id="{98634DE2-48FD-3B0D-D7B2-C9FAA1057775}"/>
              </a:ext>
            </a:extLst>
          </p:cNvPr>
          <p:cNvPicPr>
            <a:picLocks noChangeAspect="1"/>
          </p:cNvPicPr>
          <p:nvPr userDrawn="1"/>
        </p:nvPicPr>
        <p:blipFill>
          <a:blip r:embed="rId2"/>
          <a:stretch>
            <a:fillRect/>
          </a:stretch>
        </p:blipFill>
        <p:spPr>
          <a:xfrm>
            <a:off x="4852416" y="0"/>
            <a:ext cx="7339584" cy="6858000"/>
          </a:xfrm>
          <a:prstGeom prst="rect">
            <a:avLst/>
          </a:prstGeom>
        </p:spPr>
      </p:pic>
    </p:spTree>
    <p:extLst>
      <p:ext uri="{BB962C8B-B14F-4D97-AF65-F5344CB8AC3E}">
        <p14:creationId xmlns:p14="http://schemas.microsoft.com/office/powerpoint/2010/main" val="11181121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Cover Contact">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4509A5-D77F-739C-DB2A-49844A598EC5}"/>
              </a:ext>
            </a:extLst>
          </p:cNvPr>
          <p:cNvGraphicFramePr>
            <a:graphicFrameLocks noChangeAspect="1"/>
          </p:cNvGraphicFramePr>
          <p:nvPr userDrawn="1">
            <p:custDataLst>
              <p:tags r:id="rId1"/>
            </p:custDataLst>
            <p:extLst>
              <p:ext uri="{D42A27DB-BD31-4B8C-83A1-F6EECF244321}">
                <p14:modId xmlns:p14="http://schemas.microsoft.com/office/powerpoint/2010/main" val="223184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834509A5-D77F-739C-DB2A-49844A598E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0" name="Group 49">
            <a:extLst>
              <a:ext uri="{FF2B5EF4-FFF2-40B4-BE49-F238E27FC236}">
                <a16:creationId xmlns:a16="http://schemas.microsoft.com/office/drawing/2014/main" id="{A10CA76A-1480-4FBA-A436-58469DD8624A}"/>
              </a:ext>
            </a:extLst>
          </p:cNvPr>
          <p:cNvGrpSpPr/>
          <p:nvPr userDrawn="1"/>
        </p:nvGrpSpPr>
        <p:grpSpPr>
          <a:xfrm>
            <a:off x="889001" y="893445"/>
            <a:ext cx="3621102" cy="846196"/>
            <a:chOff x="3230032" y="2757677"/>
            <a:chExt cx="5712037" cy="1334815"/>
          </a:xfrm>
        </p:grpSpPr>
        <p:grpSp>
          <p:nvGrpSpPr>
            <p:cNvPr id="51" name="Graphic 3">
              <a:extLst>
                <a:ext uri="{FF2B5EF4-FFF2-40B4-BE49-F238E27FC236}">
                  <a16:creationId xmlns:a16="http://schemas.microsoft.com/office/drawing/2014/main" id="{31318098-D275-7349-C4B0-4D6E0DAFE599}"/>
                </a:ext>
              </a:extLst>
            </p:cNvPr>
            <p:cNvGrpSpPr/>
            <p:nvPr/>
          </p:nvGrpSpPr>
          <p:grpSpPr>
            <a:xfrm>
              <a:off x="4764309" y="2832258"/>
              <a:ext cx="4177760" cy="1188624"/>
              <a:chOff x="4764309" y="2832258"/>
              <a:chExt cx="4177760" cy="1188624"/>
            </a:xfrm>
            <a:solidFill>
              <a:srgbClr val="FFFFFF"/>
            </a:solidFill>
          </p:grpSpPr>
          <p:sp>
            <p:nvSpPr>
              <p:cNvPr id="90" name="Freeform: Shape 89">
                <a:extLst>
                  <a:ext uri="{FF2B5EF4-FFF2-40B4-BE49-F238E27FC236}">
                    <a16:creationId xmlns:a16="http://schemas.microsoft.com/office/drawing/2014/main" id="{0038B7A9-7ED3-9E21-6E15-46FA0ECAE1C3}"/>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FFFFFF"/>
              </a:solid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6142F10C-BE48-729F-2CD7-B945FFBFDB18}"/>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FFFFFF"/>
              </a:solidFill>
              <a:ln w="9525" cap="flat">
                <a:noFill/>
                <a:prstDash val="solid"/>
                <a:miter/>
              </a:ln>
            </p:spPr>
            <p:txBody>
              <a:bodyPr rtlCol="0" anchor="ctr"/>
              <a:lstStyle/>
              <a:p>
                <a:pPr rtl="0"/>
                <a:endParaRPr lang="en-AU" dirty="0"/>
              </a:p>
            </p:txBody>
          </p:sp>
          <p:sp>
            <p:nvSpPr>
              <p:cNvPr id="92" name="Freeform: Shape 91">
                <a:extLst>
                  <a:ext uri="{FF2B5EF4-FFF2-40B4-BE49-F238E27FC236}">
                    <a16:creationId xmlns:a16="http://schemas.microsoft.com/office/drawing/2014/main" id="{4ED5366E-9CF9-3C5B-9D97-D6FC4E93A0B5}"/>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FFFFFF"/>
              </a:solid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7872488D-F5D5-636C-0999-529E224B41DF}"/>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FFFFFF"/>
              </a:solid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015C39A2-2F7F-459B-E72C-CBF738EA3885}"/>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FFFFFF"/>
              </a:solidFill>
              <a:ln w="9525" cap="flat">
                <a:noFill/>
                <a:prstDash val="solid"/>
                <a:miter/>
              </a:ln>
            </p:spPr>
            <p:txBody>
              <a:bodyPr rtlCol="0" anchor="ctr"/>
              <a:lstStyle/>
              <a:p>
                <a:pPr rtl="0"/>
                <a:endParaRPr lang="en-AU" dirty="0"/>
              </a:p>
            </p:txBody>
          </p:sp>
          <p:sp>
            <p:nvSpPr>
              <p:cNvPr id="95" name="Freeform: Shape 94">
                <a:extLst>
                  <a:ext uri="{FF2B5EF4-FFF2-40B4-BE49-F238E27FC236}">
                    <a16:creationId xmlns:a16="http://schemas.microsoft.com/office/drawing/2014/main" id="{5149EF4A-C6DB-2BB6-73A0-4B34FAF83CAC}"/>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FFFFFF"/>
              </a:solidFill>
              <a:ln w="9525" cap="flat">
                <a:noFill/>
                <a:prstDash val="solid"/>
                <a:miter/>
              </a:ln>
            </p:spPr>
            <p:txBody>
              <a:bodyPr rtlCol="0" anchor="ctr"/>
              <a:lstStyle/>
              <a:p>
                <a:pPr rtl="0"/>
                <a:endParaRPr lang="en-AU" dirty="0"/>
              </a:p>
            </p:txBody>
          </p:sp>
        </p:grpSp>
        <p:grpSp>
          <p:nvGrpSpPr>
            <p:cNvPr id="52" name="Graphic 3">
              <a:extLst>
                <a:ext uri="{FF2B5EF4-FFF2-40B4-BE49-F238E27FC236}">
                  <a16:creationId xmlns:a16="http://schemas.microsoft.com/office/drawing/2014/main" id="{7FBCCD5B-435B-73CF-7DA9-BEE3FB80AA59}"/>
                </a:ext>
              </a:extLst>
            </p:cNvPr>
            <p:cNvGrpSpPr/>
            <p:nvPr/>
          </p:nvGrpSpPr>
          <p:grpSpPr>
            <a:xfrm>
              <a:off x="3230032" y="2757677"/>
              <a:ext cx="1336243" cy="1334815"/>
              <a:chOff x="3230032" y="2757677"/>
              <a:chExt cx="1336243" cy="1334815"/>
            </a:xfrm>
          </p:grpSpPr>
          <p:sp>
            <p:nvSpPr>
              <p:cNvPr id="81" name="Freeform: Shape 80">
                <a:extLst>
                  <a:ext uri="{FF2B5EF4-FFF2-40B4-BE49-F238E27FC236}">
                    <a16:creationId xmlns:a16="http://schemas.microsoft.com/office/drawing/2014/main" id="{CFFEB207-1B0A-5744-477D-3DBDB449B7D7}"/>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2A8EDD01-4689-A6C3-652F-1FC604D244E2}"/>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83" name="Freeform: Shape 82">
                <a:extLst>
                  <a:ext uri="{FF2B5EF4-FFF2-40B4-BE49-F238E27FC236}">
                    <a16:creationId xmlns:a16="http://schemas.microsoft.com/office/drawing/2014/main" id="{B13CBD13-161E-B030-0933-56B4A2654FD6}"/>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49E686E5-9C44-A082-83E4-ADB34232E39E}"/>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EE49B7AB-876F-F080-E87A-AB4D00F0D937}"/>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B5B01F0A-12A1-B62D-8CAA-1248984AC72C}"/>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C0B05414-95E9-FA39-9083-6D8AA651EDE9}"/>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A2FC16D9-AB21-8E42-280B-8E8666E4933D}"/>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599F365B-FCF8-312D-A159-C8C8DEFC1E67}"/>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53" name="Graphic 3">
              <a:extLst>
                <a:ext uri="{FF2B5EF4-FFF2-40B4-BE49-F238E27FC236}">
                  <a16:creationId xmlns:a16="http://schemas.microsoft.com/office/drawing/2014/main" id="{11033FC9-492D-4BF0-E225-1951BE0950DA}"/>
                </a:ext>
              </a:extLst>
            </p:cNvPr>
            <p:cNvGrpSpPr/>
            <p:nvPr/>
          </p:nvGrpSpPr>
          <p:grpSpPr>
            <a:xfrm>
              <a:off x="4765071" y="3903725"/>
              <a:ext cx="3369468" cy="119443"/>
              <a:chOff x="4765071" y="3903725"/>
              <a:chExt cx="3369468" cy="119443"/>
            </a:xfrm>
            <a:solidFill>
              <a:srgbClr val="FFFFFF"/>
            </a:solidFill>
          </p:grpSpPr>
          <p:sp>
            <p:nvSpPr>
              <p:cNvPr id="54" name="Freeform: Shape 53">
                <a:extLst>
                  <a:ext uri="{FF2B5EF4-FFF2-40B4-BE49-F238E27FC236}">
                    <a16:creationId xmlns:a16="http://schemas.microsoft.com/office/drawing/2014/main" id="{34EA39D6-0314-A642-C988-97B2B8687635}"/>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FFFFFF"/>
              </a:solidFill>
              <a:ln w="9525" cap="flat">
                <a:noFill/>
                <a:prstDash val="solid"/>
                <a:miter/>
              </a:ln>
            </p:spPr>
            <p:txBody>
              <a:bodyPr rtlCol="0" anchor="ctr"/>
              <a:lstStyle/>
              <a:p>
                <a:pPr rtl="0"/>
                <a:endParaRPr lang="en-AU" dirty="0"/>
              </a:p>
            </p:txBody>
          </p:sp>
          <p:sp>
            <p:nvSpPr>
              <p:cNvPr id="55" name="Freeform: Shape 54">
                <a:extLst>
                  <a:ext uri="{FF2B5EF4-FFF2-40B4-BE49-F238E27FC236}">
                    <a16:creationId xmlns:a16="http://schemas.microsoft.com/office/drawing/2014/main" id="{B2B17063-58EB-7B9F-D70D-48F5C1B097AD}"/>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6" name="Freeform: Shape 55">
                <a:extLst>
                  <a:ext uri="{FF2B5EF4-FFF2-40B4-BE49-F238E27FC236}">
                    <a16:creationId xmlns:a16="http://schemas.microsoft.com/office/drawing/2014/main" id="{292CE103-E14D-DCEB-3C79-26D5AF6EB44C}"/>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57" name="Freeform: Shape 56">
                <a:extLst>
                  <a:ext uri="{FF2B5EF4-FFF2-40B4-BE49-F238E27FC236}">
                    <a16:creationId xmlns:a16="http://schemas.microsoft.com/office/drawing/2014/main" id="{F044E930-DEA5-17F5-DD6F-36F870AA6F80}"/>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58" name="Freeform: Shape 57">
                <a:extLst>
                  <a:ext uri="{FF2B5EF4-FFF2-40B4-BE49-F238E27FC236}">
                    <a16:creationId xmlns:a16="http://schemas.microsoft.com/office/drawing/2014/main" id="{EBDF6B81-7BDE-398B-AC7B-88D53EC71D53}"/>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FFFFFF"/>
              </a:solidFill>
              <a:ln w="9525" cap="flat">
                <a:noFill/>
                <a:prstDash val="solid"/>
                <a:miter/>
              </a:ln>
            </p:spPr>
            <p:txBody>
              <a:bodyPr rtlCol="0" anchor="ctr"/>
              <a:lstStyle/>
              <a:p>
                <a:pPr rtl="0"/>
                <a:endParaRPr lang="en-AU" dirty="0"/>
              </a:p>
            </p:txBody>
          </p:sp>
          <p:sp>
            <p:nvSpPr>
              <p:cNvPr id="59" name="Freeform: Shape 58">
                <a:extLst>
                  <a:ext uri="{FF2B5EF4-FFF2-40B4-BE49-F238E27FC236}">
                    <a16:creationId xmlns:a16="http://schemas.microsoft.com/office/drawing/2014/main" id="{B49B569A-D7BD-4BFB-53E7-3F65FCF3F928}"/>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0" name="Freeform: Shape 59">
                <a:extLst>
                  <a:ext uri="{FF2B5EF4-FFF2-40B4-BE49-F238E27FC236}">
                    <a16:creationId xmlns:a16="http://schemas.microsoft.com/office/drawing/2014/main" id="{5F57ED50-C814-D11C-FECF-774558F19AC0}"/>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FFFFFF"/>
              </a:solidFill>
              <a:ln w="9525" cap="flat">
                <a:noFill/>
                <a:prstDash val="solid"/>
                <a:miter/>
              </a:ln>
            </p:spPr>
            <p:txBody>
              <a:bodyPr rtlCol="0" anchor="ctr"/>
              <a:lstStyle/>
              <a:p>
                <a:pPr rtl="0"/>
                <a:endParaRPr lang="en-AU" dirty="0"/>
              </a:p>
            </p:txBody>
          </p:sp>
          <p:sp>
            <p:nvSpPr>
              <p:cNvPr id="61" name="Freeform: Shape 60">
                <a:extLst>
                  <a:ext uri="{FF2B5EF4-FFF2-40B4-BE49-F238E27FC236}">
                    <a16:creationId xmlns:a16="http://schemas.microsoft.com/office/drawing/2014/main" id="{D7950CB6-E433-9A01-0143-55052D5F162A}"/>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62" name="Freeform: Shape 61">
                <a:extLst>
                  <a:ext uri="{FF2B5EF4-FFF2-40B4-BE49-F238E27FC236}">
                    <a16:creationId xmlns:a16="http://schemas.microsoft.com/office/drawing/2014/main" id="{A58DD185-BE66-C542-19A0-305FE1833914}"/>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63" name="Freeform: Shape 62">
                <a:extLst>
                  <a:ext uri="{FF2B5EF4-FFF2-40B4-BE49-F238E27FC236}">
                    <a16:creationId xmlns:a16="http://schemas.microsoft.com/office/drawing/2014/main" id="{657E2F9E-8DA6-643F-BAA0-854F12431F52}"/>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0CB3F4AD-AE85-FD02-4E5A-0D9CD0FBB0F8}"/>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457E81F8-5E24-F736-1339-AE616058801D}"/>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FFFFFF"/>
              </a:solid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9FB55E78-65D7-2FE5-B241-A699E5B82A32}"/>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FFFFFF"/>
              </a:solid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4535F420-4E06-E5C5-EE0E-A15193289707}"/>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FFFFFF"/>
              </a:solid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628A7C49-5CB4-A330-C434-6CFDECC93320}"/>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4CD42D67-6E75-FC5F-09AE-27F4B80578C3}"/>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8A7B09E9-DBE0-00C6-8B9B-424128562E0A}"/>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EEEFBDFD-9B52-D6EB-6C26-D779D4867F0C}"/>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FFFFFF"/>
              </a:solid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6806E057-2573-4B78-AD30-2223C083DEAF}"/>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FFFFFF"/>
              </a:solid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0FD3023D-18E5-E7EB-D5BB-12F91229BA8E}"/>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FFFFFF"/>
              </a:solid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C4B90466-6CF0-9062-515E-7D2516654110}"/>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928DE4C2-F156-CEE8-5EDD-341F498DD6FB}"/>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FFFFFF"/>
              </a:solid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AB9F3B3A-C8A4-B1FC-8FBA-B9D641725DB8}"/>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FFFFFF"/>
              </a:solid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71DBEC47-EBA0-223E-651A-F311CD69925A}"/>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FFFFFF"/>
              </a:solid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151EE274-C22B-0806-FB23-0EBC83033CFD}"/>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FFFFFF"/>
              </a:solid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6C314A20-934D-D47D-6410-DC9900E0DA64}"/>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FFFFFF"/>
              </a:solidFill>
              <a:ln w="9525"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4CB36A5B-A3D0-5F33-6D7B-26818E74531E}"/>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FFFFFF"/>
              </a:solidFill>
              <a:ln w="9525" cap="flat">
                <a:noFill/>
                <a:prstDash val="solid"/>
                <a:miter/>
              </a:ln>
            </p:spPr>
            <p:txBody>
              <a:bodyPr rtlCol="0" anchor="ctr"/>
              <a:lstStyle/>
              <a:p>
                <a:pPr rtl="0"/>
                <a:endParaRPr lang="en-AU" dirty="0"/>
              </a:p>
            </p:txBody>
          </p:sp>
        </p:grpSp>
      </p:grpSp>
      <p:sp>
        <p:nvSpPr>
          <p:cNvPr id="2" name="Rectangle: Rounded Corners 7">
            <a:hlinkClick r:id="rId5"/>
            <a:extLst>
              <a:ext uri="{FF2B5EF4-FFF2-40B4-BE49-F238E27FC236}">
                <a16:creationId xmlns:a16="http://schemas.microsoft.com/office/drawing/2014/main" id="{47941BDE-7C0D-267A-0B4D-8ED5C03FFBDF}"/>
              </a:ext>
            </a:extLst>
          </p:cNvPr>
          <p:cNvSpPr/>
          <p:nvPr userDrawn="1"/>
        </p:nvSpPr>
        <p:spPr>
          <a:xfrm>
            <a:off x="893235" y="4783326"/>
            <a:ext cx="1100677" cy="340884"/>
          </a:xfrm>
          <a:prstGeom prst="roundRect">
            <a:avLst>
              <a:gd name="adj" fmla="val 0"/>
            </a:avLst>
          </a:prstGeom>
          <a:solidFill>
            <a:srgbClr val="F43A4F"/>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92093" rtl="0"/>
            <a:r>
              <a:rPr lang="en-AU" sz="1067" b="1" kern="0">
                <a:solidFill>
                  <a:srgbClr val="FFFFFF"/>
                </a:solidFill>
                <a:latin typeface="+mn-lt"/>
                <a:ea typeface="Verdana" panose="020B0604030504040204" pitchFamily="34" charset="0"/>
                <a:cs typeface="Verdana" panose="020B0604030504040204" pitchFamily="34" charset="0"/>
                <a:sym typeface="Helvetica Light"/>
              </a:rPr>
              <a:t>worley.com</a:t>
            </a:r>
            <a:endParaRPr lang="en-AU" sz="1067" b="1" kern="0" dirty="0">
              <a:solidFill>
                <a:srgbClr val="FFFFFF"/>
              </a:solidFill>
              <a:latin typeface="+mn-lt"/>
              <a:ea typeface="Verdana" panose="020B0604030504040204" pitchFamily="34" charset="0"/>
              <a:cs typeface="Verdana" panose="020B0604030504040204" pitchFamily="34" charset="0"/>
              <a:sym typeface="Helvetica Light"/>
            </a:endParaRPr>
          </a:p>
        </p:txBody>
      </p:sp>
      <p:sp>
        <p:nvSpPr>
          <p:cNvPr id="3" name="Text Placeholder 8">
            <a:extLst>
              <a:ext uri="{FF2B5EF4-FFF2-40B4-BE49-F238E27FC236}">
                <a16:creationId xmlns:a16="http://schemas.microsoft.com/office/drawing/2014/main" id="{B55F3CF9-1398-FA4E-4BD0-0378A70CA90E}"/>
              </a:ext>
            </a:extLst>
          </p:cNvPr>
          <p:cNvSpPr>
            <a:spLocks noGrp="1"/>
          </p:cNvSpPr>
          <p:nvPr>
            <p:ph type="body" sz="quarter" idx="10"/>
          </p:nvPr>
        </p:nvSpPr>
        <p:spPr>
          <a:xfrm>
            <a:off x="892366" y="2770337"/>
            <a:ext cx="2387600" cy="1703388"/>
          </a:xfrm>
          <a:prstGeom prst="rect">
            <a:avLst/>
          </a:prstGeom>
        </p:spPr>
        <p:txBody>
          <a:bodyPr/>
          <a:lstStyle>
            <a:lvl1pPr rtl="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Click to edit Master text styles</a:t>
            </a:r>
            <a:endParaRPr lang="en-AU" dirty="0"/>
          </a:p>
        </p:txBody>
      </p:sp>
      <p:pic>
        <p:nvPicPr>
          <p:cNvPr id="4" name="Picture 3">
            <a:extLst>
              <a:ext uri="{FF2B5EF4-FFF2-40B4-BE49-F238E27FC236}">
                <a16:creationId xmlns:a16="http://schemas.microsoft.com/office/drawing/2014/main" id="{59611321-F0C5-B4A2-0E17-9DB0A90599B9}"/>
              </a:ext>
            </a:extLst>
          </p:cNvPr>
          <p:cNvPicPr>
            <a:picLocks noChangeAspect="1"/>
          </p:cNvPicPr>
          <p:nvPr userDrawn="1"/>
        </p:nvPicPr>
        <p:blipFill>
          <a:blip r:embed="rId6"/>
          <a:stretch>
            <a:fillRect/>
          </a:stretch>
        </p:blipFill>
        <p:spPr>
          <a:xfrm>
            <a:off x="4852416" y="0"/>
            <a:ext cx="7339584" cy="6858000"/>
          </a:xfrm>
          <a:prstGeom prst="rect">
            <a:avLst/>
          </a:prstGeom>
        </p:spPr>
      </p:pic>
    </p:spTree>
    <p:extLst>
      <p:ext uri="{BB962C8B-B14F-4D97-AF65-F5344CB8AC3E}">
        <p14:creationId xmlns:p14="http://schemas.microsoft.com/office/powerpoint/2010/main" val="359505787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End Cover Logo 2">
    <p:bg>
      <p:bgPr>
        <a:solidFill>
          <a:schemeClr val="bg2"/>
        </a:solidFill>
        <a:effectLst/>
      </p:bgPr>
    </p:bg>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AE8CD108-5BD9-892A-57F0-FB4425B516D1}"/>
              </a:ext>
            </a:extLst>
          </p:cNvPr>
          <p:cNvGrpSpPr/>
          <p:nvPr userDrawn="1"/>
        </p:nvGrpSpPr>
        <p:grpSpPr>
          <a:xfrm>
            <a:off x="2677167" y="2631571"/>
            <a:ext cx="6421322" cy="1500562"/>
            <a:chOff x="3230032" y="2757677"/>
            <a:chExt cx="5712037" cy="1334815"/>
          </a:xfrm>
        </p:grpSpPr>
        <p:grpSp>
          <p:nvGrpSpPr>
            <p:cNvPr id="53" name="Graphic 2">
              <a:extLst>
                <a:ext uri="{FF2B5EF4-FFF2-40B4-BE49-F238E27FC236}">
                  <a16:creationId xmlns:a16="http://schemas.microsoft.com/office/drawing/2014/main" id="{74B4E446-9903-FFFD-BCBA-BA304725860D}"/>
                </a:ext>
              </a:extLst>
            </p:cNvPr>
            <p:cNvGrpSpPr/>
            <p:nvPr/>
          </p:nvGrpSpPr>
          <p:grpSpPr>
            <a:xfrm>
              <a:off x="4764309" y="2832258"/>
              <a:ext cx="4177760" cy="1188624"/>
              <a:chOff x="4764309" y="2832258"/>
              <a:chExt cx="4177760" cy="1188624"/>
            </a:xfrm>
            <a:solidFill>
              <a:srgbClr val="003646"/>
            </a:solidFill>
          </p:grpSpPr>
          <p:sp>
            <p:nvSpPr>
              <p:cNvPr id="92" name="Freeform: Shape 91">
                <a:extLst>
                  <a:ext uri="{FF2B5EF4-FFF2-40B4-BE49-F238E27FC236}">
                    <a16:creationId xmlns:a16="http://schemas.microsoft.com/office/drawing/2014/main" id="{77C6D4E1-DC17-46A2-C113-74E560B59985}"/>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003646"/>
              </a:solidFill>
              <a:ln w="9525" cap="flat">
                <a:noFill/>
                <a:prstDash val="solid"/>
                <a:miter/>
              </a:ln>
            </p:spPr>
            <p:txBody>
              <a:bodyPr rtlCol="0" anchor="ctr"/>
              <a:lstStyle/>
              <a:p>
                <a:pPr rtl="0"/>
                <a:endParaRPr lang="en-AU" dirty="0"/>
              </a:p>
            </p:txBody>
          </p:sp>
          <p:sp>
            <p:nvSpPr>
              <p:cNvPr id="93" name="Freeform: Shape 92">
                <a:extLst>
                  <a:ext uri="{FF2B5EF4-FFF2-40B4-BE49-F238E27FC236}">
                    <a16:creationId xmlns:a16="http://schemas.microsoft.com/office/drawing/2014/main" id="{0D01A321-4306-F3DE-73A2-6B82F5822608}"/>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003646"/>
              </a:solidFill>
              <a:ln w="9525" cap="flat">
                <a:noFill/>
                <a:prstDash val="solid"/>
                <a:miter/>
              </a:ln>
            </p:spPr>
            <p:txBody>
              <a:bodyPr rtlCol="0" anchor="ctr"/>
              <a:lstStyle/>
              <a:p>
                <a:pPr rtl="0"/>
                <a:endParaRPr lang="en-AU" dirty="0"/>
              </a:p>
            </p:txBody>
          </p:sp>
          <p:sp>
            <p:nvSpPr>
              <p:cNvPr id="94" name="Freeform: Shape 93">
                <a:extLst>
                  <a:ext uri="{FF2B5EF4-FFF2-40B4-BE49-F238E27FC236}">
                    <a16:creationId xmlns:a16="http://schemas.microsoft.com/office/drawing/2014/main" id="{C0CE406F-F25B-993A-A8AD-819A8EC59219}"/>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003646"/>
              </a:solidFill>
              <a:ln w="9525" cap="flat">
                <a:noFill/>
                <a:prstDash val="solid"/>
                <a:miter/>
              </a:ln>
            </p:spPr>
            <p:txBody>
              <a:bodyPr rtlCol="0" anchor="ctr"/>
              <a:lstStyle/>
              <a:p>
                <a:pPr rtl="0"/>
                <a:endParaRPr lang="en-AU" dirty="0"/>
              </a:p>
            </p:txBody>
          </p:sp>
          <p:sp>
            <p:nvSpPr>
              <p:cNvPr id="95" name="Freeform: Shape 94">
                <a:extLst>
                  <a:ext uri="{FF2B5EF4-FFF2-40B4-BE49-F238E27FC236}">
                    <a16:creationId xmlns:a16="http://schemas.microsoft.com/office/drawing/2014/main" id="{639CB797-DBFF-8242-0349-EF597AA1940B}"/>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003646"/>
              </a:solidFill>
              <a:ln w="9525" cap="flat">
                <a:noFill/>
                <a:prstDash val="solid"/>
                <a:miter/>
              </a:ln>
            </p:spPr>
            <p:txBody>
              <a:bodyPr rtlCol="0" anchor="ctr"/>
              <a:lstStyle/>
              <a:p>
                <a:pPr rtl="0"/>
                <a:endParaRPr lang="en-AU" dirty="0"/>
              </a:p>
            </p:txBody>
          </p:sp>
          <p:sp>
            <p:nvSpPr>
              <p:cNvPr id="96" name="Freeform: Shape 95">
                <a:extLst>
                  <a:ext uri="{FF2B5EF4-FFF2-40B4-BE49-F238E27FC236}">
                    <a16:creationId xmlns:a16="http://schemas.microsoft.com/office/drawing/2014/main" id="{A0D02F32-231B-7297-E874-B471765CBB6D}"/>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003646"/>
              </a:solidFill>
              <a:ln w="9525" cap="flat">
                <a:noFill/>
                <a:prstDash val="solid"/>
                <a:miter/>
              </a:ln>
            </p:spPr>
            <p:txBody>
              <a:bodyPr rtlCol="0" anchor="ctr"/>
              <a:lstStyle/>
              <a:p>
                <a:pPr rtl="0"/>
                <a:endParaRPr lang="en-AU" dirty="0"/>
              </a:p>
            </p:txBody>
          </p:sp>
          <p:sp>
            <p:nvSpPr>
              <p:cNvPr id="97" name="Freeform: Shape 96">
                <a:extLst>
                  <a:ext uri="{FF2B5EF4-FFF2-40B4-BE49-F238E27FC236}">
                    <a16:creationId xmlns:a16="http://schemas.microsoft.com/office/drawing/2014/main" id="{8FBB212B-AF9C-FC0F-6327-3E6D9928A390}"/>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003646"/>
              </a:solidFill>
              <a:ln w="9525" cap="flat">
                <a:noFill/>
                <a:prstDash val="solid"/>
                <a:miter/>
              </a:ln>
            </p:spPr>
            <p:txBody>
              <a:bodyPr rtlCol="0" anchor="ctr"/>
              <a:lstStyle/>
              <a:p>
                <a:pPr rtl="0"/>
                <a:endParaRPr lang="en-AU" dirty="0"/>
              </a:p>
            </p:txBody>
          </p:sp>
        </p:grpSp>
        <p:grpSp>
          <p:nvGrpSpPr>
            <p:cNvPr id="54" name="Graphic 2">
              <a:extLst>
                <a:ext uri="{FF2B5EF4-FFF2-40B4-BE49-F238E27FC236}">
                  <a16:creationId xmlns:a16="http://schemas.microsoft.com/office/drawing/2014/main" id="{28449B69-3E9A-EBE3-A37B-27D8B729CE68}"/>
                </a:ext>
              </a:extLst>
            </p:cNvPr>
            <p:cNvGrpSpPr/>
            <p:nvPr/>
          </p:nvGrpSpPr>
          <p:grpSpPr>
            <a:xfrm>
              <a:off x="3230032" y="2757677"/>
              <a:ext cx="1336243" cy="1334815"/>
              <a:chOff x="3230032" y="2757677"/>
              <a:chExt cx="1336243" cy="1334815"/>
            </a:xfrm>
          </p:grpSpPr>
          <p:sp>
            <p:nvSpPr>
              <p:cNvPr id="83" name="Freeform: Shape 82">
                <a:extLst>
                  <a:ext uri="{FF2B5EF4-FFF2-40B4-BE49-F238E27FC236}">
                    <a16:creationId xmlns:a16="http://schemas.microsoft.com/office/drawing/2014/main" id="{BB1B8AB7-65D9-D736-467B-682E656FD217}"/>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84" name="Freeform: Shape 83">
                <a:extLst>
                  <a:ext uri="{FF2B5EF4-FFF2-40B4-BE49-F238E27FC236}">
                    <a16:creationId xmlns:a16="http://schemas.microsoft.com/office/drawing/2014/main" id="{C4B99DA8-F9EE-259C-C3A8-73E91B0CFEC1}"/>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85" name="Freeform: Shape 84">
                <a:extLst>
                  <a:ext uri="{FF2B5EF4-FFF2-40B4-BE49-F238E27FC236}">
                    <a16:creationId xmlns:a16="http://schemas.microsoft.com/office/drawing/2014/main" id="{310BEC54-00B5-36FC-6236-119F49727090}"/>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86" name="Freeform: Shape 85">
                <a:extLst>
                  <a:ext uri="{FF2B5EF4-FFF2-40B4-BE49-F238E27FC236}">
                    <a16:creationId xmlns:a16="http://schemas.microsoft.com/office/drawing/2014/main" id="{A362D657-F1AF-60A2-A43B-417EF0271EB4}"/>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87" name="Freeform: Shape 86">
                <a:extLst>
                  <a:ext uri="{FF2B5EF4-FFF2-40B4-BE49-F238E27FC236}">
                    <a16:creationId xmlns:a16="http://schemas.microsoft.com/office/drawing/2014/main" id="{DD6CBD68-9671-2415-6318-44FB41731B28}"/>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88" name="Freeform: Shape 87">
                <a:extLst>
                  <a:ext uri="{FF2B5EF4-FFF2-40B4-BE49-F238E27FC236}">
                    <a16:creationId xmlns:a16="http://schemas.microsoft.com/office/drawing/2014/main" id="{98A63FF3-9F45-4D02-4308-E8E4D34400D7}"/>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89" name="Freeform: Shape 88">
                <a:extLst>
                  <a:ext uri="{FF2B5EF4-FFF2-40B4-BE49-F238E27FC236}">
                    <a16:creationId xmlns:a16="http://schemas.microsoft.com/office/drawing/2014/main" id="{859A7E77-B554-E3C6-DC32-9D6FE609E53E}"/>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90" name="Freeform: Shape 89">
                <a:extLst>
                  <a:ext uri="{FF2B5EF4-FFF2-40B4-BE49-F238E27FC236}">
                    <a16:creationId xmlns:a16="http://schemas.microsoft.com/office/drawing/2014/main" id="{B9D581B2-7572-7F5A-7426-7C5F96F35E0B}"/>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91" name="Freeform: Shape 90">
                <a:extLst>
                  <a:ext uri="{FF2B5EF4-FFF2-40B4-BE49-F238E27FC236}">
                    <a16:creationId xmlns:a16="http://schemas.microsoft.com/office/drawing/2014/main" id="{A594D5C6-3666-BA27-F90F-5569A64E74ED}"/>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55" name="Graphic 2">
              <a:extLst>
                <a:ext uri="{FF2B5EF4-FFF2-40B4-BE49-F238E27FC236}">
                  <a16:creationId xmlns:a16="http://schemas.microsoft.com/office/drawing/2014/main" id="{388483AB-7DEB-84BC-31BA-CC6C0EDE979D}"/>
                </a:ext>
              </a:extLst>
            </p:cNvPr>
            <p:cNvGrpSpPr/>
            <p:nvPr/>
          </p:nvGrpSpPr>
          <p:grpSpPr>
            <a:xfrm>
              <a:off x="4765071" y="3903725"/>
              <a:ext cx="3369468" cy="119443"/>
              <a:chOff x="4765071" y="3903725"/>
              <a:chExt cx="3369468" cy="119443"/>
            </a:xfrm>
            <a:solidFill>
              <a:srgbClr val="003646"/>
            </a:solidFill>
          </p:grpSpPr>
          <p:sp>
            <p:nvSpPr>
              <p:cNvPr id="56" name="Freeform: Shape 55">
                <a:extLst>
                  <a:ext uri="{FF2B5EF4-FFF2-40B4-BE49-F238E27FC236}">
                    <a16:creationId xmlns:a16="http://schemas.microsoft.com/office/drawing/2014/main" id="{2A5F1CD2-47A4-AB6F-73C5-C23E521EB488}"/>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003646"/>
              </a:solidFill>
              <a:ln w="9525" cap="flat">
                <a:noFill/>
                <a:prstDash val="solid"/>
                <a:miter/>
              </a:ln>
            </p:spPr>
            <p:txBody>
              <a:bodyPr rtlCol="0" anchor="ctr"/>
              <a:lstStyle/>
              <a:p>
                <a:pPr rtl="0"/>
                <a:endParaRPr lang="en-AU" dirty="0"/>
              </a:p>
            </p:txBody>
          </p:sp>
          <p:sp>
            <p:nvSpPr>
              <p:cNvPr id="57" name="Freeform: Shape 56">
                <a:extLst>
                  <a:ext uri="{FF2B5EF4-FFF2-40B4-BE49-F238E27FC236}">
                    <a16:creationId xmlns:a16="http://schemas.microsoft.com/office/drawing/2014/main" id="{8242D394-8E66-3CE8-B50A-387191521989}"/>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58" name="Freeform: Shape 57">
                <a:extLst>
                  <a:ext uri="{FF2B5EF4-FFF2-40B4-BE49-F238E27FC236}">
                    <a16:creationId xmlns:a16="http://schemas.microsoft.com/office/drawing/2014/main" id="{650DFAA9-8482-247A-8C33-30D87F831804}"/>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003646"/>
              </a:solidFill>
              <a:ln w="9525" cap="flat">
                <a:noFill/>
                <a:prstDash val="solid"/>
                <a:miter/>
              </a:ln>
            </p:spPr>
            <p:txBody>
              <a:bodyPr rtlCol="0" anchor="ctr"/>
              <a:lstStyle/>
              <a:p>
                <a:pPr rtl="0"/>
                <a:endParaRPr lang="en-AU" dirty="0"/>
              </a:p>
            </p:txBody>
          </p:sp>
          <p:sp>
            <p:nvSpPr>
              <p:cNvPr id="59" name="Freeform: Shape 58">
                <a:extLst>
                  <a:ext uri="{FF2B5EF4-FFF2-40B4-BE49-F238E27FC236}">
                    <a16:creationId xmlns:a16="http://schemas.microsoft.com/office/drawing/2014/main" id="{DBCABBE5-3AD2-F527-8E92-91E605FB5C10}"/>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0" name="Freeform: Shape 59">
                <a:extLst>
                  <a:ext uri="{FF2B5EF4-FFF2-40B4-BE49-F238E27FC236}">
                    <a16:creationId xmlns:a16="http://schemas.microsoft.com/office/drawing/2014/main" id="{525AE9B7-0689-23A0-3F32-28CC90F2D1E7}"/>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003646"/>
              </a:solidFill>
              <a:ln w="9525" cap="flat">
                <a:noFill/>
                <a:prstDash val="solid"/>
                <a:miter/>
              </a:ln>
            </p:spPr>
            <p:txBody>
              <a:bodyPr rtlCol="0" anchor="ctr"/>
              <a:lstStyle/>
              <a:p>
                <a:pPr rtl="0"/>
                <a:endParaRPr lang="en-AU" dirty="0"/>
              </a:p>
            </p:txBody>
          </p:sp>
          <p:sp>
            <p:nvSpPr>
              <p:cNvPr id="61" name="Freeform: Shape 60">
                <a:extLst>
                  <a:ext uri="{FF2B5EF4-FFF2-40B4-BE49-F238E27FC236}">
                    <a16:creationId xmlns:a16="http://schemas.microsoft.com/office/drawing/2014/main" id="{38C85AD7-F6CA-E719-C9E2-ED8786CFF96D}"/>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2" name="Freeform: Shape 61">
                <a:extLst>
                  <a:ext uri="{FF2B5EF4-FFF2-40B4-BE49-F238E27FC236}">
                    <a16:creationId xmlns:a16="http://schemas.microsoft.com/office/drawing/2014/main" id="{9E78B42D-6E0C-984B-86A9-F5D75F14F247}"/>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003646"/>
              </a:solidFill>
              <a:ln w="9525" cap="flat">
                <a:noFill/>
                <a:prstDash val="solid"/>
                <a:miter/>
              </a:ln>
            </p:spPr>
            <p:txBody>
              <a:bodyPr rtlCol="0" anchor="ctr"/>
              <a:lstStyle/>
              <a:p>
                <a:pPr rtl="0"/>
                <a:endParaRPr lang="en-AU" dirty="0"/>
              </a:p>
            </p:txBody>
          </p:sp>
          <p:sp>
            <p:nvSpPr>
              <p:cNvPr id="63" name="Freeform: Shape 62">
                <a:extLst>
                  <a:ext uri="{FF2B5EF4-FFF2-40B4-BE49-F238E27FC236}">
                    <a16:creationId xmlns:a16="http://schemas.microsoft.com/office/drawing/2014/main" id="{48729CE7-C331-EAB4-5917-3CF66695BFCE}"/>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64" name="Freeform: Shape 63">
                <a:extLst>
                  <a:ext uri="{FF2B5EF4-FFF2-40B4-BE49-F238E27FC236}">
                    <a16:creationId xmlns:a16="http://schemas.microsoft.com/office/drawing/2014/main" id="{10D2B23A-2596-C94E-A006-DDB750249490}"/>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65" name="Freeform: Shape 64">
                <a:extLst>
                  <a:ext uri="{FF2B5EF4-FFF2-40B4-BE49-F238E27FC236}">
                    <a16:creationId xmlns:a16="http://schemas.microsoft.com/office/drawing/2014/main" id="{20D46A55-D8B1-D4C1-400E-EB3AF63FFCED}"/>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003646"/>
              </a:solidFill>
              <a:ln w="9525" cap="flat">
                <a:noFill/>
                <a:prstDash val="solid"/>
                <a:miter/>
              </a:ln>
            </p:spPr>
            <p:txBody>
              <a:bodyPr rtlCol="0" anchor="ctr"/>
              <a:lstStyle/>
              <a:p>
                <a:pPr rtl="0"/>
                <a:endParaRPr lang="en-AU" dirty="0"/>
              </a:p>
            </p:txBody>
          </p:sp>
          <p:sp>
            <p:nvSpPr>
              <p:cNvPr id="66" name="Freeform: Shape 65">
                <a:extLst>
                  <a:ext uri="{FF2B5EF4-FFF2-40B4-BE49-F238E27FC236}">
                    <a16:creationId xmlns:a16="http://schemas.microsoft.com/office/drawing/2014/main" id="{F9CBFCB5-D5CA-E134-81C2-D73B156A4AE6}"/>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003646"/>
              </a:solidFill>
              <a:ln w="9525" cap="flat">
                <a:noFill/>
                <a:prstDash val="solid"/>
                <a:miter/>
              </a:ln>
            </p:spPr>
            <p:txBody>
              <a:bodyPr rtlCol="0" anchor="ctr"/>
              <a:lstStyle/>
              <a:p>
                <a:pPr rtl="0"/>
                <a:endParaRPr lang="en-AU" dirty="0"/>
              </a:p>
            </p:txBody>
          </p:sp>
          <p:sp>
            <p:nvSpPr>
              <p:cNvPr id="67" name="Freeform: Shape 66">
                <a:extLst>
                  <a:ext uri="{FF2B5EF4-FFF2-40B4-BE49-F238E27FC236}">
                    <a16:creationId xmlns:a16="http://schemas.microsoft.com/office/drawing/2014/main" id="{360D25E0-2302-BD8F-F292-CB58AA973AC5}"/>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003646"/>
              </a:solidFill>
              <a:ln w="9525" cap="flat">
                <a:noFill/>
                <a:prstDash val="solid"/>
                <a:miter/>
              </a:ln>
            </p:spPr>
            <p:txBody>
              <a:bodyPr rtlCol="0" anchor="ctr"/>
              <a:lstStyle/>
              <a:p>
                <a:pPr rtl="0"/>
                <a:endParaRPr lang="en-AU" dirty="0"/>
              </a:p>
            </p:txBody>
          </p:sp>
          <p:sp>
            <p:nvSpPr>
              <p:cNvPr id="68" name="Freeform: Shape 67">
                <a:extLst>
                  <a:ext uri="{FF2B5EF4-FFF2-40B4-BE49-F238E27FC236}">
                    <a16:creationId xmlns:a16="http://schemas.microsoft.com/office/drawing/2014/main" id="{F4F6E987-F008-5AC0-CAC8-48B110ABA5B7}"/>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003646"/>
              </a:solidFill>
              <a:ln w="9525" cap="flat">
                <a:noFill/>
                <a:prstDash val="solid"/>
                <a:miter/>
              </a:ln>
            </p:spPr>
            <p:txBody>
              <a:bodyPr rtlCol="0" anchor="ctr"/>
              <a:lstStyle/>
              <a:p>
                <a:pPr rtl="0"/>
                <a:endParaRPr lang="en-AU" dirty="0"/>
              </a:p>
            </p:txBody>
          </p:sp>
          <p:sp>
            <p:nvSpPr>
              <p:cNvPr id="69" name="Freeform: Shape 68">
                <a:extLst>
                  <a:ext uri="{FF2B5EF4-FFF2-40B4-BE49-F238E27FC236}">
                    <a16:creationId xmlns:a16="http://schemas.microsoft.com/office/drawing/2014/main" id="{2C850871-BB1D-829E-FAB0-A9BDB069F253}"/>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003646"/>
              </a:solidFill>
              <a:ln w="9525" cap="flat">
                <a:noFill/>
                <a:prstDash val="solid"/>
                <a:miter/>
              </a:ln>
            </p:spPr>
            <p:txBody>
              <a:bodyPr rtlCol="0" anchor="ctr"/>
              <a:lstStyle/>
              <a:p>
                <a:pPr rtl="0"/>
                <a:endParaRPr lang="en-AU" dirty="0"/>
              </a:p>
            </p:txBody>
          </p:sp>
          <p:sp>
            <p:nvSpPr>
              <p:cNvPr id="70" name="Freeform: Shape 69">
                <a:extLst>
                  <a:ext uri="{FF2B5EF4-FFF2-40B4-BE49-F238E27FC236}">
                    <a16:creationId xmlns:a16="http://schemas.microsoft.com/office/drawing/2014/main" id="{21B9B7D4-5F7A-5BB4-5FF9-1E38C9BCA9FE}"/>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003646"/>
              </a:solidFill>
              <a:ln w="9525" cap="flat">
                <a:noFill/>
                <a:prstDash val="solid"/>
                <a:miter/>
              </a:ln>
            </p:spPr>
            <p:txBody>
              <a:bodyPr rtlCol="0" anchor="ctr"/>
              <a:lstStyle/>
              <a:p>
                <a:pPr rtl="0"/>
                <a:endParaRPr lang="en-AU" dirty="0"/>
              </a:p>
            </p:txBody>
          </p:sp>
          <p:sp>
            <p:nvSpPr>
              <p:cNvPr id="71" name="Freeform: Shape 70">
                <a:extLst>
                  <a:ext uri="{FF2B5EF4-FFF2-40B4-BE49-F238E27FC236}">
                    <a16:creationId xmlns:a16="http://schemas.microsoft.com/office/drawing/2014/main" id="{2FCCFA66-3EFA-6DAD-B520-4495FBDAFFEE}"/>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72" name="Freeform: Shape 71">
                <a:extLst>
                  <a:ext uri="{FF2B5EF4-FFF2-40B4-BE49-F238E27FC236}">
                    <a16:creationId xmlns:a16="http://schemas.microsoft.com/office/drawing/2014/main" id="{39EC726F-3A44-7378-CC21-0DBF8B3A5CA7}"/>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73" name="Freeform: Shape 72">
                <a:extLst>
                  <a:ext uri="{FF2B5EF4-FFF2-40B4-BE49-F238E27FC236}">
                    <a16:creationId xmlns:a16="http://schemas.microsoft.com/office/drawing/2014/main" id="{7A61F8F1-0A27-6133-869D-E78E3036D1CB}"/>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003646"/>
              </a:solidFill>
              <a:ln w="9525" cap="flat">
                <a:noFill/>
                <a:prstDash val="solid"/>
                <a:miter/>
              </a:ln>
            </p:spPr>
            <p:txBody>
              <a:bodyPr rtlCol="0" anchor="ctr"/>
              <a:lstStyle/>
              <a:p>
                <a:pPr rtl="0"/>
                <a:endParaRPr lang="en-AU" dirty="0"/>
              </a:p>
            </p:txBody>
          </p:sp>
          <p:sp>
            <p:nvSpPr>
              <p:cNvPr id="74" name="Freeform: Shape 73">
                <a:extLst>
                  <a:ext uri="{FF2B5EF4-FFF2-40B4-BE49-F238E27FC236}">
                    <a16:creationId xmlns:a16="http://schemas.microsoft.com/office/drawing/2014/main" id="{727BBFC1-1A9B-4C04-3F49-3245C72F637B}"/>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003646"/>
              </a:solidFill>
              <a:ln w="9525" cap="flat">
                <a:noFill/>
                <a:prstDash val="solid"/>
                <a:miter/>
              </a:ln>
            </p:spPr>
            <p:txBody>
              <a:bodyPr rtlCol="0" anchor="ctr"/>
              <a:lstStyle/>
              <a:p>
                <a:pPr rtl="0"/>
                <a:endParaRPr lang="en-AU" dirty="0"/>
              </a:p>
            </p:txBody>
          </p:sp>
          <p:sp>
            <p:nvSpPr>
              <p:cNvPr id="75" name="Freeform: Shape 74">
                <a:extLst>
                  <a:ext uri="{FF2B5EF4-FFF2-40B4-BE49-F238E27FC236}">
                    <a16:creationId xmlns:a16="http://schemas.microsoft.com/office/drawing/2014/main" id="{80CF6D76-53EC-398D-F556-83BC238CBC83}"/>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003646"/>
              </a:solidFill>
              <a:ln w="9525" cap="flat">
                <a:noFill/>
                <a:prstDash val="solid"/>
                <a:miter/>
              </a:ln>
            </p:spPr>
            <p:txBody>
              <a:bodyPr rtlCol="0" anchor="ctr"/>
              <a:lstStyle/>
              <a:p>
                <a:pPr rtl="0"/>
                <a:endParaRPr lang="en-AU" dirty="0"/>
              </a:p>
            </p:txBody>
          </p:sp>
          <p:sp>
            <p:nvSpPr>
              <p:cNvPr id="76" name="Freeform: Shape 75">
                <a:extLst>
                  <a:ext uri="{FF2B5EF4-FFF2-40B4-BE49-F238E27FC236}">
                    <a16:creationId xmlns:a16="http://schemas.microsoft.com/office/drawing/2014/main" id="{A1363313-D182-A6F1-232D-3AAB9359326A}"/>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77" name="Freeform: Shape 76">
                <a:extLst>
                  <a:ext uri="{FF2B5EF4-FFF2-40B4-BE49-F238E27FC236}">
                    <a16:creationId xmlns:a16="http://schemas.microsoft.com/office/drawing/2014/main" id="{B0B90CE5-159F-AFD1-FFF9-9748850E7708}"/>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003646"/>
              </a:solidFill>
              <a:ln w="9525" cap="flat">
                <a:noFill/>
                <a:prstDash val="solid"/>
                <a:miter/>
              </a:ln>
            </p:spPr>
            <p:txBody>
              <a:bodyPr rtlCol="0" anchor="ctr"/>
              <a:lstStyle/>
              <a:p>
                <a:pPr rtl="0"/>
                <a:endParaRPr lang="en-AU" dirty="0"/>
              </a:p>
            </p:txBody>
          </p:sp>
          <p:sp>
            <p:nvSpPr>
              <p:cNvPr id="78" name="Freeform: Shape 77">
                <a:extLst>
                  <a:ext uri="{FF2B5EF4-FFF2-40B4-BE49-F238E27FC236}">
                    <a16:creationId xmlns:a16="http://schemas.microsoft.com/office/drawing/2014/main" id="{1E046ACB-DF4D-E922-F92E-30E68A19C0C8}"/>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003646"/>
              </a:solidFill>
              <a:ln w="9525" cap="flat">
                <a:noFill/>
                <a:prstDash val="solid"/>
                <a:miter/>
              </a:ln>
            </p:spPr>
            <p:txBody>
              <a:bodyPr rtlCol="0" anchor="ctr"/>
              <a:lstStyle/>
              <a:p>
                <a:pPr rtl="0"/>
                <a:endParaRPr lang="en-AU" dirty="0"/>
              </a:p>
            </p:txBody>
          </p:sp>
          <p:sp>
            <p:nvSpPr>
              <p:cNvPr id="79" name="Freeform: Shape 78">
                <a:extLst>
                  <a:ext uri="{FF2B5EF4-FFF2-40B4-BE49-F238E27FC236}">
                    <a16:creationId xmlns:a16="http://schemas.microsoft.com/office/drawing/2014/main" id="{A7092E5D-61D5-E835-9A41-28F62C671721}"/>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003646"/>
              </a:solidFill>
              <a:ln w="9525" cap="flat">
                <a:noFill/>
                <a:prstDash val="solid"/>
                <a:miter/>
              </a:ln>
            </p:spPr>
            <p:txBody>
              <a:bodyPr rtlCol="0" anchor="ctr"/>
              <a:lstStyle/>
              <a:p>
                <a:pPr rtl="0"/>
                <a:endParaRPr lang="en-AU" dirty="0"/>
              </a:p>
            </p:txBody>
          </p:sp>
          <p:sp>
            <p:nvSpPr>
              <p:cNvPr id="80" name="Freeform: Shape 79">
                <a:extLst>
                  <a:ext uri="{FF2B5EF4-FFF2-40B4-BE49-F238E27FC236}">
                    <a16:creationId xmlns:a16="http://schemas.microsoft.com/office/drawing/2014/main" id="{5AB12452-5D42-F2AD-C36F-F70084F840A3}"/>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81" name="Freeform: Shape 80">
                <a:extLst>
                  <a:ext uri="{FF2B5EF4-FFF2-40B4-BE49-F238E27FC236}">
                    <a16:creationId xmlns:a16="http://schemas.microsoft.com/office/drawing/2014/main" id="{F8BC82AD-B257-92EC-9323-6D69B295BA67}"/>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003646"/>
              </a:solidFill>
              <a:ln w="9525" cap="flat">
                <a:noFill/>
                <a:prstDash val="solid"/>
                <a:miter/>
              </a:ln>
            </p:spPr>
            <p:txBody>
              <a:bodyPr rtlCol="0" anchor="ctr"/>
              <a:lstStyle/>
              <a:p>
                <a:pPr rtl="0"/>
                <a:endParaRPr lang="en-AU" dirty="0"/>
              </a:p>
            </p:txBody>
          </p:sp>
          <p:sp>
            <p:nvSpPr>
              <p:cNvPr id="82" name="Freeform: Shape 81">
                <a:extLst>
                  <a:ext uri="{FF2B5EF4-FFF2-40B4-BE49-F238E27FC236}">
                    <a16:creationId xmlns:a16="http://schemas.microsoft.com/office/drawing/2014/main" id="{0B73149D-17CF-54CE-92D9-537CCC9B51F6}"/>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grpSp>
      </p:grpSp>
    </p:spTree>
    <p:extLst>
      <p:ext uri="{BB962C8B-B14F-4D97-AF65-F5344CB8AC3E}">
        <p14:creationId xmlns:p14="http://schemas.microsoft.com/office/powerpoint/2010/main" val="95551179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57_Contact">
    <p:bg>
      <p:bgPr>
        <a:solidFill>
          <a:schemeClr val="bg2"/>
        </a:solidFill>
        <a:effectLst/>
      </p:bgPr>
    </p:bg>
    <p:spTree>
      <p:nvGrpSpPr>
        <p:cNvPr id="1" name=""/>
        <p:cNvGrpSpPr/>
        <p:nvPr/>
      </p:nvGrpSpPr>
      <p:grpSpPr>
        <a:xfrm>
          <a:off x="0" y="0"/>
          <a:ext cx="0" cy="0"/>
          <a:chOff x="0" y="0"/>
          <a:chExt cx="0" cy="0"/>
        </a:xfrm>
      </p:grpSpPr>
      <p:grpSp>
        <p:nvGrpSpPr>
          <p:cNvPr id="96" name="Group 95">
            <a:extLst>
              <a:ext uri="{FF2B5EF4-FFF2-40B4-BE49-F238E27FC236}">
                <a16:creationId xmlns:a16="http://schemas.microsoft.com/office/drawing/2014/main" id="{377A1677-A263-7B13-D08D-61C44E66E48E}"/>
              </a:ext>
            </a:extLst>
          </p:cNvPr>
          <p:cNvGrpSpPr/>
          <p:nvPr userDrawn="1"/>
        </p:nvGrpSpPr>
        <p:grpSpPr>
          <a:xfrm>
            <a:off x="889000" y="895819"/>
            <a:ext cx="3622039" cy="846414"/>
            <a:chOff x="3230032" y="2757677"/>
            <a:chExt cx="5712037" cy="1334815"/>
          </a:xfrm>
        </p:grpSpPr>
        <p:grpSp>
          <p:nvGrpSpPr>
            <p:cNvPr id="97" name="Graphic 2">
              <a:extLst>
                <a:ext uri="{FF2B5EF4-FFF2-40B4-BE49-F238E27FC236}">
                  <a16:creationId xmlns:a16="http://schemas.microsoft.com/office/drawing/2014/main" id="{58385785-89FE-B42A-F5DE-0D8337A8F5CE}"/>
                </a:ext>
              </a:extLst>
            </p:cNvPr>
            <p:cNvGrpSpPr/>
            <p:nvPr/>
          </p:nvGrpSpPr>
          <p:grpSpPr>
            <a:xfrm>
              <a:off x="4764309" y="2832258"/>
              <a:ext cx="4177760" cy="1188624"/>
              <a:chOff x="4764309" y="2832258"/>
              <a:chExt cx="4177760" cy="1188624"/>
            </a:xfrm>
            <a:solidFill>
              <a:srgbClr val="003646"/>
            </a:solidFill>
          </p:grpSpPr>
          <p:sp>
            <p:nvSpPr>
              <p:cNvPr id="136" name="Freeform: Shape 135">
                <a:extLst>
                  <a:ext uri="{FF2B5EF4-FFF2-40B4-BE49-F238E27FC236}">
                    <a16:creationId xmlns:a16="http://schemas.microsoft.com/office/drawing/2014/main" id="{116585D2-33AB-93DC-F7E3-658B5C9088E6}"/>
                  </a:ext>
                </a:extLst>
              </p:cNvPr>
              <p:cNvSpPr/>
              <p:nvPr/>
            </p:nvSpPr>
            <p:spPr>
              <a:xfrm>
                <a:off x="6685406" y="3082194"/>
                <a:ext cx="429006" cy="679894"/>
              </a:xfrm>
              <a:custGeom>
                <a:avLst/>
                <a:gdLst>
                  <a:gd name="connsiteX0" fmla="*/ 320612 w 429006"/>
                  <a:gd name="connsiteY0" fmla="*/ 0 h 679894"/>
                  <a:gd name="connsiteX1" fmla="*/ 320612 w 429006"/>
                  <a:gd name="connsiteY1" fmla="*/ 0 h 679894"/>
                  <a:gd name="connsiteX2" fmla="*/ 95 w 429006"/>
                  <a:gd name="connsiteY2" fmla="*/ 319659 h 679894"/>
                  <a:gd name="connsiteX3" fmla="*/ 0 w 429006"/>
                  <a:gd name="connsiteY3" fmla="*/ 319659 h 679894"/>
                  <a:gd name="connsiteX4" fmla="*/ 0 w 429006"/>
                  <a:gd name="connsiteY4" fmla="*/ 679895 h 679894"/>
                  <a:gd name="connsiteX5" fmla="*/ 197167 w 429006"/>
                  <a:gd name="connsiteY5" fmla="*/ 679895 h 679894"/>
                  <a:gd name="connsiteX6" fmla="*/ 197167 w 429006"/>
                  <a:gd name="connsiteY6" fmla="*/ 320612 h 679894"/>
                  <a:gd name="connsiteX7" fmla="*/ 197167 w 429006"/>
                  <a:gd name="connsiteY7" fmla="*/ 320612 h 679894"/>
                  <a:gd name="connsiteX8" fmla="*/ 320612 w 429006"/>
                  <a:gd name="connsiteY8" fmla="*/ 197167 h 679894"/>
                  <a:gd name="connsiteX9" fmla="*/ 320612 w 429006"/>
                  <a:gd name="connsiteY9" fmla="*/ 197263 h 679894"/>
                  <a:gd name="connsiteX10" fmla="*/ 429006 w 429006"/>
                  <a:gd name="connsiteY10" fmla="*/ 197263 h 679894"/>
                  <a:gd name="connsiteX11" fmla="*/ 429006 w 429006"/>
                  <a:gd name="connsiteY11" fmla="*/ 95 h 679894"/>
                  <a:gd name="connsiteX12" fmla="*/ 320612 w 429006"/>
                  <a:gd name="connsiteY12" fmla="*/ 95 h 67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006" h="679894">
                    <a:moveTo>
                      <a:pt x="320612" y="0"/>
                    </a:moveTo>
                    <a:lnTo>
                      <a:pt x="320612" y="0"/>
                    </a:lnTo>
                    <a:cubicBezTo>
                      <a:pt x="144113" y="0"/>
                      <a:pt x="571" y="143351"/>
                      <a:pt x="95" y="319659"/>
                    </a:cubicBezTo>
                    <a:lnTo>
                      <a:pt x="0" y="319659"/>
                    </a:lnTo>
                    <a:lnTo>
                      <a:pt x="0" y="679895"/>
                    </a:lnTo>
                    <a:lnTo>
                      <a:pt x="197167" y="679895"/>
                    </a:lnTo>
                    <a:lnTo>
                      <a:pt x="197167" y="320612"/>
                    </a:lnTo>
                    <a:lnTo>
                      <a:pt x="197167" y="320612"/>
                    </a:lnTo>
                    <a:cubicBezTo>
                      <a:pt x="197167" y="252508"/>
                      <a:pt x="252508" y="197167"/>
                      <a:pt x="320612" y="197167"/>
                    </a:cubicBezTo>
                    <a:lnTo>
                      <a:pt x="320612" y="197263"/>
                    </a:lnTo>
                    <a:lnTo>
                      <a:pt x="429006" y="197263"/>
                    </a:lnTo>
                    <a:lnTo>
                      <a:pt x="429006" y="95"/>
                    </a:lnTo>
                    <a:lnTo>
                      <a:pt x="320612" y="95"/>
                    </a:lnTo>
                    <a:close/>
                  </a:path>
                </a:pathLst>
              </a:custGeom>
              <a:solidFill>
                <a:srgbClr val="003646"/>
              </a:solidFill>
              <a:ln w="9525" cap="flat">
                <a:noFill/>
                <a:prstDash val="solid"/>
                <a:miter/>
              </a:ln>
            </p:spPr>
            <p:txBody>
              <a:bodyPr rtlCol="0" anchor="ctr"/>
              <a:lstStyle/>
              <a:p>
                <a:pPr rtl="0"/>
                <a:endParaRPr lang="en-AU" dirty="0"/>
              </a:p>
            </p:txBody>
          </p:sp>
          <p:sp>
            <p:nvSpPr>
              <p:cNvPr id="137" name="Freeform: Shape 136">
                <a:extLst>
                  <a:ext uri="{FF2B5EF4-FFF2-40B4-BE49-F238E27FC236}">
                    <a16:creationId xmlns:a16="http://schemas.microsoft.com/office/drawing/2014/main" id="{B82CE324-0660-51D2-D95D-D74C3155386A}"/>
                  </a:ext>
                </a:extLst>
              </p:cNvPr>
              <p:cNvSpPr/>
              <p:nvPr/>
            </p:nvSpPr>
            <p:spPr>
              <a:xfrm>
                <a:off x="4764309" y="3098958"/>
                <a:ext cx="1083087" cy="680180"/>
              </a:xfrm>
              <a:custGeom>
                <a:avLst/>
                <a:gdLst>
                  <a:gd name="connsiteX0" fmla="*/ 886111 w 1083087"/>
                  <a:gd name="connsiteY0" fmla="*/ 359664 h 680180"/>
                  <a:gd name="connsiteX1" fmla="*/ 886111 w 1083087"/>
                  <a:gd name="connsiteY1" fmla="*/ 359664 h 680180"/>
                  <a:gd name="connsiteX2" fmla="*/ 763143 w 1083087"/>
                  <a:gd name="connsiteY2" fmla="*/ 483108 h 680180"/>
                  <a:gd name="connsiteX3" fmla="*/ 640271 w 1083087"/>
                  <a:gd name="connsiteY3" fmla="*/ 360521 h 680180"/>
                  <a:gd name="connsiteX4" fmla="*/ 640271 w 1083087"/>
                  <a:gd name="connsiteY4" fmla="*/ 360521 h 680180"/>
                  <a:gd name="connsiteX5" fmla="*/ 640271 w 1083087"/>
                  <a:gd name="connsiteY5" fmla="*/ 0 h 680180"/>
                  <a:gd name="connsiteX6" fmla="*/ 443008 w 1083087"/>
                  <a:gd name="connsiteY6" fmla="*/ 0 h 680180"/>
                  <a:gd name="connsiteX7" fmla="*/ 443008 w 1083087"/>
                  <a:gd name="connsiteY7" fmla="*/ 360521 h 680180"/>
                  <a:gd name="connsiteX8" fmla="*/ 443008 w 1083087"/>
                  <a:gd name="connsiteY8" fmla="*/ 360521 h 680180"/>
                  <a:gd name="connsiteX9" fmla="*/ 320135 w 1083087"/>
                  <a:gd name="connsiteY9" fmla="*/ 483108 h 680180"/>
                  <a:gd name="connsiteX10" fmla="*/ 197167 w 1083087"/>
                  <a:gd name="connsiteY10" fmla="*/ 359664 h 680180"/>
                  <a:gd name="connsiteX11" fmla="*/ 197167 w 1083087"/>
                  <a:gd name="connsiteY11" fmla="*/ 359664 h 680180"/>
                  <a:gd name="connsiteX12" fmla="*/ 197167 w 1083087"/>
                  <a:gd name="connsiteY12" fmla="*/ 0 h 680180"/>
                  <a:gd name="connsiteX13" fmla="*/ 0 w 1083087"/>
                  <a:gd name="connsiteY13" fmla="*/ 0 h 680180"/>
                  <a:gd name="connsiteX14" fmla="*/ 0 w 1083087"/>
                  <a:gd name="connsiteY14" fmla="*/ 360521 h 680180"/>
                  <a:gd name="connsiteX15" fmla="*/ 95 w 1083087"/>
                  <a:gd name="connsiteY15" fmla="*/ 360521 h 680180"/>
                  <a:gd name="connsiteX16" fmla="*/ 319564 w 1083087"/>
                  <a:gd name="connsiteY16" fmla="*/ 680180 h 680180"/>
                  <a:gd name="connsiteX17" fmla="*/ 319564 w 1083087"/>
                  <a:gd name="connsiteY17" fmla="*/ 680180 h 680180"/>
                  <a:gd name="connsiteX18" fmla="*/ 320040 w 1083087"/>
                  <a:gd name="connsiteY18" fmla="*/ 680180 h 680180"/>
                  <a:gd name="connsiteX19" fmla="*/ 320612 w 1083087"/>
                  <a:gd name="connsiteY19" fmla="*/ 680180 h 680180"/>
                  <a:gd name="connsiteX20" fmla="*/ 320612 w 1083087"/>
                  <a:gd name="connsiteY20" fmla="*/ 680180 h 680180"/>
                  <a:gd name="connsiteX21" fmla="*/ 541591 w 1083087"/>
                  <a:gd name="connsiteY21" fmla="*/ 590550 h 680180"/>
                  <a:gd name="connsiteX22" fmla="*/ 762572 w 1083087"/>
                  <a:gd name="connsiteY22" fmla="*/ 680180 h 680180"/>
                  <a:gd name="connsiteX23" fmla="*/ 762572 w 1083087"/>
                  <a:gd name="connsiteY23" fmla="*/ 680180 h 680180"/>
                  <a:gd name="connsiteX24" fmla="*/ 763048 w 1083087"/>
                  <a:gd name="connsiteY24" fmla="*/ 680180 h 680180"/>
                  <a:gd name="connsiteX25" fmla="*/ 763524 w 1083087"/>
                  <a:gd name="connsiteY25" fmla="*/ 680180 h 680180"/>
                  <a:gd name="connsiteX26" fmla="*/ 763524 w 1083087"/>
                  <a:gd name="connsiteY26" fmla="*/ 680180 h 680180"/>
                  <a:gd name="connsiteX27" fmla="*/ 1082993 w 1083087"/>
                  <a:gd name="connsiteY27" fmla="*/ 360521 h 680180"/>
                  <a:gd name="connsiteX28" fmla="*/ 1083088 w 1083087"/>
                  <a:gd name="connsiteY28" fmla="*/ 360521 h 680180"/>
                  <a:gd name="connsiteX29" fmla="*/ 1083088 w 1083087"/>
                  <a:gd name="connsiteY29" fmla="*/ 0 h 680180"/>
                  <a:gd name="connsiteX30" fmla="*/ 885920 w 1083087"/>
                  <a:gd name="connsiteY30" fmla="*/ 0 h 680180"/>
                  <a:gd name="connsiteX31" fmla="*/ 886111 w 1083087"/>
                  <a:gd name="connsiteY31" fmla="*/ 359664 h 68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3087" h="680180">
                    <a:moveTo>
                      <a:pt x="886111" y="359664"/>
                    </a:moveTo>
                    <a:lnTo>
                      <a:pt x="886111" y="359664"/>
                    </a:lnTo>
                    <a:cubicBezTo>
                      <a:pt x="886111" y="427577"/>
                      <a:pt x="830961" y="482822"/>
                      <a:pt x="763143" y="483108"/>
                    </a:cubicBezTo>
                    <a:cubicBezTo>
                      <a:pt x="695611" y="482822"/>
                      <a:pt x="640747" y="428053"/>
                      <a:pt x="640271" y="360521"/>
                    </a:cubicBezTo>
                    <a:lnTo>
                      <a:pt x="640271" y="360521"/>
                    </a:lnTo>
                    <a:lnTo>
                      <a:pt x="640271" y="0"/>
                    </a:lnTo>
                    <a:lnTo>
                      <a:pt x="443008" y="0"/>
                    </a:lnTo>
                    <a:lnTo>
                      <a:pt x="443008" y="360521"/>
                    </a:lnTo>
                    <a:lnTo>
                      <a:pt x="443008" y="360521"/>
                    </a:lnTo>
                    <a:cubicBezTo>
                      <a:pt x="442531" y="428053"/>
                      <a:pt x="387668" y="482822"/>
                      <a:pt x="320135" y="483108"/>
                    </a:cubicBezTo>
                    <a:cubicBezTo>
                      <a:pt x="252317" y="482822"/>
                      <a:pt x="197167" y="427577"/>
                      <a:pt x="197167" y="359664"/>
                    </a:cubicBezTo>
                    <a:lnTo>
                      <a:pt x="197167" y="359664"/>
                    </a:lnTo>
                    <a:lnTo>
                      <a:pt x="197167" y="0"/>
                    </a:lnTo>
                    <a:lnTo>
                      <a:pt x="0" y="0"/>
                    </a:lnTo>
                    <a:lnTo>
                      <a:pt x="0" y="360521"/>
                    </a:lnTo>
                    <a:lnTo>
                      <a:pt x="95" y="360521"/>
                    </a:lnTo>
                    <a:cubicBezTo>
                      <a:pt x="571" y="536543"/>
                      <a:pt x="143637" y="679609"/>
                      <a:pt x="319564" y="680180"/>
                    </a:cubicBezTo>
                    <a:lnTo>
                      <a:pt x="319564" y="680180"/>
                    </a:lnTo>
                    <a:cubicBezTo>
                      <a:pt x="319754" y="680180"/>
                      <a:pt x="319945" y="680180"/>
                      <a:pt x="320040" y="680180"/>
                    </a:cubicBezTo>
                    <a:cubicBezTo>
                      <a:pt x="320230" y="680180"/>
                      <a:pt x="320421" y="680180"/>
                      <a:pt x="320612" y="680180"/>
                    </a:cubicBezTo>
                    <a:lnTo>
                      <a:pt x="320612" y="680180"/>
                    </a:lnTo>
                    <a:cubicBezTo>
                      <a:pt x="406337" y="679895"/>
                      <a:pt x="484156" y="645795"/>
                      <a:pt x="541591" y="590550"/>
                    </a:cubicBezTo>
                    <a:cubicBezTo>
                      <a:pt x="599027" y="645795"/>
                      <a:pt x="676847" y="679895"/>
                      <a:pt x="762572" y="680180"/>
                    </a:cubicBezTo>
                    <a:lnTo>
                      <a:pt x="762572" y="680180"/>
                    </a:lnTo>
                    <a:cubicBezTo>
                      <a:pt x="762762" y="680180"/>
                      <a:pt x="762953" y="680180"/>
                      <a:pt x="763048" y="680180"/>
                    </a:cubicBezTo>
                    <a:cubicBezTo>
                      <a:pt x="763238" y="680180"/>
                      <a:pt x="763429" y="680180"/>
                      <a:pt x="763524" y="680180"/>
                    </a:cubicBezTo>
                    <a:lnTo>
                      <a:pt x="763524" y="680180"/>
                    </a:lnTo>
                    <a:cubicBezTo>
                      <a:pt x="939546" y="679609"/>
                      <a:pt x="1082516" y="536543"/>
                      <a:pt x="1082993" y="360521"/>
                    </a:cubicBezTo>
                    <a:lnTo>
                      <a:pt x="1083088" y="360521"/>
                    </a:lnTo>
                    <a:lnTo>
                      <a:pt x="1083088" y="0"/>
                    </a:lnTo>
                    <a:lnTo>
                      <a:pt x="885920" y="0"/>
                    </a:lnTo>
                    <a:lnTo>
                      <a:pt x="886111" y="359664"/>
                    </a:lnTo>
                    <a:close/>
                  </a:path>
                </a:pathLst>
              </a:custGeom>
              <a:solidFill>
                <a:srgbClr val="003646"/>
              </a:solidFill>
              <a:ln w="9525" cap="flat">
                <a:noFill/>
                <a:prstDash val="solid"/>
                <a:miter/>
              </a:ln>
            </p:spPr>
            <p:txBody>
              <a:bodyPr rtlCol="0" anchor="ctr"/>
              <a:lstStyle/>
              <a:p>
                <a:pPr rtl="0"/>
                <a:endParaRPr lang="en-AU" dirty="0"/>
              </a:p>
            </p:txBody>
          </p:sp>
          <p:sp>
            <p:nvSpPr>
              <p:cNvPr id="138" name="Freeform: Shape 137">
                <a:extLst>
                  <a:ext uri="{FF2B5EF4-FFF2-40B4-BE49-F238E27FC236}">
                    <a16:creationId xmlns:a16="http://schemas.microsoft.com/office/drawing/2014/main" id="{EC899A46-FF19-BF84-95D0-E9D21C133AC2}"/>
                  </a:ext>
                </a:extLst>
              </p:cNvPr>
              <p:cNvSpPr/>
              <p:nvPr/>
            </p:nvSpPr>
            <p:spPr>
              <a:xfrm>
                <a:off x="7180135" y="2832258"/>
                <a:ext cx="320611" cy="946880"/>
              </a:xfrm>
              <a:custGeom>
                <a:avLst/>
                <a:gdLst>
                  <a:gd name="connsiteX0" fmla="*/ 197167 w 320611"/>
                  <a:gd name="connsiteY0" fmla="*/ 626364 h 946880"/>
                  <a:gd name="connsiteX1" fmla="*/ 197167 w 320611"/>
                  <a:gd name="connsiteY1" fmla="*/ 626364 h 946880"/>
                  <a:gd name="connsiteX2" fmla="*/ 197167 w 320611"/>
                  <a:gd name="connsiteY2" fmla="*/ 0 h 946880"/>
                  <a:gd name="connsiteX3" fmla="*/ 0 w 320611"/>
                  <a:gd name="connsiteY3" fmla="*/ 0 h 946880"/>
                  <a:gd name="connsiteX4" fmla="*/ 0 w 320611"/>
                  <a:gd name="connsiteY4" fmla="*/ 627221 h 946880"/>
                  <a:gd name="connsiteX5" fmla="*/ 95 w 320611"/>
                  <a:gd name="connsiteY5" fmla="*/ 627221 h 946880"/>
                  <a:gd name="connsiteX6" fmla="*/ 320611 w 320611"/>
                  <a:gd name="connsiteY6" fmla="*/ 946880 h 946880"/>
                  <a:gd name="connsiteX7" fmla="*/ 320611 w 320611"/>
                  <a:gd name="connsiteY7" fmla="*/ 749808 h 946880"/>
                  <a:gd name="connsiteX8" fmla="*/ 197167 w 320611"/>
                  <a:gd name="connsiteY8" fmla="*/ 626364 h 94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11" h="946880">
                    <a:moveTo>
                      <a:pt x="197167" y="626364"/>
                    </a:moveTo>
                    <a:lnTo>
                      <a:pt x="197167" y="626364"/>
                    </a:lnTo>
                    <a:lnTo>
                      <a:pt x="197167" y="0"/>
                    </a:lnTo>
                    <a:lnTo>
                      <a:pt x="0" y="0"/>
                    </a:lnTo>
                    <a:lnTo>
                      <a:pt x="0" y="627221"/>
                    </a:lnTo>
                    <a:lnTo>
                      <a:pt x="95" y="627221"/>
                    </a:lnTo>
                    <a:cubicBezTo>
                      <a:pt x="571" y="803529"/>
                      <a:pt x="144208" y="946880"/>
                      <a:pt x="320611" y="946880"/>
                    </a:cubicBezTo>
                    <a:lnTo>
                      <a:pt x="320611" y="749808"/>
                    </a:lnTo>
                    <a:cubicBezTo>
                      <a:pt x="252603" y="749808"/>
                      <a:pt x="197167" y="694468"/>
                      <a:pt x="197167" y="626364"/>
                    </a:cubicBezTo>
                    <a:close/>
                  </a:path>
                </a:pathLst>
              </a:custGeom>
              <a:solidFill>
                <a:srgbClr val="003646"/>
              </a:solidFill>
              <a:ln w="9525" cap="flat">
                <a:noFill/>
                <a:prstDash val="solid"/>
                <a:miter/>
              </a:ln>
            </p:spPr>
            <p:txBody>
              <a:bodyPr rtlCol="0" anchor="ctr"/>
              <a:lstStyle/>
              <a:p>
                <a:pPr rtl="0"/>
                <a:endParaRPr lang="en-AU" dirty="0"/>
              </a:p>
            </p:txBody>
          </p:sp>
          <p:sp>
            <p:nvSpPr>
              <p:cNvPr id="139" name="Freeform: Shape 138">
                <a:extLst>
                  <a:ext uri="{FF2B5EF4-FFF2-40B4-BE49-F238E27FC236}">
                    <a16:creationId xmlns:a16="http://schemas.microsoft.com/office/drawing/2014/main" id="{97F3CB09-0662-C778-7E13-8AC6F9219EF5}"/>
                  </a:ext>
                </a:extLst>
              </p:cNvPr>
              <p:cNvSpPr/>
              <p:nvPr/>
            </p:nvSpPr>
            <p:spPr>
              <a:xfrm>
                <a:off x="8204263" y="3082194"/>
                <a:ext cx="737806" cy="938688"/>
              </a:xfrm>
              <a:custGeom>
                <a:avLst/>
                <a:gdLst>
                  <a:gd name="connsiteX0" fmla="*/ 520541 w 737806"/>
                  <a:gd name="connsiteY0" fmla="*/ 0 h 938688"/>
                  <a:gd name="connsiteX1" fmla="*/ 368427 w 737806"/>
                  <a:gd name="connsiteY1" fmla="*/ 389001 h 938688"/>
                  <a:gd name="connsiteX2" fmla="*/ 217170 w 737806"/>
                  <a:gd name="connsiteY2" fmla="*/ 0 h 938688"/>
                  <a:gd name="connsiteX3" fmla="*/ 0 w 737806"/>
                  <a:gd name="connsiteY3" fmla="*/ 0 h 938688"/>
                  <a:gd name="connsiteX4" fmla="*/ 259556 w 737806"/>
                  <a:gd name="connsiteY4" fmla="*/ 667512 h 938688"/>
                  <a:gd name="connsiteX5" fmla="*/ 149828 w 737806"/>
                  <a:gd name="connsiteY5" fmla="*/ 742379 h 938688"/>
                  <a:gd name="connsiteX6" fmla="*/ 70389 w 737806"/>
                  <a:gd name="connsiteY6" fmla="*/ 742379 h 938688"/>
                  <a:gd name="connsiteX7" fmla="*/ 70389 w 737806"/>
                  <a:gd name="connsiteY7" fmla="*/ 938689 h 938688"/>
                  <a:gd name="connsiteX8" fmla="*/ 155067 w 737806"/>
                  <a:gd name="connsiteY8" fmla="*/ 938689 h 938688"/>
                  <a:gd name="connsiteX9" fmla="*/ 442055 w 737806"/>
                  <a:gd name="connsiteY9" fmla="*/ 743998 h 938688"/>
                  <a:gd name="connsiteX10" fmla="*/ 737806 w 737806"/>
                  <a:gd name="connsiteY10" fmla="*/ 0 h 938688"/>
                  <a:gd name="connsiteX11" fmla="*/ 520541 w 737806"/>
                  <a:gd name="connsiteY11" fmla="*/ 0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7806" h="938688">
                    <a:moveTo>
                      <a:pt x="520541" y="0"/>
                    </a:moveTo>
                    <a:lnTo>
                      <a:pt x="368427" y="389001"/>
                    </a:lnTo>
                    <a:lnTo>
                      <a:pt x="217170" y="0"/>
                    </a:lnTo>
                    <a:lnTo>
                      <a:pt x="0" y="0"/>
                    </a:lnTo>
                    <a:lnTo>
                      <a:pt x="259556" y="667512"/>
                    </a:lnTo>
                    <a:cubicBezTo>
                      <a:pt x="241839" y="712661"/>
                      <a:pt x="198310" y="742379"/>
                      <a:pt x="149828" y="742379"/>
                    </a:cubicBezTo>
                    <a:lnTo>
                      <a:pt x="70389" y="742379"/>
                    </a:lnTo>
                    <a:lnTo>
                      <a:pt x="70389" y="938689"/>
                    </a:lnTo>
                    <a:lnTo>
                      <a:pt x="155067" y="938689"/>
                    </a:lnTo>
                    <a:cubicBezTo>
                      <a:pt x="281559" y="938689"/>
                      <a:pt x="395288" y="861536"/>
                      <a:pt x="442055" y="743998"/>
                    </a:cubicBezTo>
                    <a:lnTo>
                      <a:pt x="737806" y="0"/>
                    </a:lnTo>
                    <a:lnTo>
                      <a:pt x="520541" y="0"/>
                    </a:lnTo>
                    <a:close/>
                  </a:path>
                </a:pathLst>
              </a:custGeom>
              <a:solidFill>
                <a:srgbClr val="003646"/>
              </a:solidFill>
              <a:ln w="9525" cap="flat">
                <a:noFill/>
                <a:prstDash val="solid"/>
                <a:miter/>
              </a:ln>
            </p:spPr>
            <p:txBody>
              <a:bodyPr rtlCol="0" anchor="ctr"/>
              <a:lstStyle/>
              <a:p>
                <a:pPr rtl="0"/>
                <a:endParaRPr lang="en-AU" dirty="0"/>
              </a:p>
            </p:txBody>
          </p:sp>
          <p:sp>
            <p:nvSpPr>
              <p:cNvPr id="140" name="Freeform: Shape 139">
                <a:extLst>
                  <a:ext uri="{FF2B5EF4-FFF2-40B4-BE49-F238E27FC236}">
                    <a16:creationId xmlns:a16="http://schemas.microsoft.com/office/drawing/2014/main" id="{CA33178C-4390-13B7-5A19-3B584F75E8B2}"/>
                  </a:ext>
                </a:extLst>
              </p:cNvPr>
              <p:cNvSpPr/>
              <p:nvPr/>
            </p:nvSpPr>
            <p:spPr>
              <a:xfrm>
                <a:off x="5915405" y="3074097"/>
                <a:ext cx="704850" cy="704850"/>
              </a:xfrm>
              <a:custGeom>
                <a:avLst/>
                <a:gdLst>
                  <a:gd name="connsiteX0" fmla="*/ 352425 w 704850"/>
                  <a:gd name="connsiteY0" fmla="*/ 0 h 704850"/>
                  <a:gd name="connsiteX1" fmla="*/ 0 w 704850"/>
                  <a:gd name="connsiteY1" fmla="*/ 352425 h 704850"/>
                  <a:gd name="connsiteX2" fmla="*/ 352425 w 704850"/>
                  <a:gd name="connsiteY2" fmla="*/ 704850 h 704850"/>
                  <a:gd name="connsiteX3" fmla="*/ 704850 w 704850"/>
                  <a:gd name="connsiteY3" fmla="*/ 352425 h 704850"/>
                  <a:gd name="connsiteX4" fmla="*/ 352425 w 704850"/>
                  <a:gd name="connsiteY4" fmla="*/ 0 h 704850"/>
                  <a:gd name="connsiteX5" fmla="*/ 352425 w 704850"/>
                  <a:gd name="connsiteY5" fmla="*/ 517589 h 704850"/>
                  <a:gd name="connsiteX6" fmla="*/ 187357 w 704850"/>
                  <a:gd name="connsiteY6" fmla="*/ 352520 h 704850"/>
                  <a:gd name="connsiteX7" fmla="*/ 352425 w 704850"/>
                  <a:gd name="connsiteY7" fmla="*/ 187452 h 704850"/>
                  <a:gd name="connsiteX8" fmla="*/ 517493 w 704850"/>
                  <a:gd name="connsiteY8" fmla="*/ 352520 h 704850"/>
                  <a:gd name="connsiteX9" fmla="*/ 352425 w 704850"/>
                  <a:gd name="connsiteY9" fmla="*/ 517589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850" h="704850">
                    <a:moveTo>
                      <a:pt x="352425" y="0"/>
                    </a:moveTo>
                    <a:cubicBezTo>
                      <a:pt x="157734" y="0"/>
                      <a:pt x="0" y="157829"/>
                      <a:pt x="0" y="352425"/>
                    </a:cubicBezTo>
                    <a:cubicBezTo>
                      <a:pt x="0" y="547116"/>
                      <a:pt x="157829" y="704850"/>
                      <a:pt x="352425" y="704850"/>
                    </a:cubicBezTo>
                    <a:cubicBezTo>
                      <a:pt x="547116" y="704850"/>
                      <a:pt x="704850" y="547021"/>
                      <a:pt x="704850" y="352425"/>
                    </a:cubicBezTo>
                    <a:cubicBezTo>
                      <a:pt x="704945" y="157829"/>
                      <a:pt x="547116" y="0"/>
                      <a:pt x="352425" y="0"/>
                    </a:cubicBezTo>
                    <a:close/>
                    <a:moveTo>
                      <a:pt x="352425" y="517589"/>
                    </a:moveTo>
                    <a:cubicBezTo>
                      <a:pt x="261366" y="517589"/>
                      <a:pt x="187357" y="443579"/>
                      <a:pt x="187357" y="352520"/>
                    </a:cubicBezTo>
                    <a:cubicBezTo>
                      <a:pt x="187357" y="261461"/>
                      <a:pt x="261366" y="187452"/>
                      <a:pt x="352425" y="187452"/>
                    </a:cubicBezTo>
                    <a:cubicBezTo>
                      <a:pt x="443484" y="187452"/>
                      <a:pt x="517493" y="261461"/>
                      <a:pt x="517493" y="352520"/>
                    </a:cubicBezTo>
                    <a:cubicBezTo>
                      <a:pt x="517493" y="443579"/>
                      <a:pt x="443484" y="517589"/>
                      <a:pt x="352425" y="517589"/>
                    </a:cubicBezTo>
                    <a:close/>
                  </a:path>
                </a:pathLst>
              </a:custGeom>
              <a:solidFill>
                <a:srgbClr val="003646"/>
              </a:solidFill>
              <a:ln w="9525" cap="flat">
                <a:noFill/>
                <a:prstDash val="solid"/>
                <a:miter/>
              </a:ln>
            </p:spPr>
            <p:txBody>
              <a:bodyPr rtlCol="0" anchor="ctr"/>
              <a:lstStyle/>
              <a:p>
                <a:pPr rtl="0"/>
                <a:endParaRPr lang="en-AU" dirty="0"/>
              </a:p>
            </p:txBody>
          </p:sp>
          <p:sp>
            <p:nvSpPr>
              <p:cNvPr id="141" name="Freeform: Shape 140">
                <a:extLst>
                  <a:ext uri="{FF2B5EF4-FFF2-40B4-BE49-F238E27FC236}">
                    <a16:creationId xmlns:a16="http://schemas.microsoft.com/office/drawing/2014/main" id="{626B7EF9-7003-8B4E-9F70-43E3BD25D567}"/>
                  </a:ext>
                </a:extLst>
              </p:cNvPr>
              <p:cNvSpPr/>
              <p:nvPr/>
            </p:nvSpPr>
            <p:spPr>
              <a:xfrm>
                <a:off x="7534274" y="3074193"/>
                <a:ext cx="704850" cy="704850"/>
              </a:xfrm>
              <a:custGeom>
                <a:avLst/>
                <a:gdLst>
                  <a:gd name="connsiteX0" fmla="*/ 478536 w 704850"/>
                  <a:gd name="connsiteY0" fmla="*/ 458438 h 704850"/>
                  <a:gd name="connsiteX1" fmla="*/ 352425 w 704850"/>
                  <a:gd name="connsiteY1" fmla="*/ 517493 h 704850"/>
                  <a:gd name="connsiteX2" fmla="*/ 195549 w 704850"/>
                  <a:gd name="connsiteY2" fmla="*/ 403479 h 704850"/>
                  <a:gd name="connsiteX3" fmla="*/ 284321 w 704850"/>
                  <a:gd name="connsiteY3" fmla="*/ 403479 h 704850"/>
                  <a:gd name="connsiteX4" fmla="*/ 509301 w 704850"/>
                  <a:gd name="connsiteY4" fmla="*/ 403479 h 704850"/>
                  <a:gd name="connsiteX5" fmla="*/ 701135 w 704850"/>
                  <a:gd name="connsiteY5" fmla="*/ 403479 h 704850"/>
                  <a:gd name="connsiteX6" fmla="*/ 704850 w 704850"/>
                  <a:gd name="connsiteY6" fmla="*/ 352425 h 704850"/>
                  <a:gd name="connsiteX7" fmla="*/ 352425 w 704850"/>
                  <a:gd name="connsiteY7" fmla="*/ 0 h 704850"/>
                  <a:gd name="connsiteX8" fmla="*/ 0 w 704850"/>
                  <a:gd name="connsiteY8" fmla="*/ 352425 h 704850"/>
                  <a:gd name="connsiteX9" fmla="*/ 352425 w 704850"/>
                  <a:gd name="connsiteY9" fmla="*/ 704850 h 704850"/>
                  <a:gd name="connsiteX10" fmla="*/ 688562 w 704850"/>
                  <a:gd name="connsiteY10" fmla="*/ 458438 h 704850"/>
                  <a:gd name="connsiteX11" fmla="*/ 478536 w 704850"/>
                  <a:gd name="connsiteY11" fmla="*/ 458438 h 704850"/>
                  <a:gd name="connsiteX12" fmla="*/ 352520 w 704850"/>
                  <a:gd name="connsiteY12" fmla="*/ 187262 h 704850"/>
                  <a:gd name="connsiteX13" fmla="*/ 509778 w 704850"/>
                  <a:gd name="connsiteY13" fmla="*/ 302228 h 704850"/>
                  <a:gd name="connsiteX14" fmla="*/ 195263 w 704850"/>
                  <a:gd name="connsiteY14" fmla="*/ 302228 h 704850"/>
                  <a:gd name="connsiteX15" fmla="*/ 352520 w 704850"/>
                  <a:gd name="connsiteY15" fmla="*/ 18726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4850" h="704850">
                    <a:moveTo>
                      <a:pt x="478536" y="458438"/>
                    </a:moveTo>
                    <a:cubicBezTo>
                      <a:pt x="448246" y="494443"/>
                      <a:pt x="403098" y="517493"/>
                      <a:pt x="352425" y="517493"/>
                    </a:cubicBezTo>
                    <a:cubicBezTo>
                      <a:pt x="279273" y="517493"/>
                      <a:pt x="217075" y="469583"/>
                      <a:pt x="195549" y="403479"/>
                    </a:cubicBezTo>
                    <a:lnTo>
                      <a:pt x="284321" y="403479"/>
                    </a:lnTo>
                    <a:lnTo>
                      <a:pt x="509301" y="403479"/>
                    </a:lnTo>
                    <a:lnTo>
                      <a:pt x="701135" y="403479"/>
                    </a:lnTo>
                    <a:cubicBezTo>
                      <a:pt x="703516" y="386810"/>
                      <a:pt x="704850" y="369761"/>
                      <a:pt x="704850" y="352425"/>
                    </a:cubicBezTo>
                    <a:cubicBezTo>
                      <a:pt x="704850" y="157734"/>
                      <a:pt x="547021" y="0"/>
                      <a:pt x="352425" y="0"/>
                    </a:cubicBezTo>
                    <a:cubicBezTo>
                      <a:pt x="157734" y="0"/>
                      <a:pt x="0" y="157829"/>
                      <a:pt x="0" y="352425"/>
                    </a:cubicBezTo>
                    <a:cubicBezTo>
                      <a:pt x="0" y="547116"/>
                      <a:pt x="157829" y="704850"/>
                      <a:pt x="352425" y="704850"/>
                    </a:cubicBezTo>
                    <a:cubicBezTo>
                      <a:pt x="510064" y="704850"/>
                      <a:pt x="643509" y="601218"/>
                      <a:pt x="688562" y="458438"/>
                    </a:cubicBezTo>
                    <a:lnTo>
                      <a:pt x="478536" y="458438"/>
                    </a:lnTo>
                    <a:close/>
                    <a:moveTo>
                      <a:pt x="352520" y="187262"/>
                    </a:moveTo>
                    <a:cubicBezTo>
                      <a:pt x="426053" y="187262"/>
                      <a:pt x="488442" y="235649"/>
                      <a:pt x="509778" y="302228"/>
                    </a:cubicBezTo>
                    <a:lnTo>
                      <a:pt x="195263" y="302228"/>
                    </a:lnTo>
                    <a:cubicBezTo>
                      <a:pt x="216503" y="235649"/>
                      <a:pt x="278892" y="187262"/>
                      <a:pt x="352520" y="187262"/>
                    </a:cubicBezTo>
                    <a:close/>
                  </a:path>
                </a:pathLst>
              </a:custGeom>
              <a:solidFill>
                <a:srgbClr val="003646"/>
              </a:solidFill>
              <a:ln w="9525" cap="flat">
                <a:noFill/>
                <a:prstDash val="solid"/>
                <a:miter/>
              </a:ln>
            </p:spPr>
            <p:txBody>
              <a:bodyPr rtlCol="0" anchor="ctr"/>
              <a:lstStyle/>
              <a:p>
                <a:pPr rtl="0"/>
                <a:endParaRPr lang="en-AU" dirty="0"/>
              </a:p>
            </p:txBody>
          </p:sp>
        </p:grpSp>
        <p:grpSp>
          <p:nvGrpSpPr>
            <p:cNvPr id="98" name="Graphic 2">
              <a:extLst>
                <a:ext uri="{FF2B5EF4-FFF2-40B4-BE49-F238E27FC236}">
                  <a16:creationId xmlns:a16="http://schemas.microsoft.com/office/drawing/2014/main" id="{B9EE533F-683F-862B-5A5F-1BACD411A860}"/>
                </a:ext>
              </a:extLst>
            </p:cNvPr>
            <p:cNvGrpSpPr/>
            <p:nvPr/>
          </p:nvGrpSpPr>
          <p:grpSpPr>
            <a:xfrm>
              <a:off x="3230032" y="2757677"/>
              <a:ext cx="1336243" cy="1334815"/>
              <a:chOff x="3230032" y="2757677"/>
              <a:chExt cx="1336243" cy="1334815"/>
            </a:xfrm>
          </p:grpSpPr>
          <p:sp>
            <p:nvSpPr>
              <p:cNvPr id="127" name="Freeform: Shape 126">
                <a:extLst>
                  <a:ext uri="{FF2B5EF4-FFF2-40B4-BE49-F238E27FC236}">
                    <a16:creationId xmlns:a16="http://schemas.microsoft.com/office/drawing/2014/main" id="{30A2FFF5-AD4D-5D97-8859-12026EBD8BFD}"/>
                  </a:ext>
                </a:extLst>
              </p:cNvPr>
              <p:cNvSpPr/>
              <p:nvPr/>
            </p:nvSpPr>
            <p:spPr>
              <a:xfrm>
                <a:off x="3230032" y="2881041"/>
                <a:ext cx="396066" cy="852275"/>
              </a:xfrm>
              <a:custGeom>
                <a:avLst/>
                <a:gdLst>
                  <a:gd name="connsiteX0" fmla="*/ 1609 w 396066"/>
                  <a:gd name="connsiteY0" fmla="*/ 591011 h 852275"/>
                  <a:gd name="connsiteX1" fmla="*/ 110670 w 396066"/>
                  <a:gd name="connsiteY1" fmla="*/ 176197 h 852275"/>
                  <a:gd name="connsiteX2" fmla="*/ 119719 w 396066"/>
                  <a:gd name="connsiteY2" fmla="*/ 178198 h 852275"/>
                  <a:gd name="connsiteX3" fmla="*/ 44947 w 396066"/>
                  <a:gd name="connsiteY3" fmla="*/ 445850 h 852275"/>
                  <a:gd name="connsiteX4" fmla="*/ 53425 w 396066"/>
                  <a:gd name="connsiteY4" fmla="*/ 612442 h 852275"/>
                  <a:gd name="connsiteX5" fmla="*/ 236971 w 396066"/>
                  <a:gd name="connsiteY5" fmla="*/ 551292 h 852275"/>
                  <a:gd name="connsiteX6" fmla="*/ 255926 w 396066"/>
                  <a:gd name="connsiteY6" fmla="*/ 305928 h 852275"/>
                  <a:gd name="connsiteX7" fmla="*/ 263260 w 396066"/>
                  <a:gd name="connsiteY7" fmla="*/ 16368 h 852275"/>
                  <a:gd name="connsiteX8" fmla="*/ 275929 w 396066"/>
                  <a:gd name="connsiteY8" fmla="*/ 18940 h 852275"/>
                  <a:gd name="connsiteX9" fmla="*/ 253735 w 396066"/>
                  <a:gd name="connsiteY9" fmla="*/ 132001 h 852275"/>
                  <a:gd name="connsiteX10" fmla="*/ 359082 w 396066"/>
                  <a:gd name="connsiteY10" fmla="*/ 247825 h 852275"/>
                  <a:gd name="connsiteX11" fmla="*/ 359368 w 396066"/>
                  <a:gd name="connsiteY11" fmla="*/ 530908 h 852275"/>
                  <a:gd name="connsiteX12" fmla="*/ 165725 w 396066"/>
                  <a:gd name="connsiteY12" fmla="*/ 852187 h 852275"/>
                  <a:gd name="connsiteX13" fmla="*/ 1609 w 396066"/>
                  <a:gd name="connsiteY13" fmla="*/ 591011 h 85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66" h="852275">
                    <a:moveTo>
                      <a:pt x="1609" y="591011"/>
                    </a:moveTo>
                    <a:cubicBezTo>
                      <a:pt x="-13346" y="380318"/>
                      <a:pt x="80095" y="219631"/>
                      <a:pt x="110670" y="176197"/>
                    </a:cubicBezTo>
                    <a:cubicBezTo>
                      <a:pt x="120766" y="161815"/>
                      <a:pt x="120766" y="173530"/>
                      <a:pt x="119719" y="178198"/>
                    </a:cubicBezTo>
                    <a:cubicBezTo>
                      <a:pt x="100478" y="268876"/>
                      <a:pt x="59140" y="353934"/>
                      <a:pt x="44947" y="445850"/>
                    </a:cubicBezTo>
                    <a:cubicBezTo>
                      <a:pt x="36089" y="503476"/>
                      <a:pt x="39137" y="564246"/>
                      <a:pt x="53425" y="612442"/>
                    </a:cubicBezTo>
                    <a:cubicBezTo>
                      <a:pt x="121529" y="842947"/>
                      <a:pt x="202396" y="638541"/>
                      <a:pt x="236971" y="551292"/>
                    </a:cubicBezTo>
                    <a:cubicBezTo>
                      <a:pt x="309361" y="368317"/>
                      <a:pt x="291550" y="347457"/>
                      <a:pt x="255926" y="305928"/>
                    </a:cubicBezTo>
                    <a:cubicBezTo>
                      <a:pt x="141150" y="172006"/>
                      <a:pt x="224208" y="60088"/>
                      <a:pt x="263260" y="16368"/>
                    </a:cubicBezTo>
                    <a:cubicBezTo>
                      <a:pt x="294788" y="-18875"/>
                      <a:pt x="278500" y="12844"/>
                      <a:pt x="275929" y="18940"/>
                    </a:cubicBezTo>
                    <a:cubicBezTo>
                      <a:pt x="250592" y="78090"/>
                      <a:pt x="247639" y="111808"/>
                      <a:pt x="253735" y="132001"/>
                    </a:cubicBezTo>
                    <a:cubicBezTo>
                      <a:pt x="270595" y="188199"/>
                      <a:pt x="324506" y="208773"/>
                      <a:pt x="359082" y="247825"/>
                    </a:cubicBezTo>
                    <a:cubicBezTo>
                      <a:pt x="425757" y="323359"/>
                      <a:pt x="387371" y="443374"/>
                      <a:pt x="359368" y="530908"/>
                    </a:cubicBezTo>
                    <a:cubicBezTo>
                      <a:pt x="327935" y="629302"/>
                      <a:pt x="246020" y="857425"/>
                      <a:pt x="165725" y="852187"/>
                    </a:cubicBezTo>
                    <a:cubicBezTo>
                      <a:pt x="74761" y="846376"/>
                      <a:pt x="9038" y="696167"/>
                      <a:pt x="1609" y="591011"/>
                    </a:cubicBezTo>
                    <a:close/>
                  </a:path>
                </a:pathLst>
              </a:custGeom>
              <a:solidFill>
                <a:srgbClr val="F43A4F"/>
              </a:solidFill>
              <a:ln w="9525" cap="flat">
                <a:noFill/>
                <a:prstDash val="solid"/>
                <a:miter/>
              </a:ln>
            </p:spPr>
            <p:txBody>
              <a:bodyPr rtlCol="0" anchor="ctr"/>
              <a:lstStyle/>
              <a:p>
                <a:pPr rtl="0"/>
                <a:endParaRPr lang="en-AU" dirty="0"/>
              </a:p>
            </p:txBody>
          </p:sp>
          <p:sp>
            <p:nvSpPr>
              <p:cNvPr id="128" name="Freeform: Shape 127">
                <a:extLst>
                  <a:ext uri="{FF2B5EF4-FFF2-40B4-BE49-F238E27FC236}">
                    <a16:creationId xmlns:a16="http://schemas.microsoft.com/office/drawing/2014/main" id="{9745D2E8-4F28-112E-BA3D-7CEA9718EAE3}"/>
                  </a:ext>
                </a:extLst>
              </p:cNvPr>
              <p:cNvSpPr/>
              <p:nvPr/>
            </p:nvSpPr>
            <p:spPr>
              <a:xfrm>
                <a:off x="3581664" y="2786825"/>
                <a:ext cx="783743" cy="564170"/>
              </a:xfrm>
              <a:custGeom>
                <a:avLst/>
                <a:gdLst>
                  <a:gd name="connsiteX0" fmla="*/ 471603 w 783743"/>
                  <a:gd name="connsiteY0" fmla="*/ 563688 h 564170"/>
                  <a:gd name="connsiteX1" fmla="*/ 783166 w 783743"/>
                  <a:gd name="connsiteY1" fmla="*/ 381570 h 564170"/>
                  <a:gd name="connsiteX2" fmla="*/ 542088 w 783743"/>
                  <a:gd name="connsiteY2" fmla="*/ 11429 h 564170"/>
                  <a:gd name="connsiteX3" fmla="*/ 525705 w 783743"/>
                  <a:gd name="connsiteY3" fmla="*/ 15524 h 564170"/>
                  <a:gd name="connsiteX4" fmla="*/ 658198 w 783743"/>
                  <a:gd name="connsiteY4" fmla="*/ 194785 h 564170"/>
                  <a:gd name="connsiteX5" fmla="*/ 682201 w 783743"/>
                  <a:gd name="connsiteY5" fmla="*/ 348423 h 564170"/>
                  <a:gd name="connsiteX6" fmla="*/ 370638 w 783743"/>
                  <a:gd name="connsiteY6" fmla="*/ 419956 h 564170"/>
                  <a:gd name="connsiteX7" fmla="*/ 47550 w 783743"/>
                  <a:gd name="connsiteY7" fmla="*/ 49148 h 564170"/>
                  <a:gd name="connsiteX8" fmla="*/ 48789 w 783743"/>
                  <a:gd name="connsiteY8" fmla="*/ 33431 h 564170"/>
                  <a:gd name="connsiteX9" fmla="*/ 44407 w 783743"/>
                  <a:gd name="connsiteY9" fmla="*/ 27526 h 564170"/>
                  <a:gd name="connsiteX10" fmla="*/ 156802 w 783743"/>
                  <a:gd name="connsiteY10" fmla="*/ 407573 h 564170"/>
                  <a:gd name="connsiteX11" fmla="*/ 471603 w 783743"/>
                  <a:gd name="connsiteY11" fmla="*/ 563688 h 5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743" h="564170">
                    <a:moveTo>
                      <a:pt x="471603" y="563688"/>
                    </a:moveTo>
                    <a:cubicBezTo>
                      <a:pt x="583522" y="559021"/>
                      <a:pt x="772689" y="529208"/>
                      <a:pt x="783166" y="381570"/>
                    </a:cubicBezTo>
                    <a:cubicBezTo>
                      <a:pt x="795358" y="209263"/>
                      <a:pt x="611335" y="53910"/>
                      <a:pt x="542088" y="11429"/>
                    </a:cubicBezTo>
                    <a:cubicBezTo>
                      <a:pt x="501417" y="-13527"/>
                      <a:pt x="518276" y="9238"/>
                      <a:pt x="525705" y="15524"/>
                    </a:cubicBezTo>
                    <a:cubicBezTo>
                      <a:pt x="614859" y="91153"/>
                      <a:pt x="643339" y="164876"/>
                      <a:pt x="658198" y="194785"/>
                    </a:cubicBezTo>
                    <a:cubicBezTo>
                      <a:pt x="678201" y="235076"/>
                      <a:pt x="698679" y="294416"/>
                      <a:pt x="682201" y="348423"/>
                    </a:cubicBezTo>
                    <a:cubicBezTo>
                      <a:pt x="659341" y="423480"/>
                      <a:pt x="467031" y="438053"/>
                      <a:pt x="370638" y="419956"/>
                    </a:cubicBezTo>
                    <a:cubicBezTo>
                      <a:pt x="272436" y="401573"/>
                      <a:pt x="43550" y="186689"/>
                      <a:pt x="47550" y="49148"/>
                    </a:cubicBezTo>
                    <a:cubicBezTo>
                      <a:pt x="47741" y="42385"/>
                      <a:pt x="48503" y="37622"/>
                      <a:pt x="48789" y="33431"/>
                    </a:cubicBezTo>
                    <a:cubicBezTo>
                      <a:pt x="49170" y="27716"/>
                      <a:pt x="47265" y="26669"/>
                      <a:pt x="44407" y="27526"/>
                    </a:cubicBezTo>
                    <a:cubicBezTo>
                      <a:pt x="41550" y="29145"/>
                      <a:pt x="-107421" y="103916"/>
                      <a:pt x="156802" y="407573"/>
                    </a:cubicBezTo>
                    <a:cubicBezTo>
                      <a:pt x="254910" y="518159"/>
                      <a:pt x="327014" y="569784"/>
                      <a:pt x="471603" y="563688"/>
                    </a:cubicBezTo>
                    <a:close/>
                  </a:path>
                </a:pathLst>
              </a:custGeom>
              <a:solidFill>
                <a:srgbClr val="F43A4F"/>
              </a:solidFill>
              <a:ln w="9525" cap="flat">
                <a:noFill/>
                <a:prstDash val="solid"/>
                <a:miter/>
              </a:ln>
            </p:spPr>
            <p:txBody>
              <a:bodyPr rtlCol="0" anchor="ctr"/>
              <a:lstStyle/>
              <a:p>
                <a:pPr rtl="0"/>
                <a:endParaRPr lang="en-AU" dirty="0"/>
              </a:p>
            </p:txBody>
          </p:sp>
          <p:sp>
            <p:nvSpPr>
              <p:cNvPr id="129" name="Freeform: Shape 128">
                <a:extLst>
                  <a:ext uri="{FF2B5EF4-FFF2-40B4-BE49-F238E27FC236}">
                    <a16:creationId xmlns:a16="http://schemas.microsoft.com/office/drawing/2014/main" id="{00F01EC0-1DE4-934F-BFE6-01C64AF07808}"/>
                  </a:ext>
                </a:extLst>
              </p:cNvPr>
              <p:cNvSpPr/>
              <p:nvPr/>
            </p:nvSpPr>
            <p:spPr>
              <a:xfrm>
                <a:off x="3813206" y="2757677"/>
                <a:ext cx="177799" cy="158975"/>
              </a:xfrm>
              <a:custGeom>
                <a:avLst/>
                <a:gdLst>
                  <a:gd name="connsiteX0" fmla="*/ 29940 w 177799"/>
                  <a:gd name="connsiteY0" fmla="*/ 30194 h 158975"/>
                  <a:gd name="connsiteX1" fmla="*/ 72707 w 177799"/>
                  <a:gd name="connsiteY1" fmla="*/ 59436 h 158975"/>
                  <a:gd name="connsiteX2" fmla="*/ 161576 w 177799"/>
                  <a:gd name="connsiteY2" fmla="*/ 155162 h 158975"/>
                  <a:gd name="connsiteX3" fmla="*/ 163290 w 177799"/>
                  <a:gd name="connsiteY3" fmla="*/ 156877 h 158975"/>
                  <a:gd name="connsiteX4" fmla="*/ 177482 w 177799"/>
                  <a:gd name="connsiteY4" fmla="*/ 152972 h 158975"/>
                  <a:gd name="connsiteX5" fmla="*/ 39751 w 177799"/>
                  <a:gd name="connsiteY5" fmla="*/ 0 h 158975"/>
                  <a:gd name="connsiteX6" fmla="*/ 508 w 177799"/>
                  <a:gd name="connsiteY6" fmla="*/ 9811 h 158975"/>
                  <a:gd name="connsiteX7" fmla="*/ 29940 w 177799"/>
                  <a:gd name="connsiteY7" fmla="*/ 30194 h 1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99" h="158975">
                    <a:moveTo>
                      <a:pt x="29940" y="30194"/>
                    </a:moveTo>
                    <a:cubicBezTo>
                      <a:pt x="45466" y="39719"/>
                      <a:pt x="57753" y="47244"/>
                      <a:pt x="72707" y="59436"/>
                    </a:cubicBezTo>
                    <a:cubicBezTo>
                      <a:pt x="103854" y="84868"/>
                      <a:pt x="134525" y="122206"/>
                      <a:pt x="161576" y="155162"/>
                    </a:cubicBezTo>
                    <a:cubicBezTo>
                      <a:pt x="162052" y="155734"/>
                      <a:pt x="162719" y="156401"/>
                      <a:pt x="163290" y="156877"/>
                    </a:cubicBezTo>
                    <a:cubicBezTo>
                      <a:pt x="167672" y="160401"/>
                      <a:pt x="176625" y="159734"/>
                      <a:pt x="177482" y="152972"/>
                    </a:cubicBezTo>
                    <a:cubicBezTo>
                      <a:pt x="181483" y="121539"/>
                      <a:pt x="148241" y="-95"/>
                      <a:pt x="39751" y="0"/>
                    </a:cubicBezTo>
                    <a:cubicBezTo>
                      <a:pt x="-5302" y="381"/>
                      <a:pt x="-159" y="8858"/>
                      <a:pt x="508" y="9811"/>
                    </a:cubicBezTo>
                    <a:cubicBezTo>
                      <a:pt x="1270" y="10859"/>
                      <a:pt x="5747" y="15335"/>
                      <a:pt x="29940" y="30194"/>
                    </a:cubicBezTo>
                    <a:close/>
                  </a:path>
                </a:pathLst>
              </a:custGeom>
              <a:solidFill>
                <a:srgbClr val="F43A4F"/>
              </a:solidFill>
              <a:ln w="9525" cap="flat">
                <a:noFill/>
                <a:prstDash val="solid"/>
                <a:miter/>
              </a:ln>
            </p:spPr>
            <p:txBody>
              <a:bodyPr rtlCol="0" anchor="ctr"/>
              <a:lstStyle/>
              <a:p>
                <a:pPr rtl="0"/>
                <a:endParaRPr lang="en-AU" dirty="0"/>
              </a:p>
            </p:txBody>
          </p:sp>
          <p:sp>
            <p:nvSpPr>
              <p:cNvPr id="130" name="Freeform: Shape 129">
                <a:extLst>
                  <a:ext uri="{FF2B5EF4-FFF2-40B4-BE49-F238E27FC236}">
                    <a16:creationId xmlns:a16="http://schemas.microsoft.com/office/drawing/2014/main" id="{7FC8622D-9506-7340-CA5D-3780A721C8E9}"/>
                  </a:ext>
                </a:extLst>
              </p:cNvPr>
              <p:cNvSpPr/>
              <p:nvPr/>
            </p:nvSpPr>
            <p:spPr>
              <a:xfrm>
                <a:off x="3712289" y="3706451"/>
                <a:ext cx="791421" cy="368589"/>
              </a:xfrm>
              <a:custGeom>
                <a:avLst/>
                <a:gdLst>
                  <a:gd name="connsiteX0" fmla="*/ 786558 w 791421"/>
                  <a:gd name="connsiteY0" fmla="*/ 1249 h 368589"/>
                  <a:gd name="connsiteX1" fmla="*/ 751506 w 791421"/>
                  <a:gd name="connsiteY1" fmla="*/ 34015 h 368589"/>
                  <a:gd name="connsiteX2" fmla="*/ 586343 w 791421"/>
                  <a:gd name="connsiteY2" fmla="*/ 141743 h 368589"/>
                  <a:gd name="connsiteX3" fmla="*/ 567388 w 791421"/>
                  <a:gd name="connsiteY3" fmla="*/ 149172 h 368589"/>
                  <a:gd name="connsiteX4" fmla="*/ 329073 w 791421"/>
                  <a:gd name="connsiteY4" fmla="*/ 166889 h 368589"/>
                  <a:gd name="connsiteX5" fmla="*/ 128857 w 791421"/>
                  <a:gd name="connsiteY5" fmla="*/ 234707 h 368589"/>
                  <a:gd name="connsiteX6" fmla="*/ 3032 w 791421"/>
                  <a:gd name="connsiteY6" fmla="*/ 355579 h 368589"/>
                  <a:gd name="connsiteX7" fmla="*/ 1698 w 791421"/>
                  <a:gd name="connsiteY7" fmla="*/ 361580 h 368589"/>
                  <a:gd name="connsiteX8" fmla="*/ 216106 w 791421"/>
                  <a:gd name="connsiteY8" fmla="*/ 278427 h 368589"/>
                  <a:gd name="connsiteX9" fmla="*/ 327263 w 791421"/>
                  <a:gd name="connsiteY9" fmla="*/ 264520 h 368589"/>
                  <a:gd name="connsiteX10" fmla="*/ 551100 w 791421"/>
                  <a:gd name="connsiteY10" fmla="*/ 226516 h 368589"/>
                  <a:gd name="connsiteX11" fmla="*/ 785701 w 791421"/>
                  <a:gd name="connsiteY11" fmla="*/ 18871 h 368589"/>
                  <a:gd name="connsiteX12" fmla="*/ 786558 w 791421"/>
                  <a:gd name="connsiteY12" fmla="*/ 1249 h 36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421" h="368589">
                    <a:moveTo>
                      <a:pt x="786558" y="1249"/>
                    </a:moveTo>
                    <a:cubicBezTo>
                      <a:pt x="778081" y="6869"/>
                      <a:pt x="761793" y="23919"/>
                      <a:pt x="751506" y="34015"/>
                    </a:cubicBezTo>
                    <a:cubicBezTo>
                      <a:pt x="745029" y="40397"/>
                      <a:pt x="684546" y="98595"/>
                      <a:pt x="586343" y="141743"/>
                    </a:cubicBezTo>
                    <a:cubicBezTo>
                      <a:pt x="580152" y="144505"/>
                      <a:pt x="573770" y="146887"/>
                      <a:pt x="567388" y="149172"/>
                    </a:cubicBezTo>
                    <a:cubicBezTo>
                      <a:pt x="530241" y="162603"/>
                      <a:pt x="528621" y="162603"/>
                      <a:pt x="329073" y="166889"/>
                    </a:cubicBezTo>
                    <a:cubicBezTo>
                      <a:pt x="292020" y="167651"/>
                      <a:pt x="205438" y="169556"/>
                      <a:pt x="128857" y="234707"/>
                    </a:cubicBezTo>
                    <a:cubicBezTo>
                      <a:pt x="86376" y="270807"/>
                      <a:pt x="75517" y="351865"/>
                      <a:pt x="3032" y="355579"/>
                    </a:cubicBezTo>
                    <a:cubicBezTo>
                      <a:pt x="-207" y="355770"/>
                      <a:pt x="-1159" y="360056"/>
                      <a:pt x="1698" y="361580"/>
                    </a:cubicBezTo>
                    <a:cubicBezTo>
                      <a:pt x="67040" y="394917"/>
                      <a:pt x="165433" y="299667"/>
                      <a:pt x="216106" y="278427"/>
                    </a:cubicBezTo>
                    <a:cubicBezTo>
                      <a:pt x="248586" y="264806"/>
                      <a:pt x="282686" y="264044"/>
                      <a:pt x="327263" y="264520"/>
                    </a:cubicBezTo>
                    <a:cubicBezTo>
                      <a:pt x="385175" y="265092"/>
                      <a:pt x="472710" y="265949"/>
                      <a:pt x="551100" y="226516"/>
                    </a:cubicBezTo>
                    <a:cubicBezTo>
                      <a:pt x="591772" y="206037"/>
                      <a:pt x="700548" y="152887"/>
                      <a:pt x="785701" y="18871"/>
                    </a:cubicBezTo>
                    <a:cubicBezTo>
                      <a:pt x="791035" y="10298"/>
                      <a:pt x="794940" y="-4371"/>
                      <a:pt x="786558" y="1249"/>
                    </a:cubicBezTo>
                    <a:close/>
                  </a:path>
                </a:pathLst>
              </a:custGeom>
              <a:solidFill>
                <a:srgbClr val="29C8C1"/>
              </a:solidFill>
              <a:ln w="9525" cap="flat">
                <a:noFill/>
                <a:prstDash val="solid"/>
                <a:miter/>
              </a:ln>
            </p:spPr>
            <p:txBody>
              <a:bodyPr rtlCol="0" anchor="ctr"/>
              <a:lstStyle/>
              <a:p>
                <a:pPr rtl="0"/>
                <a:endParaRPr lang="en-AU" dirty="0"/>
              </a:p>
            </p:txBody>
          </p:sp>
          <p:sp>
            <p:nvSpPr>
              <p:cNvPr id="131" name="Freeform: Shape 130">
                <a:extLst>
                  <a:ext uri="{FF2B5EF4-FFF2-40B4-BE49-F238E27FC236}">
                    <a16:creationId xmlns:a16="http://schemas.microsoft.com/office/drawing/2014/main" id="{370A55E3-8BB7-CBA3-9281-A3F583477079}"/>
                  </a:ext>
                </a:extLst>
              </p:cNvPr>
              <p:cNvSpPr/>
              <p:nvPr/>
            </p:nvSpPr>
            <p:spPr>
              <a:xfrm>
                <a:off x="3884038" y="4026157"/>
                <a:ext cx="276288" cy="66336"/>
              </a:xfrm>
              <a:custGeom>
                <a:avLst/>
                <a:gdLst>
                  <a:gd name="connsiteX0" fmla="*/ 80456 w 276288"/>
                  <a:gd name="connsiteY0" fmla="*/ 3775 h 66336"/>
                  <a:gd name="connsiteX1" fmla="*/ 65 w 276288"/>
                  <a:gd name="connsiteY1" fmla="*/ 59210 h 66336"/>
                  <a:gd name="connsiteX2" fmla="*/ 3018 w 276288"/>
                  <a:gd name="connsiteY2" fmla="*/ 63496 h 66336"/>
                  <a:gd name="connsiteX3" fmla="*/ 275814 w 276288"/>
                  <a:gd name="connsiteY3" fmla="*/ 9109 h 66336"/>
                  <a:gd name="connsiteX4" fmla="*/ 274004 w 276288"/>
                  <a:gd name="connsiteY4" fmla="*/ 5299 h 66336"/>
                  <a:gd name="connsiteX5" fmla="*/ 80456 w 276288"/>
                  <a:gd name="connsiteY5" fmla="*/ 3775 h 6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88" h="66336">
                    <a:moveTo>
                      <a:pt x="80456" y="3775"/>
                    </a:moveTo>
                    <a:cubicBezTo>
                      <a:pt x="16734" y="16443"/>
                      <a:pt x="2446" y="47113"/>
                      <a:pt x="65" y="59210"/>
                    </a:cubicBezTo>
                    <a:cubicBezTo>
                      <a:pt x="-316" y="61210"/>
                      <a:pt x="1018" y="63211"/>
                      <a:pt x="3018" y="63496"/>
                    </a:cubicBezTo>
                    <a:cubicBezTo>
                      <a:pt x="113889" y="79022"/>
                      <a:pt x="262288" y="26635"/>
                      <a:pt x="275814" y="9109"/>
                    </a:cubicBezTo>
                    <a:cubicBezTo>
                      <a:pt x="276957" y="7585"/>
                      <a:pt x="275909" y="5394"/>
                      <a:pt x="274004" y="5299"/>
                    </a:cubicBezTo>
                    <a:cubicBezTo>
                      <a:pt x="248953" y="3298"/>
                      <a:pt x="122366" y="-4607"/>
                      <a:pt x="80456" y="3775"/>
                    </a:cubicBezTo>
                    <a:close/>
                  </a:path>
                </a:pathLst>
              </a:custGeom>
              <a:solidFill>
                <a:srgbClr val="29C8C1"/>
              </a:solidFill>
              <a:ln w="9525" cap="flat">
                <a:noFill/>
                <a:prstDash val="solid"/>
                <a:miter/>
              </a:ln>
            </p:spPr>
            <p:txBody>
              <a:bodyPr rtlCol="0" anchor="ctr"/>
              <a:lstStyle/>
              <a:p>
                <a:pPr rtl="0"/>
                <a:endParaRPr lang="en-AU" dirty="0"/>
              </a:p>
            </p:txBody>
          </p:sp>
          <p:sp>
            <p:nvSpPr>
              <p:cNvPr id="132" name="Freeform: Shape 131">
                <a:extLst>
                  <a:ext uri="{FF2B5EF4-FFF2-40B4-BE49-F238E27FC236}">
                    <a16:creationId xmlns:a16="http://schemas.microsoft.com/office/drawing/2014/main" id="{1729B4EE-C4E1-4470-61B5-F7B26BA8407A}"/>
                  </a:ext>
                </a:extLst>
              </p:cNvPr>
              <p:cNvSpPr/>
              <p:nvPr/>
            </p:nvSpPr>
            <p:spPr>
              <a:xfrm>
                <a:off x="3321488" y="2909703"/>
                <a:ext cx="1180188" cy="1004841"/>
              </a:xfrm>
              <a:custGeom>
                <a:avLst/>
                <a:gdLst>
                  <a:gd name="connsiteX0" fmla="*/ 257529 w 1180188"/>
                  <a:gd name="connsiteY0" fmla="*/ 981735 h 1004841"/>
                  <a:gd name="connsiteX1" fmla="*/ 362495 w 1180188"/>
                  <a:gd name="connsiteY1" fmla="*/ 822096 h 1004841"/>
                  <a:gd name="connsiteX2" fmla="*/ 507942 w 1180188"/>
                  <a:gd name="connsiteY2" fmla="*/ 623880 h 1004841"/>
                  <a:gd name="connsiteX3" fmla="*/ 852366 w 1180188"/>
                  <a:gd name="connsiteY3" fmla="*/ 671791 h 1004841"/>
                  <a:gd name="connsiteX4" fmla="*/ 1116113 w 1180188"/>
                  <a:gd name="connsiteY4" fmla="*/ 521677 h 1004841"/>
                  <a:gd name="connsiteX5" fmla="*/ 1005623 w 1180188"/>
                  <a:gd name="connsiteY5" fmla="*/ 850 h 1004841"/>
                  <a:gd name="connsiteX6" fmla="*/ 1001242 w 1180188"/>
                  <a:gd name="connsiteY6" fmla="*/ 10280 h 1004841"/>
                  <a:gd name="connsiteX7" fmla="*/ 1011147 w 1180188"/>
                  <a:gd name="connsiteY7" fmla="*/ 21900 h 1004841"/>
                  <a:gd name="connsiteX8" fmla="*/ 722921 w 1180188"/>
                  <a:gd name="connsiteY8" fmla="*/ 530345 h 1004841"/>
                  <a:gd name="connsiteX9" fmla="*/ 429456 w 1180188"/>
                  <a:gd name="connsiteY9" fmla="*/ 475957 h 1004841"/>
                  <a:gd name="connsiteX10" fmla="*/ 265435 w 1180188"/>
                  <a:gd name="connsiteY10" fmla="*/ 730846 h 1004841"/>
                  <a:gd name="connsiteX11" fmla="*/ 112654 w 1180188"/>
                  <a:gd name="connsiteY11" fmla="*/ 909726 h 1004841"/>
                  <a:gd name="connsiteX12" fmla="*/ 5784 w 1180188"/>
                  <a:gd name="connsiteY12" fmla="*/ 844384 h 1004841"/>
                  <a:gd name="connsiteX13" fmla="*/ 2640 w 1180188"/>
                  <a:gd name="connsiteY13" fmla="*/ 856576 h 1004841"/>
                  <a:gd name="connsiteX14" fmla="*/ 138562 w 1180188"/>
                  <a:gd name="connsiteY14" fmla="*/ 992974 h 1004841"/>
                  <a:gd name="connsiteX15" fmla="*/ 257529 w 1180188"/>
                  <a:gd name="connsiteY15" fmla="*/ 981735 h 100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188" h="1004841">
                    <a:moveTo>
                      <a:pt x="257529" y="981735"/>
                    </a:moveTo>
                    <a:cubicBezTo>
                      <a:pt x="299058" y="954874"/>
                      <a:pt x="343159" y="887723"/>
                      <a:pt x="362495" y="822096"/>
                    </a:cubicBezTo>
                    <a:cubicBezTo>
                      <a:pt x="399642" y="696080"/>
                      <a:pt x="447267" y="631215"/>
                      <a:pt x="507942" y="623880"/>
                    </a:cubicBezTo>
                    <a:cubicBezTo>
                      <a:pt x="627480" y="609402"/>
                      <a:pt x="731970" y="691984"/>
                      <a:pt x="852366" y="671791"/>
                    </a:cubicBezTo>
                    <a:cubicBezTo>
                      <a:pt x="1003337" y="646455"/>
                      <a:pt x="1082395" y="566826"/>
                      <a:pt x="1116113" y="521677"/>
                    </a:cubicBezTo>
                    <a:cubicBezTo>
                      <a:pt x="1290801" y="287648"/>
                      <a:pt x="1058677" y="42379"/>
                      <a:pt x="1005623" y="850"/>
                    </a:cubicBezTo>
                    <a:cubicBezTo>
                      <a:pt x="1001242" y="-2579"/>
                      <a:pt x="997050" y="5136"/>
                      <a:pt x="1001242" y="10280"/>
                    </a:cubicBezTo>
                    <a:cubicBezTo>
                      <a:pt x="1005909" y="16090"/>
                      <a:pt x="1008862" y="19043"/>
                      <a:pt x="1011147" y="21900"/>
                    </a:cubicBezTo>
                    <a:cubicBezTo>
                      <a:pt x="1313947" y="397662"/>
                      <a:pt x="985335" y="550824"/>
                      <a:pt x="722921" y="530345"/>
                    </a:cubicBezTo>
                    <a:cubicBezTo>
                      <a:pt x="623004" y="522534"/>
                      <a:pt x="538898" y="436238"/>
                      <a:pt x="429456" y="475957"/>
                    </a:cubicBezTo>
                    <a:cubicBezTo>
                      <a:pt x="339159" y="508723"/>
                      <a:pt x="289343" y="658742"/>
                      <a:pt x="265435" y="730846"/>
                    </a:cubicBezTo>
                    <a:cubicBezTo>
                      <a:pt x="227430" y="845146"/>
                      <a:pt x="200094" y="927823"/>
                      <a:pt x="112654" y="909726"/>
                    </a:cubicBezTo>
                    <a:cubicBezTo>
                      <a:pt x="111416" y="909440"/>
                      <a:pt x="59124" y="899820"/>
                      <a:pt x="5784" y="844384"/>
                    </a:cubicBezTo>
                    <a:cubicBezTo>
                      <a:pt x="2259" y="840669"/>
                      <a:pt x="-3360" y="846956"/>
                      <a:pt x="2640" y="856576"/>
                    </a:cubicBezTo>
                    <a:cubicBezTo>
                      <a:pt x="22548" y="888485"/>
                      <a:pt x="48932" y="943635"/>
                      <a:pt x="138562" y="992974"/>
                    </a:cubicBezTo>
                    <a:cubicBezTo>
                      <a:pt x="177996" y="1014691"/>
                      <a:pt x="223144" y="1004023"/>
                      <a:pt x="257529" y="981735"/>
                    </a:cubicBezTo>
                    <a:close/>
                  </a:path>
                </a:pathLst>
              </a:custGeom>
              <a:solidFill>
                <a:srgbClr val="29C8C1"/>
              </a:solidFill>
              <a:ln w="9525" cap="flat">
                <a:noFill/>
                <a:prstDash val="solid"/>
                <a:miter/>
              </a:ln>
            </p:spPr>
            <p:txBody>
              <a:bodyPr rtlCol="0" anchor="ctr"/>
              <a:lstStyle/>
              <a:p>
                <a:pPr rtl="0"/>
                <a:endParaRPr lang="en-AU" dirty="0"/>
              </a:p>
            </p:txBody>
          </p:sp>
          <p:sp>
            <p:nvSpPr>
              <p:cNvPr id="133" name="Freeform: Shape 132">
                <a:extLst>
                  <a:ext uri="{FF2B5EF4-FFF2-40B4-BE49-F238E27FC236}">
                    <a16:creationId xmlns:a16="http://schemas.microsoft.com/office/drawing/2014/main" id="{433DA238-480F-8D8D-46DD-6C06A341DB45}"/>
                  </a:ext>
                </a:extLst>
              </p:cNvPr>
              <p:cNvSpPr/>
              <p:nvPr/>
            </p:nvSpPr>
            <p:spPr>
              <a:xfrm>
                <a:off x="3512561" y="3337928"/>
                <a:ext cx="1053714" cy="683566"/>
              </a:xfrm>
              <a:custGeom>
                <a:avLst/>
                <a:gdLst>
                  <a:gd name="connsiteX0" fmla="*/ 444218 w 1053714"/>
                  <a:gd name="connsiteY0" fmla="*/ 434543 h 683566"/>
                  <a:gd name="connsiteX1" fmla="*/ 631289 w 1053714"/>
                  <a:gd name="connsiteY1" fmla="*/ 463785 h 683566"/>
                  <a:gd name="connsiteX2" fmla="*/ 809692 w 1053714"/>
                  <a:gd name="connsiteY2" fmla="*/ 421684 h 683566"/>
                  <a:gd name="connsiteX3" fmla="*/ 842649 w 1053714"/>
                  <a:gd name="connsiteY3" fmla="*/ 405206 h 683566"/>
                  <a:gd name="connsiteX4" fmla="*/ 1051532 w 1053714"/>
                  <a:gd name="connsiteY4" fmla="*/ 5918 h 683566"/>
                  <a:gd name="connsiteX5" fmla="*/ 1038292 w 1053714"/>
                  <a:gd name="connsiteY5" fmla="*/ 23444 h 683566"/>
                  <a:gd name="connsiteX6" fmla="*/ 860079 w 1053714"/>
                  <a:gd name="connsiteY6" fmla="*/ 293668 h 683566"/>
                  <a:gd name="connsiteX7" fmla="*/ 653196 w 1053714"/>
                  <a:gd name="connsiteY7" fmla="*/ 345675 h 683566"/>
                  <a:gd name="connsiteX8" fmla="*/ 437360 w 1053714"/>
                  <a:gd name="connsiteY8" fmla="*/ 311480 h 683566"/>
                  <a:gd name="connsiteX9" fmla="*/ 200949 w 1053714"/>
                  <a:gd name="connsiteY9" fmla="*/ 513791 h 683566"/>
                  <a:gd name="connsiteX10" fmla="*/ 122178 w 1053714"/>
                  <a:gd name="connsiteY10" fmla="*/ 633520 h 683566"/>
                  <a:gd name="connsiteX11" fmla="*/ 3687 w 1053714"/>
                  <a:gd name="connsiteY11" fmla="*/ 625424 h 683566"/>
                  <a:gd name="connsiteX12" fmla="*/ 6544 w 1053714"/>
                  <a:gd name="connsiteY12" fmla="*/ 637045 h 683566"/>
                  <a:gd name="connsiteX13" fmla="*/ 166469 w 1053714"/>
                  <a:gd name="connsiteY13" fmla="*/ 679621 h 683566"/>
                  <a:gd name="connsiteX14" fmla="*/ 444218 w 1053714"/>
                  <a:gd name="connsiteY14" fmla="*/ 434543 h 6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714" h="683566">
                    <a:moveTo>
                      <a:pt x="444218" y="434543"/>
                    </a:moveTo>
                    <a:cubicBezTo>
                      <a:pt x="508131" y="434352"/>
                      <a:pt x="567186" y="465690"/>
                      <a:pt x="631289" y="463785"/>
                    </a:cubicBezTo>
                    <a:cubicBezTo>
                      <a:pt x="691487" y="461975"/>
                      <a:pt x="739398" y="450640"/>
                      <a:pt x="809692" y="421684"/>
                    </a:cubicBezTo>
                    <a:cubicBezTo>
                      <a:pt x="821027" y="417017"/>
                      <a:pt x="832076" y="411492"/>
                      <a:pt x="842649" y="405206"/>
                    </a:cubicBezTo>
                    <a:cubicBezTo>
                      <a:pt x="1037340" y="289382"/>
                      <a:pt x="1062581" y="124599"/>
                      <a:pt x="1051532" y="5918"/>
                    </a:cubicBezTo>
                    <a:cubicBezTo>
                      <a:pt x="1050389" y="-6465"/>
                      <a:pt x="1041054" y="1155"/>
                      <a:pt x="1038292" y="23444"/>
                    </a:cubicBezTo>
                    <a:cubicBezTo>
                      <a:pt x="1031720" y="76689"/>
                      <a:pt x="1001430" y="208419"/>
                      <a:pt x="860079" y="293668"/>
                    </a:cubicBezTo>
                    <a:cubicBezTo>
                      <a:pt x="782927" y="340245"/>
                      <a:pt x="691963" y="344055"/>
                      <a:pt x="653196" y="345675"/>
                    </a:cubicBezTo>
                    <a:cubicBezTo>
                      <a:pt x="578997" y="348818"/>
                      <a:pt x="510131" y="318052"/>
                      <a:pt x="437360" y="311480"/>
                    </a:cubicBezTo>
                    <a:cubicBezTo>
                      <a:pt x="263433" y="295859"/>
                      <a:pt x="219618" y="448545"/>
                      <a:pt x="200949" y="513791"/>
                    </a:cubicBezTo>
                    <a:cubicBezTo>
                      <a:pt x="177042" y="596944"/>
                      <a:pt x="144942" y="624852"/>
                      <a:pt x="122178" y="633520"/>
                    </a:cubicBezTo>
                    <a:cubicBezTo>
                      <a:pt x="103318" y="640759"/>
                      <a:pt x="57408" y="640283"/>
                      <a:pt x="3687" y="625424"/>
                    </a:cubicBezTo>
                    <a:cubicBezTo>
                      <a:pt x="-790" y="624186"/>
                      <a:pt x="-2600" y="630187"/>
                      <a:pt x="6544" y="637045"/>
                    </a:cubicBezTo>
                    <a:cubicBezTo>
                      <a:pt x="55407" y="674192"/>
                      <a:pt x="119606" y="692099"/>
                      <a:pt x="166469" y="679621"/>
                    </a:cubicBezTo>
                    <a:cubicBezTo>
                      <a:pt x="299438" y="644093"/>
                      <a:pt x="280293" y="434924"/>
                      <a:pt x="444218" y="434543"/>
                    </a:cubicBezTo>
                    <a:close/>
                  </a:path>
                </a:pathLst>
              </a:custGeom>
              <a:solidFill>
                <a:srgbClr val="81D10B"/>
              </a:solidFill>
              <a:ln w="9525" cap="flat">
                <a:noFill/>
                <a:prstDash val="solid"/>
                <a:miter/>
              </a:ln>
            </p:spPr>
            <p:txBody>
              <a:bodyPr rtlCol="0" anchor="ctr"/>
              <a:lstStyle/>
              <a:p>
                <a:pPr rtl="0"/>
                <a:endParaRPr lang="en-AU" dirty="0"/>
              </a:p>
            </p:txBody>
          </p:sp>
          <p:sp>
            <p:nvSpPr>
              <p:cNvPr id="134" name="Freeform: Shape 133">
                <a:extLst>
                  <a:ext uri="{FF2B5EF4-FFF2-40B4-BE49-F238E27FC236}">
                    <a16:creationId xmlns:a16="http://schemas.microsoft.com/office/drawing/2014/main" id="{DEA9644D-7417-2780-2B60-E939165A074E}"/>
                  </a:ext>
                </a:extLst>
              </p:cNvPr>
              <p:cNvSpPr/>
              <p:nvPr/>
            </p:nvSpPr>
            <p:spPr>
              <a:xfrm>
                <a:off x="3713483" y="2759843"/>
                <a:ext cx="450361" cy="359237"/>
              </a:xfrm>
              <a:custGeom>
                <a:avLst/>
                <a:gdLst>
                  <a:gd name="connsiteX0" fmla="*/ 381218 w 450361"/>
                  <a:gd name="connsiteY0" fmla="*/ 347115 h 359237"/>
                  <a:gd name="connsiteX1" fmla="*/ 294255 w 450361"/>
                  <a:gd name="connsiteY1" fmla="*/ 19074 h 359237"/>
                  <a:gd name="connsiteX2" fmla="*/ 256441 w 450361"/>
                  <a:gd name="connsiteY2" fmla="*/ 24 h 359237"/>
                  <a:gd name="connsiteX3" fmla="*/ 266442 w 450361"/>
                  <a:gd name="connsiteY3" fmla="*/ 19074 h 359237"/>
                  <a:gd name="connsiteX4" fmla="*/ 262442 w 450361"/>
                  <a:gd name="connsiteY4" fmla="*/ 240721 h 359237"/>
                  <a:gd name="connsiteX5" fmla="*/ 155666 w 450361"/>
                  <a:gd name="connsiteY5" fmla="*/ 142233 h 359237"/>
                  <a:gd name="connsiteX6" fmla="*/ 3838 w 450361"/>
                  <a:gd name="connsiteY6" fmla="*/ 50793 h 359237"/>
                  <a:gd name="connsiteX7" fmla="*/ 381218 w 450361"/>
                  <a:gd name="connsiteY7" fmla="*/ 347115 h 35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361" h="359237">
                    <a:moveTo>
                      <a:pt x="381218" y="347115"/>
                    </a:moveTo>
                    <a:cubicBezTo>
                      <a:pt x="540953" y="281012"/>
                      <a:pt x="386267" y="86035"/>
                      <a:pt x="294255" y="19074"/>
                    </a:cubicBezTo>
                    <a:cubicBezTo>
                      <a:pt x="285683" y="12883"/>
                      <a:pt x="272919" y="1262"/>
                      <a:pt x="256441" y="24"/>
                    </a:cubicBezTo>
                    <a:cubicBezTo>
                      <a:pt x="248345" y="-642"/>
                      <a:pt x="261013" y="12597"/>
                      <a:pt x="266442" y="19074"/>
                    </a:cubicBezTo>
                    <a:cubicBezTo>
                      <a:pt x="395030" y="170712"/>
                      <a:pt x="357692" y="281964"/>
                      <a:pt x="262442" y="240721"/>
                    </a:cubicBezTo>
                    <a:cubicBezTo>
                      <a:pt x="217103" y="221100"/>
                      <a:pt x="189575" y="187476"/>
                      <a:pt x="155666" y="142233"/>
                    </a:cubicBezTo>
                    <a:cubicBezTo>
                      <a:pt x="88420" y="52507"/>
                      <a:pt x="-21975" y="-24455"/>
                      <a:pt x="3838" y="50793"/>
                    </a:cubicBezTo>
                    <a:cubicBezTo>
                      <a:pt x="122996" y="398074"/>
                      <a:pt x="326450" y="369785"/>
                      <a:pt x="381218" y="347115"/>
                    </a:cubicBezTo>
                    <a:close/>
                  </a:path>
                </a:pathLst>
              </a:custGeom>
              <a:solidFill>
                <a:srgbClr val="81D10B"/>
              </a:solidFill>
              <a:ln w="9525" cap="flat">
                <a:noFill/>
                <a:prstDash val="solid"/>
                <a:miter/>
              </a:ln>
            </p:spPr>
            <p:txBody>
              <a:bodyPr rtlCol="0" anchor="ctr"/>
              <a:lstStyle/>
              <a:p>
                <a:pPr rtl="0"/>
                <a:endParaRPr lang="en-AU" dirty="0"/>
              </a:p>
            </p:txBody>
          </p:sp>
          <p:sp>
            <p:nvSpPr>
              <p:cNvPr id="135" name="Freeform: Shape 134">
                <a:extLst>
                  <a:ext uri="{FF2B5EF4-FFF2-40B4-BE49-F238E27FC236}">
                    <a16:creationId xmlns:a16="http://schemas.microsoft.com/office/drawing/2014/main" id="{2C83919B-B05B-0D4C-F676-AE110C0D2A53}"/>
                  </a:ext>
                </a:extLst>
              </p:cNvPr>
              <p:cNvSpPr/>
              <p:nvPr/>
            </p:nvSpPr>
            <p:spPr>
              <a:xfrm>
                <a:off x="3329593" y="3191140"/>
                <a:ext cx="97770" cy="245703"/>
              </a:xfrm>
              <a:custGeom>
                <a:avLst/>
                <a:gdLst>
                  <a:gd name="connsiteX0" fmla="*/ 21015 w 97770"/>
                  <a:gd name="connsiteY0" fmla="*/ 243860 h 245703"/>
                  <a:gd name="connsiteX1" fmla="*/ 97501 w 97770"/>
                  <a:gd name="connsiteY1" fmla="*/ 90412 h 245703"/>
                  <a:gd name="connsiteX2" fmla="*/ 57115 w 97770"/>
                  <a:gd name="connsiteY2" fmla="*/ 9831 h 245703"/>
                  <a:gd name="connsiteX3" fmla="*/ 33493 w 97770"/>
                  <a:gd name="connsiteY3" fmla="*/ 10021 h 245703"/>
                  <a:gd name="connsiteX4" fmla="*/ 1299 w 97770"/>
                  <a:gd name="connsiteY4" fmla="*/ 143371 h 245703"/>
                  <a:gd name="connsiteX5" fmla="*/ 21015 w 97770"/>
                  <a:gd name="connsiteY5" fmla="*/ 243860 h 24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70" h="245703">
                    <a:moveTo>
                      <a:pt x="21015" y="243860"/>
                    </a:moveTo>
                    <a:cubicBezTo>
                      <a:pt x="45018" y="262719"/>
                      <a:pt x="102168" y="131655"/>
                      <a:pt x="97501" y="90412"/>
                    </a:cubicBezTo>
                    <a:cubicBezTo>
                      <a:pt x="94548" y="64314"/>
                      <a:pt x="71974" y="28499"/>
                      <a:pt x="57115" y="9831"/>
                    </a:cubicBezTo>
                    <a:cubicBezTo>
                      <a:pt x="50924" y="2020"/>
                      <a:pt x="42351" y="-7791"/>
                      <a:pt x="33493" y="10021"/>
                    </a:cubicBezTo>
                    <a:cubicBezTo>
                      <a:pt x="17491" y="41930"/>
                      <a:pt x="3013" y="124702"/>
                      <a:pt x="1299" y="143371"/>
                    </a:cubicBezTo>
                    <a:cubicBezTo>
                      <a:pt x="-6131" y="220238"/>
                      <a:pt x="20730" y="243574"/>
                      <a:pt x="21015" y="243860"/>
                    </a:cubicBezTo>
                    <a:close/>
                  </a:path>
                </a:pathLst>
              </a:custGeom>
              <a:solidFill>
                <a:srgbClr val="81D10B"/>
              </a:solidFill>
              <a:ln w="9525" cap="flat">
                <a:noFill/>
                <a:prstDash val="solid"/>
                <a:miter/>
              </a:ln>
            </p:spPr>
            <p:txBody>
              <a:bodyPr rtlCol="0" anchor="ctr"/>
              <a:lstStyle/>
              <a:p>
                <a:pPr rtl="0"/>
                <a:endParaRPr lang="en-AU" dirty="0"/>
              </a:p>
            </p:txBody>
          </p:sp>
        </p:grpSp>
        <p:grpSp>
          <p:nvGrpSpPr>
            <p:cNvPr id="99" name="Graphic 2">
              <a:extLst>
                <a:ext uri="{FF2B5EF4-FFF2-40B4-BE49-F238E27FC236}">
                  <a16:creationId xmlns:a16="http://schemas.microsoft.com/office/drawing/2014/main" id="{03E57A95-8642-27AC-40F0-B8E8A020F394}"/>
                </a:ext>
              </a:extLst>
            </p:cNvPr>
            <p:cNvGrpSpPr/>
            <p:nvPr/>
          </p:nvGrpSpPr>
          <p:grpSpPr>
            <a:xfrm>
              <a:off x="4765071" y="3903725"/>
              <a:ext cx="3369468" cy="119443"/>
              <a:chOff x="4765071" y="3903725"/>
              <a:chExt cx="3369468" cy="119443"/>
            </a:xfrm>
            <a:solidFill>
              <a:srgbClr val="003646"/>
            </a:solidFill>
          </p:grpSpPr>
          <p:sp>
            <p:nvSpPr>
              <p:cNvPr id="100" name="Freeform: Shape 99">
                <a:extLst>
                  <a:ext uri="{FF2B5EF4-FFF2-40B4-BE49-F238E27FC236}">
                    <a16:creationId xmlns:a16="http://schemas.microsoft.com/office/drawing/2014/main" id="{81BDB15F-60DA-068E-9D78-F6CA3002A3B2}"/>
                  </a:ext>
                </a:extLst>
              </p:cNvPr>
              <p:cNvSpPr/>
              <p:nvPr/>
            </p:nvSpPr>
            <p:spPr>
              <a:xfrm>
                <a:off x="4765071" y="3905820"/>
                <a:ext cx="97916" cy="115252"/>
              </a:xfrm>
              <a:custGeom>
                <a:avLst/>
                <a:gdLst>
                  <a:gd name="connsiteX0" fmla="*/ 0 w 97916"/>
                  <a:gd name="connsiteY0" fmla="*/ 115253 h 115252"/>
                  <a:gd name="connsiteX1" fmla="*/ 0 w 97916"/>
                  <a:gd name="connsiteY1" fmla="*/ 0 h 115252"/>
                  <a:gd name="connsiteX2" fmla="*/ 35052 w 97916"/>
                  <a:gd name="connsiteY2" fmla="*/ 0 h 115252"/>
                  <a:gd name="connsiteX3" fmla="*/ 97917 w 97916"/>
                  <a:gd name="connsiteY3" fmla="*/ 57626 h 115252"/>
                  <a:gd name="connsiteX4" fmla="*/ 35528 w 97916"/>
                  <a:gd name="connsiteY4" fmla="*/ 115253 h 115252"/>
                  <a:gd name="connsiteX5" fmla="*/ 0 w 97916"/>
                  <a:gd name="connsiteY5" fmla="*/ 115253 h 115252"/>
                  <a:gd name="connsiteX6" fmla="*/ 20193 w 97916"/>
                  <a:gd name="connsiteY6" fmla="*/ 17050 h 115252"/>
                  <a:gd name="connsiteX7" fmla="*/ 20193 w 97916"/>
                  <a:gd name="connsiteY7" fmla="*/ 98298 h 115252"/>
                  <a:gd name="connsiteX8" fmla="*/ 35433 w 97916"/>
                  <a:gd name="connsiteY8" fmla="*/ 98298 h 115252"/>
                  <a:gd name="connsiteX9" fmla="*/ 77724 w 97916"/>
                  <a:gd name="connsiteY9" fmla="*/ 57626 h 115252"/>
                  <a:gd name="connsiteX10" fmla="*/ 34957 w 97916"/>
                  <a:gd name="connsiteY10" fmla="*/ 16954 h 115252"/>
                  <a:gd name="connsiteX11" fmla="*/ 20193 w 97916"/>
                  <a:gd name="connsiteY11"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16" h="115252">
                    <a:moveTo>
                      <a:pt x="0" y="115253"/>
                    </a:moveTo>
                    <a:lnTo>
                      <a:pt x="0" y="0"/>
                    </a:lnTo>
                    <a:lnTo>
                      <a:pt x="35052" y="0"/>
                    </a:lnTo>
                    <a:cubicBezTo>
                      <a:pt x="73152" y="0"/>
                      <a:pt x="97917" y="23527"/>
                      <a:pt x="97917" y="57626"/>
                    </a:cubicBezTo>
                    <a:cubicBezTo>
                      <a:pt x="97917" y="91821"/>
                      <a:pt x="73438" y="115253"/>
                      <a:pt x="35528" y="115253"/>
                    </a:cubicBezTo>
                    <a:lnTo>
                      <a:pt x="0" y="115253"/>
                    </a:lnTo>
                    <a:close/>
                    <a:moveTo>
                      <a:pt x="20193" y="17050"/>
                    </a:moveTo>
                    <a:lnTo>
                      <a:pt x="20193" y="98298"/>
                    </a:lnTo>
                    <a:lnTo>
                      <a:pt x="35433" y="98298"/>
                    </a:lnTo>
                    <a:cubicBezTo>
                      <a:pt x="61150" y="98298"/>
                      <a:pt x="77724" y="81534"/>
                      <a:pt x="77724" y="57626"/>
                    </a:cubicBezTo>
                    <a:cubicBezTo>
                      <a:pt x="77724" y="33909"/>
                      <a:pt x="61246" y="16954"/>
                      <a:pt x="34957" y="16954"/>
                    </a:cubicBezTo>
                    <a:lnTo>
                      <a:pt x="20193" y="16954"/>
                    </a:lnTo>
                    <a:close/>
                  </a:path>
                </a:pathLst>
              </a:custGeom>
              <a:solidFill>
                <a:srgbClr val="003646"/>
              </a:solidFill>
              <a:ln w="9525" cap="flat">
                <a:noFill/>
                <a:prstDash val="solid"/>
                <a:miter/>
              </a:ln>
            </p:spPr>
            <p:txBody>
              <a:bodyPr rtlCol="0" anchor="ctr"/>
              <a:lstStyle/>
              <a:p>
                <a:pPr rtl="0"/>
                <a:endParaRPr lang="en-AU" dirty="0"/>
              </a:p>
            </p:txBody>
          </p:sp>
          <p:sp>
            <p:nvSpPr>
              <p:cNvPr id="101" name="Freeform: Shape 100">
                <a:extLst>
                  <a:ext uri="{FF2B5EF4-FFF2-40B4-BE49-F238E27FC236}">
                    <a16:creationId xmlns:a16="http://schemas.microsoft.com/office/drawing/2014/main" id="{26D4F2D9-7C32-2BF6-6F8B-8F99395DD815}"/>
                  </a:ext>
                </a:extLst>
              </p:cNvPr>
              <p:cNvSpPr/>
              <p:nvPr/>
            </p:nvSpPr>
            <p:spPr>
              <a:xfrm>
                <a:off x="4904231"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102" name="Freeform: Shape 101">
                <a:extLst>
                  <a:ext uri="{FF2B5EF4-FFF2-40B4-BE49-F238E27FC236}">
                    <a16:creationId xmlns:a16="http://schemas.microsoft.com/office/drawing/2014/main" id="{E207A851-36B6-B0A4-D2C5-885C4A7F2A68}"/>
                  </a:ext>
                </a:extLst>
              </p:cNvPr>
              <p:cNvSpPr/>
              <p:nvPr/>
            </p:nvSpPr>
            <p:spPr>
              <a:xfrm>
                <a:off x="5018817"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003646"/>
              </a:solidFill>
              <a:ln w="9525" cap="flat">
                <a:noFill/>
                <a:prstDash val="solid"/>
                <a:miter/>
              </a:ln>
            </p:spPr>
            <p:txBody>
              <a:bodyPr rtlCol="0" anchor="ctr"/>
              <a:lstStyle/>
              <a:p>
                <a:pPr rtl="0"/>
                <a:endParaRPr lang="en-AU" dirty="0"/>
              </a:p>
            </p:txBody>
          </p:sp>
          <p:sp>
            <p:nvSpPr>
              <p:cNvPr id="103" name="Freeform: Shape 102">
                <a:extLst>
                  <a:ext uri="{FF2B5EF4-FFF2-40B4-BE49-F238E27FC236}">
                    <a16:creationId xmlns:a16="http://schemas.microsoft.com/office/drawing/2014/main" id="{39F96361-7BB1-89CC-B7BB-1F09AEF40A0A}"/>
                  </a:ext>
                </a:extLst>
              </p:cNvPr>
              <p:cNvSpPr/>
              <p:nvPr/>
            </p:nvSpPr>
            <p:spPr>
              <a:xfrm>
                <a:off x="512197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104" name="Freeform: Shape 103">
                <a:extLst>
                  <a:ext uri="{FF2B5EF4-FFF2-40B4-BE49-F238E27FC236}">
                    <a16:creationId xmlns:a16="http://schemas.microsoft.com/office/drawing/2014/main" id="{685EB9F5-FEAF-6540-5701-146D8B4285C8}"/>
                  </a:ext>
                </a:extLst>
              </p:cNvPr>
              <p:cNvSpPr/>
              <p:nvPr/>
            </p:nvSpPr>
            <p:spPr>
              <a:xfrm>
                <a:off x="5175694" y="3905916"/>
                <a:ext cx="110585" cy="116966"/>
              </a:xfrm>
              <a:custGeom>
                <a:avLst/>
                <a:gdLst>
                  <a:gd name="connsiteX0" fmla="*/ 55721 w 110585"/>
                  <a:gd name="connsiteY0" fmla="*/ 116967 h 116966"/>
                  <a:gd name="connsiteX1" fmla="*/ 55054 w 110585"/>
                  <a:gd name="connsiteY1" fmla="*/ 116967 h 116966"/>
                  <a:gd name="connsiteX2" fmla="*/ 0 w 110585"/>
                  <a:gd name="connsiteY2" fmla="*/ 0 h 116966"/>
                  <a:gd name="connsiteX3" fmla="*/ 21812 w 110585"/>
                  <a:gd name="connsiteY3" fmla="*/ 0 h 116966"/>
                  <a:gd name="connsiteX4" fmla="*/ 37338 w 110585"/>
                  <a:gd name="connsiteY4" fmla="*/ 34576 h 116966"/>
                  <a:gd name="connsiteX5" fmla="*/ 55245 w 110585"/>
                  <a:gd name="connsiteY5" fmla="*/ 76486 h 116966"/>
                  <a:gd name="connsiteX6" fmla="*/ 73533 w 110585"/>
                  <a:gd name="connsiteY6" fmla="*/ 34576 h 116966"/>
                  <a:gd name="connsiteX7" fmla="*/ 88868 w 110585"/>
                  <a:gd name="connsiteY7" fmla="*/ 0 h 116966"/>
                  <a:gd name="connsiteX8" fmla="*/ 110585 w 110585"/>
                  <a:gd name="connsiteY8" fmla="*/ 0 h 116966"/>
                  <a:gd name="connsiteX9" fmla="*/ 55721 w 110585"/>
                  <a:gd name="connsiteY9" fmla="*/ 11696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85" h="116966">
                    <a:moveTo>
                      <a:pt x="55721" y="116967"/>
                    </a:moveTo>
                    <a:lnTo>
                      <a:pt x="55054" y="116967"/>
                    </a:lnTo>
                    <a:lnTo>
                      <a:pt x="0" y="0"/>
                    </a:lnTo>
                    <a:lnTo>
                      <a:pt x="21812" y="0"/>
                    </a:lnTo>
                    <a:lnTo>
                      <a:pt x="37338" y="34576"/>
                    </a:lnTo>
                    <a:cubicBezTo>
                      <a:pt x="44196" y="50292"/>
                      <a:pt x="50006" y="62865"/>
                      <a:pt x="55245" y="76486"/>
                    </a:cubicBezTo>
                    <a:cubicBezTo>
                      <a:pt x="60198" y="64294"/>
                      <a:pt x="66961" y="49244"/>
                      <a:pt x="73533" y="34576"/>
                    </a:cubicBezTo>
                    <a:lnTo>
                      <a:pt x="88868" y="0"/>
                    </a:lnTo>
                    <a:lnTo>
                      <a:pt x="110585" y="0"/>
                    </a:lnTo>
                    <a:lnTo>
                      <a:pt x="55721" y="116967"/>
                    </a:lnTo>
                    <a:close/>
                  </a:path>
                </a:pathLst>
              </a:custGeom>
              <a:solidFill>
                <a:srgbClr val="003646"/>
              </a:solidFill>
              <a:ln w="9525" cap="flat">
                <a:noFill/>
                <a:prstDash val="solid"/>
                <a:miter/>
              </a:ln>
            </p:spPr>
            <p:txBody>
              <a:bodyPr rtlCol="0" anchor="ctr"/>
              <a:lstStyle/>
              <a:p>
                <a:pPr rtl="0"/>
                <a:endParaRPr lang="en-AU" dirty="0"/>
              </a:p>
            </p:txBody>
          </p:sp>
          <p:sp>
            <p:nvSpPr>
              <p:cNvPr id="105" name="Freeform: Shape 104">
                <a:extLst>
                  <a:ext uri="{FF2B5EF4-FFF2-40B4-BE49-F238E27FC236}">
                    <a16:creationId xmlns:a16="http://schemas.microsoft.com/office/drawing/2014/main" id="{7A3B0A22-C870-E82D-1524-9292110DE75B}"/>
                  </a:ext>
                </a:extLst>
              </p:cNvPr>
              <p:cNvSpPr/>
              <p:nvPr/>
            </p:nvSpPr>
            <p:spPr>
              <a:xfrm>
                <a:off x="5320283"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106" name="Freeform: Shape 105">
                <a:extLst>
                  <a:ext uri="{FF2B5EF4-FFF2-40B4-BE49-F238E27FC236}">
                    <a16:creationId xmlns:a16="http://schemas.microsoft.com/office/drawing/2014/main" id="{97D4DA06-DA83-684C-CA14-80883912DAA0}"/>
                  </a:ext>
                </a:extLst>
              </p:cNvPr>
              <p:cNvSpPr/>
              <p:nvPr/>
            </p:nvSpPr>
            <p:spPr>
              <a:xfrm>
                <a:off x="5434869" y="3905820"/>
                <a:ext cx="83820" cy="115252"/>
              </a:xfrm>
              <a:custGeom>
                <a:avLst/>
                <a:gdLst>
                  <a:gd name="connsiteX0" fmla="*/ 38862 w 83820"/>
                  <a:gd name="connsiteY0" fmla="*/ 0 h 115252"/>
                  <a:gd name="connsiteX1" fmla="*/ 81439 w 83820"/>
                  <a:gd name="connsiteY1" fmla="*/ 36671 h 115252"/>
                  <a:gd name="connsiteX2" fmla="*/ 58674 w 83820"/>
                  <a:gd name="connsiteY2" fmla="*/ 69152 h 115252"/>
                  <a:gd name="connsiteX3" fmla="*/ 83820 w 83820"/>
                  <a:gd name="connsiteY3" fmla="*/ 115253 h 115252"/>
                  <a:gd name="connsiteX4" fmla="*/ 62198 w 83820"/>
                  <a:gd name="connsiteY4" fmla="*/ 115253 h 115252"/>
                  <a:gd name="connsiteX5" fmla="*/ 40100 w 83820"/>
                  <a:gd name="connsiteY5" fmla="*/ 72485 h 115252"/>
                  <a:gd name="connsiteX6" fmla="*/ 19812 w 83820"/>
                  <a:gd name="connsiteY6" fmla="*/ 72485 h 115252"/>
                  <a:gd name="connsiteX7" fmla="*/ 19812 w 83820"/>
                  <a:gd name="connsiteY7" fmla="*/ 115253 h 115252"/>
                  <a:gd name="connsiteX8" fmla="*/ 0 w 83820"/>
                  <a:gd name="connsiteY8" fmla="*/ 115253 h 115252"/>
                  <a:gd name="connsiteX9" fmla="*/ 0 w 83820"/>
                  <a:gd name="connsiteY9" fmla="*/ 0 h 115252"/>
                  <a:gd name="connsiteX10" fmla="*/ 38862 w 83820"/>
                  <a:gd name="connsiteY10" fmla="*/ 0 h 115252"/>
                  <a:gd name="connsiteX11" fmla="*/ 19812 w 83820"/>
                  <a:gd name="connsiteY11" fmla="*/ 17050 h 115252"/>
                  <a:gd name="connsiteX12" fmla="*/ 19812 w 83820"/>
                  <a:gd name="connsiteY12" fmla="*/ 56293 h 115252"/>
                  <a:gd name="connsiteX13" fmla="*/ 40005 w 83820"/>
                  <a:gd name="connsiteY13" fmla="*/ 56293 h 115252"/>
                  <a:gd name="connsiteX14" fmla="*/ 61246 w 83820"/>
                  <a:gd name="connsiteY14" fmla="*/ 36767 h 115252"/>
                  <a:gd name="connsiteX15" fmla="*/ 38957 w 83820"/>
                  <a:gd name="connsiteY15" fmla="*/ 17050 h 115252"/>
                  <a:gd name="connsiteX16" fmla="*/ 19812 w 83820"/>
                  <a:gd name="connsiteY16" fmla="*/ 1705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 h="115252">
                    <a:moveTo>
                      <a:pt x="38862" y="0"/>
                    </a:moveTo>
                    <a:cubicBezTo>
                      <a:pt x="64961" y="0"/>
                      <a:pt x="81439" y="13145"/>
                      <a:pt x="81439" y="36671"/>
                    </a:cubicBezTo>
                    <a:cubicBezTo>
                      <a:pt x="81439" y="53626"/>
                      <a:pt x="71152" y="64865"/>
                      <a:pt x="58674" y="69152"/>
                    </a:cubicBezTo>
                    <a:lnTo>
                      <a:pt x="83820" y="115253"/>
                    </a:lnTo>
                    <a:lnTo>
                      <a:pt x="62198" y="115253"/>
                    </a:lnTo>
                    <a:lnTo>
                      <a:pt x="40100" y="72485"/>
                    </a:lnTo>
                    <a:lnTo>
                      <a:pt x="19812" y="72485"/>
                    </a:lnTo>
                    <a:lnTo>
                      <a:pt x="19812" y="115253"/>
                    </a:lnTo>
                    <a:lnTo>
                      <a:pt x="0" y="115253"/>
                    </a:lnTo>
                    <a:lnTo>
                      <a:pt x="0" y="0"/>
                    </a:lnTo>
                    <a:lnTo>
                      <a:pt x="38862" y="0"/>
                    </a:lnTo>
                    <a:close/>
                    <a:moveTo>
                      <a:pt x="19812" y="17050"/>
                    </a:moveTo>
                    <a:lnTo>
                      <a:pt x="19812" y="56293"/>
                    </a:lnTo>
                    <a:lnTo>
                      <a:pt x="40005" y="56293"/>
                    </a:lnTo>
                    <a:cubicBezTo>
                      <a:pt x="52959" y="56293"/>
                      <a:pt x="61246" y="49435"/>
                      <a:pt x="61246" y="36767"/>
                    </a:cubicBezTo>
                    <a:cubicBezTo>
                      <a:pt x="61246" y="24003"/>
                      <a:pt x="52578" y="17050"/>
                      <a:pt x="38957" y="17050"/>
                    </a:cubicBezTo>
                    <a:lnTo>
                      <a:pt x="19812" y="17050"/>
                    </a:lnTo>
                    <a:close/>
                  </a:path>
                </a:pathLst>
              </a:custGeom>
              <a:solidFill>
                <a:srgbClr val="003646"/>
              </a:solidFill>
              <a:ln w="9525" cap="flat">
                <a:noFill/>
                <a:prstDash val="solid"/>
                <a:miter/>
              </a:ln>
            </p:spPr>
            <p:txBody>
              <a:bodyPr rtlCol="0" anchor="ctr"/>
              <a:lstStyle/>
              <a:p>
                <a:pPr rtl="0"/>
                <a:endParaRPr lang="en-AU" dirty="0"/>
              </a:p>
            </p:txBody>
          </p:sp>
          <p:sp>
            <p:nvSpPr>
              <p:cNvPr id="107" name="Freeform: Shape 106">
                <a:extLst>
                  <a:ext uri="{FF2B5EF4-FFF2-40B4-BE49-F238E27FC236}">
                    <a16:creationId xmlns:a16="http://schemas.microsoft.com/office/drawing/2014/main" id="{C45C2808-04D1-E585-A2AE-7F8FFA4F7EB8}"/>
                  </a:ext>
                </a:extLst>
              </p:cNvPr>
              <p:cNvSpPr/>
              <p:nvPr/>
            </p:nvSpPr>
            <p:spPr>
              <a:xfrm>
                <a:off x="5558979"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108" name="Freeform: Shape 107">
                <a:extLst>
                  <a:ext uri="{FF2B5EF4-FFF2-40B4-BE49-F238E27FC236}">
                    <a16:creationId xmlns:a16="http://schemas.microsoft.com/office/drawing/2014/main" id="{5609EA16-8C66-8EAB-397D-DDDDB10FCF3E}"/>
                  </a:ext>
                </a:extLst>
              </p:cNvPr>
              <p:cNvSpPr/>
              <p:nvPr/>
            </p:nvSpPr>
            <p:spPr>
              <a:xfrm>
                <a:off x="5627274"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622"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109" name="Freeform: Shape 108">
                <a:extLst>
                  <a:ext uri="{FF2B5EF4-FFF2-40B4-BE49-F238E27FC236}">
                    <a16:creationId xmlns:a16="http://schemas.microsoft.com/office/drawing/2014/main" id="{37667BEB-3352-2A44-C063-F220F8511C26}"/>
                  </a:ext>
                </a:extLst>
              </p:cNvPr>
              <p:cNvSpPr/>
              <p:nvPr/>
            </p:nvSpPr>
            <p:spPr>
              <a:xfrm>
                <a:off x="5761671" y="3903725"/>
                <a:ext cx="99917" cy="119443"/>
              </a:xfrm>
              <a:custGeom>
                <a:avLst/>
                <a:gdLst>
                  <a:gd name="connsiteX0" fmla="*/ 61246 w 99917"/>
                  <a:gd name="connsiteY0" fmla="*/ 119444 h 119443"/>
                  <a:gd name="connsiteX1" fmla="*/ 0 w 99917"/>
                  <a:gd name="connsiteY1" fmla="*/ 59722 h 119443"/>
                  <a:gd name="connsiteX2" fmla="*/ 61436 w 99917"/>
                  <a:gd name="connsiteY2" fmla="*/ 0 h 119443"/>
                  <a:gd name="connsiteX3" fmla="*/ 96679 w 99917"/>
                  <a:gd name="connsiteY3" fmla="*/ 8001 h 119443"/>
                  <a:gd name="connsiteX4" fmla="*/ 96679 w 99917"/>
                  <a:gd name="connsiteY4" fmla="*/ 26861 h 119443"/>
                  <a:gd name="connsiteX5" fmla="*/ 62103 w 99917"/>
                  <a:gd name="connsiteY5" fmla="*/ 18574 h 119443"/>
                  <a:gd name="connsiteX6" fmla="*/ 20193 w 99917"/>
                  <a:gd name="connsiteY6" fmla="*/ 59722 h 119443"/>
                  <a:gd name="connsiteX7" fmla="*/ 61341 w 99917"/>
                  <a:gd name="connsiteY7" fmla="*/ 101156 h 119443"/>
                  <a:gd name="connsiteX8" fmla="*/ 80391 w 99917"/>
                  <a:gd name="connsiteY8" fmla="*/ 97917 h 119443"/>
                  <a:gd name="connsiteX9" fmla="*/ 80391 w 99917"/>
                  <a:gd name="connsiteY9" fmla="*/ 65246 h 119443"/>
                  <a:gd name="connsiteX10" fmla="*/ 99917 w 99917"/>
                  <a:gd name="connsiteY10" fmla="*/ 65246 h 119443"/>
                  <a:gd name="connsiteX11" fmla="*/ 99917 w 99917"/>
                  <a:gd name="connsiteY11" fmla="*/ 110490 h 119443"/>
                  <a:gd name="connsiteX12" fmla="*/ 61246 w 99917"/>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917" h="119443">
                    <a:moveTo>
                      <a:pt x="61246" y="119444"/>
                    </a:moveTo>
                    <a:cubicBezTo>
                      <a:pt x="25527" y="119444"/>
                      <a:pt x="0" y="93821"/>
                      <a:pt x="0" y="59722"/>
                    </a:cubicBezTo>
                    <a:cubicBezTo>
                      <a:pt x="0" y="25813"/>
                      <a:pt x="25908" y="0"/>
                      <a:pt x="61436" y="0"/>
                    </a:cubicBezTo>
                    <a:cubicBezTo>
                      <a:pt x="78677" y="0"/>
                      <a:pt x="91345" y="5429"/>
                      <a:pt x="96679" y="8001"/>
                    </a:cubicBezTo>
                    <a:lnTo>
                      <a:pt x="96679" y="26861"/>
                    </a:lnTo>
                    <a:cubicBezTo>
                      <a:pt x="89154" y="23146"/>
                      <a:pt x="77343" y="18574"/>
                      <a:pt x="62103" y="18574"/>
                    </a:cubicBezTo>
                    <a:cubicBezTo>
                      <a:pt x="36481" y="18574"/>
                      <a:pt x="20193" y="36481"/>
                      <a:pt x="20193" y="59722"/>
                    </a:cubicBezTo>
                    <a:cubicBezTo>
                      <a:pt x="20193" y="83249"/>
                      <a:pt x="36862" y="101156"/>
                      <a:pt x="61341" y="101156"/>
                    </a:cubicBezTo>
                    <a:cubicBezTo>
                      <a:pt x="68199" y="101156"/>
                      <a:pt x="75914" y="99727"/>
                      <a:pt x="80391" y="97917"/>
                    </a:cubicBezTo>
                    <a:lnTo>
                      <a:pt x="80391" y="65246"/>
                    </a:lnTo>
                    <a:lnTo>
                      <a:pt x="99917" y="65246"/>
                    </a:lnTo>
                    <a:lnTo>
                      <a:pt x="99917" y="110490"/>
                    </a:lnTo>
                    <a:cubicBezTo>
                      <a:pt x="89916" y="115919"/>
                      <a:pt x="75247" y="119444"/>
                      <a:pt x="61246" y="119444"/>
                    </a:cubicBezTo>
                    <a:close/>
                  </a:path>
                </a:pathLst>
              </a:custGeom>
              <a:solidFill>
                <a:srgbClr val="003646"/>
              </a:solidFill>
              <a:ln w="9525" cap="flat">
                <a:noFill/>
                <a:prstDash val="solid"/>
                <a:miter/>
              </a:ln>
            </p:spPr>
            <p:txBody>
              <a:bodyPr rtlCol="0" anchor="ctr"/>
              <a:lstStyle/>
              <a:p>
                <a:pPr rtl="0"/>
                <a:endParaRPr lang="en-AU" dirty="0"/>
              </a:p>
            </p:txBody>
          </p:sp>
          <p:sp>
            <p:nvSpPr>
              <p:cNvPr id="110" name="Freeform: Shape 109">
                <a:extLst>
                  <a:ext uri="{FF2B5EF4-FFF2-40B4-BE49-F238E27FC236}">
                    <a16:creationId xmlns:a16="http://schemas.microsoft.com/office/drawing/2014/main" id="{C4D7A3F7-C13A-B820-3026-E39A75DC9BFB}"/>
                  </a:ext>
                </a:extLst>
              </p:cNvPr>
              <p:cNvSpPr/>
              <p:nvPr/>
            </p:nvSpPr>
            <p:spPr>
              <a:xfrm>
                <a:off x="5999892"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003646"/>
              </a:solidFill>
              <a:ln w="9525" cap="flat">
                <a:noFill/>
                <a:prstDash val="solid"/>
                <a:miter/>
              </a:ln>
            </p:spPr>
            <p:txBody>
              <a:bodyPr rtlCol="0" anchor="ctr"/>
              <a:lstStyle/>
              <a:p>
                <a:pPr rtl="0"/>
                <a:endParaRPr lang="en-AU" dirty="0"/>
              </a:p>
            </p:txBody>
          </p:sp>
          <p:sp>
            <p:nvSpPr>
              <p:cNvPr id="111" name="Freeform: Shape 110">
                <a:extLst>
                  <a:ext uri="{FF2B5EF4-FFF2-40B4-BE49-F238E27FC236}">
                    <a16:creationId xmlns:a16="http://schemas.microsoft.com/office/drawing/2014/main" id="{A81B5E6F-7DF1-A8B4-F14D-709CC852C8BA}"/>
                  </a:ext>
                </a:extLst>
              </p:cNvPr>
              <p:cNvSpPr/>
              <p:nvPr/>
            </p:nvSpPr>
            <p:spPr>
              <a:xfrm>
                <a:off x="6114192" y="3905820"/>
                <a:ext cx="92678" cy="117348"/>
              </a:xfrm>
              <a:custGeom>
                <a:avLst/>
                <a:gdLst>
                  <a:gd name="connsiteX0" fmla="*/ 92678 w 92678"/>
                  <a:gd name="connsiteY0" fmla="*/ 74104 h 117348"/>
                  <a:gd name="connsiteX1" fmla="*/ 46291 w 92678"/>
                  <a:gd name="connsiteY1" fmla="*/ 117348 h 117348"/>
                  <a:gd name="connsiteX2" fmla="*/ 0 w 92678"/>
                  <a:gd name="connsiteY2" fmla="*/ 74104 h 117348"/>
                  <a:gd name="connsiteX3" fmla="*/ 0 w 92678"/>
                  <a:gd name="connsiteY3" fmla="*/ 0 h 117348"/>
                  <a:gd name="connsiteX4" fmla="*/ 20003 w 92678"/>
                  <a:gd name="connsiteY4" fmla="*/ 0 h 117348"/>
                  <a:gd name="connsiteX5" fmla="*/ 20003 w 92678"/>
                  <a:gd name="connsiteY5" fmla="*/ 72295 h 117348"/>
                  <a:gd name="connsiteX6" fmla="*/ 46291 w 92678"/>
                  <a:gd name="connsiteY6" fmla="*/ 98679 h 117348"/>
                  <a:gd name="connsiteX7" fmla="*/ 72485 w 92678"/>
                  <a:gd name="connsiteY7" fmla="*/ 72295 h 117348"/>
                  <a:gd name="connsiteX8" fmla="*/ 72485 w 92678"/>
                  <a:gd name="connsiteY8" fmla="*/ 0 h 117348"/>
                  <a:gd name="connsiteX9" fmla="*/ 92678 w 92678"/>
                  <a:gd name="connsiteY9" fmla="*/ 0 h 117348"/>
                  <a:gd name="connsiteX10" fmla="*/ 92678 w 92678"/>
                  <a:gd name="connsiteY10" fmla="*/ 74104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78" h="117348">
                    <a:moveTo>
                      <a:pt x="92678" y="74104"/>
                    </a:moveTo>
                    <a:cubicBezTo>
                      <a:pt x="92678" y="100679"/>
                      <a:pt x="75438" y="117348"/>
                      <a:pt x="46291" y="117348"/>
                    </a:cubicBezTo>
                    <a:cubicBezTo>
                      <a:pt x="17336" y="117348"/>
                      <a:pt x="0" y="100679"/>
                      <a:pt x="0" y="74104"/>
                    </a:cubicBezTo>
                    <a:lnTo>
                      <a:pt x="0" y="0"/>
                    </a:lnTo>
                    <a:lnTo>
                      <a:pt x="20003" y="0"/>
                    </a:lnTo>
                    <a:lnTo>
                      <a:pt x="20003" y="72295"/>
                    </a:lnTo>
                    <a:cubicBezTo>
                      <a:pt x="20003" y="88963"/>
                      <a:pt x="29813" y="98679"/>
                      <a:pt x="46291" y="98679"/>
                    </a:cubicBezTo>
                    <a:cubicBezTo>
                      <a:pt x="62960" y="98679"/>
                      <a:pt x="72485" y="88963"/>
                      <a:pt x="72485" y="72295"/>
                    </a:cubicBezTo>
                    <a:lnTo>
                      <a:pt x="72485" y="0"/>
                    </a:lnTo>
                    <a:lnTo>
                      <a:pt x="92678" y="0"/>
                    </a:lnTo>
                    <a:lnTo>
                      <a:pt x="92678" y="74104"/>
                    </a:lnTo>
                    <a:close/>
                  </a:path>
                </a:pathLst>
              </a:custGeom>
              <a:solidFill>
                <a:srgbClr val="003646"/>
              </a:solidFill>
              <a:ln w="9525" cap="flat">
                <a:noFill/>
                <a:prstDash val="solid"/>
                <a:miter/>
              </a:ln>
            </p:spPr>
            <p:txBody>
              <a:bodyPr rtlCol="0" anchor="ctr"/>
              <a:lstStyle/>
              <a:p>
                <a:pPr rtl="0"/>
                <a:endParaRPr lang="en-AU" dirty="0"/>
              </a:p>
            </p:txBody>
          </p:sp>
          <p:sp>
            <p:nvSpPr>
              <p:cNvPr id="112" name="Freeform: Shape 111">
                <a:extLst>
                  <a:ext uri="{FF2B5EF4-FFF2-40B4-BE49-F238E27FC236}">
                    <a16:creationId xmlns:a16="http://schemas.microsoft.com/office/drawing/2014/main" id="{399BC73D-01BA-3C2D-7DDD-A4857C00204C}"/>
                  </a:ext>
                </a:extLst>
              </p:cNvPr>
              <p:cNvSpPr/>
              <p:nvPr/>
            </p:nvSpPr>
            <p:spPr>
              <a:xfrm>
                <a:off x="6247256" y="3903820"/>
                <a:ext cx="76104" cy="119348"/>
              </a:xfrm>
              <a:custGeom>
                <a:avLst/>
                <a:gdLst>
                  <a:gd name="connsiteX0" fmla="*/ 1048 w 76104"/>
                  <a:gd name="connsiteY0" fmla="*/ 112776 h 119348"/>
                  <a:gd name="connsiteX1" fmla="*/ 1048 w 76104"/>
                  <a:gd name="connsiteY1" fmla="*/ 93059 h 119348"/>
                  <a:gd name="connsiteX2" fmla="*/ 31813 w 76104"/>
                  <a:gd name="connsiteY2" fmla="*/ 101346 h 119348"/>
                  <a:gd name="connsiteX3" fmla="*/ 43339 w 76104"/>
                  <a:gd name="connsiteY3" fmla="*/ 100108 h 119348"/>
                  <a:gd name="connsiteX4" fmla="*/ 56483 w 76104"/>
                  <a:gd name="connsiteY4" fmla="*/ 87821 h 119348"/>
                  <a:gd name="connsiteX5" fmla="*/ 32290 w 76104"/>
                  <a:gd name="connsiteY5" fmla="*/ 67532 h 119348"/>
                  <a:gd name="connsiteX6" fmla="*/ 0 w 76104"/>
                  <a:gd name="connsiteY6" fmla="*/ 32290 h 119348"/>
                  <a:gd name="connsiteX7" fmla="*/ 40196 w 76104"/>
                  <a:gd name="connsiteY7" fmla="*/ 0 h 119348"/>
                  <a:gd name="connsiteX8" fmla="*/ 69628 w 76104"/>
                  <a:gd name="connsiteY8" fmla="*/ 5715 h 119348"/>
                  <a:gd name="connsiteX9" fmla="*/ 69628 w 76104"/>
                  <a:gd name="connsiteY9" fmla="*/ 24574 h 119348"/>
                  <a:gd name="connsiteX10" fmla="*/ 41624 w 76104"/>
                  <a:gd name="connsiteY10" fmla="*/ 17717 h 119348"/>
                  <a:gd name="connsiteX11" fmla="*/ 19717 w 76104"/>
                  <a:gd name="connsiteY11" fmla="*/ 32004 h 119348"/>
                  <a:gd name="connsiteX12" fmla="*/ 43434 w 76104"/>
                  <a:gd name="connsiteY12" fmla="*/ 52006 h 119348"/>
                  <a:gd name="connsiteX13" fmla="*/ 76105 w 76104"/>
                  <a:gd name="connsiteY13" fmla="*/ 87058 h 119348"/>
                  <a:gd name="connsiteX14" fmla="*/ 34957 w 76104"/>
                  <a:gd name="connsiteY14" fmla="*/ 119348 h 119348"/>
                  <a:gd name="connsiteX15" fmla="*/ 1048 w 76104"/>
                  <a:gd name="connsiteY15" fmla="*/ 112776 h 1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04" h="119348">
                    <a:moveTo>
                      <a:pt x="1048" y="112776"/>
                    </a:moveTo>
                    <a:lnTo>
                      <a:pt x="1048" y="93059"/>
                    </a:lnTo>
                    <a:cubicBezTo>
                      <a:pt x="9239" y="97250"/>
                      <a:pt x="20288" y="101060"/>
                      <a:pt x="31813" y="101346"/>
                    </a:cubicBezTo>
                    <a:cubicBezTo>
                      <a:pt x="36004" y="101346"/>
                      <a:pt x="40005" y="101060"/>
                      <a:pt x="43339" y="100108"/>
                    </a:cubicBezTo>
                    <a:cubicBezTo>
                      <a:pt x="51530" y="98203"/>
                      <a:pt x="56483" y="94012"/>
                      <a:pt x="56483" y="87821"/>
                    </a:cubicBezTo>
                    <a:cubicBezTo>
                      <a:pt x="56483" y="78676"/>
                      <a:pt x="49911" y="73723"/>
                      <a:pt x="32290" y="67532"/>
                    </a:cubicBezTo>
                    <a:cubicBezTo>
                      <a:pt x="11144" y="60007"/>
                      <a:pt x="0" y="51054"/>
                      <a:pt x="0" y="32290"/>
                    </a:cubicBezTo>
                    <a:cubicBezTo>
                      <a:pt x="0" y="12097"/>
                      <a:pt x="16764" y="0"/>
                      <a:pt x="40196" y="0"/>
                    </a:cubicBezTo>
                    <a:cubicBezTo>
                      <a:pt x="51721" y="0"/>
                      <a:pt x="62770" y="2857"/>
                      <a:pt x="69628" y="5715"/>
                    </a:cubicBezTo>
                    <a:lnTo>
                      <a:pt x="69628" y="24574"/>
                    </a:lnTo>
                    <a:cubicBezTo>
                      <a:pt x="63055" y="20860"/>
                      <a:pt x="52006" y="17717"/>
                      <a:pt x="41624" y="17717"/>
                    </a:cubicBezTo>
                    <a:cubicBezTo>
                      <a:pt x="28480" y="17717"/>
                      <a:pt x="19717" y="23146"/>
                      <a:pt x="19717" y="32004"/>
                    </a:cubicBezTo>
                    <a:cubicBezTo>
                      <a:pt x="19717" y="40196"/>
                      <a:pt x="25813" y="45625"/>
                      <a:pt x="43434" y="52006"/>
                    </a:cubicBezTo>
                    <a:cubicBezTo>
                      <a:pt x="64579" y="59817"/>
                      <a:pt x="76105" y="68771"/>
                      <a:pt x="76105" y="87058"/>
                    </a:cubicBezTo>
                    <a:cubicBezTo>
                      <a:pt x="76105" y="107251"/>
                      <a:pt x="60770" y="119348"/>
                      <a:pt x="34957" y="119348"/>
                    </a:cubicBezTo>
                    <a:cubicBezTo>
                      <a:pt x="21527" y="119348"/>
                      <a:pt x="9049" y="116110"/>
                      <a:pt x="1048" y="112776"/>
                    </a:cubicBezTo>
                    <a:close/>
                  </a:path>
                </a:pathLst>
              </a:custGeom>
              <a:solidFill>
                <a:srgbClr val="003646"/>
              </a:solidFill>
              <a:ln w="9525" cap="flat">
                <a:noFill/>
                <a:prstDash val="solid"/>
                <a:miter/>
              </a:ln>
            </p:spPr>
            <p:txBody>
              <a:bodyPr rtlCol="0" anchor="ctr"/>
              <a:lstStyle/>
              <a:p>
                <a:pPr rtl="0"/>
                <a:endParaRPr lang="en-AU" dirty="0"/>
              </a:p>
            </p:txBody>
          </p:sp>
          <p:sp>
            <p:nvSpPr>
              <p:cNvPr id="113" name="Freeform: Shape 112">
                <a:extLst>
                  <a:ext uri="{FF2B5EF4-FFF2-40B4-BE49-F238E27FC236}">
                    <a16:creationId xmlns:a16="http://schemas.microsoft.com/office/drawing/2014/main" id="{D469163A-1A44-53E8-C356-20B9A8CB52BD}"/>
                  </a:ext>
                </a:extLst>
              </p:cNvPr>
              <p:cNvSpPr/>
              <p:nvPr/>
            </p:nvSpPr>
            <p:spPr>
              <a:xfrm>
                <a:off x="6350983" y="3905916"/>
                <a:ext cx="87344" cy="115252"/>
              </a:xfrm>
              <a:custGeom>
                <a:avLst/>
                <a:gdLst>
                  <a:gd name="connsiteX0" fmla="*/ 53816 w 87344"/>
                  <a:gd name="connsiteY0" fmla="*/ 16954 h 115252"/>
                  <a:gd name="connsiteX1" fmla="*/ 53816 w 87344"/>
                  <a:gd name="connsiteY1" fmla="*/ 115252 h 115252"/>
                  <a:gd name="connsiteX2" fmla="*/ 33623 w 87344"/>
                  <a:gd name="connsiteY2" fmla="*/ 115252 h 115252"/>
                  <a:gd name="connsiteX3" fmla="*/ 33623 w 87344"/>
                  <a:gd name="connsiteY3" fmla="*/ 16954 h 115252"/>
                  <a:gd name="connsiteX4" fmla="*/ 0 w 87344"/>
                  <a:gd name="connsiteY4" fmla="*/ 16954 h 115252"/>
                  <a:gd name="connsiteX5" fmla="*/ 0 w 87344"/>
                  <a:gd name="connsiteY5" fmla="*/ 0 h 115252"/>
                  <a:gd name="connsiteX6" fmla="*/ 87344 w 87344"/>
                  <a:gd name="connsiteY6" fmla="*/ 0 h 115252"/>
                  <a:gd name="connsiteX7" fmla="*/ 87344 w 87344"/>
                  <a:gd name="connsiteY7" fmla="*/ 16954 h 115252"/>
                  <a:gd name="connsiteX8" fmla="*/ 53816 w 87344"/>
                  <a:gd name="connsiteY8" fmla="*/ 16954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44" h="115252">
                    <a:moveTo>
                      <a:pt x="53816" y="16954"/>
                    </a:moveTo>
                    <a:lnTo>
                      <a:pt x="53816" y="115252"/>
                    </a:lnTo>
                    <a:lnTo>
                      <a:pt x="33623" y="115252"/>
                    </a:lnTo>
                    <a:lnTo>
                      <a:pt x="33623" y="16954"/>
                    </a:lnTo>
                    <a:lnTo>
                      <a:pt x="0" y="16954"/>
                    </a:lnTo>
                    <a:lnTo>
                      <a:pt x="0" y="0"/>
                    </a:lnTo>
                    <a:lnTo>
                      <a:pt x="87344" y="0"/>
                    </a:lnTo>
                    <a:lnTo>
                      <a:pt x="87344" y="16954"/>
                    </a:lnTo>
                    <a:lnTo>
                      <a:pt x="53816" y="16954"/>
                    </a:lnTo>
                    <a:close/>
                  </a:path>
                </a:pathLst>
              </a:custGeom>
              <a:solidFill>
                <a:srgbClr val="003646"/>
              </a:solidFill>
              <a:ln w="9525" cap="flat">
                <a:noFill/>
                <a:prstDash val="solid"/>
                <a:miter/>
              </a:ln>
            </p:spPr>
            <p:txBody>
              <a:bodyPr rtlCol="0" anchor="ctr"/>
              <a:lstStyle/>
              <a:p>
                <a:pPr rtl="0"/>
                <a:endParaRPr lang="en-AU" dirty="0"/>
              </a:p>
            </p:txBody>
          </p:sp>
          <p:sp>
            <p:nvSpPr>
              <p:cNvPr id="114" name="Freeform: Shape 113">
                <a:extLst>
                  <a:ext uri="{FF2B5EF4-FFF2-40B4-BE49-F238E27FC236}">
                    <a16:creationId xmlns:a16="http://schemas.microsoft.com/office/drawing/2014/main" id="{343FE43C-9658-DEDB-38D6-C5809C0E8A3F}"/>
                  </a:ext>
                </a:extLst>
              </p:cNvPr>
              <p:cNvSpPr/>
              <p:nvPr/>
            </p:nvSpPr>
            <p:spPr>
              <a:xfrm>
                <a:off x="6449758" y="3904106"/>
                <a:ext cx="109918" cy="116966"/>
              </a:xfrm>
              <a:custGeom>
                <a:avLst/>
                <a:gdLst>
                  <a:gd name="connsiteX0" fmla="*/ 54673 w 109918"/>
                  <a:gd name="connsiteY0" fmla="*/ 0 h 116966"/>
                  <a:gd name="connsiteX1" fmla="*/ 55340 w 109918"/>
                  <a:gd name="connsiteY1" fmla="*/ 0 h 116966"/>
                  <a:gd name="connsiteX2" fmla="*/ 109918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5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8" y="116967"/>
                    </a:lnTo>
                    <a:lnTo>
                      <a:pt x="88773" y="116967"/>
                    </a:lnTo>
                    <a:lnTo>
                      <a:pt x="78486" y="94107"/>
                    </a:lnTo>
                    <a:lnTo>
                      <a:pt x="31432" y="94107"/>
                    </a:lnTo>
                    <a:lnTo>
                      <a:pt x="21145" y="116967"/>
                    </a:lnTo>
                    <a:lnTo>
                      <a:pt x="0" y="116967"/>
                    </a:lnTo>
                    <a:lnTo>
                      <a:pt x="54673" y="0"/>
                    </a:lnTo>
                    <a:close/>
                    <a:moveTo>
                      <a:pt x="71914" y="79057"/>
                    </a:moveTo>
                    <a:cubicBezTo>
                      <a:pt x="65341" y="64294"/>
                      <a:pt x="59912" y="51340"/>
                      <a:pt x="55150" y="38290"/>
                    </a:cubicBezTo>
                    <a:cubicBezTo>
                      <a:pt x="50197" y="50292"/>
                      <a:pt x="44291" y="65056"/>
                      <a:pt x="38005" y="79057"/>
                    </a:cubicBezTo>
                    <a:lnTo>
                      <a:pt x="71914" y="79057"/>
                    </a:lnTo>
                    <a:close/>
                  </a:path>
                </a:pathLst>
              </a:custGeom>
              <a:solidFill>
                <a:srgbClr val="003646"/>
              </a:solidFill>
              <a:ln w="9525" cap="flat">
                <a:noFill/>
                <a:prstDash val="solid"/>
                <a:miter/>
              </a:ln>
            </p:spPr>
            <p:txBody>
              <a:bodyPr rtlCol="0" anchor="ctr"/>
              <a:lstStyle/>
              <a:p>
                <a:pPr rtl="0"/>
                <a:endParaRPr lang="en-AU" dirty="0"/>
              </a:p>
            </p:txBody>
          </p:sp>
          <p:sp>
            <p:nvSpPr>
              <p:cNvPr id="115" name="Freeform: Shape 114">
                <a:extLst>
                  <a:ext uri="{FF2B5EF4-FFF2-40B4-BE49-F238E27FC236}">
                    <a16:creationId xmlns:a16="http://schemas.microsoft.com/office/drawing/2014/main" id="{69429EA5-5B7A-B65C-2AF1-0E61EC2FAFB7}"/>
                  </a:ext>
                </a:extLst>
              </p:cNvPr>
              <p:cNvSpPr/>
              <p:nvPr/>
            </p:nvSpPr>
            <p:spPr>
              <a:xfrm>
                <a:off x="6594252" y="3905820"/>
                <a:ext cx="20192" cy="115252"/>
              </a:xfrm>
              <a:custGeom>
                <a:avLst/>
                <a:gdLst>
                  <a:gd name="connsiteX0" fmla="*/ 0 w 20192"/>
                  <a:gd name="connsiteY0" fmla="*/ 115253 h 115252"/>
                  <a:gd name="connsiteX1" fmla="*/ 0 w 20192"/>
                  <a:gd name="connsiteY1" fmla="*/ 0 h 115252"/>
                  <a:gd name="connsiteX2" fmla="*/ 20193 w 20192"/>
                  <a:gd name="connsiteY2" fmla="*/ 0 h 115252"/>
                  <a:gd name="connsiteX3" fmla="*/ 20193 w 20192"/>
                  <a:gd name="connsiteY3" fmla="*/ 115253 h 115252"/>
                  <a:gd name="connsiteX4" fmla="*/ 0 w 20192"/>
                  <a:gd name="connsiteY4" fmla="*/ 115253 h 115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 h="115252">
                    <a:moveTo>
                      <a:pt x="0" y="115253"/>
                    </a:moveTo>
                    <a:lnTo>
                      <a:pt x="0" y="0"/>
                    </a:lnTo>
                    <a:lnTo>
                      <a:pt x="20193" y="0"/>
                    </a:lnTo>
                    <a:lnTo>
                      <a:pt x="20193"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116" name="Freeform: Shape 115">
                <a:extLst>
                  <a:ext uri="{FF2B5EF4-FFF2-40B4-BE49-F238E27FC236}">
                    <a16:creationId xmlns:a16="http://schemas.microsoft.com/office/drawing/2014/main" id="{1E3B8889-92E2-9687-91F2-F9DEBEB29B29}"/>
                  </a:ext>
                </a:extLst>
              </p:cNvPr>
              <p:cNvSpPr/>
              <p:nvPr/>
            </p:nvSpPr>
            <p:spPr>
              <a:xfrm>
                <a:off x="6662451"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7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7"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117" name="Freeform: Shape 116">
                <a:extLst>
                  <a:ext uri="{FF2B5EF4-FFF2-40B4-BE49-F238E27FC236}">
                    <a16:creationId xmlns:a16="http://schemas.microsoft.com/office/drawing/2014/main" id="{9E838223-530D-95A1-B100-2175D417A86E}"/>
                  </a:ext>
                </a:extLst>
              </p:cNvPr>
              <p:cNvSpPr/>
              <p:nvPr/>
            </p:nvSpPr>
            <p:spPr>
              <a:xfrm>
                <a:off x="6790181"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2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2009 w 109918"/>
                  <a:gd name="connsiteY9" fmla="*/ 79057 h 116966"/>
                  <a:gd name="connsiteX10" fmla="*/ 55245 w 109918"/>
                  <a:gd name="connsiteY10" fmla="*/ 38290 h 116966"/>
                  <a:gd name="connsiteX11" fmla="*/ 38100 w 109918"/>
                  <a:gd name="connsiteY11" fmla="*/ 79057 h 116966"/>
                  <a:gd name="connsiteX12" fmla="*/ 72009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2" y="94107"/>
                    </a:lnTo>
                    <a:lnTo>
                      <a:pt x="21146" y="116967"/>
                    </a:lnTo>
                    <a:lnTo>
                      <a:pt x="0" y="116967"/>
                    </a:lnTo>
                    <a:lnTo>
                      <a:pt x="54673" y="0"/>
                    </a:lnTo>
                    <a:close/>
                    <a:moveTo>
                      <a:pt x="72009" y="79057"/>
                    </a:moveTo>
                    <a:cubicBezTo>
                      <a:pt x="65437" y="64294"/>
                      <a:pt x="60007" y="51340"/>
                      <a:pt x="55245" y="38290"/>
                    </a:cubicBezTo>
                    <a:cubicBezTo>
                      <a:pt x="50292" y="50292"/>
                      <a:pt x="44387" y="65056"/>
                      <a:pt x="38100" y="79057"/>
                    </a:cubicBezTo>
                    <a:lnTo>
                      <a:pt x="72009" y="79057"/>
                    </a:lnTo>
                    <a:close/>
                  </a:path>
                </a:pathLst>
              </a:custGeom>
              <a:solidFill>
                <a:srgbClr val="003646"/>
              </a:solidFill>
              <a:ln w="9525" cap="flat">
                <a:noFill/>
                <a:prstDash val="solid"/>
                <a:miter/>
              </a:ln>
            </p:spPr>
            <p:txBody>
              <a:bodyPr rtlCol="0" anchor="ctr"/>
              <a:lstStyle/>
              <a:p>
                <a:pPr rtl="0"/>
                <a:endParaRPr lang="en-AU" dirty="0"/>
              </a:p>
            </p:txBody>
          </p:sp>
          <p:sp>
            <p:nvSpPr>
              <p:cNvPr id="118" name="Freeform: Shape 117">
                <a:extLst>
                  <a:ext uri="{FF2B5EF4-FFF2-40B4-BE49-F238E27FC236}">
                    <a16:creationId xmlns:a16="http://schemas.microsoft.com/office/drawing/2014/main" id="{5E427475-23C4-E47B-3489-04CC653FB9AB}"/>
                  </a:ext>
                </a:extLst>
              </p:cNvPr>
              <p:cNvSpPr/>
              <p:nvPr/>
            </p:nvSpPr>
            <p:spPr>
              <a:xfrm>
                <a:off x="6934675" y="3905820"/>
                <a:ext cx="81343" cy="115252"/>
              </a:xfrm>
              <a:custGeom>
                <a:avLst/>
                <a:gdLst>
                  <a:gd name="connsiteX0" fmla="*/ 81344 w 81343"/>
                  <a:gd name="connsiteY0" fmla="*/ 82105 h 115252"/>
                  <a:gd name="connsiteX1" fmla="*/ 40196 w 81343"/>
                  <a:gd name="connsiteY1" fmla="*/ 115253 h 115252"/>
                  <a:gd name="connsiteX2" fmla="*/ 0 w 81343"/>
                  <a:gd name="connsiteY2" fmla="*/ 115253 h 115252"/>
                  <a:gd name="connsiteX3" fmla="*/ 0 w 81343"/>
                  <a:gd name="connsiteY3" fmla="*/ 0 h 115252"/>
                  <a:gd name="connsiteX4" fmla="*/ 36481 w 81343"/>
                  <a:gd name="connsiteY4" fmla="*/ 0 h 115252"/>
                  <a:gd name="connsiteX5" fmla="*/ 76771 w 81343"/>
                  <a:gd name="connsiteY5" fmla="*/ 32004 h 115252"/>
                  <a:gd name="connsiteX6" fmla="*/ 62198 w 81343"/>
                  <a:gd name="connsiteY6" fmla="*/ 54769 h 115252"/>
                  <a:gd name="connsiteX7" fmla="*/ 81344 w 81343"/>
                  <a:gd name="connsiteY7" fmla="*/ 82105 h 115252"/>
                  <a:gd name="connsiteX8" fmla="*/ 36862 w 81343"/>
                  <a:gd name="connsiteY8" fmla="*/ 49054 h 115252"/>
                  <a:gd name="connsiteX9" fmla="*/ 46673 w 81343"/>
                  <a:gd name="connsiteY9" fmla="*/ 48578 h 115252"/>
                  <a:gd name="connsiteX10" fmla="*/ 56388 w 81343"/>
                  <a:gd name="connsiteY10" fmla="*/ 33528 h 115252"/>
                  <a:gd name="connsiteX11" fmla="*/ 37814 w 81343"/>
                  <a:gd name="connsiteY11" fmla="*/ 16288 h 115252"/>
                  <a:gd name="connsiteX12" fmla="*/ 19431 w 81343"/>
                  <a:gd name="connsiteY12" fmla="*/ 16288 h 115252"/>
                  <a:gd name="connsiteX13" fmla="*/ 19431 w 81343"/>
                  <a:gd name="connsiteY13" fmla="*/ 49054 h 115252"/>
                  <a:gd name="connsiteX14" fmla="*/ 36862 w 81343"/>
                  <a:gd name="connsiteY14" fmla="*/ 49054 h 115252"/>
                  <a:gd name="connsiteX15" fmla="*/ 19336 w 81343"/>
                  <a:gd name="connsiteY15" fmla="*/ 99060 h 115252"/>
                  <a:gd name="connsiteX16" fmla="*/ 40958 w 81343"/>
                  <a:gd name="connsiteY16" fmla="*/ 99060 h 115252"/>
                  <a:gd name="connsiteX17" fmla="*/ 60674 w 81343"/>
                  <a:gd name="connsiteY17" fmla="*/ 81153 h 115252"/>
                  <a:gd name="connsiteX18" fmla="*/ 43244 w 81343"/>
                  <a:gd name="connsiteY18" fmla="*/ 63341 h 115252"/>
                  <a:gd name="connsiteX19" fmla="*/ 19431 w 81343"/>
                  <a:gd name="connsiteY19" fmla="*/ 63341 h 115252"/>
                  <a:gd name="connsiteX20" fmla="*/ 19431 w 81343"/>
                  <a:gd name="connsiteY20" fmla="*/ 99060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343" h="115252">
                    <a:moveTo>
                      <a:pt x="81344" y="82105"/>
                    </a:moveTo>
                    <a:cubicBezTo>
                      <a:pt x="81344" y="102870"/>
                      <a:pt x="64675" y="115253"/>
                      <a:pt x="40196" y="115253"/>
                    </a:cubicBezTo>
                    <a:lnTo>
                      <a:pt x="0" y="115253"/>
                    </a:lnTo>
                    <a:lnTo>
                      <a:pt x="0" y="0"/>
                    </a:lnTo>
                    <a:lnTo>
                      <a:pt x="36481" y="0"/>
                    </a:lnTo>
                    <a:cubicBezTo>
                      <a:pt x="60008" y="0"/>
                      <a:pt x="76771" y="11335"/>
                      <a:pt x="76771" y="32004"/>
                    </a:cubicBezTo>
                    <a:cubicBezTo>
                      <a:pt x="76771" y="42386"/>
                      <a:pt x="70676" y="50863"/>
                      <a:pt x="62198" y="54769"/>
                    </a:cubicBezTo>
                    <a:cubicBezTo>
                      <a:pt x="72962" y="58483"/>
                      <a:pt x="81344" y="69342"/>
                      <a:pt x="81344" y="82105"/>
                    </a:cubicBezTo>
                    <a:close/>
                    <a:moveTo>
                      <a:pt x="36862" y="49054"/>
                    </a:moveTo>
                    <a:cubicBezTo>
                      <a:pt x="40196" y="49054"/>
                      <a:pt x="43625" y="48863"/>
                      <a:pt x="46673" y="48578"/>
                    </a:cubicBezTo>
                    <a:cubicBezTo>
                      <a:pt x="52578" y="46673"/>
                      <a:pt x="56388" y="41338"/>
                      <a:pt x="56388" y="33528"/>
                    </a:cubicBezTo>
                    <a:cubicBezTo>
                      <a:pt x="56388" y="22860"/>
                      <a:pt x="49149" y="16288"/>
                      <a:pt x="37814" y="16288"/>
                    </a:cubicBezTo>
                    <a:lnTo>
                      <a:pt x="19431" y="16288"/>
                    </a:lnTo>
                    <a:lnTo>
                      <a:pt x="19431" y="49054"/>
                    </a:lnTo>
                    <a:lnTo>
                      <a:pt x="36862" y="49054"/>
                    </a:lnTo>
                    <a:close/>
                    <a:moveTo>
                      <a:pt x="19336" y="99060"/>
                    </a:moveTo>
                    <a:lnTo>
                      <a:pt x="40958" y="99060"/>
                    </a:lnTo>
                    <a:cubicBezTo>
                      <a:pt x="52483" y="99060"/>
                      <a:pt x="60674" y="92202"/>
                      <a:pt x="60674" y="81153"/>
                    </a:cubicBezTo>
                    <a:cubicBezTo>
                      <a:pt x="60674" y="69818"/>
                      <a:pt x="53340" y="63341"/>
                      <a:pt x="43244" y="63341"/>
                    </a:cubicBezTo>
                    <a:lnTo>
                      <a:pt x="19431" y="63341"/>
                    </a:lnTo>
                    <a:lnTo>
                      <a:pt x="19431" y="99060"/>
                    </a:lnTo>
                    <a:close/>
                  </a:path>
                </a:pathLst>
              </a:custGeom>
              <a:solidFill>
                <a:srgbClr val="003646"/>
              </a:solidFill>
              <a:ln w="9525" cap="flat">
                <a:noFill/>
                <a:prstDash val="solid"/>
                <a:miter/>
              </a:ln>
            </p:spPr>
            <p:txBody>
              <a:bodyPr rtlCol="0" anchor="ctr"/>
              <a:lstStyle/>
              <a:p>
                <a:pPr rtl="0"/>
                <a:endParaRPr lang="en-AU" dirty="0"/>
              </a:p>
            </p:txBody>
          </p:sp>
          <p:sp>
            <p:nvSpPr>
              <p:cNvPr id="119" name="Freeform: Shape 118">
                <a:extLst>
                  <a:ext uri="{FF2B5EF4-FFF2-40B4-BE49-F238E27FC236}">
                    <a16:creationId xmlns:a16="http://schemas.microsoft.com/office/drawing/2014/main" id="{FAD47BA3-A8BD-25BA-2118-C83EA24BEF32}"/>
                  </a:ext>
                </a:extLst>
              </p:cNvPr>
              <p:cNvSpPr/>
              <p:nvPr/>
            </p:nvSpPr>
            <p:spPr>
              <a:xfrm>
                <a:off x="7058024" y="3905820"/>
                <a:ext cx="67056" cy="115252"/>
              </a:xfrm>
              <a:custGeom>
                <a:avLst/>
                <a:gdLst>
                  <a:gd name="connsiteX0" fmla="*/ 0 w 67056"/>
                  <a:gd name="connsiteY0" fmla="*/ 115253 h 115252"/>
                  <a:gd name="connsiteX1" fmla="*/ 0 w 67056"/>
                  <a:gd name="connsiteY1" fmla="*/ 0 h 115252"/>
                  <a:gd name="connsiteX2" fmla="*/ 20193 w 67056"/>
                  <a:gd name="connsiteY2" fmla="*/ 0 h 115252"/>
                  <a:gd name="connsiteX3" fmla="*/ 20193 w 67056"/>
                  <a:gd name="connsiteY3" fmla="*/ 98203 h 115252"/>
                  <a:gd name="connsiteX4" fmla="*/ 67056 w 67056"/>
                  <a:gd name="connsiteY4" fmla="*/ 98203 h 115252"/>
                  <a:gd name="connsiteX5" fmla="*/ 67056 w 67056"/>
                  <a:gd name="connsiteY5" fmla="*/ 115157 h 115252"/>
                  <a:gd name="connsiteX6" fmla="*/ 0 w 67056"/>
                  <a:gd name="connsiteY6" fmla="*/ 115157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56" h="115252">
                    <a:moveTo>
                      <a:pt x="0" y="115253"/>
                    </a:moveTo>
                    <a:lnTo>
                      <a:pt x="0" y="0"/>
                    </a:lnTo>
                    <a:lnTo>
                      <a:pt x="20193" y="0"/>
                    </a:lnTo>
                    <a:lnTo>
                      <a:pt x="20193" y="98203"/>
                    </a:lnTo>
                    <a:lnTo>
                      <a:pt x="67056" y="98203"/>
                    </a:lnTo>
                    <a:lnTo>
                      <a:pt x="67056" y="115157"/>
                    </a:lnTo>
                    <a:lnTo>
                      <a:pt x="0" y="115157"/>
                    </a:lnTo>
                    <a:close/>
                  </a:path>
                </a:pathLst>
              </a:custGeom>
              <a:solidFill>
                <a:srgbClr val="003646"/>
              </a:solidFill>
              <a:ln w="9525" cap="flat">
                <a:noFill/>
                <a:prstDash val="solid"/>
                <a:miter/>
              </a:ln>
            </p:spPr>
            <p:txBody>
              <a:bodyPr rtlCol="0" anchor="ctr"/>
              <a:lstStyle/>
              <a:p>
                <a:pPr rtl="0"/>
                <a:endParaRPr lang="en-AU" dirty="0"/>
              </a:p>
            </p:txBody>
          </p:sp>
          <p:sp>
            <p:nvSpPr>
              <p:cNvPr id="120" name="Freeform: Shape 119">
                <a:extLst>
                  <a:ext uri="{FF2B5EF4-FFF2-40B4-BE49-F238E27FC236}">
                    <a16:creationId xmlns:a16="http://schemas.microsoft.com/office/drawing/2014/main" id="{C0271BD8-A8E1-62AC-73A4-EED30BE7C2C2}"/>
                  </a:ext>
                </a:extLst>
              </p:cNvPr>
              <p:cNvSpPr/>
              <p:nvPr/>
            </p:nvSpPr>
            <p:spPr>
              <a:xfrm>
                <a:off x="7161275"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sp>
            <p:nvSpPr>
              <p:cNvPr id="121" name="Freeform: Shape 120">
                <a:extLst>
                  <a:ext uri="{FF2B5EF4-FFF2-40B4-BE49-F238E27FC236}">
                    <a16:creationId xmlns:a16="http://schemas.microsoft.com/office/drawing/2014/main" id="{D4B50E99-9C48-DF82-653E-A4FC3A6E16C5}"/>
                  </a:ext>
                </a:extLst>
              </p:cNvPr>
              <p:cNvSpPr/>
              <p:nvPr/>
            </p:nvSpPr>
            <p:spPr>
              <a:xfrm>
                <a:off x="7372635" y="3903725"/>
                <a:ext cx="95535" cy="119443"/>
              </a:xfrm>
              <a:custGeom>
                <a:avLst/>
                <a:gdLst>
                  <a:gd name="connsiteX0" fmla="*/ 94678 w 95535"/>
                  <a:gd name="connsiteY0" fmla="*/ 26956 h 119443"/>
                  <a:gd name="connsiteX1" fmla="*/ 61722 w 95535"/>
                  <a:gd name="connsiteY1" fmla="*/ 18669 h 119443"/>
                  <a:gd name="connsiteX2" fmla="*/ 20288 w 95535"/>
                  <a:gd name="connsiteY2" fmla="*/ 59817 h 119443"/>
                  <a:gd name="connsiteX3" fmla="*/ 61246 w 95535"/>
                  <a:gd name="connsiteY3" fmla="*/ 100965 h 119443"/>
                  <a:gd name="connsiteX4" fmla="*/ 95536 w 95535"/>
                  <a:gd name="connsiteY4" fmla="*/ 92774 h 119443"/>
                  <a:gd name="connsiteX5" fmla="*/ 95536 w 95535"/>
                  <a:gd name="connsiteY5" fmla="*/ 111442 h 119443"/>
                  <a:gd name="connsiteX6" fmla="*/ 60484 w 95535"/>
                  <a:gd name="connsiteY6" fmla="*/ 119444 h 119443"/>
                  <a:gd name="connsiteX7" fmla="*/ 0 w 95535"/>
                  <a:gd name="connsiteY7" fmla="*/ 59722 h 119443"/>
                  <a:gd name="connsiteX8" fmla="*/ 60960 w 95535"/>
                  <a:gd name="connsiteY8" fmla="*/ 0 h 119443"/>
                  <a:gd name="connsiteX9" fmla="*/ 94678 w 95535"/>
                  <a:gd name="connsiteY9" fmla="*/ 8192 h 119443"/>
                  <a:gd name="connsiteX10" fmla="*/ 94678 w 95535"/>
                  <a:gd name="connsiteY10" fmla="*/ 26956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35" h="119443">
                    <a:moveTo>
                      <a:pt x="94678" y="26956"/>
                    </a:moveTo>
                    <a:cubicBezTo>
                      <a:pt x="87440" y="23241"/>
                      <a:pt x="76105" y="18669"/>
                      <a:pt x="61722" y="18669"/>
                    </a:cubicBezTo>
                    <a:cubicBezTo>
                      <a:pt x="36957" y="18669"/>
                      <a:pt x="20288" y="36576"/>
                      <a:pt x="20288" y="59817"/>
                    </a:cubicBezTo>
                    <a:cubicBezTo>
                      <a:pt x="20288" y="83058"/>
                      <a:pt x="36957" y="100965"/>
                      <a:pt x="61246" y="100965"/>
                    </a:cubicBezTo>
                    <a:cubicBezTo>
                      <a:pt x="76581" y="100965"/>
                      <a:pt x="88297" y="96488"/>
                      <a:pt x="95536" y="92774"/>
                    </a:cubicBezTo>
                    <a:lnTo>
                      <a:pt x="95536" y="111442"/>
                    </a:lnTo>
                    <a:cubicBezTo>
                      <a:pt x="90773" y="114205"/>
                      <a:pt x="77629" y="119444"/>
                      <a:pt x="60484" y="119444"/>
                    </a:cubicBezTo>
                    <a:cubicBezTo>
                      <a:pt x="25718" y="119444"/>
                      <a:pt x="0" y="93821"/>
                      <a:pt x="0" y="59722"/>
                    </a:cubicBezTo>
                    <a:cubicBezTo>
                      <a:pt x="0" y="25813"/>
                      <a:pt x="25813" y="0"/>
                      <a:pt x="60960" y="0"/>
                    </a:cubicBezTo>
                    <a:cubicBezTo>
                      <a:pt x="77629" y="0"/>
                      <a:pt x="89916" y="5429"/>
                      <a:pt x="94678" y="8192"/>
                    </a:cubicBezTo>
                    <a:lnTo>
                      <a:pt x="94678" y="26956"/>
                    </a:lnTo>
                    <a:close/>
                  </a:path>
                </a:pathLst>
              </a:custGeom>
              <a:solidFill>
                <a:srgbClr val="003646"/>
              </a:solidFill>
              <a:ln w="9525" cap="flat">
                <a:noFill/>
                <a:prstDash val="solid"/>
                <a:miter/>
              </a:ln>
            </p:spPr>
            <p:txBody>
              <a:bodyPr rtlCol="0" anchor="ctr"/>
              <a:lstStyle/>
              <a:p>
                <a:pPr rtl="0"/>
                <a:endParaRPr lang="en-AU" dirty="0"/>
              </a:p>
            </p:txBody>
          </p:sp>
          <p:sp>
            <p:nvSpPr>
              <p:cNvPr id="122" name="Freeform: Shape 121">
                <a:extLst>
                  <a:ext uri="{FF2B5EF4-FFF2-40B4-BE49-F238E27FC236}">
                    <a16:creationId xmlns:a16="http://schemas.microsoft.com/office/drawing/2014/main" id="{D7479843-1E1B-4349-9299-515081CE9D5C}"/>
                  </a:ext>
                </a:extLst>
              </p:cNvPr>
              <p:cNvSpPr/>
              <p:nvPr/>
            </p:nvSpPr>
            <p:spPr>
              <a:xfrm>
                <a:off x="7509414" y="3905820"/>
                <a:ext cx="92582" cy="115252"/>
              </a:xfrm>
              <a:custGeom>
                <a:avLst/>
                <a:gdLst>
                  <a:gd name="connsiteX0" fmla="*/ 72390 w 92582"/>
                  <a:gd name="connsiteY0" fmla="*/ 115253 h 115252"/>
                  <a:gd name="connsiteX1" fmla="*/ 72390 w 92582"/>
                  <a:gd name="connsiteY1" fmla="*/ 65342 h 115252"/>
                  <a:gd name="connsiteX2" fmla="*/ 20193 w 92582"/>
                  <a:gd name="connsiteY2" fmla="*/ 65342 h 115252"/>
                  <a:gd name="connsiteX3" fmla="*/ 20193 w 92582"/>
                  <a:gd name="connsiteY3" fmla="*/ 115253 h 115252"/>
                  <a:gd name="connsiteX4" fmla="*/ 0 w 92582"/>
                  <a:gd name="connsiteY4" fmla="*/ 115253 h 115252"/>
                  <a:gd name="connsiteX5" fmla="*/ 0 w 92582"/>
                  <a:gd name="connsiteY5" fmla="*/ 0 h 115252"/>
                  <a:gd name="connsiteX6" fmla="*/ 20193 w 92582"/>
                  <a:gd name="connsiteY6" fmla="*/ 0 h 115252"/>
                  <a:gd name="connsiteX7" fmla="*/ 20193 w 92582"/>
                  <a:gd name="connsiteY7" fmla="*/ 48482 h 115252"/>
                  <a:gd name="connsiteX8" fmla="*/ 72390 w 92582"/>
                  <a:gd name="connsiteY8" fmla="*/ 48482 h 115252"/>
                  <a:gd name="connsiteX9" fmla="*/ 72390 w 92582"/>
                  <a:gd name="connsiteY9" fmla="*/ 0 h 115252"/>
                  <a:gd name="connsiteX10" fmla="*/ 92583 w 92582"/>
                  <a:gd name="connsiteY10" fmla="*/ 0 h 115252"/>
                  <a:gd name="connsiteX11" fmla="*/ 92583 w 92582"/>
                  <a:gd name="connsiteY11" fmla="*/ 115253 h 115252"/>
                  <a:gd name="connsiteX12" fmla="*/ 72390 w 92582"/>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582" h="115252">
                    <a:moveTo>
                      <a:pt x="72390" y="115253"/>
                    </a:moveTo>
                    <a:lnTo>
                      <a:pt x="72390" y="65342"/>
                    </a:lnTo>
                    <a:lnTo>
                      <a:pt x="20193" y="65342"/>
                    </a:lnTo>
                    <a:lnTo>
                      <a:pt x="20193" y="115253"/>
                    </a:lnTo>
                    <a:lnTo>
                      <a:pt x="0" y="115253"/>
                    </a:lnTo>
                    <a:lnTo>
                      <a:pt x="0" y="0"/>
                    </a:lnTo>
                    <a:lnTo>
                      <a:pt x="20193" y="0"/>
                    </a:lnTo>
                    <a:lnTo>
                      <a:pt x="20193" y="48482"/>
                    </a:lnTo>
                    <a:lnTo>
                      <a:pt x="72390" y="48482"/>
                    </a:lnTo>
                    <a:lnTo>
                      <a:pt x="72390" y="0"/>
                    </a:lnTo>
                    <a:lnTo>
                      <a:pt x="92583" y="0"/>
                    </a:lnTo>
                    <a:lnTo>
                      <a:pt x="92583" y="115253"/>
                    </a:lnTo>
                    <a:lnTo>
                      <a:pt x="72390" y="115253"/>
                    </a:lnTo>
                    <a:close/>
                  </a:path>
                </a:pathLst>
              </a:custGeom>
              <a:solidFill>
                <a:srgbClr val="003646"/>
              </a:solidFill>
              <a:ln w="9525" cap="flat">
                <a:noFill/>
                <a:prstDash val="solid"/>
                <a:miter/>
              </a:ln>
            </p:spPr>
            <p:txBody>
              <a:bodyPr rtlCol="0" anchor="ctr"/>
              <a:lstStyle/>
              <a:p>
                <a:pPr rtl="0"/>
                <a:endParaRPr lang="en-AU" dirty="0"/>
              </a:p>
            </p:txBody>
          </p:sp>
          <p:sp>
            <p:nvSpPr>
              <p:cNvPr id="123" name="Freeform: Shape 122">
                <a:extLst>
                  <a:ext uri="{FF2B5EF4-FFF2-40B4-BE49-F238E27FC236}">
                    <a16:creationId xmlns:a16="http://schemas.microsoft.com/office/drawing/2014/main" id="{FDE93787-636F-3492-FECE-B4F737B2C378}"/>
                  </a:ext>
                </a:extLst>
              </p:cNvPr>
              <p:cNvSpPr/>
              <p:nvPr/>
            </p:nvSpPr>
            <p:spPr>
              <a:xfrm>
                <a:off x="7636477" y="3904106"/>
                <a:ext cx="109918" cy="116966"/>
              </a:xfrm>
              <a:custGeom>
                <a:avLst/>
                <a:gdLst>
                  <a:gd name="connsiteX0" fmla="*/ 54673 w 109918"/>
                  <a:gd name="connsiteY0" fmla="*/ 0 h 116966"/>
                  <a:gd name="connsiteX1" fmla="*/ 55340 w 109918"/>
                  <a:gd name="connsiteY1" fmla="*/ 0 h 116966"/>
                  <a:gd name="connsiteX2" fmla="*/ 109919 w 109918"/>
                  <a:gd name="connsiteY2" fmla="*/ 116967 h 116966"/>
                  <a:gd name="connsiteX3" fmla="*/ 88773 w 109918"/>
                  <a:gd name="connsiteY3" fmla="*/ 116967 h 116966"/>
                  <a:gd name="connsiteX4" fmla="*/ 78486 w 109918"/>
                  <a:gd name="connsiteY4" fmla="*/ 94107 h 116966"/>
                  <a:gd name="connsiteX5" fmla="*/ 31433 w 109918"/>
                  <a:gd name="connsiteY5" fmla="*/ 94107 h 116966"/>
                  <a:gd name="connsiteX6" fmla="*/ 21146 w 109918"/>
                  <a:gd name="connsiteY6" fmla="*/ 116967 h 116966"/>
                  <a:gd name="connsiteX7" fmla="*/ 0 w 109918"/>
                  <a:gd name="connsiteY7" fmla="*/ 116967 h 116966"/>
                  <a:gd name="connsiteX8" fmla="*/ 54673 w 109918"/>
                  <a:gd name="connsiteY8" fmla="*/ 0 h 116966"/>
                  <a:gd name="connsiteX9" fmla="*/ 71914 w 109918"/>
                  <a:gd name="connsiteY9" fmla="*/ 79057 h 116966"/>
                  <a:gd name="connsiteX10" fmla="*/ 55150 w 109918"/>
                  <a:gd name="connsiteY10" fmla="*/ 38290 h 116966"/>
                  <a:gd name="connsiteX11" fmla="*/ 38005 w 109918"/>
                  <a:gd name="connsiteY11" fmla="*/ 79057 h 116966"/>
                  <a:gd name="connsiteX12" fmla="*/ 71914 w 109918"/>
                  <a:gd name="connsiteY12" fmla="*/ 79057 h 11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18" h="116966">
                    <a:moveTo>
                      <a:pt x="54673" y="0"/>
                    </a:moveTo>
                    <a:lnTo>
                      <a:pt x="55340" y="0"/>
                    </a:lnTo>
                    <a:lnTo>
                      <a:pt x="109919" y="116967"/>
                    </a:lnTo>
                    <a:lnTo>
                      <a:pt x="88773" y="116967"/>
                    </a:lnTo>
                    <a:lnTo>
                      <a:pt x="78486" y="94107"/>
                    </a:lnTo>
                    <a:lnTo>
                      <a:pt x="31433" y="94107"/>
                    </a:lnTo>
                    <a:lnTo>
                      <a:pt x="21146" y="116967"/>
                    </a:lnTo>
                    <a:lnTo>
                      <a:pt x="0" y="116967"/>
                    </a:lnTo>
                    <a:lnTo>
                      <a:pt x="54673" y="0"/>
                    </a:lnTo>
                    <a:close/>
                    <a:moveTo>
                      <a:pt x="71914" y="79057"/>
                    </a:moveTo>
                    <a:cubicBezTo>
                      <a:pt x="65342" y="64294"/>
                      <a:pt x="59913" y="51340"/>
                      <a:pt x="55150" y="38290"/>
                    </a:cubicBezTo>
                    <a:cubicBezTo>
                      <a:pt x="50197" y="50292"/>
                      <a:pt x="44291" y="65056"/>
                      <a:pt x="38005" y="79057"/>
                    </a:cubicBezTo>
                    <a:lnTo>
                      <a:pt x="71914" y="79057"/>
                    </a:lnTo>
                    <a:close/>
                  </a:path>
                </a:pathLst>
              </a:custGeom>
              <a:solidFill>
                <a:srgbClr val="003646"/>
              </a:solidFill>
              <a:ln w="9525" cap="flat">
                <a:noFill/>
                <a:prstDash val="solid"/>
                <a:miter/>
              </a:ln>
            </p:spPr>
            <p:txBody>
              <a:bodyPr rtlCol="0" anchor="ctr"/>
              <a:lstStyle/>
              <a:p>
                <a:pPr rtl="0"/>
                <a:endParaRPr lang="en-AU" dirty="0"/>
              </a:p>
            </p:txBody>
          </p:sp>
          <p:sp>
            <p:nvSpPr>
              <p:cNvPr id="124" name="Freeform: Shape 123">
                <a:extLst>
                  <a:ext uri="{FF2B5EF4-FFF2-40B4-BE49-F238E27FC236}">
                    <a16:creationId xmlns:a16="http://schemas.microsoft.com/office/drawing/2014/main" id="{FA22C8AF-C670-4C04-8734-0C25F75D04C5}"/>
                  </a:ext>
                </a:extLst>
              </p:cNvPr>
              <p:cNvSpPr/>
              <p:nvPr/>
            </p:nvSpPr>
            <p:spPr>
              <a:xfrm>
                <a:off x="7780972" y="3904106"/>
                <a:ext cx="93344" cy="118776"/>
              </a:xfrm>
              <a:custGeom>
                <a:avLst/>
                <a:gdLst>
                  <a:gd name="connsiteX0" fmla="*/ 92773 w 93344"/>
                  <a:gd name="connsiteY0" fmla="*/ 118777 h 118776"/>
                  <a:gd name="connsiteX1" fmla="*/ 25432 w 93344"/>
                  <a:gd name="connsiteY1" fmla="*/ 49816 h 118776"/>
                  <a:gd name="connsiteX2" fmla="*/ 19812 w 93344"/>
                  <a:gd name="connsiteY2" fmla="*/ 44672 h 118776"/>
                  <a:gd name="connsiteX3" fmla="*/ 19812 w 93344"/>
                  <a:gd name="connsiteY3" fmla="*/ 116967 h 118776"/>
                  <a:gd name="connsiteX4" fmla="*/ 0 w 93344"/>
                  <a:gd name="connsiteY4" fmla="*/ 116967 h 118776"/>
                  <a:gd name="connsiteX5" fmla="*/ 0 w 93344"/>
                  <a:gd name="connsiteY5" fmla="*/ 0 h 118776"/>
                  <a:gd name="connsiteX6" fmla="*/ 666 w 93344"/>
                  <a:gd name="connsiteY6" fmla="*/ 0 h 118776"/>
                  <a:gd name="connsiteX7" fmla="*/ 67913 w 93344"/>
                  <a:gd name="connsiteY7" fmla="*/ 68771 h 118776"/>
                  <a:gd name="connsiteX8" fmla="*/ 73533 w 93344"/>
                  <a:gd name="connsiteY8" fmla="*/ 74200 h 118776"/>
                  <a:gd name="connsiteX9" fmla="*/ 73533 w 93344"/>
                  <a:gd name="connsiteY9" fmla="*/ 1714 h 118776"/>
                  <a:gd name="connsiteX10" fmla="*/ 93345 w 93344"/>
                  <a:gd name="connsiteY10" fmla="*/ 1714 h 118776"/>
                  <a:gd name="connsiteX11" fmla="*/ 93345 w 93344"/>
                  <a:gd name="connsiteY11" fmla="*/ 118681 h 118776"/>
                  <a:gd name="connsiteX12" fmla="*/ 92773 w 93344"/>
                  <a:gd name="connsiteY12" fmla="*/ 118681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4" h="118776">
                    <a:moveTo>
                      <a:pt x="92773" y="118777"/>
                    </a:moveTo>
                    <a:lnTo>
                      <a:pt x="25432" y="49816"/>
                    </a:lnTo>
                    <a:cubicBezTo>
                      <a:pt x="23717" y="48196"/>
                      <a:pt x="21717" y="46292"/>
                      <a:pt x="19812" y="44672"/>
                    </a:cubicBezTo>
                    <a:lnTo>
                      <a:pt x="19812" y="116967"/>
                    </a:lnTo>
                    <a:lnTo>
                      <a:pt x="0" y="116967"/>
                    </a:lnTo>
                    <a:lnTo>
                      <a:pt x="0" y="0"/>
                    </a:lnTo>
                    <a:lnTo>
                      <a:pt x="666" y="0"/>
                    </a:lnTo>
                    <a:lnTo>
                      <a:pt x="67913" y="68771"/>
                    </a:lnTo>
                    <a:lnTo>
                      <a:pt x="73533" y="74200"/>
                    </a:lnTo>
                    <a:lnTo>
                      <a:pt x="73533" y="1714"/>
                    </a:lnTo>
                    <a:lnTo>
                      <a:pt x="93345" y="1714"/>
                    </a:lnTo>
                    <a:lnTo>
                      <a:pt x="93345" y="118681"/>
                    </a:lnTo>
                    <a:lnTo>
                      <a:pt x="92773" y="118681"/>
                    </a:lnTo>
                    <a:close/>
                  </a:path>
                </a:pathLst>
              </a:custGeom>
              <a:solidFill>
                <a:srgbClr val="003646"/>
              </a:solidFill>
              <a:ln w="9525" cap="flat">
                <a:noFill/>
                <a:prstDash val="solid"/>
                <a:miter/>
              </a:ln>
            </p:spPr>
            <p:txBody>
              <a:bodyPr rtlCol="0" anchor="ctr"/>
              <a:lstStyle/>
              <a:p>
                <a:pPr rtl="0"/>
                <a:endParaRPr lang="en-AU" dirty="0"/>
              </a:p>
            </p:txBody>
          </p:sp>
          <p:sp>
            <p:nvSpPr>
              <p:cNvPr id="125" name="Freeform: Shape 124">
                <a:extLst>
                  <a:ext uri="{FF2B5EF4-FFF2-40B4-BE49-F238E27FC236}">
                    <a16:creationId xmlns:a16="http://schemas.microsoft.com/office/drawing/2014/main" id="{51F0B7EF-6E75-D512-7E6F-D75E83FEF8A3}"/>
                  </a:ext>
                </a:extLst>
              </p:cNvPr>
              <p:cNvSpPr/>
              <p:nvPr/>
            </p:nvSpPr>
            <p:spPr>
              <a:xfrm>
                <a:off x="7915465" y="3903725"/>
                <a:ext cx="99821" cy="119443"/>
              </a:xfrm>
              <a:custGeom>
                <a:avLst/>
                <a:gdLst>
                  <a:gd name="connsiteX0" fmla="*/ 61246 w 99821"/>
                  <a:gd name="connsiteY0" fmla="*/ 119444 h 119443"/>
                  <a:gd name="connsiteX1" fmla="*/ 0 w 99821"/>
                  <a:gd name="connsiteY1" fmla="*/ 59722 h 119443"/>
                  <a:gd name="connsiteX2" fmla="*/ 61436 w 99821"/>
                  <a:gd name="connsiteY2" fmla="*/ 0 h 119443"/>
                  <a:gd name="connsiteX3" fmla="*/ 96678 w 99821"/>
                  <a:gd name="connsiteY3" fmla="*/ 8001 h 119443"/>
                  <a:gd name="connsiteX4" fmla="*/ 96678 w 99821"/>
                  <a:gd name="connsiteY4" fmla="*/ 26861 h 119443"/>
                  <a:gd name="connsiteX5" fmla="*/ 62103 w 99821"/>
                  <a:gd name="connsiteY5" fmla="*/ 18574 h 119443"/>
                  <a:gd name="connsiteX6" fmla="*/ 20193 w 99821"/>
                  <a:gd name="connsiteY6" fmla="*/ 59722 h 119443"/>
                  <a:gd name="connsiteX7" fmla="*/ 61341 w 99821"/>
                  <a:gd name="connsiteY7" fmla="*/ 101156 h 119443"/>
                  <a:gd name="connsiteX8" fmla="*/ 80391 w 99821"/>
                  <a:gd name="connsiteY8" fmla="*/ 97917 h 119443"/>
                  <a:gd name="connsiteX9" fmla="*/ 80391 w 99821"/>
                  <a:gd name="connsiteY9" fmla="*/ 65246 h 119443"/>
                  <a:gd name="connsiteX10" fmla="*/ 99822 w 99821"/>
                  <a:gd name="connsiteY10" fmla="*/ 65246 h 119443"/>
                  <a:gd name="connsiteX11" fmla="*/ 99822 w 99821"/>
                  <a:gd name="connsiteY11" fmla="*/ 110490 h 119443"/>
                  <a:gd name="connsiteX12" fmla="*/ 61246 w 99821"/>
                  <a:gd name="connsiteY12" fmla="*/ 119444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21" h="119443">
                    <a:moveTo>
                      <a:pt x="61246" y="119444"/>
                    </a:moveTo>
                    <a:cubicBezTo>
                      <a:pt x="25527" y="119444"/>
                      <a:pt x="0" y="93821"/>
                      <a:pt x="0" y="59722"/>
                    </a:cubicBezTo>
                    <a:cubicBezTo>
                      <a:pt x="0" y="25813"/>
                      <a:pt x="25908" y="0"/>
                      <a:pt x="61436" y="0"/>
                    </a:cubicBezTo>
                    <a:cubicBezTo>
                      <a:pt x="78677" y="0"/>
                      <a:pt x="91344" y="5429"/>
                      <a:pt x="96678" y="8001"/>
                    </a:cubicBezTo>
                    <a:lnTo>
                      <a:pt x="96678" y="26861"/>
                    </a:lnTo>
                    <a:cubicBezTo>
                      <a:pt x="89154" y="23146"/>
                      <a:pt x="77343" y="18574"/>
                      <a:pt x="62103" y="18574"/>
                    </a:cubicBezTo>
                    <a:cubicBezTo>
                      <a:pt x="36480" y="18574"/>
                      <a:pt x="20193" y="36481"/>
                      <a:pt x="20193" y="59722"/>
                    </a:cubicBezTo>
                    <a:cubicBezTo>
                      <a:pt x="20193" y="83249"/>
                      <a:pt x="36862" y="101156"/>
                      <a:pt x="61341" y="101156"/>
                    </a:cubicBezTo>
                    <a:cubicBezTo>
                      <a:pt x="68199" y="101156"/>
                      <a:pt x="75914" y="99727"/>
                      <a:pt x="80391" y="97917"/>
                    </a:cubicBezTo>
                    <a:lnTo>
                      <a:pt x="80391" y="65246"/>
                    </a:lnTo>
                    <a:lnTo>
                      <a:pt x="99822" y="65246"/>
                    </a:lnTo>
                    <a:lnTo>
                      <a:pt x="99822" y="110490"/>
                    </a:lnTo>
                    <a:cubicBezTo>
                      <a:pt x="89821" y="115919"/>
                      <a:pt x="75152" y="119444"/>
                      <a:pt x="61246" y="119444"/>
                    </a:cubicBezTo>
                    <a:close/>
                  </a:path>
                </a:pathLst>
              </a:custGeom>
              <a:solidFill>
                <a:srgbClr val="003646"/>
              </a:solidFill>
              <a:ln w="9525" cap="flat">
                <a:noFill/>
                <a:prstDash val="solid"/>
                <a:miter/>
              </a:ln>
            </p:spPr>
            <p:txBody>
              <a:bodyPr rtlCol="0" anchor="ctr"/>
              <a:lstStyle/>
              <a:p>
                <a:pPr rtl="0"/>
                <a:endParaRPr lang="en-AU" dirty="0"/>
              </a:p>
            </p:txBody>
          </p:sp>
          <p:sp>
            <p:nvSpPr>
              <p:cNvPr id="126" name="Freeform: Shape 125">
                <a:extLst>
                  <a:ext uri="{FF2B5EF4-FFF2-40B4-BE49-F238E27FC236}">
                    <a16:creationId xmlns:a16="http://schemas.microsoft.com/office/drawing/2014/main" id="{2A6F9CF2-A4E0-9A71-B67F-155EED213DCB}"/>
                  </a:ext>
                </a:extLst>
              </p:cNvPr>
              <p:cNvSpPr/>
              <p:nvPr/>
            </p:nvSpPr>
            <p:spPr>
              <a:xfrm>
                <a:off x="8059578" y="3905820"/>
                <a:ext cx="74961" cy="115252"/>
              </a:xfrm>
              <a:custGeom>
                <a:avLst/>
                <a:gdLst>
                  <a:gd name="connsiteX0" fmla="*/ 0 w 74961"/>
                  <a:gd name="connsiteY0" fmla="*/ 115253 h 115252"/>
                  <a:gd name="connsiteX1" fmla="*/ 0 w 74961"/>
                  <a:gd name="connsiteY1" fmla="*/ 0 h 115252"/>
                  <a:gd name="connsiteX2" fmla="*/ 72485 w 74961"/>
                  <a:gd name="connsiteY2" fmla="*/ 0 h 115252"/>
                  <a:gd name="connsiteX3" fmla="*/ 72485 w 74961"/>
                  <a:gd name="connsiteY3" fmla="*/ 16954 h 115252"/>
                  <a:gd name="connsiteX4" fmla="*/ 20193 w 74961"/>
                  <a:gd name="connsiteY4" fmla="*/ 16954 h 115252"/>
                  <a:gd name="connsiteX5" fmla="*/ 20193 w 74961"/>
                  <a:gd name="connsiteY5" fmla="*/ 48673 h 115252"/>
                  <a:gd name="connsiteX6" fmla="*/ 64484 w 74961"/>
                  <a:gd name="connsiteY6" fmla="*/ 48673 h 115252"/>
                  <a:gd name="connsiteX7" fmla="*/ 64484 w 74961"/>
                  <a:gd name="connsiteY7" fmla="*/ 65151 h 115252"/>
                  <a:gd name="connsiteX8" fmla="*/ 20193 w 74961"/>
                  <a:gd name="connsiteY8" fmla="*/ 65151 h 115252"/>
                  <a:gd name="connsiteX9" fmla="*/ 20193 w 74961"/>
                  <a:gd name="connsiteY9" fmla="*/ 98298 h 115252"/>
                  <a:gd name="connsiteX10" fmla="*/ 74962 w 74961"/>
                  <a:gd name="connsiteY10" fmla="*/ 98298 h 115252"/>
                  <a:gd name="connsiteX11" fmla="*/ 74962 w 74961"/>
                  <a:gd name="connsiteY11" fmla="*/ 115253 h 115252"/>
                  <a:gd name="connsiteX12" fmla="*/ 0 w 74961"/>
                  <a:gd name="connsiteY12" fmla="*/ 11525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61" h="115252">
                    <a:moveTo>
                      <a:pt x="0" y="115253"/>
                    </a:moveTo>
                    <a:lnTo>
                      <a:pt x="0" y="0"/>
                    </a:lnTo>
                    <a:lnTo>
                      <a:pt x="72485" y="0"/>
                    </a:lnTo>
                    <a:lnTo>
                      <a:pt x="72485" y="16954"/>
                    </a:lnTo>
                    <a:lnTo>
                      <a:pt x="20193" y="16954"/>
                    </a:lnTo>
                    <a:lnTo>
                      <a:pt x="20193" y="48673"/>
                    </a:lnTo>
                    <a:lnTo>
                      <a:pt x="64484" y="48673"/>
                    </a:lnTo>
                    <a:lnTo>
                      <a:pt x="64484" y="65151"/>
                    </a:lnTo>
                    <a:lnTo>
                      <a:pt x="20193" y="65151"/>
                    </a:lnTo>
                    <a:lnTo>
                      <a:pt x="20193" y="98298"/>
                    </a:lnTo>
                    <a:lnTo>
                      <a:pt x="74962" y="98298"/>
                    </a:lnTo>
                    <a:lnTo>
                      <a:pt x="74962" y="115253"/>
                    </a:lnTo>
                    <a:lnTo>
                      <a:pt x="0" y="115253"/>
                    </a:lnTo>
                    <a:close/>
                  </a:path>
                </a:pathLst>
              </a:custGeom>
              <a:solidFill>
                <a:srgbClr val="003646"/>
              </a:solidFill>
              <a:ln w="9525" cap="flat">
                <a:noFill/>
                <a:prstDash val="solid"/>
                <a:miter/>
              </a:ln>
            </p:spPr>
            <p:txBody>
              <a:bodyPr rtlCol="0" anchor="ctr"/>
              <a:lstStyle/>
              <a:p>
                <a:pPr rtl="0"/>
                <a:endParaRPr lang="en-AU" dirty="0"/>
              </a:p>
            </p:txBody>
          </p:sp>
        </p:grpSp>
      </p:grpSp>
      <p:pic>
        <p:nvPicPr>
          <p:cNvPr id="2" name="Picture 1">
            <a:extLst>
              <a:ext uri="{FF2B5EF4-FFF2-40B4-BE49-F238E27FC236}">
                <a16:creationId xmlns:a16="http://schemas.microsoft.com/office/drawing/2014/main" id="{1966A9F6-CFF7-0AD3-4509-B949A04C2BA8}"/>
              </a:ext>
            </a:extLst>
          </p:cNvPr>
          <p:cNvPicPr>
            <a:picLocks noChangeAspect="1"/>
          </p:cNvPicPr>
          <p:nvPr userDrawn="1"/>
        </p:nvPicPr>
        <p:blipFill>
          <a:blip r:embed="rId2"/>
          <a:stretch>
            <a:fillRect/>
          </a:stretch>
        </p:blipFill>
        <p:spPr>
          <a:xfrm>
            <a:off x="4852416" y="0"/>
            <a:ext cx="7339584" cy="6858000"/>
          </a:xfrm>
          <a:prstGeom prst="rect">
            <a:avLst/>
          </a:prstGeom>
        </p:spPr>
      </p:pic>
    </p:spTree>
    <p:extLst>
      <p:ext uri="{BB962C8B-B14F-4D97-AF65-F5344CB8AC3E}">
        <p14:creationId xmlns:p14="http://schemas.microsoft.com/office/powerpoint/2010/main" val="586985778"/>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A00BD6-1402-ED9A-953E-DA22D34ECFE1}"/>
              </a:ext>
            </a:extLst>
          </p:cNvPr>
          <p:cNvGraphicFramePr>
            <a:graphicFrameLocks noChangeAspect="1"/>
          </p:cNvGraphicFramePr>
          <p:nvPr userDrawn="1">
            <p:custDataLst>
              <p:tags r:id="rId1"/>
            </p:custDataLst>
            <p:extLst>
              <p:ext uri="{D42A27DB-BD31-4B8C-83A1-F6EECF244321}">
                <p14:modId xmlns:p14="http://schemas.microsoft.com/office/powerpoint/2010/main" val="110305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think-cell data - do not delete" hidden="1">
                        <a:extLst>
                          <a:ext uri="{FF2B5EF4-FFF2-40B4-BE49-F238E27FC236}">
                            <a16:creationId xmlns:a16="http://schemas.microsoft.com/office/drawing/2014/main" id="{1FA00BD6-1402-ED9A-953E-DA22D34ECF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5533499-4F7E-C8EC-3E02-A4B068E76A5D}"/>
              </a:ext>
            </a:extLst>
          </p:cNvPr>
          <p:cNvSpPr txBox="1"/>
          <p:nvPr userDrawn="1"/>
        </p:nvSpPr>
        <p:spPr>
          <a:xfrm>
            <a:off x="813941" y="1879607"/>
            <a:ext cx="4038476" cy="4037772"/>
          </a:xfrm>
          <a:prstGeom prst="rect">
            <a:avLst/>
          </a:prstGeom>
          <a:noFill/>
        </p:spPr>
        <p:txBody>
          <a:bodyPr wrap="square" rtlCol="0">
            <a:spAutoFit/>
          </a:bodyPr>
          <a:lstStyle/>
          <a:p>
            <a:pPr algn="l" rtl="0">
              <a:lnSpc>
                <a:spcPct val="150000"/>
              </a:lnSpc>
              <a:spcBef>
                <a:spcPts val="1200"/>
              </a:spcBef>
            </a:pPr>
            <a:r>
              <a:rPr lang="en-AU" sz="8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The presentation contains the professional and personal opinions of the presenter, which are given in good faith.  As such, opinions presented herein may not always necessarily reflect the position of Worley as a whole, its officers or executive.</a:t>
            </a:r>
          </a:p>
          <a:p>
            <a:pPr algn="l" rtl="0">
              <a:lnSpc>
                <a:spcPct val="150000"/>
              </a:lnSpc>
              <a:spcBef>
                <a:spcPts val="1200"/>
              </a:spcBef>
            </a:pPr>
            <a:r>
              <a:rPr lang="en-AU" sz="8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Any forward-looking statements included in this presentation will involve subjective judgment and analysis and are subject to uncertainties, risks and contingencies—many of which are outside the control of, and may be unknown to, Worley.  </a:t>
            </a:r>
          </a:p>
          <a:p>
            <a:pPr algn="l" rtl="0">
              <a:lnSpc>
                <a:spcPct val="150000"/>
              </a:lnSpc>
              <a:spcBef>
                <a:spcPts val="1200"/>
              </a:spcBef>
            </a:pPr>
            <a:r>
              <a:rPr lang="en-AU" sz="8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Worley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lgn="l" rtl="0">
              <a:lnSpc>
                <a:spcPct val="150000"/>
              </a:lnSpc>
              <a:spcBef>
                <a:spcPts val="1200"/>
              </a:spcBef>
            </a:pPr>
            <a:r>
              <a:rPr lang="en-AU" sz="8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To the extent permitted by law, Worley and its officers, employees, related bodies and agents disclaim all liability—direct, indirect or consequential (and whether or not arising out of the negligence, default or lack of care of Worley and/or any of its agents)—for any loss or damage suffered by a recipient or other persons arising out of, or in connection with, any use or reliance on this presentation or information.</a:t>
            </a:r>
          </a:p>
        </p:txBody>
      </p:sp>
      <p:sp>
        <p:nvSpPr>
          <p:cNvPr id="6" name="Title Placeholder 1">
            <a:extLst>
              <a:ext uri="{FF2B5EF4-FFF2-40B4-BE49-F238E27FC236}">
                <a16:creationId xmlns:a16="http://schemas.microsoft.com/office/drawing/2014/main" id="{FF1B5EF7-895D-8702-2EAB-B8BBF8ED57A0}"/>
              </a:ext>
            </a:extLst>
          </p:cNvPr>
          <p:cNvSpPr txBox="1">
            <a:spLocks/>
          </p:cNvSpPr>
          <p:nvPr userDrawn="1"/>
        </p:nvSpPr>
        <p:spPr>
          <a:xfrm>
            <a:off x="893233" y="873125"/>
            <a:ext cx="3341353" cy="362228"/>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2"/>
                </a:solidFill>
                <a:latin typeface="+mj-lt"/>
                <a:ea typeface="Verdana" panose="020B0604030504040204" pitchFamily="34" charset="0"/>
                <a:cs typeface="Verdana" panose="020B0604030504040204" pitchFamily="34" charset="0"/>
              </a:defRPr>
            </a:lvl1pPr>
          </a:lstStyle>
          <a:p>
            <a:pPr rtl="0"/>
            <a:r>
              <a:rPr lang="en-AU">
                <a:solidFill>
                  <a:schemeClr val="bg1"/>
                </a:solidFill>
              </a:rPr>
              <a:t>Disclaimer</a:t>
            </a:r>
            <a:endParaRPr lang="en-AU" dirty="0">
              <a:solidFill>
                <a:schemeClr val="bg1"/>
              </a:solidFill>
            </a:endParaRPr>
          </a:p>
        </p:txBody>
      </p:sp>
      <p:sp>
        <p:nvSpPr>
          <p:cNvPr id="7" name="TextBox 6">
            <a:extLst>
              <a:ext uri="{FF2B5EF4-FFF2-40B4-BE49-F238E27FC236}">
                <a16:creationId xmlns:a16="http://schemas.microsoft.com/office/drawing/2014/main" id="{6DC4ED7A-2132-0595-A564-64EF46762F1C}"/>
              </a:ext>
            </a:extLst>
          </p:cNvPr>
          <p:cNvSpPr txBox="1"/>
          <p:nvPr userDrawn="1"/>
        </p:nvSpPr>
        <p:spPr>
          <a:xfrm>
            <a:off x="893233" y="1372814"/>
            <a:ext cx="4949514" cy="369332"/>
          </a:xfrm>
          <a:prstGeom prst="rect">
            <a:avLst/>
          </a:prstGeom>
          <a:noFill/>
        </p:spPr>
        <p:txBody>
          <a:bodyPr wrap="square" lIns="0" tIns="0" rIns="0" bIns="0" rtlCol="0">
            <a:spAutoFit/>
          </a:bodyPr>
          <a:lstStyle>
            <a:defPPr>
              <a:defRPr lang="en-US"/>
            </a:defPPr>
            <a:lvl1pPr>
              <a:defRPr sz="1200"/>
            </a:lvl1pPr>
          </a:lstStyle>
          <a:p>
            <a:pPr rtl="0"/>
            <a:r>
              <a:rPr lang="en-AU" b="1">
                <a:solidFill>
                  <a:schemeClr val="accent2"/>
                </a:solidFill>
                <a:latin typeface="Verdana" panose="020B0604030504040204" pitchFamily="34" charset="0"/>
                <a:ea typeface="Verdana" panose="020B0604030504040204" pitchFamily="34" charset="0"/>
                <a:cs typeface="Verdana" panose="020B0604030504040204" pitchFamily="34" charset="0"/>
              </a:rPr>
              <a:t>This presentation has been prepared </a:t>
            </a:r>
            <a:br>
              <a:rPr lang="en-AU" b="1">
                <a:solidFill>
                  <a:schemeClr val="accent2"/>
                </a:solidFill>
                <a:latin typeface="Verdana" panose="020B0604030504040204" pitchFamily="34" charset="0"/>
                <a:ea typeface="Verdana" panose="020B0604030504040204" pitchFamily="34" charset="0"/>
                <a:cs typeface="Verdana" panose="020B0604030504040204" pitchFamily="34" charset="0"/>
              </a:rPr>
            </a:br>
            <a:r>
              <a:rPr lang="en-AU" b="1">
                <a:solidFill>
                  <a:schemeClr val="accent2"/>
                </a:solidFill>
                <a:latin typeface="Verdana" panose="020B0604030504040204" pitchFamily="34" charset="0"/>
                <a:ea typeface="Verdana" panose="020B0604030504040204" pitchFamily="34" charset="0"/>
                <a:cs typeface="Verdana" panose="020B0604030504040204" pitchFamily="34" charset="0"/>
              </a:rPr>
              <a:t>by a representative of Worley.</a:t>
            </a:r>
            <a:endParaRPr lang="en-AU" b="1"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4CBB9F25-7B7A-84A1-0A4E-BF26AB6DD483}"/>
              </a:ext>
            </a:extLst>
          </p:cNvPr>
          <p:cNvPicPr>
            <a:picLocks noChangeAspect="1"/>
          </p:cNvPicPr>
          <p:nvPr userDrawn="1"/>
        </p:nvPicPr>
        <p:blipFill>
          <a:blip r:embed="rId5"/>
          <a:stretch>
            <a:fillRect/>
          </a:stretch>
        </p:blipFill>
        <p:spPr>
          <a:xfrm>
            <a:off x="4852416" y="0"/>
            <a:ext cx="7339584" cy="6858000"/>
          </a:xfrm>
          <a:prstGeom prst="rect">
            <a:avLst/>
          </a:prstGeom>
        </p:spPr>
      </p:pic>
    </p:spTree>
    <p:extLst>
      <p:ext uri="{BB962C8B-B14F-4D97-AF65-F5344CB8AC3E}">
        <p14:creationId xmlns:p14="http://schemas.microsoft.com/office/powerpoint/2010/main" val="3976612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C - Agenda 1">
    <p:bg>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83EC2A-D3C4-7C2E-C69E-E1C67D521C24}"/>
              </a:ext>
            </a:extLst>
          </p:cNvPr>
          <p:cNvGraphicFramePr>
            <a:graphicFrameLocks noChangeAspect="1"/>
          </p:cNvGraphicFramePr>
          <p:nvPr userDrawn="1">
            <p:custDataLst>
              <p:tags r:id="rId1"/>
            </p:custDataLst>
            <p:extLst>
              <p:ext uri="{D42A27DB-BD31-4B8C-83A1-F6EECF244321}">
                <p14:modId xmlns:p14="http://schemas.microsoft.com/office/powerpoint/2010/main" val="2904705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1C83EC2A-D3C4-7C2E-C69E-E1C67D521C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beach with red sand and blue water&#10;&#10;Description automatically generated">
            <a:extLst>
              <a:ext uri="{FF2B5EF4-FFF2-40B4-BE49-F238E27FC236}">
                <a16:creationId xmlns:a16="http://schemas.microsoft.com/office/drawing/2014/main" id="{30D0BFB1-C0C2-2F88-C7B0-DD098BF52A7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ooter Placeholder 7">
            <a:extLst>
              <a:ext uri="{FF2B5EF4-FFF2-40B4-BE49-F238E27FC236}">
                <a16:creationId xmlns:a16="http://schemas.microsoft.com/office/drawing/2014/main" id="{E7AFD596-DF90-9225-FA27-09F80241FC4C}"/>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7" name="Text Placeholder 6">
            <a:extLst>
              <a:ext uri="{FF2B5EF4-FFF2-40B4-BE49-F238E27FC236}">
                <a16:creationId xmlns:a16="http://schemas.microsoft.com/office/drawing/2014/main" id="{4CFE0B2F-D57F-8A33-F6FD-BEAF399F6CD7}"/>
              </a:ext>
            </a:extLst>
          </p:cNvPr>
          <p:cNvSpPr>
            <a:spLocks noGrp="1"/>
          </p:cNvSpPr>
          <p:nvPr>
            <p:ph type="body" sz="quarter" idx="10"/>
          </p:nvPr>
        </p:nvSpPr>
        <p:spPr>
          <a:xfrm>
            <a:off x="889000" y="2129660"/>
            <a:ext cx="7594600" cy="2862322"/>
          </a:xfrm>
          <a:prstGeom prst="rect">
            <a:avLst/>
          </a:prstGeom>
        </p:spPr>
        <p:txBody>
          <a:bodyPr>
            <a:normAutofit/>
          </a:bodyPr>
          <a:lstStyle>
            <a:lvl1pPr marL="171450" indent="-171450" rtl="0">
              <a:lnSpc>
                <a:spcPct val="150000"/>
              </a:lnSpc>
              <a:spcAft>
                <a:spcPts val="800"/>
              </a:spcAft>
              <a:buFont typeface="Arial" panose="020B0604020202020204" pitchFamily="34" charset="0"/>
              <a:buChar cha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Click to edit Master text styles</a:t>
            </a:r>
            <a:endParaRPr lang="en-AU" dirty="0"/>
          </a:p>
        </p:txBody>
      </p:sp>
      <p:sp>
        <p:nvSpPr>
          <p:cNvPr id="4" name="Slide Number Placeholder 3">
            <a:extLst>
              <a:ext uri="{FF2B5EF4-FFF2-40B4-BE49-F238E27FC236}">
                <a16:creationId xmlns:a16="http://schemas.microsoft.com/office/drawing/2014/main" id="{D15DF19E-7964-F571-E19F-5D0DD7B21191}"/>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8" name="Title Placeholder 1">
            <a:extLst>
              <a:ext uri="{FF2B5EF4-FFF2-40B4-BE49-F238E27FC236}">
                <a16:creationId xmlns:a16="http://schemas.microsoft.com/office/drawing/2014/main" id="{8A8F7B62-310E-831B-AC67-CC175FF68D75}"/>
              </a:ext>
            </a:extLst>
          </p:cNvPr>
          <p:cNvSpPr>
            <a:spLocks noGrp="1"/>
          </p:cNvSpPr>
          <p:nvPr>
            <p:ph type="title" hasCustomPrompt="1"/>
          </p:nvPr>
        </p:nvSpPr>
        <p:spPr>
          <a:xfrm>
            <a:off x="893233" y="873125"/>
            <a:ext cx="4524155" cy="383410"/>
          </a:xfrm>
          <a:prstGeom prst="rect">
            <a:avLst/>
          </a:prstGeom>
        </p:spPr>
        <p:txBody>
          <a:bodyPr vert="horz" lIns="0" tIns="0" rIns="0" bIns="0" rtlCol="0" anchor="t">
            <a:noAutofit/>
          </a:bodyPr>
          <a:lstStyle>
            <a:lvl1pPr rtl="0">
              <a:lnSpc>
                <a:spcPct val="80000"/>
              </a:lnSpc>
              <a:defRPr sz="2800">
                <a:solidFill>
                  <a:schemeClr val="bg1"/>
                </a:solidFill>
              </a:defRPr>
            </a:lvl1pPr>
          </a:lstStyle>
          <a:p>
            <a:r>
              <a:rPr lang="en-AU"/>
              <a:t>Heading goes here</a:t>
            </a:r>
            <a:endParaRPr lang="en-AU" dirty="0"/>
          </a:p>
        </p:txBody>
      </p:sp>
    </p:spTree>
    <p:extLst>
      <p:ext uri="{BB962C8B-B14F-4D97-AF65-F5344CB8AC3E}">
        <p14:creationId xmlns:p14="http://schemas.microsoft.com/office/powerpoint/2010/main" val="411415558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C - Agenda 2">
    <p:bg>
      <p:bgPr>
        <a:solidFill>
          <a:schemeClr val="bg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44E1F9-C829-1E32-705B-2858D8257E20}"/>
              </a:ext>
            </a:extLst>
          </p:cNvPr>
          <p:cNvGraphicFramePr>
            <a:graphicFrameLocks noChangeAspect="1"/>
          </p:cNvGraphicFramePr>
          <p:nvPr userDrawn="1">
            <p:custDataLst>
              <p:tags r:id="rId1"/>
            </p:custDataLst>
            <p:extLst>
              <p:ext uri="{D42A27DB-BD31-4B8C-83A1-F6EECF244321}">
                <p14:modId xmlns:p14="http://schemas.microsoft.com/office/powerpoint/2010/main" val="418319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2344E1F9-C829-1E32-705B-2858D8257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98BB953-61EE-337A-61EE-1FA12866E94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Footer Placeholder 7">
            <a:extLst>
              <a:ext uri="{FF2B5EF4-FFF2-40B4-BE49-F238E27FC236}">
                <a16:creationId xmlns:a16="http://schemas.microsoft.com/office/drawing/2014/main" id="{41C7A72D-01DA-E161-8234-224816F21EF3}"/>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bg1"/>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9" name="Text Placeholder 6">
            <a:extLst>
              <a:ext uri="{FF2B5EF4-FFF2-40B4-BE49-F238E27FC236}">
                <a16:creationId xmlns:a16="http://schemas.microsoft.com/office/drawing/2014/main" id="{ECD15C79-3242-40D9-C17C-740C3AC08135}"/>
              </a:ext>
            </a:extLst>
          </p:cNvPr>
          <p:cNvSpPr>
            <a:spLocks noGrp="1"/>
          </p:cNvSpPr>
          <p:nvPr>
            <p:ph type="body" sz="quarter" idx="10"/>
          </p:nvPr>
        </p:nvSpPr>
        <p:spPr>
          <a:xfrm>
            <a:off x="889000" y="2129660"/>
            <a:ext cx="7594600" cy="2862322"/>
          </a:xfrm>
          <a:prstGeom prst="rect">
            <a:avLst/>
          </a:prstGeom>
        </p:spPr>
        <p:txBody>
          <a:bodyPr>
            <a:normAutofit/>
          </a:bodyPr>
          <a:lstStyle>
            <a:lvl1pPr marL="171450" indent="-171450" rtl="0">
              <a:lnSpc>
                <a:spcPct val="150000"/>
              </a:lnSpc>
              <a:spcAft>
                <a:spcPts val="800"/>
              </a:spcAft>
              <a:buFont typeface="Arial" panose="020B0604020202020204" pitchFamily="34" charset="0"/>
              <a:buChar cha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Click to edit Master text styles</a:t>
            </a:r>
            <a:endParaRPr lang="en-AU" dirty="0"/>
          </a:p>
        </p:txBody>
      </p:sp>
      <p:sp>
        <p:nvSpPr>
          <p:cNvPr id="4" name="Slide Number Placeholder 3">
            <a:extLst>
              <a:ext uri="{FF2B5EF4-FFF2-40B4-BE49-F238E27FC236}">
                <a16:creationId xmlns:a16="http://schemas.microsoft.com/office/drawing/2014/main" id="{AE49857A-0F60-1442-7636-17B1C03704BB}"/>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bg1"/>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7" name="Title Placeholder 1">
            <a:extLst>
              <a:ext uri="{FF2B5EF4-FFF2-40B4-BE49-F238E27FC236}">
                <a16:creationId xmlns:a16="http://schemas.microsoft.com/office/drawing/2014/main" id="{C5A87A75-D449-83F0-655D-1DC1C3A21684}"/>
              </a:ext>
            </a:extLst>
          </p:cNvPr>
          <p:cNvSpPr>
            <a:spLocks noGrp="1"/>
          </p:cNvSpPr>
          <p:nvPr>
            <p:ph type="title" hasCustomPrompt="1"/>
          </p:nvPr>
        </p:nvSpPr>
        <p:spPr>
          <a:xfrm>
            <a:off x="893233" y="873125"/>
            <a:ext cx="4524155" cy="383410"/>
          </a:xfrm>
          <a:prstGeom prst="rect">
            <a:avLst/>
          </a:prstGeom>
        </p:spPr>
        <p:txBody>
          <a:bodyPr vert="horz" lIns="0" tIns="0" rIns="0" bIns="0" rtlCol="0" anchor="t">
            <a:noAutofit/>
          </a:bodyPr>
          <a:lstStyle>
            <a:lvl1pPr rtl="0">
              <a:lnSpc>
                <a:spcPct val="80000"/>
              </a:lnSpc>
              <a:defRPr sz="2800">
                <a:solidFill>
                  <a:schemeClr val="bg1"/>
                </a:solidFill>
              </a:defRPr>
            </a:lvl1pPr>
          </a:lstStyle>
          <a:p>
            <a:r>
              <a:rPr lang="en-AU"/>
              <a:t>Heading goes here</a:t>
            </a:r>
            <a:endParaRPr lang="en-AU" dirty="0"/>
          </a:p>
        </p:txBody>
      </p:sp>
    </p:spTree>
    <p:extLst>
      <p:ext uri="{BB962C8B-B14F-4D97-AF65-F5344CB8AC3E}">
        <p14:creationId xmlns:p14="http://schemas.microsoft.com/office/powerpoint/2010/main" val="365579882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C - Agenda 3">
    <p:bg>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DF8D70-0EF0-96F1-EFA5-01FC7897AA2F}"/>
              </a:ext>
            </a:extLst>
          </p:cNvPr>
          <p:cNvGraphicFramePr>
            <a:graphicFrameLocks noChangeAspect="1"/>
          </p:cNvGraphicFramePr>
          <p:nvPr userDrawn="1">
            <p:custDataLst>
              <p:tags r:id="rId1"/>
            </p:custDataLst>
            <p:extLst>
              <p:ext uri="{D42A27DB-BD31-4B8C-83A1-F6EECF244321}">
                <p14:modId xmlns:p14="http://schemas.microsoft.com/office/powerpoint/2010/main" val="121486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94DF8D70-0EF0-96F1-EFA5-01FC7897AA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7F69C76-AF9F-8EA3-5A1A-6B4907E058E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5" r="3478" b="7010"/>
          <a:stretch>
            <a:fillRect/>
          </a:stretch>
        </p:blipFill>
        <p:spPr>
          <a:xfrm rot="1381265">
            <a:off x="5453291" y="682151"/>
            <a:ext cx="7359559" cy="7930696"/>
          </a:xfrm>
          <a:custGeom>
            <a:avLst/>
            <a:gdLst>
              <a:gd name="connsiteX0" fmla="*/ 0 w 7359559"/>
              <a:gd name="connsiteY0" fmla="*/ 2259873 h 7930696"/>
              <a:gd name="connsiteX1" fmla="*/ 5318486 w 7359559"/>
              <a:gd name="connsiteY1" fmla="*/ 0 h 7930696"/>
              <a:gd name="connsiteX2" fmla="*/ 7359559 w 7359559"/>
              <a:gd name="connsiteY2" fmla="*/ 4803552 h 7930696"/>
              <a:gd name="connsiteX3" fmla="*/ 0 w 7359559"/>
              <a:gd name="connsiteY3" fmla="*/ 7930696 h 7930696"/>
            </a:gdLst>
            <a:ahLst/>
            <a:cxnLst>
              <a:cxn ang="0">
                <a:pos x="connsiteX0" y="connsiteY0"/>
              </a:cxn>
              <a:cxn ang="0">
                <a:pos x="connsiteX1" y="connsiteY1"/>
              </a:cxn>
              <a:cxn ang="0">
                <a:pos x="connsiteX2" y="connsiteY2"/>
              </a:cxn>
              <a:cxn ang="0">
                <a:pos x="connsiteX3" y="connsiteY3"/>
              </a:cxn>
            </a:cxnLst>
            <a:rect l="l" t="t" r="r" b="b"/>
            <a:pathLst>
              <a:path w="7359559" h="7930696">
                <a:moveTo>
                  <a:pt x="0" y="2259873"/>
                </a:moveTo>
                <a:lnTo>
                  <a:pt x="5318486" y="0"/>
                </a:lnTo>
                <a:lnTo>
                  <a:pt x="7359559" y="4803552"/>
                </a:lnTo>
                <a:lnTo>
                  <a:pt x="0" y="7930696"/>
                </a:lnTo>
                <a:close/>
              </a:path>
            </a:pathLst>
          </a:custGeom>
        </p:spPr>
      </p:pic>
      <p:sp>
        <p:nvSpPr>
          <p:cNvPr id="4" name="Rectangle 3">
            <a:extLst>
              <a:ext uri="{FF2B5EF4-FFF2-40B4-BE49-F238E27FC236}">
                <a16:creationId xmlns:a16="http://schemas.microsoft.com/office/drawing/2014/main" id="{D5BE50F3-5140-5A8A-9059-E2F80A52FAC3}"/>
              </a:ext>
            </a:extLst>
          </p:cNvPr>
          <p:cNvSpPr/>
          <p:nvPr userDrawn="1"/>
        </p:nvSpPr>
        <p:spPr>
          <a:xfrm>
            <a:off x="4349751" y="873126"/>
            <a:ext cx="3474244" cy="5092699"/>
          </a:xfrm>
          <a:prstGeom prst="rect">
            <a:avLst/>
          </a:prstGeom>
          <a:solidFill>
            <a:srgbClr val="003645"/>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34989" tIns="34989" rIns="34989" bIns="34989" numCol="1" spcCol="38100" rtlCol="0" anchor="ctr">
            <a:noAutofit/>
          </a:bodyPr>
          <a:lstStyle/>
          <a:p>
            <a:pPr defTabSz="292093" rtl="0" latinLnBrk="1" hangingPunct="0"/>
            <a:endParaRPr lang="en-AU" sz="1600" kern="0" dirty="0">
              <a:solidFill>
                <a:srgbClr val="FFFFFF"/>
              </a:solidFill>
              <a:latin typeface="Helvetica Light"/>
              <a:sym typeface="Helvetica Light"/>
            </a:endParaRPr>
          </a:p>
        </p:txBody>
      </p:sp>
      <p:sp>
        <p:nvSpPr>
          <p:cNvPr id="5" name="Footer Placeholder 7">
            <a:extLst>
              <a:ext uri="{FF2B5EF4-FFF2-40B4-BE49-F238E27FC236}">
                <a16:creationId xmlns:a16="http://schemas.microsoft.com/office/drawing/2014/main" id="{591DB4AA-85C3-FB6B-A8C7-8AE2858E71AE}"/>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9" name="Text Placeholder 6">
            <a:extLst>
              <a:ext uri="{FF2B5EF4-FFF2-40B4-BE49-F238E27FC236}">
                <a16:creationId xmlns:a16="http://schemas.microsoft.com/office/drawing/2014/main" id="{E75E3C5D-77B6-0242-2849-8FB516A81214}"/>
              </a:ext>
            </a:extLst>
          </p:cNvPr>
          <p:cNvSpPr>
            <a:spLocks noGrp="1"/>
          </p:cNvSpPr>
          <p:nvPr>
            <p:ph type="body" sz="quarter" idx="10"/>
          </p:nvPr>
        </p:nvSpPr>
        <p:spPr>
          <a:xfrm>
            <a:off x="889000" y="2129660"/>
            <a:ext cx="5532120" cy="2862322"/>
          </a:xfrm>
          <a:prstGeom prst="rect">
            <a:avLst/>
          </a:prstGeom>
        </p:spPr>
        <p:txBody>
          <a:bodyPr>
            <a:normAutofit/>
          </a:bodyPr>
          <a:lstStyle>
            <a:lvl1pPr marL="171450" indent="-171450" rtl="0">
              <a:lnSpc>
                <a:spcPct val="150000"/>
              </a:lnSpc>
              <a:spcAft>
                <a:spcPts val="800"/>
              </a:spcAft>
              <a:buFont typeface="Arial" panose="020B0604020202020204" pitchFamily="34" charset="0"/>
              <a:buChar char="•"/>
              <a:defRPr sz="1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a:t>Click to edit Master text styles</a:t>
            </a:r>
            <a:endParaRPr lang="en-AU" dirty="0"/>
          </a:p>
        </p:txBody>
      </p:sp>
      <p:sp>
        <p:nvSpPr>
          <p:cNvPr id="3" name="Slide Number Placeholder 3">
            <a:extLst>
              <a:ext uri="{FF2B5EF4-FFF2-40B4-BE49-F238E27FC236}">
                <a16:creationId xmlns:a16="http://schemas.microsoft.com/office/drawing/2014/main" id="{52CB6ED4-2F76-4570-5AED-B122E6E42A40}"/>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8" name="Title Placeholder 1">
            <a:extLst>
              <a:ext uri="{FF2B5EF4-FFF2-40B4-BE49-F238E27FC236}">
                <a16:creationId xmlns:a16="http://schemas.microsoft.com/office/drawing/2014/main" id="{33BD1256-CDDE-BFEF-06BA-70F1B01CF3A6}"/>
              </a:ext>
            </a:extLst>
          </p:cNvPr>
          <p:cNvSpPr>
            <a:spLocks noGrp="1"/>
          </p:cNvSpPr>
          <p:nvPr>
            <p:ph type="title" hasCustomPrompt="1"/>
          </p:nvPr>
        </p:nvSpPr>
        <p:spPr>
          <a:xfrm>
            <a:off x="893234" y="873125"/>
            <a:ext cx="3315600" cy="383410"/>
          </a:xfrm>
          <a:prstGeom prst="rect">
            <a:avLst/>
          </a:prstGeom>
        </p:spPr>
        <p:txBody>
          <a:bodyPr vert="horz" lIns="0" tIns="0" rIns="0" bIns="0" rtlCol="0" anchor="t">
            <a:noAutofit/>
          </a:bodyPr>
          <a:lstStyle>
            <a:lvl1pPr rtl="0">
              <a:lnSpc>
                <a:spcPct val="80000"/>
              </a:lnSpc>
              <a:defRPr sz="2800">
                <a:solidFill>
                  <a:schemeClr val="tx2"/>
                </a:solidFill>
              </a:defRPr>
            </a:lvl1pPr>
          </a:lstStyle>
          <a:p>
            <a:r>
              <a:rPr lang="en-AU"/>
              <a:t>Heading goes here</a:t>
            </a:r>
            <a:endParaRPr lang="en-AU" dirty="0"/>
          </a:p>
        </p:txBody>
      </p:sp>
    </p:spTree>
    <p:extLst>
      <p:ext uri="{BB962C8B-B14F-4D97-AF65-F5344CB8AC3E}">
        <p14:creationId xmlns:p14="http://schemas.microsoft.com/office/powerpoint/2010/main" val="378731695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4.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18.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9.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heme" Target="../theme/theme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oleObject" Target="../embeddings/oleObject42.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43.xml"/><Relationship Id="rId5" Type="http://schemas.openxmlformats.org/officeDocument/2006/relationships/theme" Target="../theme/theme4.xml"/><Relationship Id="rId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47.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48.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oleObject" Target="../embeddings/oleObject58.bin"/><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ags" Target="../tags/tag59.xml"/><Relationship Id="rId5" Type="http://schemas.openxmlformats.org/officeDocument/2006/relationships/theme" Target="../theme/theme6.xml"/><Relationship Id="rId4"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1.em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oleObject" Target="../embeddings/oleObject63.bin"/><Relationship Id="rId5" Type="http://schemas.openxmlformats.org/officeDocument/2006/relationships/slideLayout" Target="../slideLayouts/slideLayout61.xml"/><Relationship Id="rId10" Type="http://schemas.openxmlformats.org/officeDocument/2006/relationships/tags" Target="../tags/tag64.xml"/><Relationship Id="rId4" Type="http://schemas.openxmlformats.org/officeDocument/2006/relationships/slideLayout" Target="../slideLayouts/slideLayout60.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43F4F5-BB70-1230-2900-2B330697C0C1}"/>
              </a:ext>
            </a:extLst>
          </p:cNvPr>
          <p:cNvGraphicFramePr>
            <a:graphicFrameLocks noChangeAspect="1"/>
          </p:cNvGraphicFramePr>
          <p:nvPr userDrawn="1">
            <p:custDataLst>
              <p:tags r:id="rId13"/>
            </p:custDataLst>
            <p:extLst>
              <p:ext uri="{D42A27DB-BD31-4B8C-83A1-F6EECF244321}">
                <p14:modId xmlns:p14="http://schemas.microsoft.com/office/powerpoint/2010/main" val="185604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5" name="think-cell data - do not delete" hidden="1">
                        <a:extLst>
                          <a:ext uri="{FF2B5EF4-FFF2-40B4-BE49-F238E27FC236}">
                            <a16:creationId xmlns:a16="http://schemas.microsoft.com/office/drawing/2014/main" id="{EE43F4F5-BB70-1230-2900-2B330697C0C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1584551246"/>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747" r:id="rId7"/>
    <p:sldLayoutId id="2147483749" r:id="rId8"/>
    <p:sldLayoutId id="2147483750" r:id="rId9"/>
    <p:sldLayoutId id="2147483751" r:id="rId10"/>
    <p:sldLayoutId id="2147484017" r:id="rId11"/>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F26B43"/>
          </p15:clr>
        </p15:guide>
        <p15:guide id="2" orient="horz" pos="3758" userDrawn="1">
          <p15:clr>
            <a:srgbClr val="F26B43"/>
          </p15:clr>
        </p15:guide>
        <p15:guide id="3" pos="7115" userDrawn="1">
          <p15:clr>
            <a:srgbClr val="F26B43"/>
          </p15:clr>
        </p15:guide>
        <p15:guide id="4" pos="5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6DD98B-710C-1FAB-C5CB-CB11ED554C5D}"/>
              </a:ext>
            </a:extLst>
          </p:cNvPr>
          <p:cNvGraphicFramePr>
            <a:graphicFrameLocks noChangeAspect="1"/>
          </p:cNvGraphicFramePr>
          <p:nvPr userDrawn="1">
            <p:custDataLst>
              <p:tags r:id="rId6"/>
            </p:custDataLst>
            <p:extLst>
              <p:ext uri="{D42A27DB-BD31-4B8C-83A1-F6EECF244321}">
                <p14:modId xmlns:p14="http://schemas.microsoft.com/office/powerpoint/2010/main" val="111399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5" name="think-cell data - do not delete" hidden="1">
                        <a:extLst>
                          <a:ext uri="{FF2B5EF4-FFF2-40B4-BE49-F238E27FC236}">
                            <a16:creationId xmlns:a16="http://schemas.microsoft.com/office/drawing/2014/main" id="{9A6DD98B-710C-1FAB-C5CB-CB11ED554C5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135048012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F26B43"/>
          </p15:clr>
        </p15:guide>
        <p15:guide id="2" orient="horz" pos="3758">
          <p15:clr>
            <a:srgbClr val="F26B43"/>
          </p15:clr>
        </p15:guide>
        <p15:guide id="3" pos="7115">
          <p15:clr>
            <a:srgbClr val="F26B43"/>
          </p15:clr>
        </p15:guide>
        <p15:guide id="4" pos="5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C5CFFD-A55C-7766-79BE-EAB42594E0DC}"/>
              </a:ext>
            </a:extLst>
          </p:cNvPr>
          <p:cNvGraphicFramePr>
            <a:graphicFrameLocks noChangeAspect="1"/>
          </p:cNvGraphicFramePr>
          <p:nvPr userDrawn="1">
            <p:custDataLst>
              <p:tags r:id="rId25"/>
            </p:custDataLst>
            <p:extLst>
              <p:ext uri="{D42A27DB-BD31-4B8C-83A1-F6EECF244321}">
                <p14:modId xmlns:p14="http://schemas.microsoft.com/office/powerpoint/2010/main" val="34646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4" imgH="344" progId="TCLayout.ActiveDocument.1">
                  <p:embed/>
                </p:oleObj>
              </mc:Choice>
              <mc:Fallback>
                <p:oleObj name="think-cell Slide" r:id="rId26" imgW="344" imgH="344" progId="TCLayout.ActiveDocument.1">
                  <p:embed/>
                  <p:pic>
                    <p:nvPicPr>
                      <p:cNvPr id="5" name="think-cell data - do not delete" hidden="1">
                        <a:extLst>
                          <a:ext uri="{FF2B5EF4-FFF2-40B4-BE49-F238E27FC236}">
                            <a16:creationId xmlns:a16="http://schemas.microsoft.com/office/drawing/2014/main" id="{8DC5CFFD-A55C-7766-79BE-EAB42594E0D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3498525908"/>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5" r:id="rId3"/>
    <p:sldLayoutId id="2147484092" r:id="rId4"/>
    <p:sldLayoutId id="2147484093" r:id="rId5"/>
    <p:sldLayoutId id="2147484112" r:id="rId6"/>
    <p:sldLayoutId id="2147484094"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 id="2147484104" r:id="rId16"/>
    <p:sldLayoutId id="2147484105" r:id="rId17"/>
    <p:sldLayoutId id="2147484106" r:id="rId18"/>
    <p:sldLayoutId id="2147484107" r:id="rId19"/>
    <p:sldLayoutId id="2147484108" r:id="rId20"/>
    <p:sldLayoutId id="2147484109" r:id="rId21"/>
    <p:sldLayoutId id="2147484110" r:id="rId22"/>
    <p:sldLayoutId id="2147484111" r:id="rId23"/>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F26B43"/>
          </p15:clr>
        </p15:guide>
        <p15:guide id="2" orient="horz" pos="3758" userDrawn="1">
          <p15:clr>
            <a:srgbClr val="F26B43"/>
          </p15:clr>
        </p15:guide>
        <p15:guide id="3" pos="7115" userDrawn="1">
          <p15:clr>
            <a:srgbClr val="F26B43"/>
          </p15:clr>
        </p15:guide>
        <p15:guide id="4" pos="56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464245-F5FD-4674-FEF8-BF6881978AA6}"/>
              </a:ext>
            </a:extLst>
          </p:cNvPr>
          <p:cNvGraphicFramePr>
            <a:graphicFrameLocks noChangeAspect="1"/>
          </p:cNvGraphicFramePr>
          <p:nvPr userDrawn="1">
            <p:custDataLst>
              <p:tags r:id="rId6"/>
            </p:custDataLst>
            <p:extLst>
              <p:ext uri="{D42A27DB-BD31-4B8C-83A1-F6EECF244321}">
                <p14:modId xmlns:p14="http://schemas.microsoft.com/office/powerpoint/2010/main" val="555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5" name="think-cell data - do not delete" hidden="1">
                        <a:extLst>
                          <a:ext uri="{FF2B5EF4-FFF2-40B4-BE49-F238E27FC236}">
                            <a16:creationId xmlns:a16="http://schemas.microsoft.com/office/drawing/2014/main" id="{4F464245-F5FD-4674-FEF8-BF6881978AA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3038285351"/>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F26B43"/>
          </p15:clr>
        </p15:guide>
        <p15:guide id="2" orient="horz" pos="3758" userDrawn="1">
          <p15:clr>
            <a:srgbClr val="F26B43"/>
          </p15:clr>
        </p15:guide>
        <p15:guide id="3" pos="7115" userDrawn="1">
          <p15:clr>
            <a:srgbClr val="F26B43"/>
          </p15:clr>
        </p15:guide>
        <p15:guide id="4" pos="56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AB594FD-135B-F469-74E5-F86A999172AD}"/>
              </a:ext>
            </a:extLst>
          </p:cNvPr>
          <p:cNvGraphicFramePr>
            <a:graphicFrameLocks noChangeAspect="1"/>
          </p:cNvGraphicFramePr>
          <p:nvPr userDrawn="1">
            <p:custDataLst>
              <p:tags r:id="rId12"/>
            </p:custDataLst>
            <p:extLst>
              <p:ext uri="{D42A27DB-BD31-4B8C-83A1-F6EECF244321}">
                <p14:modId xmlns:p14="http://schemas.microsoft.com/office/powerpoint/2010/main" val="243436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think-cell data - do not delete" hidden="1">
                        <a:extLst>
                          <a:ext uri="{FF2B5EF4-FFF2-40B4-BE49-F238E27FC236}">
                            <a16:creationId xmlns:a16="http://schemas.microsoft.com/office/drawing/2014/main" id="{1AB594FD-135B-F469-74E5-F86A999172A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1176229821"/>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4" r:id="rId9"/>
    <p:sldLayoutId id="2147484205" r:id="rId10"/>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F26B43"/>
          </p15:clr>
        </p15:guide>
        <p15:guide id="2" orient="horz" pos="3758" userDrawn="1">
          <p15:clr>
            <a:srgbClr val="F26B43"/>
          </p15:clr>
        </p15:guide>
        <p15:guide id="3" pos="7115" userDrawn="1">
          <p15:clr>
            <a:srgbClr val="F26B43"/>
          </p15:clr>
        </p15:guide>
        <p15:guide id="4" pos="56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31DAB9-E31F-6873-4D71-361DA5A6150B}"/>
              </a:ext>
            </a:extLst>
          </p:cNvPr>
          <p:cNvGraphicFramePr>
            <a:graphicFrameLocks noChangeAspect="1"/>
          </p:cNvGraphicFramePr>
          <p:nvPr userDrawn="1">
            <p:custDataLst>
              <p:tags r:id="rId6"/>
            </p:custDataLst>
            <p:extLst>
              <p:ext uri="{D42A27DB-BD31-4B8C-83A1-F6EECF244321}">
                <p14:modId xmlns:p14="http://schemas.microsoft.com/office/powerpoint/2010/main" val="423264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5" name="think-cell data - do not delete" hidden="1">
                        <a:extLst>
                          <a:ext uri="{FF2B5EF4-FFF2-40B4-BE49-F238E27FC236}">
                            <a16:creationId xmlns:a16="http://schemas.microsoft.com/office/drawing/2014/main" id="{6D31DAB9-E31F-6873-4D71-361DA5A6150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2434675916"/>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F26B43"/>
          </p15:clr>
        </p15:guide>
        <p15:guide id="2" orient="horz" pos="3758">
          <p15:clr>
            <a:srgbClr val="F26B43"/>
          </p15:clr>
        </p15:guide>
        <p15:guide id="3" pos="7115">
          <p15:clr>
            <a:srgbClr val="F26B43"/>
          </p15:clr>
        </p15:guide>
        <p15:guide id="4" pos="5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D011F6-F978-7951-B37F-90C17BC7B74E}"/>
              </a:ext>
            </a:extLst>
          </p:cNvPr>
          <p:cNvGraphicFramePr>
            <a:graphicFrameLocks noChangeAspect="1"/>
          </p:cNvGraphicFramePr>
          <p:nvPr userDrawn="1">
            <p:custDataLst>
              <p:tags r:id="rId10"/>
            </p:custDataLst>
            <p:extLst>
              <p:ext uri="{D42A27DB-BD31-4B8C-83A1-F6EECF244321}">
                <p14:modId xmlns:p14="http://schemas.microsoft.com/office/powerpoint/2010/main" val="2078586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think-cell data - do not delete" hidden="1">
                        <a:extLst>
                          <a:ext uri="{FF2B5EF4-FFF2-40B4-BE49-F238E27FC236}">
                            <a16:creationId xmlns:a16="http://schemas.microsoft.com/office/drawing/2014/main" id="{C2D011F6-F978-7951-B37F-90C17BC7B74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6F217F-D8E3-0146-D631-EC38566A36EF}"/>
              </a:ext>
            </a:extLst>
          </p:cNvPr>
          <p:cNvSpPr>
            <a:spLocks noGrp="1"/>
          </p:cNvSpPr>
          <p:nvPr>
            <p:ph type="title"/>
          </p:nvPr>
        </p:nvSpPr>
        <p:spPr>
          <a:xfrm>
            <a:off x="889000" y="842506"/>
            <a:ext cx="10406064" cy="827191"/>
          </a:xfrm>
          <a:prstGeom prst="rect">
            <a:avLst/>
          </a:prstGeom>
        </p:spPr>
        <p:txBody>
          <a:bodyPr vert="horz" lIns="0" tIns="0" rIns="0" bIns="0" rtlCol="0" anchor="t">
            <a:noAutofit/>
          </a:bodyPr>
          <a:lstStyle/>
          <a:p>
            <a:r>
              <a:rPr lang="en-AU"/>
              <a:t>Click to edit Master title style</a:t>
            </a:r>
            <a:endParaRPr lang="en-AU" dirty="0"/>
          </a:p>
        </p:txBody>
      </p:sp>
      <p:sp>
        <p:nvSpPr>
          <p:cNvPr id="8" name="Footer Placeholder 7">
            <a:extLst>
              <a:ext uri="{FF2B5EF4-FFF2-40B4-BE49-F238E27FC236}">
                <a16:creationId xmlns:a16="http://schemas.microsoft.com/office/drawing/2014/main" id="{05AC2582-4AF7-82C5-5AFC-CAEBC21F3E32}"/>
              </a:ext>
            </a:extLst>
          </p:cNvPr>
          <p:cNvSpPr>
            <a:spLocks noGrp="1"/>
          </p:cNvSpPr>
          <p:nvPr>
            <p:ph type="ftr" sz="quarter" idx="3"/>
          </p:nvPr>
        </p:nvSpPr>
        <p:spPr>
          <a:xfrm>
            <a:off x="893764" y="6332641"/>
            <a:ext cx="4114800" cy="175038"/>
          </a:xfrm>
          <a:prstGeom prst="rect">
            <a:avLst/>
          </a:prstGeom>
        </p:spPr>
        <p:txBody>
          <a:bodyPr vert="horz" lIns="0" tIns="0" rIns="0" bIns="0" rtlCol="0" anchor="ctr"/>
          <a:lstStyle>
            <a:lvl1pPr algn="l" rtl="0">
              <a:defRPr sz="670" b="1">
                <a:solidFill>
                  <a:schemeClr val="tx2"/>
                </a:solidFill>
                <a:latin typeface="+mn-lt"/>
                <a:ea typeface="Verdana" panose="020B0604030504040204" pitchFamily="34" charset="0"/>
                <a:cs typeface="Verdana" panose="020B0604030504040204" pitchFamily="34" charset="0"/>
              </a:defRPr>
            </a:lvl1pPr>
          </a:lstStyle>
          <a:p>
            <a:r>
              <a:rPr lang="en-AU"/>
              <a:t>Greenhouse Gas Emissions Reduction in Pipeline Systems</a:t>
            </a:r>
            <a:endParaRPr lang="en-AU" dirty="0"/>
          </a:p>
        </p:txBody>
      </p:sp>
      <p:sp>
        <p:nvSpPr>
          <p:cNvPr id="4" name="Slide Number Placeholder 3">
            <a:extLst>
              <a:ext uri="{FF2B5EF4-FFF2-40B4-BE49-F238E27FC236}">
                <a16:creationId xmlns:a16="http://schemas.microsoft.com/office/drawing/2014/main" id="{3C98C8E9-53A9-E726-DFE9-07714F5557F9}"/>
              </a:ext>
            </a:extLst>
          </p:cNvPr>
          <p:cNvSpPr>
            <a:spLocks noGrp="1"/>
          </p:cNvSpPr>
          <p:nvPr>
            <p:ph type="sldNum" sz="quarter" idx="4"/>
          </p:nvPr>
        </p:nvSpPr>
        <p:spPr>
          <a:xfrm>
            <a:off x="11298236" y="6332642"/>
            <a:ext cx="893764" cy="175037"/>
          </a:xfrm>
          <a:prstGeom prst="rect">
            <a:avLst/>
          </a:prstGeom>
        </p:spPr>
        <p:txBody>
          <a:bodyPr vert="horz" lIns="0" tIns="0" rIns="0" bIns="0" rtlCol="0" anchor="ctr"/>
          <a:lstStyle>
            <a:lvl1pPr algn="ctr" rtl="0">
              <a:defRPr lang="en-MX" sz="670" b="1" smtClean="0">
                <a:solidFill>
                  <a:schemeClr val="tx2"/>
                </a:solidFill>
                <a:ea typeface="Verdana" panose="020B0604030504040204" pitchFamily="34" charset="0"/>
                <a:cs typeface="Verdana" panose="020B0604030504040204" pitchFamily="34" charset="0"/>
              </a:defRPr>
            </a:lvl1pPr>
          </a:lstStyle>
          <a:p>
            <a:fld id="{195D5CA5-55C1-564D-A16D-F77DF7B8BEAD}" type="slidenum">
              <a:rPr lang="en-AU" smtClean="0"/>
              <a:pPr/>
              <a:t>‹#›</a:t>
            </a:fld>
            <a:endParaRPr lang="en-AU" dirty="0"/>
          </a:p>
        </p:txBody>
      </p:sp>
      <p:sp>
        <p:nvSpPr>
          <p:cNvPr id="6" name="Text Placeholder 5">
            <a:extLst>
              <a:ext uri="{FF2B5EF4-FFF2-40B4-BE49-F238E27FC236}">
                <a16:creationId xmlns:a16="http://schemas.microsoft.com/office/drawing/2014/main" id="{87DF0065-1E85-3CAE-AFF2-1B24507DE8EE}"/>
              </a:ext>
            </a:extLst>
          </p:cNvPr>
          <p:cNvSpPr>
            <a:spLocks noGrp="1"/>
          </p:cNvSpPr>
          <p:nvPr>
            <p:ph type="body" idx="1"/>
          </p:nvPr>
        </p:nvSpPr>
        <p:spPr>
          <a:xfrm>
            <a:off x="889000" y="1825625"/>
            <a:ext cx="10406064" cy="4140200"/>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endParaRPr lang="en-AU" dirty="0"/>
          </a:p>
        </p:txBody>
      </p:sp>
    </p:spTree>
    <p:extLst>
      <p:ext uri="{BB962C8B-B14F-4D97-AF65-F5344CB8AC3E}">
        <p14:creationId xmlns:p14="http://schemas.microsoft.com/office/powerpoint/2010/main" val="941904229"/>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F26B43"/>
          </p15:clr>
        </p15:guide>
        <p15:guide id="2" orient="horz" pos="3758">
          <p15:clr>
            <a:srgbClr val="F26B43"/>
          </p15:clr>
        </p15:guide>
        <p15:guide id="3" pos="7115">
          <p15:clr>
            <a:srgbClr val="F26B43"/>
          </p15:clr>
        </p15:guide>
        <p15:guide id="4" pos="5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69.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68.bin"/><Relationship Id="rId9"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3.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tags" Target="../tags/tag96.xml"/><Relationship Id="rId39" Type="http://schemas.openxmlformats.org/officeDocument/2006/relationships/tags" Target="../tags/tag109.xml"/><Relationship Id="rId21" Type="http://schemas.openxmlformats.org/officeDocument/2006/relationships/tags" Target="../tags/tag91.xml"/><Relationship Id="rId34" Type="http://schemas.openxmlformats.org/officeDocument/2006/relationships/tags" Target="../tags/tag104.xml"/><Relationship Id="rId42" Type="http://schemas.openxmlformats.org/officeDocument/2006/relationships/tags" Target="../tags/tag112.xml"/><Relationship Id="rId47" Type="http://schemas.openxmlformats.org/officeDocument/2006/relationships/tags" Target="../tags/tag117.xml"/><Relationship Id="rId50" Type="http://schemas.openxmlformats.org/officeDocument/2006/relationships/tags" Target="../tags/tag120.xml"/><Relationship Id="rId55" Type="http://schemas.openxmlformats.org/officeDocument/2006/relationships/image" Target="../media/image2.emf"/><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tags" Target="../tags/tag108.xml"/><Relationship Id="rId46" Type="http://schemas.openxmlformats.org/officeDocument/2006/relationships/tags" Target="../tags/tag116.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tags" Target="../tags/tag99.xml"/><Relationship Id="rId41" Type="http://schemas.openxmlformats.org/officeDocument/2006/relationships/tags" Target="../tags/tag111.xml"/><Relationship Id="rId54" Type="http://schemas.openxmlformats.org/officeDocument/2006/relationships/oleObject" Target="../embeddings/oleObject70.bin"/><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tags" Target="../tags/tag107.xml"/><Relationship Id="rId40" Type="http://schemas.openxmlformats.org/officeDocument/2006/relationships/tags" Target="../tags/tag110.xml"/><Relationship Id="rId45" Type="http://schemas.openxmlformats.org/officeDocument/2006/relationships/tags" Target="../tags/tag115.xml"/><Relationship Id="rId53" Type="http://schemas.openxmlformats.org/officeDocument/2006/relationships/notesSlide" Target="../notesSlides/notesSlide3.xml"/><Relationship Id="rId58" Type="http://schemas.openxmlformats.org/officeDocument/2006/relationships/chart" Target="../charts/chart3.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tags" Target="../tags/tag106.xml"/><Relationship Id="rId49" Type="http://schemas.openxmlformats.org/officeDocument/2006/relationships/tags" Target="../tags/tag119.xml"/><Relationship Id="rId57" Type="http://schemas.openxmlformats.org/officeDocument/2006/relationships/chart" Target="../charts/chart2.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tags" Target="../tags/tag101.xml"/><Relationship Id="rId44" Type="http://schemas.openxmlformats.org/officeDocument/2006/relationships/tags" Target="../tags/tag114.xml"/><Relationship Id="rId52" Type="http://schemas.openxmlformats.org/officeDocument/2006/relationships/slideLayout" Target="../slideLayouts/slideLayout1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tags" Target="../tags/tag105.xml"/><Relationship Id="rId43" Type="http://schemas.openxmlformats.org/officeDocument/2006/relationships/tags" Target="../tags/tag113.xml"/><Relationship Id="rId48" Type="http://schemas.openxmlformats.org/officeDocument/2006/relationships/tags" Target="../tags/tag118.xml"/><Relationship Id="rId56" Type="http://schemas.openxmlformats.org/officeDocument/2006/relationships/chart" Target="../charts/chart1.xml"/><Relationship Id="rId8" Type="http://schemas.openxmlformats.org/officeDocument/2006/relationships/tags" Target="../tags/tag78.xml"/><Relationship Id="rId51" Type="http://schemas.openxmlformats.org/officeDocument/2006/relationships/tags" Target="../tags/tag121.xml"/><Relationship Id="rId3" Type="http://schemas.openxmlformats.org/officeDocument/2006/relationships/tags" Target="../tags/tag73.xml"/></Relationships>
</file>

<file path=ppt/slides/_rels/slide4.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chart" Target="../charts/chart4.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image" Target="../media/image1.emf"/><Relationship Id="rId2" Type="http://schemas.openxmlformats.org/officeDocument/2006/relationships/tags" Target="../tags/tag123.xml"/><Relationship Id="rId16" Type="http://schemas.openxmlformats.org/officeDocument/2006/relationships/oleObject" Target="../embeddings/oleObject71.bin"/><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notesSlide" Target="../notesSlides/notesSlide4.xml"/><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6.xml"/><Relationship Id="rId1" Type="http://schemas.openxmlformats.org/officeDocument/2006/relationships/tags" Target="../tags/tag13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xml"/><Relationship Id="rId7" Type="http://schemas.openxmlformats.org/officeDocument/2006/relationships/diagramLayout" Target="../diagrams/layout1.xml"/><Relationship Id="rId2" Type="http://schemas.openxmlformats.org/officeDocument/2006/relationships/slideLayout" Target="../slideLayouts/slideLayout16.xml"/><Relationship Id="rId1" Type="http://schemas.openxmlformats.org/officeDocument/2006/relationships/tags" Target="../tags/tag137.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74.bin"/><Relationship Id="rId9" Type="http://schemas.openxmlformats.org/officeDocument/2006/relationships/diagramColors" Target="../diagrams/colors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3.xml"/><Relationship Id="rId1" Type="http://schemas.openxmlformats.org/officeDocument/2006/relationships/tags" Target="../tags/tag138.xml"/><Relationship Id="rId6" Type="http://schemas.openxmlformats.org/officeDocument/2006/relationships/image" Target="../media/image48.jpe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7.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oleObject" Target="../embeddings/oleObject7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D743A74-39FB-E97F-782D-56CCA5874912}"/>
              </a:ext>
            </a:extLst>
          </p:cNvPr>
          <p:cNvGraphicFramePr>
            <a:graphicFrameLocks noChangeAspect="1"/>
          </p:cNvGraphicFramePr>
          <p:nvPr>
            <p:custDataLst>
              <p:tags r:id="rId1"/>
            </p:custDataLst>
            <p:extLst>
              <p:ext uri="{D42A27DB-BD31-4B8C-83A1-F6EECF244321}">
                <p14:modId xmlns:p14="http://schemas.microsoft.com/office/powerpoint/2010/main" val="429017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think-cell data - do not delete" hidden="1">
                        <a:extLst>
                          <a:ext uri="{FF2B5EF4-FFF2-40B4-BE49-F238E27FC236}">
                            <a16:creationId xmlns:a16="http://schemas.microsoft.com/office/drawing/2014/main" id="{2D743A74-39FB-E97F-782D-56CCA58749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9375FE-E847-C2F7-D7D7-7C652E61BD59}"/>
              </a:ext>
            </a:extLst>
          </p:cNvPr>
          <p:cNvSpPr>
            <a:spLocks noGrp="1"/>
          </p:cNvSpPr>
          <p:nvPr>
            <p:ph type="title"/>
          </p:nvPr>
        </p:nvSpPr>
        <p:spPr>
          <a:xfrm>
            <a:off x="893234" y="1323235"/>
            <a:ext cx="5119640" cy="1892036"/>
          </a:xfrm>
        </p:spPr>
        <p:txBody>
          <a:bodyPr vert="horz">
            <a:noAutofit/>
          </a:bodyPr>
          <a:lstStyle/>
          <a:p>
            <a:r>
              <a:rPr lang="en-AU" sz="3200" dirty="0"/>
              <a:t>Greenhouse Gas Emissions Reduction in Pipeline Systems</a:t>
            </a:r>
          </a:p>
        </p:txBody>
      </p:sp>
      <p:sp>
        <p:nvSpPr>
          <p:cNvPr id="4" name="Text Placeholder 3">
            <a:extLst>
              <a:ext uri="{FF2B5EF4-FFF2-40B4-BE49-F238E27FC236}">
                <a16:creationId xmlns:a16="http://schemas.microsoft.com/office/drawing/2014/main" id="{201651E9-4C4F-2F5A-3EBC-7474D9C28D9C}"/>
              </a:ext>
            </a:extLst>
          </p:cNvPr>
          <p:cNvSpPr>
            <a:spLocks noGrp="1"/>
          </p:cNvSpPr>
          <p:nvPr>
            <p:ph type="body" sz="quarter" idx="11"/>
          </p:nvPr>
        </p:nvSpPr>
        <p:spPr/>
        <p:txBody>
          <a:bodyPr>
            <a:normAutofit lnSpcReduction="10000"/>
          </a:bodyPr>
          <a:lstStyle/>
          <a:p>
            <a:endParaRPr lang="en-AU" dirty="0"/>
          </a:p>
        </p:txBody>
      </p:sp>
      <p:sp>
        <p:nvSpPr>
          <p:cNvPr id="5" name="Text Placeholder 4">
            <a:extLst>
              <a:ext uri="{FF2B5EF4-FFF2-40B4-BE49-F238E27FC236}">
                <a16:creationId xmlns:a16="http://schemas.microsoft.com/office/drawing/2014/main" id="{7EB741D6-BED6-B16C-54EF-53C8EE60F038}"/>
              </a:ext>
            </a:extLst>
          </p:cNvPr>
          <p:cNvSpPr>
            <a:spLocks noGrp="1"/>
          </p:cNvSpPr>
          <p:nvPr>
            <p:ph type="body" sz="quarter" idx="12"/>
          </p:nvPr>
        </p:nvSpPr>
        <p:spPr/>
        <p:txBody>
          <a:bodyPr>
            <a:normAutofit lnSpcReduction="10000"/>
          </a:bodyPr>
          <a:lstStyle/>
          <a:p>
            <a:r>
              <a:rPr lang="en-AU" dirty="0"/>
              <a:t>Morgan Grace</a:t>
            </a:r>
          </a:p>
        </p:txBody>
      </p:sp>
      <p:sp>
        <p:nvSpPr>
          <p:cNvPr id="6" name="Text Placeholder 5">
            <a:extLst>
              <a:ext uri="{FF2B5EF4-FFF2-40B4-BE49-F238E27FC236}">
                <a16:creationId xmlns:a16="http://schemas.microsoft.com/office/drawing/2014/main" id="{5D0327DE-99F9-9F61-4273-8B7B31E16EE9}"/>
              </a:ext>
            </a:extLst>
          </p:cNvPr>
          <p:cNvSpPr>
            <a:spLocks noGrp="1"/>
          </p:cNvSpPr>
          <p:nvPr>
            <p:ph type="body" sz="quarter" idx="13"/>
          </p:nvPr>
        </p:nvSpPr>
        <p:spPr/>
        <p:txBody>
          <a:bodyPr>
            <a:normAutofit lnSpcReduction="10000"/>
          </a:bodyPr>
          <a:lstStyle/>
          <a:p>
            <a:r>
              <a:rPr lang="en-AU" dirty="0"/>
              <a:t>26 June 2024</a:t>
            </a:r>
          </a:p>
        </p:txBody>
      </p:sp>
      <p:sp>
        <p:nvSpPr>
          <p:cNvPr id="15" name="Text Placeholder 14">
            <a:extLst>
              <a:ext uri="{FF2B5EF4-FFF2-40B4-BE49-F238E27FC236}">
                <a16:creationId xmlns:a16="http://schemas.microsoft.com/office/drawing/2014/main" id="{DB7F81A7-1040-42D8-845D-EC77EA617233}"/>
              </a:ext>
            </a:extLst>
          </p:cNvPr>
          <p:cNvSpPr>
            <a:spLocks noGrp="1"/>
          </p:cNvSpPr>
          <p:nvPr>
            <p:ph type="body" sz="quarter" idx="14"/>
          </p:nvPr>
        </p:nvSpPr>
        <p:spPr/>
        <p:txBody>
          <a:bodyPr/>
          <a:lstStyle/>
          <a:p>
            <a:r>
              <a:rPr lang="en-AU" dirty="0"/>
              <a:t>Emerging Fuels Symposium – Learnings from Greece 2024</a:t>
            </a:r>
          </a:p>
          <a:p>
            <a:endParaRPr lang="en-AU" dirty="0"/>
          </a:p>
          <a:p>
            <a:endParaRPr lang="en-AU" dirty="0"/>
          </a:p>
        </p:txBody>
      </p:sp>
      <p:sp>
        <p:nvSpPr>
          <p:cNvPr id="16" name="Text Placeholder 15">
            <a:extLst>
              <a:ext uri="{FF2B5EF4-FFF2-40B4-BE49-F238E27FC236}">
                <a16:creationId xmlns:a16="http://schemas.microsoft.com/office/drawing/2014/main" id="{599E6CC7-3D96-442C-9CB0-B533663FF48F}"/>
              </a:ext>
            </a:extLst>
          </p:cNvPr>
          <p:cNvSpPr>
            <a:spLocks noGrp="1"/>
          </p:cNvSpPr>
          <p:nvPr>
            <p:ph type="body" sz="quarter" idx="15"/>
          </p:nvPr>
        </p:nvSpPr>
        <p:spPr/>
        <p:txBody>
          <a:bodyPr>
            <a:normAutofit lnSpcReduction="10000"/>
          </a:bodyPr>
          <a:lstStyle/>
          <a:p>
            <a:endParaRPr lang="en-AU" dirty="0"/>
          </a:p>
        </p:txBody>
      </p:sp>
      <p:pic>
        <p:nvPicPr>
          <p:cNvPr id="26" name="Picture 25">
            <a:extLst>
              <a:ext uri="{FF2B5EF4-FFF2-40B4-BE49-F238E27FC236}">
                <a16:creationId xmlns:a16="http://schemas.microsoft.com/office/drawing/2014/main" id="{F4B9DCCD-94EC-77A0-EEDC-40B06BED43A0}"/>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7917" b="92292" l="4319" r="95388">
                        <a14:foregroundMark x1="20791" y1="23542" x2="20791" y2="23542"/>
                        <a14:foregroundMark x1="21816" y1="7917" x2="21816" y2="7917"/>
                        <a14:foregroundMark x1="22840" y1="31042" x2="22840" y2="31042"/>
                        <a14:foregroundMark x1="56076" y1="90417" x2="56076" y2="90417"/>
                        <a14:foregroundMark x1="36823" y1="21250" x2="36823" y2="21250"/>
                        <a14:foregroundMark x1="47804" y1="22292" x2="47804" y2="22292"/>
                        <a14:foregroundMark x1="44363" y1="18750" x2="44363" y2="18750"/>
                        <a14:foregroundMark x1="54319" y1="21458" x2="54319" y2="21458"/>
                        <a14:foregroundMark x1="49780" y1="22917" x2="49780" y2="22917"/>
                        <a14:foregroundMark x1="57613" y1="25417" x2="57613" y2="25417"/>
                        <a14:foregroundMark x1="62665" y1="21458" x2="62665" y2="21458"/>
                        <a14:foregroundMark x1="72108" y1="21250" x2="72108" y2="21250"/>
                        <a14:foregroundMark x1="76208" y1="15000" x2="76208" y2="15000"/>
                        <a14:foregroundMark x1="81698" y1="27708" x2="81698" y2="27708"/>
                        <a14:foregroundMark x1="85286" y1="22292" x2="85286" y2="22292"/>
                        <a14:foregroundMark x1="90264" y1="15833" x2="90264" y2="15833"/>
                        <a14:foregroundMark x1="94290" y1="19375" x2="94290" y2="19375"/>
                        <a14:foregroundMark x1="39898" y1="37083" x2="39898" y2="37083"/>
                        <a14:foregroundMark x1="43631" y1="48333" x2="43631" y2="48333"/>
                        <a14:foregroundMark x1="46559" y1="41458" x2="46559" y2="41458"/>
                        <a14:foregroundMark x1="53807" y1="41458" x2="53807" y2="41458"/>
                        <a14:foregroundMark x1="60395" y1="40625" x2="60395" y2="40625"/>
                        <a14:foregroundMark x1="65886" y1="45833" x2="65886" y2="45833"/>
                        <a14:foregroundMark x1="68228" y1="45417" x2="68228" y2="45417"/>
                        <a14:foregroundMark x1="70059" y1="46667" x2="70059" y2="46667"/>
                        <a14:foregroundMark x1="74451" y1="43958" x2="74451" y2="43958"/>
                        <a14:foregroundMark x1="68082" y1="36667" x2="68082" y2="36667"/>
                        <a14:foregroundMark x1="64714" y1="20000" x2="64714" y2="20000"/>
                        <a14:foregroundMark x1="62592" y1="15208" x2="62592" y2="15208"/>
                        <a14:foregroundMark x1="8419" y1="44167" x2="8419" y2="44167"/>
                        <a14:foregroundMark x1="72621" y1="43125" x2="72621" y2="43125"/>
                        <a14:foregroundMark x1="83602" y1="22708" x2="83602" y2="22708"/>
                        <a14:foregroundMark x1="7687" y1="81250" x2="7687" y2="81250"/>
                        <a14:foregroundMark x1="51830" y1="40833" x2="51830" y2="40833"/>
                        <a14:foregroundMark x1="80088" y1="45208" x2="80088" y2="45208"/>
                        <a14:foregroundMark x1="36969" y1="63750" x2="36969" y2="63750"/>
                        <a14:foregroundMark x1="39605" y1="62500" x2="80820" y2="64375"/>
                        <a14:foregroundMark x1="80820" y1="64375" x2="95388" y2="62083"/>
                        <a14:foregroundMark x1="4392" y1="83750" x2="8272" y2="81250"/>
                        <a14:foregroundMark x1="8931" y1="51875" x2="11640" y2="63958"/>
                        <a14:foregroundMark x1="29429" y1="63750" x2="31479" y2="54792"/>
                        <a14:foregroundMark x1="79136" y1="92292" x2="94802" y2="85625"/>
                        <a14:backgroundMark x1="51098" y1="20833" x2="51098" y2="20833"/>
                        <a14:backgroundMark x1="86823" y1="20625" x2="86823" y2="20625"/>
                        <a14:backgroundMark x1="70791" y1="22292" x2="70791" y2="22292"/>
                        <a14:backgroundMark x1="94217" y1="20625" x2="94217" y2="20625"/>
                        <a14:backgroundMark x1="93192" y1="25208" x2="93192" y2="25208"/>
                      </a14:backgroundRemoval>
                    </a14:imgEffect>
                  </a14:imgLayer>
                </a14:imgProps>
              </a:ext>
            </a:extLst>
          </a:blip>
          <a:stretch>
            <a:fillRect/>
          </a:stretch>
        </p:blipFill>
        <p:spPr>
          <a:xfrm>
            <a:off x="9369033" y="4453276"/>
            <a:ext cx="2527404" cy="888107"/>
          </a:xfrm>
          <a:prstGeom prst="rect">
            <a:avLst/>
          </a:prstGeom>
        </p:spPr>
      </p:pic>
      <p:pic>
        <p:nvPicPr>
          <p:cNvPr id="20" name="Picture 19">
            <a:extLst>
              <a:ext uri="{FF2B5EF4-FFF2-40B4-BE49-F238E27FC236}">
                <a16:creationId xmlns:a16="http://schemas.microsoft.com/office/drawing/2014/main" id="{4AEF9619-4B32-46AB-BC00-3B8975E37B0E}"/>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4366" b="95771" l="1146" r="98445">
                        <a14:foregroundMark x1="24468" y1="8186" x2="14157" y2="15553"/>
                        <a14:foregroundMark x1="14157" y1="15553" x2="10720" y2="23465"/>
                        <a14:foregroundMark x1="10720" y1="23465" x2="6056" y2="51569"/>
                        <a14:foregroundMark x1="6056" y1="51569" x2="10638" y2="78854"/>
                        <a14:foregroundMark x1="10638" y1="78854" x2="14566" y2="86221"/>
                        <a14:foregroundMark x1="14566" y1="86221" x2="25941" y2="95498"/>
                        <a14:foregroundMark x1="25941" y1="95498" x2="31424" y2="95907"/>
                        <a14:foregroundMark x1="31424" y1="95907" x2="34697" y2="94952"/>
                        <a14:foregroundMark x1="32406" y1="23602" x2="27005" y2="38881"/>
                        <a14:foregroundMark x1="27005" y1="38881" x2="27250" y2="56480"/>
                        <a14:foregroundMark x1="27250" y1="56480" x2="29705" y2="65211"/>
                        <a14:foregroundMark x1="29705" y1="65211" x2="39525" y2="72715"/>
                        <a14:foregroundMark x1="39525" y1="72715" x2="40998" y2="73261"/>
                        <a14:foregroundMark x1="41735" y1="53888" x2="45827" y2="32333"/>
                        <a14:foregroundMark x1="57774" y1="56207" x2="57201" y2="38608"/>
                        <a14:foregroundMark x1="57201" y1="38608" x2="57938" y2="34379"/>
                        <a14:foregroundMark x1="79051" y1="34243" x2="72995" y2="33015"/>
                        <a14:foregroundMark x1="72995" y1="33015" x2="70295" y2="49795"/>
                        <a14:foregroundMark x1="70295" y1="49795" x2="74877" y2="53752"/>
                        <a14:foregroundMark x1="74877" y1="53752" x2="80687" y2="51432"/>
                        <a14:foregroundMark x1="85025" y1="53479" x2="89362" y2="34925"/>
                        <a14:foregroundMark x1="89362" y1="34925" x2="93535" y2="39836"/>
                        <a14:foregroundMark x1="93535" y1="39836" x2="97463" y2="53206"/>
                        <a14:foregroundMark x1="23813" y1="5730" x2="29378" y2="6412"/>
                        <a14:foregroundMark x1="29378" y1="6412" x2="35843" y2="4638"/>
                        <a14:foregroundMark x1="6383" y1="30696" x2="4992" y2="63984"/>
                        <a14:foregroundMark x1="1227" y1="46385" x2="1473" y2="53479"/>
                        <a14:foregroundMark x1="39362" y1="14188" x2="33633" y2="14188"/>
                        <a14:foregroundMark x1="33633" y1="14188" x2="28314" y2="16644"/>
                        <a14:foregroundMark x1="28314" y1="16644" x2="24059" y2="21692"/>
                        <a14:foregroundMark x1="24059" y1="21692" x2="17103" y2="45020"/>
                        <a14:foregroundMark x1="17103" y1="45020" x2="16939" y2="63574"/>
                        <a14:foregroundMark x1="16939" y1="63574" x2="20049" y2="70396"/>
                        <a14:foregroundMark x1="20049" y1="70396" x2="34534" y2="80764"/>
                        <a14:foregroundMark x1="34534" y1="80764" x2="39935" y2="81855"/>
                        <a14:foregroundMark x1="39935" y1="81855" x2="48609" y2="77217"/>
                        <a14:foregroundMark x1="45090" y1="15689" x2="45090" y2="15689"/>
                        <a14:foregroundMark x1="45254" y1="9004" x2="45254" y2="9004"/>
                        <a14:foregroundMark x1="46645" y1="23602" x2="46645" y2="23602"/>
                        <a14:foregroundMark x1="46481" y1="9686" x2="46481" y2="9686"/>
                        <a14:foregroundMark x1="46072" y1="16235" x2="46072" y2="16235"/>
                        <a14:foregroundMark x1="46727" y1="17190" x2="46727" y2="17190"/>
                        <a14:foregroundMark x1="46072" y1="16508" x2="46072" y2="16508"/>
                        <a14:foregroundMark x1="47218" y1="23602" x2="47218" y2="23602"/>
                        <a14:foregroundMark x1="46481" y1="16644" x2="46481" y2="16644"/>
                        <a14:foregroundMark x1="51391" y1="63984" x2="51391" y2="63984"/>
                        <a14:foregroundMark x1="53028" y1="70259" x2="53028" y2="70259"/>
                        <a14:foregroundMark x1="54255" y1="78718" x2="54255" y2="78718"/>
                        <a14:foregroundMark x1="54664" y1="56480" x2="54664" y2="56480"/>
                        <a14:foregroundMark x1="39444" y1="56071" x2="39444" y2="56071"/>
                        <a14:foregroundMark x1="39034" y1="56071" x2="39034" y2="56071"/>
                        <a14:foregroundMark x1="57774" y1="64666" x2="90262" y2="66030"/>
                        <a14:foregroundMark x1="90262" y1="66030" x2="95663" y2="65621"/>
                        <a14:foregroundMark x1="95663" y1="65621" x2="98445" y2="65621"/>
                        <a14:foregroundMark x1="56710" y1="75580" x2="64157" y2="74898"/>
                        <a14:foregroundMark x1="64157" y1="74898" x2="87643" y2="75853"/>
                        <a14:foregroundMark x1="87643" y1="75853" x2="92881" y2="75171"/>
                        <a14:foregroundMark x1="92881" y1="75171" x2="95254" y2="75853"/>
                        <a14:foregroundMark x1="57856" y1="63165" x2="59820" y2="67667"/>
                        <a14:foregroundMark x1="56792" y1="66985" x2="56792" y2="66985"/>
                        <a14:foregroundMark x1="59002" y1="66849" x2="59002" y2="66849"/>
                        <a14:foregroundMark x1="59656" y1="63847" x2="64812" y2="63847"/>
                        <a14:foregroundMark x1="64812" y1="63847" x2="70295" y2="63165"/>
                        <a14:foregroundMark x1="70295" y1="63165" x2="74059" y2="63165"/>
                        <a14:foregroundMark x1="62766" y1="67121" x2="68412" y2="66439"/>
                        <a14:foregroundMark x1="68412" y1="66439" x2="78723" y2="67531"/>
                        <a14:foregroundMark x1="72095" y1="62210" x2="72095" y2="62210"/>
                        <a14:foregroundMark x1="82897" y1="62210" x2="82897" y2="62210"/>
                        <a14:foregroundMark x1="90426" y1="62483" x2="90426" y2="62483"/>
                        <a14:foregroundMark x1="89689" y1="71078" x2="89689" y2="71078"/>
                        <a14:foregroundMark x1="84124" y1="71351" x2="84124" y2="71351"/>
                        <a14:foregroundMark x1="60884" y1="71351" x2="61293" y2="71351"/>
                        <a14:foregroundMark x1="64566" y1="73124" x2="64566" y2="73124"/>
                        <a14:foregroundMark x1="73895" y1="73670" x2="73895" y2="73670"/>
                        <a14:foregroundMark x1="75041" y1="72851" x2="75041" y2="72851"/>
                        <a14:foregroundMark x1="85516" y1="72851" x2="85516" y2="72851"/>
                        <a14:foregroundMark x1="89362" y1="63029" x2="89362" y2="63029"/>
                        <a14:foregroundMark x1="98363" y1="64120" x2="98363" y2="64120"/>
                        <a14:foregroundMark x1="97381" y1="67531" x2="97381" y2="67531"/>
                        <a14:foregroundMark x1="43208" y1="7503" x2="43208" y2="7503"/>
                      </a14:backgroundRemoval>
                    </a14:imgEffect>
                  </a14:imgLayer>
                </a14:imgProps>
              </a:ext>
            </a:extLst>
          </a:blip>
          <a:stretch>
            <a:fillRect/>
          </a:stretch>
        </p:blipFill>
        <p:spPr>
          <a:xfrm>
            <a:off x="8085585" y="4479336"/>
            <a:ext cx="1209557" cy="725537"/>
          </a:xfrm>
          <a:prstGeom prst="rect">
            <a:avLst/>
          </a:prstGeom>
        </p:spPr>
      </p:pic>
    </p:spTree>
    <p:extLst>
      <p:ext uri="{BB962C8B-B14F-4D97-AF65-F5344CB8AC3E}">
        <p14:creationId xmlns:p14="http://schemas.microsoft.com/office/powerpoint/2010/main" val="3171304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0D3245C-2F72-44F6-97CC-31945DE6D65A}"/>
              </a:ext>
            </a:extLst>
          </p:cNvPr>
          <p:cNvGraphicFramePr>
            <a:graphicFrameLocks noChangeAspect="1"/>
          </p:cNvGraphicFramePr>
          <p:nvPr>
            <p:custDataLst>
              <p:tags r:id="rId1"/>
            </p:custDataLst>
            <p:extLst>
              <p:ext uri="{D42A27DB-BD31-4B8C-83A1-F6EECF244321}">
                <p14:modId xmlns:p14="http://schemas.microsoft.com/office/powerpoint/2010/main" val="3346788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think-cell data - do not delete" hidden="1">
                        <a:extLst>
                          <a:ext uri="{FF2B5EF4-FFF2-40B4-BE49-F238E27FC236}">
                            <a16:creationId xmlns:a16="http://schemas.microsoft.com/office/drawing/2014/main" id="{30D3245C-2F72-44F6-97CC-31945DE6D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 name="Rectangle: Rounded Corners 105">
            <a:extLst>
              <a:ext uri="{FF2B5EF4-FFF2-40B4-BE49-F238E27FC236}">
                <a16:creationId xmlns:a16="http://schemas.microsoft.com/office/drawing/2014/main" id="{E76F2904-BE8F-7182-2964-3F16AB4EFEBC}"/>
              </a:ext>
            </a:extLst>
          </p:cNvPr>
          <p:cNvSpPr/>
          <p:nvPr/>
        </p:nvSpPr>
        <p:spPr>
          <a:xfrm>
            <a:off x="6178866" y="4217398"/>
            <a:ext cx="4844734" cy="681212"/>
          </a:xfrm>
          <a:prstGeom prst="roundRect">
            <a:avLst/>
          </a:prstGeom>
          <a:solidFill>
            <a:srgbClr val="D2F6F4"/>
          </a:solidFill>
          <a:ln>
            <a:solidFill>
              <a:schemeClr val="accent2"/>
            </a:solidFill>
          </a:ln>
        </p:spPr>
        <p:style>
          <a:lnRef idx="0">
            <a:scrgbClr r="0" g="0" b="0"/>
          </a:lnRef>
          <a:fillRef idx="0">
            <a:scrgbClr r="0" g="0" b="0"/>
          </a:fillRef>
          <a:effectRef idx="0">
            <a:scrgbClr r="0" g="0" b="0"/>
          </a:effectRef>
          <a:fontRef idx="minor">
            <a:schemeClr val="lt1"/>
          </a:fontRef>
        </p:style>
        <p:txBody>
          <a:bodyPr lIns="252000" rIns="180000" rtlCol="0" anchor="ctr"/>
          <a:lstStyle/>
          <a:p>
            <a:pPr marL="0" marR="0" lvl="0" indent="0" defTabSz="91440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Methane is a potent GHG with a much higher global warming potential than CO</a:t>
            </a:r>
            <a:r>
              <a:rPr kumimoji="0" lang="en-AU" sz="1200" b="0" i="0" u="none" strike="noStrike" kern="1200" cap="none" spc="0" normalizeH="0" baseline="-25000" noProof="0" dirty="0">
                <a:ln>
                  <a:noFill/>
                </a:ln>
                <a:solidFill>
                  <a:srgbClr val="003645"/>
                </a:solidFill>
                <a:effectLst/>
                <a:uLnTx/>
                <a:uFillTx/>
                <a:latin typeface="Verdana"/>
                <a:ea typeface="Verdana" panose="020B0604030504040204" pitchFamily="34" charset="0"/>
              </a:rPr>
              <a:t>2</a:t>
            </a: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 over a shorter time frame.</a:t>
            </a:r>
          </a:p>
        </p:txBody>
      </p:sp>
      <p:sp>
        <p:nvSpPr>
          <p:cNvPr id="2" name="Title 1">
            <a:extLst>
              <a:ext uri="{FF2B5EF4-FFF2-40B4-BE49-F238E27FC236}">
                <a16:creationId xmlns:a16="http://schemas.microsoft.com/office/drawing/2014/main" id="{C1E0C783-C1A7-4C16-8161-C0B0A65BA529}"/>
              </a:ext>
            </a:extLst>
          </p:cNvPr>
          <p:cNvSpPr>
            <a:spLocks noGrp="1"/>
          </p:cNvSpPr>
          <p:nvPr>
            <p:ph type="title"/>
          </p:nvPr>
        </p:nvSpPr>
        <p:spPr/>
        <p:txBody>
          <a:bodyPr vert="horz"/>
          <a:lstStyle/>
          <a:p>
            <a:r>
              <a:rPr lang="en-AU" dirty="0"/>
              <a:t>Greenhouse Gas Emissions</a:t>
            </a:r>
          </a:p>
        </p:txBody>
      </p:sp>
      <p:sp>
        <p:nvSpPr>
          <p:cNvPr id="4" name="Text Placeholder 3">
            <a:extLst>
              <a:ext uri="{FF2B5EF4-FFF2-40B4-BE49-F238E27FC236}">
                <a16:creationId xmlns:a16="http://schemas.microsoft.com/office/drawing/2014/main" id="{52A6BA5E-4D24-4550-B96C-1B272D6DCEEF}"/>
              </a:ext>
            </a:extLst>
          </p:cNvPr>
          <p:cNvSpPr>
            <a:spLocks noGrp="1"/>
          </p:cNvSpPr>
          <p:nvPr>
            <p:ph type="body" sz="quarter" idx="11"/>
          </p:nvPr>
        </p:nvSpPr>
        <p:spPr/>
        <p:txBody>
          <a:bodyPr>
            <a:normAutofit/>
          </a:bodyPr>
          <a:lstStyle/>
          <a:p>
            <a:r>
              <a:rPr lang="en-AU" sz="1200" dirty="0"/>
              <a:t>Greenhouse gases (GHGs) contribute to the greenhouse effect and global warming. Reducing GHG emissions will aid with the goal set by the Paris Agreement to keep the global average temperature to below 2°C above pre-industrial levels. </a:t>
            </a:r>
          </a:p>
          <a:p>
            <a:endParaRPr lang="en-AU" sz="1200" dirty="0"/>
          </a:p>
          <a:p>
            <a:endParaRPr lang="en-AU" sz="1200" dirty="0"/>
          </a:p>
          <a:p>
            <a:endParaRPr lang="en-AU" sz="1200" dirty="0"/>
          </a:p>
          <a:p>
            <a:endParaRPr lang="en-AU" sz="1200" dirty="0"/>
          </a:p>
          <a:p>
            <a:endParaRPr lang="en-AU" sz="1200" dirty="0"/>
          </a:p>
          <a:p>
            <a:endParaRPr lang="en-AU" sz="1200" dirty="0"/>
          </a:p>
          <a:p>
            <a:endParaRPr lang="en-AU" sz="1200" b="1" dirty="0"/>
          </a:p>
          <a:p>
            <a:endParaRPr lang="en-AU" sz="1200" b="1" dirty="0"/>
          </a:p>
          <a:p>
            <a:endParaRPr lang="en-AU" sz="1200" b="1" dirty="0"/>
          </a:p>
          <a:p>
            <a:r>
              <a:rPr lang="en-AU" sz="1200" b="1" dirty="0"/>
              <a:t>Sources of greenhouse gas emissions</a:t>
            </a:r>
          </a:p>
          <a:p>
            <a:pPr marL="342900" lvl="1"/>
            <a:r>
              <a:rPr lang="en-AU" sz="1200" dirty="0"/>
              <a:t>Burning fossil fuels (coal, oil, and natural gas)</a:t>
            </a:r>
          </a:p>
          <a:p>
            <a:pPr marL="342900" lvl="1"/>
            <a:r>
              <a:rPr lang="en-AU" sz="1200" dirty="0"/>
              <a:t>Industrial processes</a:t>
            </a:r>
          </a:p>
          <a:p>
            <a:pPr marL="342900" lvl="1"/>
            <a:r>
              <a:rPr lang="en-AU" sz="1200" dirty="0"/>
              <a:t>Agricultural activities</a:t>
            </a:r>
          </a:p>
          <a:p>
            <a:pPr marL="342900" lvl="1"/>
            <a:r>
              <a:rPr lang="en-AU" sz="1200" dirty="0"/>
              <a:t>Waste management and treatment</a:t>
            </a:r>
          </a:p>
          <a:p>
            <a:pPr marL="342900" lvl="1"/>
            <a:endParaRPr lang="en-AU" sz="1200" dirty="0"/>
          </a:p>
        </p:txBody>
      </p:sp>
      <p:sp>
        <p:nvSpPr>
          <p:cNvPr id="10" name="Text Placeholder 9">
            <a:extLst>
              <a:ext uri="{FF2B5EF4-FFF2-40B4-BE49-F238E27FC236}">
                <a16:creationId xmlns:a16="http://schemas.microsoft.com/office/drawing/2014/main" id="{894A4056-DBC9-4E7D-81C3-E61D596AC1C4}"/>
              </a:ext>
            </a:extLst>
          </p:cNvPr>
          <p:cNvSpPr>
            <a:spLocks noGrp="1"/>
          </p:cNvSpPr>
          <p:nvPr>
            <p:ph type="body" sz="quarter" idx="12"/>
          </p:nvPr>
        </p:nvSpPr>
        <p:spPr>
          <a:xfrm>
            <a:off x="6263001" y="1579564"/>
            <a:ext cx="5032062" cy="1144587"/>
          </a:xfrm>
        </p:spPr>
        <p:txBody>
          <a:bodyPr rIns="0">
            <a:normAutofit/>
          </a:bodyPr>
          <a:lstStyle/>
          <a:p>
            <a:r>
              <a:rPr lang="en-AU" sz="1200" b="1" dirty="0"/>
              <a:t>Global Warming Potential (GWP)</a:t>
            </a:r>
          </a:p>
          <a:p>
            <a:pPr marL="342900" lvl="1"/>
            <a:r>
              <a:rPr lang="en-AU" sz="1200" dirty="0"/>
              <a:t>A way to compare the global warming impact of various gases in the atmosphere </a:t>
            </a:r>
          </a:p>
          <a:p>
            <a:pPr marL="342900" lvl="1"/>
            <a:r>
              <a:rPr lang="en-AU" sz="1200" dirty="0"/>
              <a:t>CO</a:t>
            </a:r>
            <a:r>
              <a:rPr lang="en-AU" sz="1200" baseline="-25000" dirty="0"/>
              <a:t>2</a:t>
            </a:r>
            <a:r>
              <a:rPr lang="en-AU" sz="1200" dirty="0"/>
              <a:t> is used as the benchmark for comparison</a:t>
            </a:r>
          </a:p>
          <a:p>
            <a:endParaRPr lang="en-AU" dirty="0"/>
          </a:p>
        </p:txBody>
      </p:sp>
      <p:graphicFrame>
        <p:nvGraphicFramePr>
          <p:cNvPr id="51" name="Table 51">
            <a:extLst>
              <a:ext uri="{FF2B5EF4-FFF2-40B4-BE49-F238E27FC236}">
                <a16:creationId xmlns:a16="http://schemas.microsoft.com/office/drawing/2014/main" id="{56901279-14E8-4F12-B071-AA90922B5387}"/>
              </a:ext>
            </a:extLst>
          </p:cNvPr>
          <p:cNvGraphicFramePr>
            <a:graphicFrameLocks noGrp="1"/>
          </p:cNvGraphicFramePr>
          <p:nvPr>
            <p:extLst>
              <p:ext uri="{D42A27DB-BD31-4B8C-83A1-F6EECF244321}">
                <p14:modId xmlns:p14="http://schemas.microsoft.com/office/powerpoint/2010/main" val="1417343897"/>
              </p:ext>
            </p:extLst>
          </p:nvPr>
        </p:nvGraphicFramePr>
        <p:xfrm>
          <a:off x="6263001" y="2536052"/>
          <a:ext cx="4641701" cy="1295400"/>
        </p:xfrm>
        <a:graphic>
          <a:graphicData uri="http://schemas.openxmlformats.org/drawingml/2006/table">
            <a:tbl>
              <a:tblPr firstRow="1" bandRow="1">
                <a:tableStyleId>{5C22544A-7EE6-4342-B048-85BDC9FD1C3A}</a:tableStyleId>
              </a:tblPr>
              <a:tblGrid>
                <a:gridCol w="2911479">
                  <a:extLst>
                    <a:ext uri="{9D8B030D-6E8A-4147-A177-3AD203B41FA5}">
                      <a16:colId xmlns:a16="http://schemas.microsoft.com/office/drawing/2014/main" val="821563789"/>
                    </a:ext>
                  </a:extLst>
                </a:gridCol>
                <a:gridCol w="1730222">
                  <a:extLst>
                    <a:ext uri="{9D8B030D-6E8A-4147-A177-3AD203B41FA5}">
                      <a16:colId xmlns:a16="http://schemas.microsoft.com/office/drawing/2014/main" val="3292210829"/>
                    </a:ext>
                  </a:extLst>
                </a:gridCol>
              </a:tblGrid>
              <a:tr h="210802">
                <a:tc>
                  <a:txBody>
                    <a:bodyPr/>
                    <a:lstStyle/>
                    <a:p>
                      <a:pPr rtl="0"/>
                      <a:r>
                        <a:rPr lang="en-AU" sz="1100" dirty="0"/>
                        <a:t>Greenhouse Gas</a:t>
                      </a:r>
                    </a:p>
                  </a:txBody>
                  <a:tcPr/>
                </a:tc>
                <a:tc>
                  <a:txBody>
                    <a:bodyPr/>
                    <a:lstStyle/>
                    <a:p>
                      <a:pPr algn="ctr" rtl="0"/>
                      <a:r>
                        <a:rPr lang="en-AU" sz="1100" dirty="0"/>
                        <a:t>GWP</a:t>
                      </a:r>
                    </a:p>
                  </a:txBody>
                  <a:tcPr/>
                </a:tc>
                <a:extLst>
                  <a:ext uri="{0D108BD9-81ED-4DB2-BD59-A6C34878D82A}">
                    <a16:rowId xmlns:a16="http://schemas.microsoft.com/office/drawing/2014/main" val="2986887072"/>
                  </a:ext>
                </a:extLst>
              </a:tr>
              <a:tr h="210802">
                <a:tc>
                  <a:txBody>
                    <a:bodyPr/>
                    <a:lstStyle/>
                    <a:p>
                      <a:pPr rtl="0"/>
                      <a:r>
                        <a:rPr lang="en-AU" sz="1100" dirty="0"/>
                        <a:t>Carbon dioxide (CO</a:t>
                      </a:r>
                      <a:r>
                        <a:rPr lang="en-AU" sz="1100" baseline="-25000" dirty="0"/>
                        <a:t>2</a:t>
                      </a:r>
                      <a:r>
                        <a:rPr lang="en-AU" sz="1100" dirty="0"/>
                        <a:t>)</a:t>
                      </a:r>
                    </a:p>
                  </a:txBody>
                  <a:tcPr/>
                </a:tc>
                <a:tc>
                  <a:txBody>
                    <a:bodyPr/>
                    <a:lstStyle/>
                    <a:p>
                      <a:pPr algn="ctr" rtl="0"/>
                      <a:r>
                        <a:rPr lang="en-AU" sz="1100" dirty="0"/>
                        <a:t>1</a:t>
                      </a:r>
                    </a:p>
                  </a:txBody>
                  <a:tcPr/>
                </a:tc>
                <a:extLst>
                  <a:ext uri="{0D108BD9-81ED-4DB2-BD59-A6C34878D82A}">
                    <a16:rowId xmlns:a16="http://schemas.microsoft.com/office/drawing/2014/main" val="293882817"/>
                  </a:ext>
                </a:extLst>
              </a:tr>
              <a:tr h="210802">
                <a:tc>
                  <a:txBody>
                    <a:bodyPr/>
                    <a:lstStyle/>
                    <a:p>
                      <a:pPr rtl="0"/>
                      <a:r>
                        <a:rPr lang="en-AU" sz="1100" dirty="0"/>
                        <a:t>Methane (CH</a:t>
                      </a:r>
                      <a:r>
                        <a:rPr lang="en-AU" sz="1100" baseline="-25000" dirty="0"/>
                        <a:t>4</a:t>
                      </a:r>
                      <a:r>
                        <a:rPr lang="en-AU" sz="1100" dirty="0"/>
                        <a:t>) – fossil origin</a:t>
                      </a:r>
                    </a:p>
                  </a:txBody>
                  <a:tcPr/>
                </a:tc>
                <a:tc>
                  <a:txBody>
                    <a:bodyPr/>
                    <a:lstStyle/>
                    <a:p>
                      <a:pPr algn="ctr" rtl="0"/>
                      <a:r>
                        <a:rPr lang="en-AU" sz="1100" dirty="0"/>
                        <a:t>29.8</a:t>
                      </a:r>
                    </a:p>
                  </a:txBody>
                  <a:tcPr/>
                </a:tc>
                <a:extLst>
                  <a:ext uri="{0D108BD9-81ED-4DB2-BD59-A6C34878D82A}">
                    <a16:rowId xmlns:a16="http://schemas.microsoft.com/office/drawing/2014/main" val="3331460234"/>
                  </a:ext>
                </a:extLst>
              </a:tr>
              <a:tr h="2108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100" dirty="0"/>
                        <a:t>Methane (CH</a:t>
                      </a:r>
                      <a:r>
                        <a:rPr lang="en-AU" sz="1100" baseline="-25000" dirty="0"/>
                        <a:t>4</a:t>
                      </a:r>
                      <a:r>
                        <a:rPr lang="en-AU" sz="1100" dirty="0"/>
                        <a:t>) – non-fossil origin</a:t>
                      </a:r>
                    </a:p>
                  </a:txBody>
                  <a:tcPr/>
                </a:tc>
                <a:tc>
                  <a:txBody>
                    <a:bodyPr/>
                    <a:lstStyle/>
                    <a:p>
                      <a:pPr algn="ctr" rtl="0"/>
                      <a:r>
                        <a:rPr lang="en-AU" sz="1100" dirty="0"/>
                        <a:t>27.2</a:t>
                      </a:r>
                    </a:p>
                  </a:txBody>
                  <a:tcPr/>
                </a:tc>
                <a:extLst>
                  <a:ext uri="{0D108BD9-81ED-4DB2-BD59-A6C34878D82A}">
                    <a16:rowId xmlns:a16="http://schemas.microsoft.com/office/drawing/2014/main" val="990931818"/>
                  </a:ext>
                </a:extLst>
              </a:tr>
              <a:tr h="210802">
                <a:tc>
                  <a:txBody>
                    <a:bodyPr/>
                    <a:lstStyle/>
                    <a:p>
                      <a:pPr rtl="0"/>
                      <a:r>
                        <a:rPr lang="en-AU" sz="1100" dirty="0"/>
                        <a:t>Nitrous oxide (N</a:t>
                      </a:r>
                      <a:r>
                        <a:rPr lang="en-AU" sz="1100" baseline="-25000" dirty="0"/>
                        <a:t>2</a:t>
                      </a:r>
                      <a:r>
                        <a:rPr lang="en-AU" sz="1100" dirty="0"/>
                        <a:t>O)</a:t>
                      </a:r>
                    </a:p>
                  </a:txBody>
                  <a:tcPr/>
                </a:tc>
                <a:tc>
                  <a:txBody>
                    <a:bodyPr/>
                    <a:lstStyle/>
                    <a:p>
                      <a:pPr algn="ctr" rtl="0"/>
                      <a:r>
                        <a:rPr lang="en-AU" sz="1100" dirty="0"/>
                        <a:t>273</a:t>
                      </a:r>
                    </a:p>
                  </a:txBody>
                  <a:tcPr/>
                </a:tc>
                <a:extLst>
                  <a:ext uri="{0D108BD9-81ED-4DB2-BD59-A6C34878D82A}">
                    <a16:rowId xmlns:a16="http://schemas.microsoft.com/office/drawing/2014/main" val="3540602215"/>
                  </a:ext>
                </a:extLst>
              </a:tr>
            </a:tbl>
          </a:graphicData>
        </a:graphic>
      </p:graphicFrame>
      <p:sp>
        <p:nvSpPr>
          <p:cNvPr id="58" name="TextBox 57">
            <a:extLst>
              <a:ext uri="{FF2B5EF4-FFF2-40B4-BE49-F238E27FC236}">
                <a16:creationId xmlns:a16="http://schemas.microsoft.com/office/drawing/2014/main" id="{70492012-E886-8F5C-9B43-20C9DC7A8C1F}"/>
              </a:ext>
            </a:extLst>
          </p:cNvPr>
          <p:cNvSpPr txBox="1"/>
          <p:nvPr/>
        </p:nvSpPr>
        <p:spPr>
          <a:xfrm>
            <a:off x="6263001" y="3835558"/>
            <a:ext cx="4641701" cy="246221"/>
          </a:xfrm>
          <a:prstGeom prst="rect">
            <a:avLst/>
          </a:prstGeom>
          <a:noFill/>
        </p:spPr>
        <p:txBody>
          <a:bodyPr wrap="square">
            <a:spAutoFit/>
          </a:bodyPr>
          <a:lstStyle/>
          <a:p>
            <a:pPr indent="-114300" algn="ctr"/>
            <a:r>
              <a:rPr lang="en-AU" sz="1000" i="1" dirty="0">
                <a:solidFill>
                  <a:schemeClr val="accent4"/>
                </a:solidFill>
              </a:rPr>
              <a:t>GWP is based on a 100-year time period. Source: IPCC AR6 (2021).</a:t>
            </a:r>
          </a:p>
        </p:txBody>
      </p:sp>
      <p:grpSp>
        <p:nvGrpSpPr>
          <p:cNvPr id="11" name="Group 10">
            <a:extLst>
              <a:ext uri="{FF2B5EF4-FFF2-40B4-BE49-F238E27FC236}">
                <a16:creationId xmlns:a16="http://schemas.microsoft.com/office/drawing/2014/main" id="{C7416DDD-1109-48F1-B9B8-97B4D57C3780}"/>
              </a:ext>
            </a:extLst>
          </p:cNvPr>
          <p:cNvGrpSpPr/>
          <p:nvPr/>
        </p:nvGrpSpPr>
        <p:grpSpPr>
          <a:xfrm>
            <a:off x="893233" y="2636350"/>
            <a:ext cx="4822248" cy="1483700"/>
            <a:chOff x="826712" y="2567600"/>
            <a:chExt cx="4822248" cy="1483700"/>
          </a:xfrm>
        </p:grpSpPr>
        <p:sp>
          <p:nvSpPr>
            <p:cNvPr id="8" name="Rectangle: Rounded Corners 7">
              <a:extLst>
                <a:ext uri="{FF2B5EF4-FFF2-40B4-BE49-F238E27FC236}">
                  <a16:creationId xmlns:a16="http://schemas.microsoft.com/office/drawing/2014/main" id="{ACCFA501-D728-02C4-942F-A8BFA987871E}"/>
                </a:ext>
              </a:extLst>
            </p:cNvPr>
            <p:cNvSpPr/>
            <p:nvPr/>
          </p:nvSpPr>
          <p:spPr>
            <a:xfrm>
              <a:off x="826712" y="2567600"/>
              <a:ext cx="4822248" cy="1483700"/>
            </a:xfrm>
            <a:prstGeom prst="roundRect">
              <a:avLst>
                <a:gd name="adj" fmla="val 7393"/>
              </a:avLst>
            </a:prstGeom>
            <a:solidFill>
              <a:schemeClr val="bg2"/>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6" name="Group 5">
              <a:extLst>
                <a:ext uri="{FF2B5EF4-FFF2-40B4-BE49-F238E27FC236}">
                  <a16:creationId xmlns:a16="http://schemas.microsoft.com/office/drawing/2014/main" id="{D258421F-68E7-E469-587A-16F13EE7EF2C}"/>
                </a:ext>
              </a:extLst>
            </p:cNvPr>
            <p:cNvGrpSpPr/>
            <p:nvPr/>
          </p:nvGrpSpPr>
          <p:grpSpPr>
            <a:xfrm>
              <a:off x="1176716" y="2724151"/>
              <a:ext cx="4076557" cy="1161716"/>
              <a:chOff x="1176716" y="2772914"/>
              <a:chExt cx="4076557" cy="1161716"/>
            </a:xfrm>
          </p:grpSpPr>
          <p:sp>
            <p:nvSpPr>
              <p:cNvPr id="52" name="Rectangle: Rounded Corners 51">
                <a:extLst>
                  <a:ext uri="{FF2B5EF4-FFF2-40B4-BE49-F238E27FC236}">
                    <a16:creationId xmlns:a16="http://schemas.microsoft.com/office/drawing/2014/main" id="{3F46C2B0-BA17-71F1-2121-D8C3E226D642}"/>
                  </a:ext>
                </a:extLst>
              </p:cNvPr>
              <p:cNvSpPr/>
              <p:nvPr/>
            </p:nvSpPr>
            <p:spPr>
              <a:xfrm>
                <a:off x="1176716" y="3117125"/>
                <a:ext cx="1980941" cy="365069"/>
              </a:xfrm>
              <a:prstGeom prst="roundRect">
                <a:avLst/>
              </a:prstGeom>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050" b="1" dirty="0"/>
                  <a:t>Carbon dioxide (CO</a:t>
                </a:r>
                <a:r>
                  <a:rPr lang="en-AU" sz="1050" b="1" baseline="-25000" dirty="0"/>
                  <a:t>2</a:t>
                </a:r>
                <a:r>
                  <a:rPr lang="en-AU" sz="1050" b="1" dirty="0"/>
                  <a:t>)</a:t>
                </a:r>
              </a:p>
            </p:txBody>
          </p:sp>
          <p:sp>
            <p:nvSpPr>
              <p:cNvPr id="53" name="Rectangle: Rounded Corners 52">
                <a:extLst>
                  <a:ext uri="{FF2B5EF4-FFF2-40B4-BE49-F238E27FC236}">
                    <a16:creationId xmlns:a16="http://schemas.microsoft.com/office/drawing/2014/main" id="{9BC8E3AB-1BF7-8A4D-F1BD-D8A219E2055E}"/>
                  </a:ext>
                </a:extLst>
              </p:cNvPr>
              <p:cNvSpPr/>
              <p:nvPr/>
            </p:nvSpPr>
            <p:spPr>
              <a:xfrm>
                <a:off x="3272332" y="3117125"/>
                <a:ext cx="1980941" cy="365069"/>
              </a:xfrm>
              <a:prstGeom prst="roundRect">
                <a:avLst/>
              </a:prstGeom>
              <a:solidFill>
                <a:schemeClr val="accent1">
                  <a:lumMod val="60000"/>
                  <a:lumOff val="40000"/>
                </a:schemeClr>
              </a:solidFill>
              <a:ln>
                <a:solidFill>
                  <a:schemeClr val="accent1"/>
                </a:solidFill>
              </a:ln>
            </p:spPr>
            <p:style>
              <a:lnRef idx="2">
                <a:schemeClr val="accent2"/>
              </a:lnRef>
              <a:fillRef idx="1">
                <a:schemeClr val="lt1"/>
              </a:fillRef>
              <a:effectRef idx="0">
                <a:schemeClr val="accent2"/>
              </a:effectRef>
              <a:fontRef idx="minor">
                <a:schemeClr val="dk1"/>
              </a:fontRef>
            </p:style>
            <p:txBody>
              <a:bodyPr rtlCol="0" anchor="ctr"/>
              <a:lstStyle/>
              <a:p>
                <a:pPr indent="-114300" algn="ctr"/>
                <a:r>
                  <a:rPr lang="en-AU" sz="1050" b="1" dirty="0"/>
                  <a:t>Methane (CH</a:t>
                </a:r>
                <a:r>
                  <a:rPr lang="en-AU" sz="1050" b="1" baseline="-25000" dirty="0"/>
                  <a:t>4</a:t>
                </a:r>
                <a:r>
                  <a:rPr lang="en-AU" sz="1050" b="1" dirty="0"/>
                  <a:t>)</a:t>
                </a:r>
              </a:p>
            </p:txBody>
          </p:sp>
          <p:sp>
            <p:nvSpPr>
              <p:cNvPr id="54" name="Rectangle: Rounded Corners 53">
                <a:extLst>
                  <a:ext uri="{FF2B5EF4-FFF2-40B4-BE49-F238E27FC236}">
                    <a16:creationId xmlns:a16="http://schemas.microsoft.com/office/drawing/2014/main" id="{ADFF2CC0-266A-BAC9-11DD-E74A8C9E71C0}"/>
                  </a:ext>
                </a:extLst>
              </p:cNvPr>
              <p:cNvSpPr/>
              <p:nvPr/>
            </p:nvSpPr>
            <p:spPr>
              <a:xfrm>
                <a:off x="1176716" y="3569561"/>
                <a:ext cx="1980941" cy="365069"/>
              </a:xfrm>
              <a:prstGeom prst="roundRect">
                <a:avLst/>
              </a:prstGeom>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050" b="1" dirty="0"/>
                  <a:t>Nitrous oxide (N</a:t>
                </a:r>
                <a:r>
                  <a:rPr lang="en-AU" sz="1050" b="1" baseline="-25000" dirty="0"/>
                  <a:t>2</a:t>
                </a:r>
                <a:r>
                  <a:rPr lang="en-AU" sz="1050" b="1" dirty="0"/>
                  <a:t>O)</a:t>
                </a:r>
              </a:p>
            </p:txBody>
          </p:sp>
          <p:sp>
            <p:nvSpPr>
              <p:cNvPr id="55" name="Rectangle: Rounded Corners 54">
                <a:extLst>
                  <a:ext uri="{FF2B5EF4-FFF2-40B4-BE49-F238E27FC236}">
                    <a16:creationId xmlns:a16="http://schemas.microsoft.com/office/drawing/2014/main" id="{25444968-A7A6-EB1C-6950-01A8418AB470}"/>
                  </a:ext>
                </a:extLst>
              </p:cNvPr>
              <p:cNvSpPr/>
              <p:nvPr/>
            </p:nvSpPr>
            <p:spPr>
              <a:xfrm>
                <a:off x="3272332" y="3569561"/>
                <a:ext cx="1980941" cy="365069"/>
              </a:xfrm>
              <a:prstGeom prst="roundRect">
                <a:avLst/>
              </a:prstGeom>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indent="-114300" algn="ctr"/>
                <a:r>
                  <a:rPr lang="en-AU" sz="1050" b="1" dirty="0"/>
                  <a:t>Fluorinated gases</a:t>
                </a:r>
              </a:p>
            </p:txBody>
          </p:sp>
          <p:sp>
            <p:nvSpPr>
              <p:cNvPr id="235" name="Title 1">
                <a:extLst>
                  <a:ext uri="{FF2B5EF4-FFF2-40B4-BE49-F238E27FC236}">
                    <a16:creationId xmlns:a16="http://schemas.microsoft.com/office/drawing/2014/main" id="{E0772658-4F2A-CDE8-8C9C-505AB5B26DE7}"/>
                  </a:ext>
                </a:extLst>
              </p:cNvPr>
              <p:cNvSpPr txBox="1">
                <a:spLocks/>
              </p:cNvSpPr>
              <p:nvPr/>
            </p:nvSpPr>
            <p:spPr>
              <a:xfrm>
                <a:off x="1242115" y="2772914"/>
                <a:ext cx="3948113" cy="20508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800" b="1" kern="1200">
                    <a:solidFill>
                      <a:schemeClr val="tx2"/>
                    </a:solidFill>
                    <a:latin typeface="+mj-lt"/>
                    <a:ea typeface="Verdana" panose="020B0604030504040204" pitchFamily="34" charset="0"/>
                    <a:cs typeface="Verdana" panose="020B0604030504040204" pitchFamily="34" charset="0"/>
                  </a:defRPr>
                </a:lvl1pPr>
              </a:lstStyle>
              <a:p>
                <a:pPr algn="ctr"/>
                <a:r>
                  <a:rPr lang="en-AU" sz="1400" dirty="0"/>
                  <a:t>Major Greenhouse Gases</a:t>
                </a:r>
              </a:p>
            </p:txBody>
          </p:sp>
        </p:grpSp>
      </p:grpSp>
      <p:sp>
        <p:nvSpPr>
          <p:cNvPr id="242" name="Text Placeholder 9">
            <a:extLst>
              <a:ext uri="{FF2B5EF4-FFF2-40B4-BE49-F238E27FC236}">
                <a16:creationId xmlns:a16="http://schemas.microsoft.com/office/drawing/2014/main" id="{38A4D175-BB75-4E6B-219E-0BC86AD7CA08}"/>
              </a:ext>
            </a:extLst>
          </p:cNvPr>
          <p:cNvSpPr txBox="1">
            <a:spLocks/>
          </p:cNvSpPr>
          <p:nvPr/>
        </p:nvSpPr>
        <p:spPr>
          <a:xfrm>
            <a:off x="6263001" y="5064710"/>
            <a:ext cx="4760599" cy="1144587"/>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200" b="1" dirty="0"/>
              <a:t>Carbon dioxide equivalent (CO</a:t>
            </a:r>
            <a:r>
              <a:rPr lang="en-AU" sz="1200" b="1" baseline="-25000" dirty="0"/>
              <a:t>2</a:t>
            </a:r>
            <a:r>
              <a:rPr lang="en-AU" sz="1200" b="1" dirty="0"/>
              <a:t>e)</a:t>
            </a:r>
          </a:p>
          <a:p>
            <a:pPr marL="342900" lvl="1"/>
            <a:r>
              <a:rPr lang="en-AU" sz="1200" dirty="0"/>
              <a:t>The most common method of comparing GHGs</a:t>
            </a:r>
          </a:p>
          <a:p>
            <a:pPr marL="342900" lvl="1"/>
            <a:r>
              <a:rPr lang="en-AU" sz="1200" dirty="0"/>
              <a:t>Calculated by taking the GWP and multiplying it by the mass of the gas being emitted.</a:t>
            </a:r>
          </a:p>
        </p:txBody>
      </p:sp>
      <p:sp>
        <p:nvSpPr>
          <p:cNvPr id="17" name="Footer Placeholder 16">
            <a:extLst>
              <a:ext uri="{FF2B5EF4-FFF2-40B4-BE49-F238E27FC236}">
                <a16:creationId xmlns:a16="http://schemas.microsoft.com/office/drawing/2014/main" id="{2F9C1385-4CDE-3218-B31D-11A87FE0F628}"/>
              </a:ext>
            </a:extLst>
          </p:cNvPr>
          <p:cNvSpPr>
            <a:spLocks noGrp="1"/>
          </p:cNvSpPr>
          <p:nvPr>
            <p:ph type="ftr" sz="quarter" idx="3"/>
          </p:nvPr>
        </p:nvSpPr>
        <p:spPr/>
        <p:txBody>
          <a:bodyPr/>
          <a:lstStyle/>
          <a:p>
            <a:r>
              <a:rPr lang="en-AU"/>
              <a:t>Greenhouse Gas Emissions Reduction in Pipeline Systems</a:t>
            </a:r>
            <a:endParaRPr lang="en-AU" dirty="0"/>
          </a:p>
        </p:txBody>
      </p:sp>
      <p:sp>
        <p:nvSpPr>
          <p:cNvPr id="18" name="Slide Number Placeholder 17">
            <a:extLst>
              <a:ext uri="{FF2B5EF4-FFF2-40B4-BE49-F238E27FC236}">
                <a16:creationId xmlns:a16="http://schemas.microsoft.com/office/drawing/2014/main" id="{CF48B572-74EB-865A-AD5F-FC7C89D6F32E}"/>
              </a:ext>
            </a:extLst>
          </p:cNvPr>
          <p:cNvSpPr>
            <a:spLocks noGrp="1"/>
          </p:cNvSpPr>
          <p:nvPr>
            <p:ph type="sldNum" sz="quarter" idx="4"/>
          </p:nvPr>
        </p:nvSpPr>
        <p:spPr/>
        <p:txBody>
          <a:bodyPr/>
          <a:lstStyle/>
          <a:p>
            <a:fld id="{195D5CA5-55C1-564D-A16D-F77DF7B8BEAD}" type="slidenum">
              <a:rPr lang="en-AU" smtClean="0"/>
              <a:pPr/>
              <a:t>2</a:t>
            </a:fld>
            <a:endParaRPr lang="en-AU" dirty="0"/>
          </a:p>
        </p:txBody>
      </p:sp>
    </p:spTree>
    <p:extLst>
      <p:ext uri="{BB962C8B-B14F-4D97-AF65-F5344CB8AC3E}">
        <p14:creationId xmlns:p14="http://schemas.microsoft.com/office/powerpoint/2010/main" val="3270237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D98D8D-822C-A84E-A5EC-E91A4AC6B6D3}"/>
              </a:ext>
            </a:extLst>
          </p:cNvPr>
          <p:cNvGraphicFramePr>
            <a:graphicFrameLocks noChangeAspect="1"/>
          </p:cNvGraphicFramePr>
          <p:nvPr>
            <p:custDataLst>
              <p:tags r:id="rId1"/>
            </p:custDataLst>
            <p:extLst>
              <p:ext uri="{D42A27DB-BD31-4B8C-83A1-F6EECF244321}">
                <p14:modId xmlns:p14="http://schemas.microsoft.com/office/powerpoint/2010/main" val="1853577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47" imgH="348" progId="TCLayout.ActiveDocument.1">
                  <p:embed/>
                </p:oleObj>
              </mc:Choice>
              <mc:Fallback>
                <p:oleObj name="think-cell Slide" r:id="rId54" imgW="347" imgH="348" progId="TCLayout.ActiveDocument.1">
                  <p:embed/>
                  <p:pic>
                    <p:nvPicPr>
                      <p:cNvPr id="7" name="think-cell data - do not delete" hidden="1">
                        <a:extLst>
                          <a:ext uri="{FF2B5EF4-FFF2-40B4-BE49-F238E27FC236}">
                            <a16:creationId xmlns:a16="http://schemas.microsoft.com/office/drawing/2014/main" id="{8BD98D8D-822C-A84E-A5EC-E91A4AC6B6D3}"/>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14" name="Rectangle: Rounded Corners 513">
            <a:extLst>
              <a:ext uri="{FF2B5EF4-FFF2-40B4-BE49-F238E27FC236}">
                <a16:creationId xmlns:a16="http://schemas.microsoft.com/office/drawing/2014/main" id="{D1A30FE8-0A75-D153-90DD-EC34520D363B}"/>
              </a:ext>
            </a:extLst>
          </p:cNvPr>
          <p:cNvSpPr/>
          <p:nvPr/>
        </p:nvSpPr>
        <p:spPr>
          <a:xfrm>
            <a:off x="927099" y="2114549"/>
            <a:ext cx="5166039" cy="2998989"/>
          </a:xfrm>
          <a:prstGeom prst="roundRect">
            <a:avLst>
              <a:gd name="adj" fmla="val 3672"/>
            </a:avLst>
          </a:prstGeom>
          <a:solidFill>
            <a:schemeClr val="bg2"/>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F8D14529-A990-4F3B-4E59-2492FA676853}"/>
              </a:ext>
            </a:extLst>
          </p:cNvPr>
          <p:cNvSpPr>
            <a:spLocks noGrp="1"/>
          </p:cNvSpPr>
          <p:nvPr>
            <p:ph type="title"/>
          </p:nvPr>
        </p:nvSpPr>
        <p:spPr/>
        <p:txBody>
          <a:bodyPr vert="horz"/>
          <a:lstStyle/>
          <a:p>
            <a:r>
              <a:rPr lang="en-AU" dirty="0"/>
              <a:t>Greenhouse Gas Emissions in Oil &amp; Gas</a:t>
            </a:r>
          </a:p>
        </p:txBody>
      </p:sp>
      <p:sp>
        <p:nvSpPr>
          <p:cNvPr id="4" name="Text Placeholder 3">
            <a:extLst>
              <a:ext uri="{FF2B5EF4-FFF2-40B4-BE49-F238E27FC236}">
                <a16:creationId xmlns:a16="http://schemas.microsoft.com/office/drawing/2014/main" id="{C49AC28A-A941-1BA8-AF2D-A1838C9633A3}"/>
              </a:ext>
            </a:extLst>
          </p:cNvPr>
          <p:cNvSpPr>
            <a:spLocks noGrp="1"/>
          </p:cNvSpPr>
          <p:nvPr>
            <p:ph type="body" sz="quarter" idx="11"/>
          </p:nvPr>
        </p:nvSpPr>
        <p:spPr>
          <a:xfrm>
            <a:off x="893233" y="1579564"/>
            <a:ext cx="5035768" cy="1487486"/>
          </a:xfrm>
        </p:spPr>
        <p:txBody>
          <a:bodyPr>
            <a:normAutofit/>
          </a:bodyPr>
          <a:lstStyle/>
          <a:p>
            <a:pPr marL="342900" lvl="1"/>
            <a:r>
              <a:rPr lang="en-AU" sz="1200" dirty="0"/>
              <a:t>GHG are primarily driven by the energy sector, contributing to &gt;70% of global emissions </a:t>
            </a:r>
          </a:p>
        </p:txBody>
      </p:sp>
      <p:sp>
        <p:nvSpPr>
          <p:cNvPr id="5" name="Text Placeholder 4">
            <a:extLst>
              <a:ext uri="{FF2B5EF4-FFF2-40B4-BE49-F238E27FC236}">
                <a16:creationId xmlns:a16="http://schemas.microsoft.com/office/drawing/2014/main" id="{6F0E6547-0FFD-D6FE-6FCA-50308767B2D1}"/>
              </a:ext>
            </a:extLst>
          </p:cNvPr>
          <p:cNvSpPr>
            <a:spLocks noGrp="1"/>
          </p:cNvSpPr>
          <p:nvPr>
            <p:ph type="body" sz="quarter" idx="12"/>
          </p:nvPr>
        </p:nvSpPr>
        <p:spPr/>
        <p:txBody>
          <a:bodyPr/>
          <a:lstStyle/>
          <a:p>
            <a:endParaRPr lang="en-AU" dirty="0"/>
          </a:p>
          <a:p>
            <a:endParaRPr lang="en-AU" dirty="0"/>
          </a:p>
          <a:p>
            <a:endParaRPr lang="en-AU" dirty="0"/>
          </a:p>
        </p:txBody>
      </p:sp>
      <p:graphicFrame>
        <p:nvGraphicFramePr>
          <p:cNvPr id="976" name="Chart 975">
            <a:extLst>
              <a:ext uri="{FF2B5EF4-FFF2-40B4-BE49-F238E27FC236}">
                <a16:creationId xmlns:a16="http://schemas.microsoft.com/office/drawing/2014/main" id="{0CAD6C18-DBD3-9798-41EB-F0DB75B961E2}"/>
              </a:ext>
            </a:extLst>
          </p:cNvPr>
          <p:cNvGraphicFramePr/>
          <p:nvPr>
            <p:custDataLst>
              <p:tags r:id="rId2"/>
            </p:custDataLst>
            <p:extLst>
              <p:ext uri="{D42A27DB-BD31-4B8C-83A1-F6EECF244321}">
                <p14:modId xmlns:p14="http://schemas.microsoft.com/office/powerpoint/2010/main" val="2053137451"/>
              </p:ext>
            </p:extLst>
          </p:nvPr>
        </p:nvGraphicFramePr>
        <p:xfrm>
          <a:off x="7118350" y="1928813"/>
          <a:ext cx="3322638" cy="1909762"/>
        </p:xfrm>
        <a:graphic>
          <a:graphicData uri="http://schemas.openxmlformats.org/drawingml/2006/chart">
            <c:chart xmlns:c="http://schemas.openxmlformats.org/drawingml/2006/chart" xmlns:r="http://schemas.openxmlformats.org/officeDocument/2006/relationships" r:id="rId56"/>
          </a:graphicData>
        </a:graphic>
      </p:graphicFrame>
      <p:sp>
        <p:nvSpPr>
          <p:cNvPr id="14" name="Text Placeholder 5">
            <a:extLst>
              <a:ext uri="{FF2B5EF4-FFF2-40B4-BE49-F238E27FC236}">
                <a16:creationId xmlns:a16="http://schemas.microsoft.com/office/drawing/2014/main" id="{136B323E-2763-D311-E9D8-8F9534D011FC}"/>
              </a:ext>
            </a:extLst>
          </p:cNvPr>
          <p:cNvSpPr>
            <a:spLocks noGrp="1"/>
          </p:cNvSpPr>
          <p:nvPr>
            <p:custDataLst>
              <p:tags r:id="rId3"/>
            </p:custDataLst>
          </p:nvPr>
        </p:nvSpPr>
        <p:spPr bwMode="gray">
          <a:xfrm>
            <a:off x="7169150" y="1941513"/>
            <a:ext cx="6508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792E5CD-96BB-4944-BDF2-383F29EBC675}" type="datetime'''''''''''''''0'''''''''''">
              <a:rPr lang="en-AU" altLang="en-US" sz="800" smtClean="0"/>
              <a:pPr algn="ctr">
                <a:spcBef>
                  <a:spcPct val="0"/>
                </a:spcBef>
                <a:spcAft>
                  <a:spcPct val="0"/>
                </a:spcAft>
              </a:pPr>
              <a:t>0</a:t>
            </a:fld>
            <a:endParaRPr lang="en-AU" sz="800" dirty="0"/>
          </a:p>
        </p:txBody>
      </p:sp>
      <p:sp>
        <p:nvSpPr>
          <p:cNvPr id="15" name="Text Placeholder 5">
            <a:extLst>
              <a:ext uri="{FF2B5EF4-FFF2-40B4-BE49-F238E27FC236}">
                <a16:creationId xmlns:a16="http://schemas.microsoft.com/office/drawing/2014/main" id="{5F75314E-DF21-8385-FEDD-7710920A7520}"/>
              </a:ext>
            </a:extLst>
          </p:cNvPr>
          <p:cNvSpPr>
            <a:spLocks noGrp="1"/>
          </p:cNvSpPr>
          <p:nvPr>
            <p:custDataLst>
              <p:tags r:id="rId4"/>
            </p:custDataLst>
          </p:nvPr>
        </p:nvSpPr>
        <p:spPr bwMode="gray">
          <a:xfrm>
            <a:off x="7899400" y="1941513"/>
            <a:ext cx="130175"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E073DE2-0502-4C94-8869-8C515DADC039}" type="datetime'''''''5''''''''''''''''''''''''''''''''''''''''''0'''''''''">
              <a:rPr lang="en-AU" altLang="en-US" sz="800" smtClean="0"/>
              <a:pPr algn="ctr">
                <a:spcBef>
                  <a:spcPct val="0"/>
                </a:spcBef>
                <a:spcAft>
                  <a:spcPct val="0"/>
                </a:spcAft>
              </a:pPr>
              <a:t>50</a:t>
            </a:fld>
            <a:endParaRPr lang="en-AU" sz="800" dirty="0"/>
          </a:p>
        </p:txBody>
      </p:sp>
      <p:sp>
        <p:nvSpPr>
          <p:cNvPr id="16" name="Text Placeholder 5">
            <a:extLst>
              <a:ext uri="{FF2B5EF4-FFF2-40B4-BE49-F238E27FC236}">
                <a16:creationId xmlns:a16="http://schemas.microsoft.com/office/drawing/2014/main" id="{B7FA54C9-589C-1852-69D2-82009E16804E}"/>
              </a:ext>
            </a:extLst>
          </p:cNvPr>
          <p:cNvSpPr>
            <a:spLocks noGrp="1"/>
          </p:cNvSpPr>
          <p:nvPr>
            <p:custDataLst>
              <p:tags r:id="rId5"/>
            </p:custDataLst>
          </p:nvPr>
        </p:nvSpPr>
        <p:spPr bwMode="gray">
          <a:xfrm>
            <a:off x="8629650" y="1941513"/>
            <a:ext cx="195263"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F89614E-10BF-421A-9BCF-65D4C5734394}" type="datetime'''''''''''''''''''''1''''00'''''''''''">
              <a:rPr lang="en-AU" altLang="en-US" sz="800" smtClean="0"/>
              <a:pPr algn="ctr">
                <a:spcBef>
                  <a:spcPct val="0"/>
                </a:spcBef>
                <a:spcAft>
                  <a:spcPct val="0"/>
                </a:spcAft>
              </a:pPr>
              <a:t>100</a:t>
            </a:fld>
            <a:endParaRPr lang="en-AU" sz="800" dirty="0"/>
          </a:p>
        </p:txBody>
      </p:sp>
      <p:sp>
        <p:nvSpPr>
          <p:cNvPr id="17" name="Text Placeholder 5">
            <a:extLst>
              <a:ext uri="{FF2B5EF4-FFF2-40B4-BE49-F238E27FC236}">
                <a16:creationId xmlns:a16="http://schemas.microsoft.com/office/drawing/2014/main" id="{A5A49C79-9DE8-6C28-FCBC-B2951DC5930C}"/>
              </a:ext>
            </a:extLst>
          </p:cNvPr>
          <p:cNvSpPr>
            <a:spLocks noGrp="1"/>
          </p:cNvSpPr>
          <p:nvPr>
            <p:custDataLst>
              <p:tags r:id="rId6"/>
            </p:custDataLst>
          </p:nvPr>
        </p:nvSpPr>
        <p:spPr bwMode="gray">
          <a:xfrm>
            <a:off x="9393238" y="1941513"/>
            <a:ext cx="195263"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5BE449B-DABA-445F-9B31-DA3890C1026E}" type="datetime'''''''''''''''1''''''5''''''''0'''''''''''''''">
              <a:rPr lang="en-AU" altLang="en-US" sz="800" smtClean="0"/>
              <a:pPr algn="ctr">
                <a:spcBef>
                  <a:spcPct val="0"/>
                </a:spcBef>
                <a:spcAft>
                  <a:spcPct val="0"/>
                </a:spcAft>
              </a:pPr>
              <a:t>150</a:t>
            </a:fld>
            <a:endParaRPr lang="en-AU" sz="800" dirty="0"/>
          </a:p>
        </p:txBody>
      </p:sp>
      <p:sp>
        <p:nvSpPr>
          <p:cNvPr id="18" name="Text Placeholder 5">
            <a:extLst>
              <a:ext uri="{FF2B5EF4-FFF2-40B4-BE49-F238E27FC236}">
                <a16:creationId xmlns:a16="http://schemas.microsoft.com/office/drawing/2014/main" id="{B7D9E999-58AA-E53E-A269-676647CED8C1}"/>
              </a:ext>
            </a:extLst>
          </p:cNvPr>
          <p:cNvSpPr>
            <a:spLocks noGrp="1"/>
          </p:cNvSpPr>
          <p:nvPr>
            <p:custDataLst>
              <p:tags r:id="rId7"/>
            </p:custDataLst>
          </p:nvPr>
        </p:nvSpPr>
        <p:spPr bwMode="gray">
          <a:xfrm>
            <a:off x="10155238" y="1941513"/>
            <a:ext cx="195263"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9C77866-444D-46B7-988C-5F17442122CD}" type="datetime'''''''20''''''''0'''''''''''''''''''''''''''''''''''''''''''">
              <a:rPr lang="en-AU" altLang="en-US" sz="800" smtClean="0"/>
              <a:pPr algn="ctr">
                <a:spcBef>
                  <a:spcPct val="0"/>
                </a:spcBef>
                <a:spcAft>
                  <a:spcPct val="0"/>
                </a:spcAft>
              </a:pPr>
              <a:t>200</a:t>
            </a:fld>
            <a:endParaRPr lang="en-AU" sz="800" dirty="0"/>
          </a:p>
        </p:txBody>
      </p:sp>
      <p:sp>
        <p:nvSpPr>
          <p:cNvPr id="19" name="Text Placeholder 5">
            <a:extLst>
              <a:ext uri="{FF2B5EF4-FFF2-40B4-BE49-F238E27FC236}">
                <a16:creationId xmlns:a16="http://schemas.microsoft.com/office/drawing/2014/main" id="{1FC06757-4A11-5498-394D-6B7302BBAAC2}"/>
              </a:ext>
            </a:extLst>
          </p:cNvPr>
          <p:cNvSpPr>
            <a:spLocks noGrp="1"/>
          </p:cNvSpPr>
          <p:nvPr>
            <p:custDataLst>
              <p:tags r:id="rId8"/>
            </p:custDataLst>
          </p:nvPr>
        </p:nvSpPr>
        <p:spPr bwMode="auto">
          <a:xfrm>
            <a:off x="10431463" y="1941513"/>
            <a:ext cx="37465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AU" altLang="en-US" sz="800" dirty="0">
                <a:effectLst/>
              </a:rPr>
              <a:t>Mt CH4</a:t>
            </a:r>
            <a:endParaRPr lang="en-AU" sz="800" dirty="0"/>
          </a:p>
        </p:txBody>
      </p:sp>
      <p:sp>
        <p:nvSpPr>
          <p:cNvPr id="20" name="Text Placeholder 5">
            <a:extLst>
              <a:ext uri="{FF2B5EF4-FFF2-40B4-BE49-F238E27FC236}">
                <a16:creationId xmlns:a16="http://schemas.microsoft.com/office/drawing/2014/main" id="{07A5040F-B930-322D-502B-EB2B309AD3B9}"/>
              </a:ext>
            </a:extLst>
          </p:cNvPr>
          <p:cNvSpPr>
            <a:spLocks noGrp="1"/>
          </p:cNvSpPr>
          <p:nvPr>
            <p:custDataLst>
              <p:tags r:id="rId9"/>
            </p:custDataLst>
          </p:nvPr>
        </p:nvSpPr>
        <p:spPr bwMode="auto">
          <a:xfrm>
            <a:off x="6664325" y="2170113"/>
            <a:ext cx="46990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C6EA52AF-0F54-4712-A982-9BBAD52B1F0B}" type="datetime'''''''''''We''''''t''l''''''''''a''''''''nd''s'''''''''''">
              <a:rPr lang="en-AU" altLang="en-US" sz="800" smtClean="0"/>
              <a:pPr algn="r">
                <a:spcBef>
                  <a:spcPct val="0"/>
                </a:spcBef>
                <a:spcAft>
                  <a:spcPct val="0"/>
                </a:spcAft>
              </a:pPr>
              <a:t>Wetlands</a:t>
            </a:fld>
            <a:endParaRPr lang="en-AU" sz="800" dirty="0"/>
          </a:p>
        </p:txBody>
      </p:sp>
      <p:sp>
        <p:nvSpPr>
          <p:cNvPr id="21" name="Text Placeholder 5">
            <a:extLst>
              <a:ext uri="{FF2B5EF4-FFF2-40B4-BE49-F238E27FC236}">
                <a16:creationId xmlns:a16="http://schemas.microsoft.com/office/drawing/2014/main" id="{F5F5CD7A-7F54-8461-FAA8-3A0CB832076A}"/>
              </a:ext>
            </a:extLst>
          </p:cNvPr>
          <p:cNvSpPr>
            <a:spLocks noGrp="1"/>
          </p:cNvSpPr>
          <p:nvPr>
            <p:custDataLst>
              <p:tags r:id="rId10"/>
            </p:custDataLst>
          </p:nvPr>
        </p:nvSpPr>
        <p:spPr bwMode="auto">
          <a:xfrm>
            <a:off x="6575425" y="2425700"/>
            <a:ext cx="55880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21B814D5-092B-4A5B-AFE5-C0B7AE96C2FD}" type="datetime'Ag''''r''''i''c''''u''lt''''''''''u''''''''r''''e'">
              <a:rPr lang="en-AU" altLang="en-US" sz="800" smtClean="0"/>
              <a:pPr algn="r">
                <a:spcBef>
                  <a:spcPct val="0"/>
                </a:spcBef>
                <a:spcAft>
                  <a:spcPct val="0"/>
                </a:spcAft>
              </a:pPr>
              <a:t>Agriculture</a:t>
            </a:fld>
            <a:endParaRPr lang="en-AU" sz="800" dirty="0"/>
          </a:p>
        </p:txBody>
      </p:sp>
      <p:sp>
        <p:nvSpPr>
          <p:cNvPr id="22" name="Text Placeholder 5">
            <a:extLst>
              <a:ext uri="{FF2B5EF4-FFF2-40B4-BE49-F238E27FC236}">
                <a16:creationId xmlns:a16="http://schemas.microsoft.com/office/drawing/2014/main" id="{486EB1FE-E1BA-4AD5-1C32-E75B0806D6BE}"/>
              </a:ext>
            </a:extLst>
          </p:cNvPr>
          <p:cNvSpPr>
            <a:spLocks noGrp="1"/>
          </p:cNvSpPr>
          <p:nvPr>
            <p:custDataLst>
              <p:tags r:id="rId11"/>
            </p:custDataLst>
          </p:nvPr>
        </p:nvSpPr>
        <p:spPr bwMode="auto">
          <a:xfrm>
            <a:off x="6778625" y="2682875"/>
            <a:ext cx="35560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05A915B4-6A99-40E6-ADC1-40962C65FEDB}" type="datetime'''E''''''''''''n''e''''''rg''''''''''''''''y'''''''''''">
              <a:rPr lang="en-AU" altLang="en-US" sz="800" smtClean="0"/>
              <a:pPr algn="r">
                <a:spcBef>
                  <a:spcPct val="0"/>
                </a:spcBef>
                <a:spcAft>
                  <a:spcPct val="0"/>
                </a:spcAft>
              </a:pPr>
              <a:t>Energy</a:t>
            </a:fld>
            <a:endParaRPr lang="en-AU" sz="800" dirty="0"/>
          </a:p>
        </p:txBody>
      </p:sp>
      <p:sp>
        <p:nvSpPr>
          <p:cNvPr id="23" name="Text Placeholder 5">
            <a:extLst>
              <a:ext uri="{FF2B5EF4-FFF2-40B4-BE49-F238E27FC236}">
                <a16:creationId xmlns:a16="http://schemas.microsoft.com/office/drawing/2014/main" id="{D54E585B-28C0-3B93-0B8F-345DA0CC1548}"/>
              </a:ext>
            </a:extLst>
          </p:cNvPr>
          <p:cNvSpPr>
            <a:spLocks noGrp="1"/>
          </p:cNvSpPr>
          <p:nvPr>
            <p:custDataLst>
              <p:tags r:id="rId12"/>
            </p:custDataLst>
          </p:nvPr>
        </p:nvSpPr>
        <p:spPr bwMode="auto">
          <a:xfrm>
            <a:off x="6821488" y="2938463"/>
            <a:ext cx="31273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7C3E4AD8-2D24-4B73-AA45-A38943EE2532}" type="datetime'''''''''W''a''''''''''''''''''s''''''''''''t''''''''''''''e'''">
              <a:rPr lang="en-AU" altLang="en-US" sz="800" smtClean="0"/>
              <a:pPr algn="r">
                <a:spcBef>
                  <a:spcPct val="0"/>
                </a:spcBef>
                <a:spcAft>
                  <a:spcPct val="0"/>
                </a:spcAft>
              </a:pPr>
              <a:t>Waste</a:t>
            </a:fld>
            <a:endParaRPr lang="en-AU" sz="800" dirty="0"/>
          </a:p>
        </p:txBody>
      </p:sp>
      <p:sp>
        <p:nvSpPr>
          <p:cNvPr id="24" name="Text Placeholder 5">
            <a:extLst>
              <a:ext uri="{FF2B5EF4-FFF2-40B4-BE49-F238E27FC236}">
                <a16:creationId xmlns:a16="http://schemas.microsoft.com/office/drawing/2014/main" id="{404FE06F-8E58-AECE-1EB0-F4D7585BDAEC}"/>
              </a:ext>
            </a:extLst>
          </p:cNvPr>
          <p:cNvSpPr>
            <a:spLocks noGrp="1"/>
          </p:cNvSpPr>
          <p:nvPr>
            <p:custDataLst>
              <p:tags r:id="rId13"/>
            </p:custDataLst>
          </p:nvPr>
        </p:nvSpPr>
        <p:spPr bwMode="auto">
          <a:xfrm>
            <a:off x="6846888" y="3195638"/>
            <a:ext cx="28733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0DA33DE1-FD2B-4211-AAD8-965930592433}" type="datetime'Ot''''h''''''''''''''e''''''r'''''''''''''''''''''''''''''''">
              <a:rPr lang="en-AU" altLang="en-US" sz="800" smtClean="0"/>
              <a:pPr algn="r">
                <a:spcBef>
                  <a:spcPct val="0"/>
                </a:spcBef>
                <a:spcAft>
                  <a:spcPct val="0"/>
                </a:spcAft>
              </a:pPr>
              <a:t>Other</a:t>
            </a:fld>
            <a:endParaRPr lang="en-AU" sz="800" dirty="0"/>
          </a:p>
        </p:txBody>
      </p:sp>
      <p:sp>
        <p:nvSpPr>
          <p:cNvPr id="25" name="Text Placeholder 5">
            <a:extLst>
              <a:ext uri="{FF2B5EF4-FFF2-40B4-BE49-F238E27FC236}">
                <a16:creationId xmlns:a16="http://schemas.microsoft.com/office/drawing/2014/main" id="{B187E197-E73A-F882-0ECD-3F3523D942AC}"/>
              </a:ext>
            </a:extLst>
          </p:cNvPr>
          <p:cNvSpPr>
            <a:spLocks noGrp="1"/>
          </p:cNvSpPr>
          <p:nvPr>
            <p:custDataLst>
              <p:tags r:id="rId14"/>
            </p:custDataLst>
          </p:nvPr>
        </p:nvSpPr>
        <p:spPr bwMode="auto">
          <a:xfrm>
            <a:off x="6280150" y="3451225"/>
            <a:ext cx="854075"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8B135CEE-7D46-4152-ADBA-F10755712989}" type="datetime'Bi''''om''ass'' b''''''''''''''''''''''''u''''r''''''''nin''g'">
              <a:rPr lang="en-AU" altLang="en-US" sz="800" smtClean="0"/>
              <a:pPr algn="r">
                <a:spcBef>
                  <a:spcPct val="0"/>
                </a:spcBef>
                <a:spcAft>
                  <a:spcPct val="0"/>
                </a:spcAft>
              </a:pPr>
              <a:t>Biomass burning</a:t>
            </a:fld>
            <a:endParaRPr lang="en-AU" sz="800" dirty="0"/>
          </a:p>
        </p:txBody>
      </p:sp>
      <p:sp>
        <p:nvSpPr>
          <p:cNvPr id="26" name="Text Placeholder 5">
            <a:extLst>
              <a:ext uri="{FF2B5EF4-FFF2-40B4-BE49-F238E27FC236}">
                <a16:creationId xmlns:a16="http://schemas.microsoft.com/office/drawing/2014/main" id="{60A45B30-E5C2-B3A7-E0E2-B7B80C54A6FD}"/>
              </a:ext>
            </a:extLst>
          </p:cNvPr>
          <p:cNvSpPr>
            <a:spLocks noGrp="1"/>
          </p:cNvSpPr>
          <p:nvPr>
            <p:custDataLst>
              <p:tags r:id="rId15"/>
            </p:custDataLst>
          </p:nvPr>
        </p:nvSpPr>
        <p:spPr bwMode="gray">
          <a:xfrm>
            <a:off x="9259888" y="2682875"/>
            <a:ext cx="223838" cy="1460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224F5ADF-5163-4248-BDF1-38E2DEBCDA3A}" type="datetime'''''''''''''''''''''''''''''1''''''''3''''3'''''''''''''">
              <a:rPr lang="en-AU" altLang="en-US" sz="800" smtClean="0"/>
              <a:pPr>
                <a:spcBef>
                  <a:spcPct val="0"/>
                </a:spcBef>
                <a:spcAft>
                  <a:spcPct val="0"/>
                </a:spcAft>
              </a:pPr>
              <a:t>133</a:t>
            </a:fld>
            <a:endParaRPr lang="en-AU" sz="800" dirty="0"/>
          </a:p>
        </p:txBody>
      </p:sp>
      <p:sp>
        <p:nvSpPr>
          <p:cNvPr id="27" name="Rectangle 26">
            <a:extLst>
              <a:ext uri="{FF2B5EF4-FFF2-40B4-BE49-F238E27FC236}">
                <a16:creationId xmlns:a16="http://schemas.microsoft.com/office/drawing/2014/main" id="{7123DC30-5B54-D38D-D210-07A8378E2D07}"/>
              </a:ext>
            </a:extLst>
          </p:cNvPr>
          <p:cNvSpPr/>
          <p:nvPr>
            <p:custDataLst>
              <p:tags r:id="rId16"/>
            </p:custDataLst>
          </p:nvPr>
        </p:nvSpPr>
        <p:spPr bwMode="auto">
          <a:xfrm>
            <a:off x="10558463" y="2301875"/>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8" name="Rectangle 27">
            <a:extLst>
              <a:ext uri="{FF2B5EF4-FFF2-40B4-BE49-F238E27FC236}">
                <a16:creationId xmlns:a16="http://schemas.microsoft.com/office/drawing/2014/main" id="{318FEA04-17F5-9FA5-2B53-2D5A8DFFFBC2}"/>
              </a:ext>
            </a:extLst>
          </p:cNvPr>
          <p:cNvSpPr/>
          <p:nvPr>
            <p:custDataLst>
              <p:tags r:id="rId17"/>
            </p:custDataLst>
          </p:nvPr>
        </p:nvSpPr>
        <p:spPr bwMode="auto">
          <a:xfrm>
            <a:off x="10558463" y="2498725"/>
            <a:ext cx="142875" cy="106363"/>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9" name="Rectangle 28">
            <a:extLst>
              <a:ext uri="{FF2B5EF4-FFF2-40B4-BE49-F238E27FC236}">
                <a16:creationId xmlns:a16="http://schemas.microsoft.com/office/drawing/2014/main" id="{0E6C9845-EC22-4CF6-D31D-F4DB075EA3C4}"/>
              </a:ext>
            </a:extLst>
          </p:cNvPr>
          <p:cNvSpPr/>
          <p:nvPr>
            <p:custDataLst>
              <p:tags r:id="rId18"/>
            </p:custDataLst>
          </p:nvPr>
        </p:nvSpPr>
        <p:spPr bwMode="auto">
          <a:xfrm>
            <a:off x="10558463" y="2695575"/>
            <a:ext cx="142875" cy="106363"/>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0" name="Rectangle 29">
            <a:extLst>
              <a:ext uri="{FF2B5EF4-FFF2-40B4-BE49-F238E27FC236}">
                <a16:creationId xmlns:a16="http://schemas.microsoft.com/office/drawing/2014/main" id="{E99DB352-1ADA-56A5-A8AB-845A8235F7C6}"/>
              </a:ext>
            </a:extLst>
          </p:cNvPr>
          <p:cNvSpPr/>
          <p:nvPr>
            <p:custDataLst>
              <p:tags r:id="rId19"/>
            </p:custDataLst>
          </p:nvPr>
        </p:nvSpPr>
        <p:spPr bwMode="auto">
          <a:xfrm>
            <a:off x="10558463" y="2892425"/>
            <a:ext cx="142875" cy="106363"/>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1" name="Rectangle 30">
            <a:extLst>
              <a:ext uri="{FF2B5EF4-FFF2-40B4-BE49-F238E27FC236}">
                <a16:creationId xmlns:a16="http://schemas.microsoft.com/office/drawing/2014/main" id="{A0ABBE9D-D8D1-438A-9FF4-4CB69A82E948}"/>
              </a:ext>
            </a:extLst>
          </p:cNvPr>
          <p:cNvSpPr/>
          <p:nvPr>
            <p:custDataLst>
              <p:tags r:id="rId20"/>
            </p:custDataLst>
          </p:nvPr>
        </p:nvSpPr>
        <p:spPr bwMode="auto">
          <a:xfrm>
            <a:off x="10558463" y="3089275"/>
            <a:ext cx="142875" cy="106363"/>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2" name="Rectangle 31">
            <a:extLst>
              <a:ext uri="{FF2B5EF4-FFF2-40B4-BE49-F238E27FC236}">
                <a16:creationId xmlns:a16="http://schemas.microsoft.com/office/drawing/2014/main" id="{8FD68559-9208-E7F3-BC6F-7C9803743345}"/>
              </a:ext>
            </a:extLst>
          </p:cNvPr>
          <p:cNvSpPr/>
          <p:nvPr>
            <p:custDataLst>
              <p:tags r:id="rId21"/>
            </p:custDataLst>
          </p:nvPr>
        </p:nvSpPr>
        <p:spPr bwMode="auto">
          <a:xfrm>
            <a:off x="10558463" y="3286125"/>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Text Placeholder 5">
            <a:extLst>
              <a:ext uri="{FF2B5EF4-FFF2-40B4-BE49-F238E27FC236}">
                <a16:creationId xmlns:a16="http://schemas.microsoft.com/office/drawing/2014/main" id="{BA4CA854-265C-C26C-FE5C-D0AB5D2A7EF9}"/>
              </a:ext>
            </a:extLst>
          </p:cNvPr>
          <p:cNvSpPr>
            <a:spLocks noGrp="1"/>
          </p:cNvSpPr>
          <p:nvPr>
            <p:custDataLst>
              <p:tags r:id="rId22"/>
            </p:custDataLst>
          </p:nvPr>
        </p:nvSpPr>
        <p:spPr bwMode="auto">
          <a:xfrm>
            <a:off x="10752138" y="2279650"/>
            <a:ext cx="373063"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BD31D47D-A1A9-4A91-A665-9BBC2834E271}" type="datetime'N''a''t''''''''u''''''''''''''''''r''''''''''a''''''l'''''''">
              <a:rPr lang="en-AU" altLang="en-US" sz="800" smtClean="0"/>
              <a:pPr>
                <a:spcBef>
                  <a:spcPct val="0"/>
                </a:spcBef>
                <a:spcAft>
                  <a:spcPct val="0"/>
                </a:spcAft>
              </a:pPr>
              <a:t>Natural</a:t>
            </a:fld>
            <a:endParaRPr lang="en-AU" sz="800" dirty="0"/>
          </a:p>
        </p:txBody>
      </p:sp>
      <p:sp>
        <p:nvSpPr>
          <p:cNvPr id="34" name="Text Placeholder 5">
            <a:extLst>
              <a:ext uri="{FF2B5EF4-FFF2-40B4-BE49-F238E27FC236}">
                <a16:creationId xmlns:a16="http://schemas.microsoft.com/office/drawing/2014/main" id="{169EF316-CF64-EFCA-3397-47567C07DC99}"/>
              </a:ext>
            </a:extLst>
          </p:cNvPr>
          <p:cNvSpPr>
            <a:spLocks noGrp="1"/>
          </p:cNvSpPr>
          <p:nvPr>
            <p:custDataLst>
              <p:tags r:id="rId23"/>
            </p:custDataLst>
          </p:nvPr>
        </p:nvSpPr>
        <p:spPr bwMode="auto">
          <a:xfrm>
            <a:off x="10752138" y="2476500"/>
            <a:ext cx="739775"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0F69AF9D-C482-41F2-9626-5B82AB9FA5F6}" type="datetime'''A''nt''''''''''''''''''h''''''''''''rop''o''''g''eni''c'">
              <a:rPr lang="en-AU" altLang="en-US" sz="800" smtClean="0"/>
              <a:pPr>
                <a:spcBef>
                  <a:spcPct val="0"/>
                </a:spcBef>
                <a:spcAft>
                  <a:spcPct val="0"/>
                </a:spcAft>
              </a:pPr>
              <a:t>Anthropogenic</a:t>
            </a:fld>
            <a:endParaRPr lang="en-AU" sz="800" dirty="0"/>
          </a:p>
        </p:txBody>
      </p:sp>
      <p:sp>
        <p:nvSpPr>
          <p:cNvPr id="35" name="Text Placeholder 5">
            <a:extLst>
              <a:ext uri="{FF2B5EF4-FFF2-40B4-BE49-F238E27FC236}">
                <a16:creationId xmlns:a16="http://schemas.microsoft.com/office/drawing/2014/main" id="{87983749-9A72-8F27-6F83-A9341F79C0D3}"/>
              </a:ext>
            </a:extLst>
          </p:cNvPr>
          <p:cNvSpPr>
            <a:spLocks noGrp="1"/>
          </p:cNvSpPr>
          <p:nvPr>
            <p:custDataLst>
              <p:tags r:id="rId24"/>
            </p:custDataLst>
          </p:nvPr>
        </p:nvSpPr>
        <p:spPr bwMode="auto">
          <a:xfrm>
            <a:off x="10752138" y="2673350"/>
            <a:ext cx="136525"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EDDC45A-135E-417A-ACD8-5E2CDE775739}" type="datetime'''''''''O''''''''''''''''''''i''''''''''''''''''''''l'''''''">
              <a:rPr lang="en-AU" altLang="en-US" sz="800" smtClean="0"/>
              <a:pPr>
                <a:spcBef>
                  <a:spcPct val="0"/>
                </a:spcBef>
                <a:spcAft>
                  <a:spcPct val="0"/>
                </a:spcAft>
              </a:pPr>
              <a:t>Oil</a:t>
            </a:fld>
            <a:endParaRPr lang="en-AU" sz="800" dirty="0"/>
          </a:p>
        </p:txBody>
      </p:sp>
      <p:sp>
        <p:nvSpPr>
          <p:cNvPr id="36" name="Text Placeholder 5">
            <a:extLst>
              <a:ext uri="{FF2B5EF4-FFF2-40B4-BE49-F238E27FC236}">
                <a16:creationId xmlns:a16="http://schemas.microsoft.com/office/drawing/2014/main" id="{E055D31B-D698-E7A3-583A-1C5D5400B318}"/>
              </a:ext>
            </a:extLst>
          </p:cNvPr>
          <p:cNvSpPr>
            <a:spLocks noGrp="1"/>
          </p:cNvSpPr>
          <p:nvPr>
            <p:custDataLst>
              <p:tags r:id="rId25"/>
            </p:custDataLst>
          </p:nvPr>
        </p:nvSpPr>
        <p:spPr bwMode="auto">
          <a:xfrm>
            <a:off x="10752138" y="2870200"/>
            <a:ext cx="58578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68D620F8-C73C-43CF-AE5C-2719F302D023}" type="datetime'''''''''''Nat''u''r''''a''''''l'''''''''''''' ''''g''a''''''s'">
              <a:rPr lang="en-AU" altLang="en-US" sz="800" smtClean="0"/>
              <a:pPr>
                <a:spcBef>
                  <a:spcPct val="0"/>
                </a:spcBef>
                <a:spcAft>
                  <a:spcPct val="0"/>
                </a:spcAft>
              </a:pPr>
              <a:t>Natural gas</a:t>
            </a:fld>
            <a:endParaRPr lang="en-AU" sz="800" dirty="0"/>
          </a:p>
        </p:txBody>
      </p:sp>
      <p:sp>
        <p:nvSpPr>
          <p:cNvPr id="37" name="Text Placeholder 5">
            <a:extLst>
              <a:ext uri="{FF2B5EF4-FFF2-40B4-BE49-F238E27FC236}">
                <a16:creationId xmlns:a16="http://schemas.microsoft.com/office/drawing/2014/main" id="{830E3A37-A1FD-B6A4-3A76-3E692EBB7A8F}"/>
              </a:ext>
            </a:extLst>
          </p:cNvPr>
          <p:cNvSpPr>
            <a:spLocks noGrp="1"/>
          </p:cNvSpPr>
          <p:nvPr>
            <p:custDataLst>
              <p:tags r:id="rId26"/>
            </p:custDataLst>
          </p:nvPr>
        </p:nvSpPr>
        <p:spPr bwMode="auto">
          <a:xfrm>
            <a:off x="10752138" y="3067050"/>
            <a:ext cx="22225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29191145-CB92-4F88-BD64-CA14C7D6E2E5}" type="datetime'''''''C''''''o''a''''''''''''''''''''''''''''''l'''''''''">
              <a:rPr lang="en-AU" altLang="en-US" sz="800" smtClean="0"/>
              <a:pPr>
                <a:spcBef>
                  <a:spcPct val="0"/>
                </a:spcBef>
                <a:spcAft>
                  <a:spcPct val="0"/>
                </a:spcAft>
              </a:pPr>
              <a:t>Coal</a:t>
            </a:fld>
            <a:endParaRPr lang="en-AU" sz="800" dirty="0"/>
          </a:p>
        </p:txBody>
      </p:sp>
      <p:sp>
        <p:nvSpPr>
          <p:cNvPr id="38" name="Text Placeholder 5">
            <a:extLst>
              <a:ext uri="{FF2B5EF4-FFF2-40B4-BE49-F238E27FC236}">
                <a16:creationId xmlns:a16="http://schemas.microsoft.com/office/drawing/2014/main" id="{51CB5C30-CE41-2B19-7DA5-480C059FC0CB}"/>
              </a:ext>
            </a:extLst>
          </p:cNvPr>
          <p:cNvSpPr>
            <a:spLocks noGrp="1"/>
          </p:cNvSpPr>
          <p:nvPr>
            <p:custDataLst>
              <p:tags r:id="rId27"/>
            </p:custDataLst>
          </p:nvPr>
        </p:nvSpPr>
        <p:spPr bwMode="auto">
          <a:xfrm>
            <a:off x="10752138" y="3263900"/>
            <a:ext cx="512763"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2DC52883-79D1-4767-AFA0-117C24A9EFF6}" type="datetime'''''''''B''''i''oe''''''''''ne''''''r''''''''''gy'''''''''''''">
              <a:rPr lang="en-AU" altLang="en-US" sz="800" smtClean="0"/>
              <a:pPr>
                <a:spcBef>
                  <a:spcPct val="0"/>
                </a:spcBef>
                <a:spcAft>
                  <a:spcPct val="0"/>
                </a:spcAft>
              </a:pPr>
              <a:t>Bioenergy</a:t>
            </a:fld>
            <a:endParaRPr lang="en-AU" sz="800" dirty="0"/>
          </a:p>
        </p:txBody>
      </p:sp>
      <p:sp>
        <p:nvSpPr>
          <p:cNvPr id="39" name="Title 1">
            <a:extLst>
              <a:ext uri="{FF2B5EF4-FFF2-40B4-BE49-F238E27FC236}">
                <a16:creationId xmlns:a16="http://schemas.microsoft.com/office/drawing/2014/main" id="{A0055774-1D2D-D7FA-EB25-885FB9ABEEE5}"/>
              </a:ext>
            </a:extLst>
          </p:cNvPr>
          <p:cNvSpPr txBox="1">
            <a:spLocks/>
          </p:cNvSpPr>
          <p:nvPr/>
        </p:nvSpPr>
        <p:spPr>
          <a:xfrm>
            <a:off x="6472718" y="1684210"/>
            <a:ext cx="4772339" cy="21209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800" b="1" kern="1200">
                <a:solidFill>
                  <a:schemeClr val="tx2"/>
                </a:solidFill>
                <a:latin typeface="+mj-lt"/>
                <a:ea typeface="Verdana" panose="020B0604030504040204" pitchFamily="34" charset="0"/>
                <a:cs typeface="Verdana" panose="020B0604030504040204" pitchFamily="34" charset="0"/>
              </a:defRPr>
            </a:lvl1pPr>
          </a:lstStyle>
          <a:p>
            <a:pPr algn="ctr"/>
            <a:r>
              <a:rPr lang="en-AU" sz="1400" dirty="0"/>
              <a:t>Sources of global methane emissions (2022)</a:t>
            </a:r>
          </a:p>
        </p:txBody>
      </p:sp>
      <p:sp>
        <p:nvSpPr>
          <p:cNvPr id="40" name="TextBox 39">
            <a:extLst>
              <a:ext uri="{FF2B5EF4-FFF2-40B4-BE49-F238E27FC236}">
                <a16:creationId xmlns:a16="http://schemas.microsoft.com/office/drawing/2014/main" id="{533F5E5C-CAD2-06ED-A550-9C6773082269}"/>
              </a:ext>
            </a:extLst>
          </p:cNvPr>
          <p:cNvSpPr txBox="1"/>
          <p:nvPr/>
        </p:nvSpPr>
        <p:spPr>
          <a:xfrm>
            <a:off x="9982200" y="3451800"/>
            <a:ext cx="1701800" cy="215444"/>
          </a:xfrm>
          <a:prstGeom prst="rect">
            <a:avLst/>
          </a:prstGeom>
          <a:noFill/>
        </p:spPr>
        <p:txBody>
          <a:bodyPr wrap="square">
            <a:spAutoFit/>
          </a:bodyPr>
          <a:lstStyle/>
          <a:p>
            <a:pPr indent="-114300" algn="ctr"/>
            <a:r>
              <a:rPr lang="en-AU" sz="800" i="1" dirty="0">
                <a:solidFill>
                  <a:schemeClr val="accent4"/>
                </a:solidFill>
              </a:rPr>
              <a:t>Source: IEA (2023).</a:t>
            </a:r>
          </a:p>
        </p:txBody>
      </p:sp>
      <p:sp>
        <p:nvSpPr>
          <p:cNvPr id="194" name="Text Placeholder 3">
            <a:extLst>
              <a:ext uri="{FF2B5EF4-FFF2-40B4-BE49-F238E27FC236}">
                <a16:creationId xmlns:a16="http://schemas.microsoft.com/office/drawing/2014/main" id="{3049DBB1-76FD-06CC-0B74-D3C9C983742F}"/>
              </a:ext>
            </a:extLst>
          </p:cNvPr>
          <p:cNvSpPr txBox="1">
            <a:spLocks/>
          </p:cNvSpPr>
          <p:nvPr/>
        </p:nvSpPr>
        <p:spPr>
          <a:xfrm>
            <a:off x="893233" y="5194226"/>
            <a:ext cx="5235000" cy="1162156"/>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a:r>
              <a:rPr lang="en-AU" sz="1200" dirty="0"/>
              <a:t>Efforts to reduce methane emissions from this sector are crucial due to methane's high GWP.</a:t>
            </a:r>
          </a:p>
          <a:p>
            <a:pPr marL="342900" lvl="1"/>
            <a:r>
              <a:rPr lang="en-AU" sz="1200" dirty="0"/>
              <a:t>Reducing leaks and improving the efficiency of natural gas production and distribution are key strategies in mitigating these emissions.</a:t>
            </a:r>
          </a:p>
        </p:txBody>
      </p:sp>
      <p:sp>
        <p:nvSpPr>
          <p:cNvPr id="570" name="Title 1">
            <a:extLst>
              <a:ext uri="{FF2B5EF4-FFF2-40B4-BE49-F238E27FC236}">
                <a16:creationId xmlns:a16="http://schemas.microsoft.com/office/drawing/2014/main" id="{089FF52F-5AF0-985F-0534-04B9FEA4A1F1}"/>
              </a:ext>
            </a:extLst>
          </p:cNvPr>
          <p:cNvSpPr txBox="1">
            <a:spLocks/>
          </p:cNvSpPr>
          <p:nvPr/>
        </p:nvSpPr>
        <p:spPr>
          <a:xfrm>
            <a:off x="1552506" y="2209800"/>
            <a:ext cx="3800521" cy="30956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800" b="1" kern="1200">
                <a:solidFill>
                  <a:schemeClr val="tx2"/>
                </a:solidFill>
                <a:latin typeface="+mj-lt"/>
                <a:ea typeface="Verdana" panose="020B0604030504040204" pitchFamily="34" charset="0"/>
                <a:cs typeface="Verdana" panose="020B0604030504040204" pitchFamily="34" charset="0"/>
              </a:defRPr>
            </a:lvl1pPr>
          </a:lstStyle>
          <a:p>
            <a:pPr algn="ctr"/>
            <a:r>
              <a:rPr lang="en-AU" sz="1400" dirty="0"/>
              <a:t>Global Greenhouse Gas Emissions by Sector (2020)</a:t>
            </a:r>
          </a:p>
        </p:txBody>
      </p:sp>
      <p:sp>
        <p:nvSpPr>
          <p:cNvPr id="571" name="TextBox 570">
            <a:extLst>
              <a:ext uri="{FF2B5EF4-FFF2-40B4-BE49-F238E27FC236}">
                <a16:creationId xmlns:a16="http://schemas.microsoft.com/office/drawing/2014/main" id="{735607CE-F10A-A40B-A9D9-2946988E21BE}"/>
              </a:ext>
            </a:extLst>
          </p:cNvPr>
          <p:cNvSpPr txBox="1"/>
          <p:nvPr/>
        </p:nvSpPr>
        <p:spPr>
          <a:xfrm>
            <a:off x="1105193" y="4880784"/>
            <a:ext cx="3696311" cy="214313"/>
          </a:xfrm>
          <a:prstGeom prst="rect">
            <a:avLst/>
          </a:prstGeom>
          <a:noFill/>
        </p:spPr>
        <p:txBody>
          <a:bodyPr wrap="square">
            <a:spAutoFit/>
          </a:bodyPr>
          <a:lstStyle/>
          <a:p>
            <a:pPr indent="-114300"/>
            <a:r>
              <a:rPr lang="en-AU" sz="800" i="1" dirty="0">
                <a:solidFill>
                  <a:schemeClr val="accent4"/>
                </a:solidFill>
              </a:rPr>
              <a:t>Source: Climate Watch, The World Research Institute (2020).</a:t>
            </a:r>
          </a:p>
        </p:txBody>
      </p:sp>
      <p:sp>
        <p:nvSpPr>
          <p:cNvPr id="590" name="Text Placeholder 3">
            <a:extLst>
              <a:ext uri="{FF2B5EF4-FFF2-40B4-BE49-F238E27FC236}">
                <a16:creationId xmlns:a16="http://schemas.microsoft.com/office/drawing/2014/main" id="{90265CB6-7354-5538-3C91-07C902797570}"/>
              </a:ext>
            </a:extLst>
          </p:cNvPr>
          <p:cNvSpPr txBox="1">
            <a:spLocks/>
          </p:cNvSpPr>
          <p:nvPr/>
        </p:nvSpPr>
        <p:spPr>
          <a:xfrm>
            <a:off x="6570297" y="3831832"/>
            <a:ext cx="4932729" cy="651427"/>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a:r>
              <a:rPr lang="en-AU" sz="1200" dirty="0"/>
              <a:t>Methane is notably emitted from natural gas production and distribution, as well as from agriculture (especially livestock) and waste management. </a:t>
            </a:r>
          </a:p>
        </p:txBody>
      </p:sp>
      <p:graphicFrame>
        <p:nvGraphicFramePr>
          <p:cNvPr id="970" name="Chart 969">
            <a:extLst>
              <a:ext uri="{FF2B5EF4-FFF2-40B4-BE49-F238E27FC236}">
                <a16:creationId xmlns:a16="http://schemas.microsoft.com/office/drawing/2014/main" id="{E8BC691B-5173-45E4-8CD3-03A871A296C2}"/>
              </a:ext>
            </a:extLst>
          </p:cNvPr>
          <p:cNvGraphicFramePr/>
          <p:nvPr>
            <p:custDataLst>
              <p:tags r:id="rId28"/>
            </p:custDataLst>
            <p:extLst>
              <p:ext uri="{D42A27DB-BD31-4B8C-83A1-F6EECF244321}">
                <p14:modId xmlns:p14="http://schemas.microsoft.com/office/powerpoint/2010/main" val="1499916654"/>
              </p:ext>
            </p:extLst>
          </p:nvPr>
        </p:nvGraphicFramePr>
        <p:xfrm>
          <a:off x="1220788" y="2444750"/>
          <a:ext cx="2101850" cy="2136775"/>
        </p:xfrm>
        <a:graphic>
          <a:graphicData uri="http://schemas.openxmlformats.org/drawingml/2006/chart">
            <c:chart xmlns:c="http://schemas.openxmlformats.org/drawingml/2006/chart" xmlns:r="http://schemas.openxmlformats.org/officeDocument/2006/relationships" r:id="rId57"/>
          </a:graphicData>
        </a:graphic>
      </p:graphicFrame>
      <p:sp>
        <p:nvSpPr>
          <p:cNvPr id="773" name="Text Placeholder 5">
            <a:extLst>
              <a:ext uri="{FF2B5EF4-FFF2-40B4-BE49-F238E27FC236}">
                <a16:creationId xmlns:a16="http://schemas.microsoft.com/office/drawing/2014/main" id="{87DF0065-1E85-3CAE-AFF2-1B24507DE8EE}"/>
              </a:ext>
            </a:extLst>
          </p:cNvPr>
          <p:cNvSpPr>
            <a:spLocks noGrp="1"/>
          </p:cNvSpPr>
          <p:nvPr>
            <p:custDataLst>
              <p:tags r:id="rId29"/>
            </p:custDataLst>
          </p:nvPr>
        </p:nvSpPr>
        <p:spPr bwMode="gray">
          <a:xfrm>
            <a:off x="1522413" y="3230563"/>
            <a:ext cx="203200" cy="146050"/>
          </a:xfrm>
          <a:prstGeom prst="rect">
            <a:avLst/>
          </a:prstGeom>
          <a:solidFill>
            <a:schemeClr val="accent3"/>
          </a:solidFill>
          <a:ln>
            <a:noFill/>
          </a:ln>
          <a:effec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8357CBC-ADF7-4B7D-B1B8-D10C25CB3B66}" type="datetime'''''''''''''''''''''''3''''''''%'''''''''">
              <a:rPr lang="en-AU" altLang="en-US" sz="800" smtClean="0">
                <a:effectLst/>
              </a:rPr>
              <a:pPr algn="ctr">
                <a:spcBef>
                  <a:spcPct val="0"/>
                </a:spcBef>
                <a:spcAft>
                  <a:spcPct val="0"/>
                </a:spcAft>
              </a:pPr>
              <a:t>3%</a:t>
            </a:fld>
            <a:endParaRPr lang="en-AU" sz="800" dirty="0"/>
          </a:p>
        </p:txBody>
      </p:sp>
      <p:sp>
        <p:nvSpPr>
          <p:cNvPr id="789" name="Rectangle 788">
            <a:extLst>
              <a:ext uri="{FF2B5EF4-FFF2-40B4-BE49-F238E27FC236}">
                <a16:creationId xmlns:a16="http://schemas.microsoft.com/office/drawing/2014/main" id="{B5C35C38-57DE-F16B-C319-52762DFB01FC}"/>
              </a:ext>
            </a:extLst>
          </p:cNvPr>
          <p:cNvSpPr/>
          <p:nvPr>
            <p:custDataLst>
              <p:tags r:id="rId30"/>
            </p:custDataLst>
          </p:nvPr>
        </p:nvSpPr>
        <p:spPr bwMode="auto">
          <a:xfrm>
            <a:off x="1247775" y="4471988"/>
            <a:ext cx="142875" cy="106363"/>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90" name="Rectangle 789">
            <a:extLst>
              <a:ext uri="{FF2B5EF4-FFF2-40B4-BE49-F238E27FC236}">
                <a16:creationId xmlns:a16="http://schemas.microsoft.com/office/drawing/2014/main" id="{B9DD8509-0F19-FBAB-5801-BF86E73F14F5}"/>
              </a:ext>
            </a:extLst>
          </p:cNvPr>
          <p:cNvSpPr/>
          <p:nvPr>
            <p:custDataLst>
              <p:tags r:id="rId31"/>
            </p:custDataLst>
          </p:nvPr>
        </p:nvSpPr>
        <p:spPr bwMode="auto">
          <a:xfrm>
            <a:off x="1247775" y="4668838"/>
            <a:ext cx="142875" cy="106363"/>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91" name="Rectangle 790">
            <a:extLst>
              <a:ext uri="{FF2B5EF4-FFF2-40B4-BE49-F238E27FC236}">
                <a16:creationId xmlns:a16="http://schemas.microsoft.com/office/drawing/2014/main" id="{F6E52AA1-907E-FCDB-B9E7-55F31FD55635}"/>
              </a:ext>
            </a:extLst>
          </p:cNvPr>
          <p:cNvSpPr/>
          <p:nvPr>
            <p:custDataLst>
              <p:tags r:id="rId32"/>
            </p:custDataLst>
          </p:nvPr>
        </p:nvSpPr>
        <p:spPr bwMode="auto">
          <a:xfrm>
            <a:off x="2566988" y="4471988"/>
            <a:ext cx="142875" cy="106363"/>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92" name="Rectangle 791">
            <a:extLst>
              <a:ext uri="{FF2B5EF4-FFF2-40B4-BE49-F238E27FC236}">
                <a16:creationId xmlns:a16="http://schemas.microsoft.com/office/drawing/2014/main" id="{71196495-447F-EEF3-2105-A3D54091409E}"/>
              </a:ext>
            </a:extLst>
          </p:cNvPr>
          <p:cNvSpPr/>
          <p:nvPr>
            <p:custDataLst>
              <p:tags r:id="rId33"/>
            </p:custDataLst>
          </p:nvPr>
        </p:nvSpPr>
        <p:spPr bwMode="auto">
          <a:xfrm>
            <a:off x="2566988" y="4668838"/>
            <a:ext cx="142875" cy="106363"/>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61" name="Text Placeholder 5">
            <a:extLst>
              <a:ext uri="{FF2B5EF4-FFF2-40B4-BE49-F238E27FC236}">
                <a16:creationId xmlns:a16="http://schemas.microsoft.com/office/drawing/2014/main" id="{87DF0065-1E85-3CAE-AFF2-1B24507DE8EE}"/>
              </a:ext>
            </a:extLst>
          </p:cNvPr>
          <p:cNvSpPr>
            <a:spLocks noGrp="1"/>
          </p:cNvSpPr>
          <p:nvPr>
            <p:custDataLst>
              <p:tags r:id="rId34"/>
            </p:custDataLst>
          </p:nvPr>
        </p:nvSpPr>
        <p:spPr bwMode="auto">
          <a:xfrm>
            <a:off x="1441450" y="4449763"/>
            <a:ext cx="35560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A9420D99-3515-4E11-8A69-0A26E311EE6B}" type="datetime'''''''''''''''''E''n''''''e''''r''''''''''g''''y'''''''''''''">
              <a:rPr lang="en-AU" altLang="en-US" sz="800" smtClean="0"/>
              <a:pPr>
                <a:spcBef>
                  <a:spcPct val="0"/>
                </a:spcBef>
                <a:spcAft>
                  <a:spcPct val="0"/>
                </a:spcAft>
              </a:pPr>
              <a:t>Energy</a:t>
            </a:fld>
            <a:endParaRPr lang="en-AU" sz="800" dirty="0"/>
          </a:p>
        </p:txBody>
      </p:sp>
      <p:sp>
        <p:nvSpPr>
          <p:cNvPr id="762" name="Text Placeholder 5">
            <a:extLst>
              <a:ext uri="{FF2B5EF4-FFF2-40B4-BE49-F238E27FC236}">
                <a16:creationId xmlns:a16="http://schemas.microsoft.com/office/drawing/2014/main" id="{87DF0065-1E85-3CAE-AFF2-1B24507DE8EE}"/>
              </a:ext>
            </a:extLst>
          </p:cNvPr>
          <p:cNvSpPr>
            <a:spLocks noGrp="1"/>
          </p:cNvSpPr>
          <p:nvPr>
            <p:custDataLst>
              <p:tags r:id="rId35"/>
            </p:custDataLst>
          </p:nvPr>
        </p:nvSpPr>
        <p:spPr bwMode="auto">
          <a:xfrm>
            <a:off x="1441450" y="4646613"/>
            <a:ext cx="102393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F6B8D09-81A6-461C-BFF5-95A254DBEB2F}" type="datetime'''''''''''I''n''d''ust''''ri''al'' ''pr''o''ce''''''s''ses'''">
              <a:rPr lang="en-AU" altLang="en-US" sz="800" smtClean="0"/>
              <a:pPr>
                <a:spcBef>
                  <a:spcPct val="0"/>
                </a:spcBef>
                <a:spcAft>
                  <a:spcPct val="0"/>
                </a:spcAft>
              </a:pPr>
              <a:t>Industrial processes</a:t>
            </a:fld>
            <a:endParaRPr lang="en-AU" sz="800" dirty="0"/>
          </a:p>
        </p:txBody>
      </p:sp>
      <p:sp>
        <p:nvSpPr>
          <p:cNvPr id="763" name="Text Placeholder 5">
            <a:extLst>
              <a:ext uri="{FF2B5EF4-FFF2-40B4-BE49-F238E27FC236}">
                <a16:creationId xmlns:a16="http://schemas.microsoft.com/office/drawing/2014/main" id="{87DF0065-1E85-3CAE-AFF2-1B24507DE8EE}"/>
              </a:ext>
            </a:extLst>
          </p:cNvPr>
          <p:cNvSpPr>
            <a:spLocks noGrp="1"/>
          </p:cNvSpPr>
          <p:nvPr>
            <p:custDataLst>
              <p:tags r:id="rId36"/>
            </p:custDataLst>
          </p:nvPr>
        </p:nvSpPr>
        <p:spPr bwMode="auto">
          <a:xfrm>
            <a:off x="2760663" y="4449763"/>
            <a:ext cx="31273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C3B3BF02-22C1-4607-8682-83E72F5ED6C5}" type="datetime'''''''''''W''''''as''''''''''''t''''''e'''''''''''''''''''''">
              <a:rPr lang="en-AU" altLang="en-US" sz="800" smtClean="0"/>
              <a:pPr>
                <a:spcBef>
                  <a:spcPct val="0"/>
                </a:spcBef>
                <a:spcAft>
                  <a:spcPct val="0"/>
                </a:spcAft>
              </a:pPr>
              <a:t>Waste</a:t>
            </a:fld>
            <a:endParaRPr lang="en-AU" sz="800" dirty="0"/>
          </a:p>
        </p:txBody>
      </p:sp>
      <p:sp>
        <p:nvSpPr>
          <p:cNvPr id="765" name="Text Placeholder 5">
            <a:extLst>
              <a:ext uri="{FF2B5EF4-FFF2-40B4-BE49-F238E27FC236}">
                <a16:creationId xmlns:a16="http://schemas.microsoft.com/office/drawing/2014/main" id="{31CC2131-6EDC-09E4-78AD-53D2F025624A}"/>
              </a:ext>
            </a:extLst>
          </p:cNvPr>
          <p:cNvSpPr>
            <a:spLocks noGrp="1"/>
          </p:cNvSpPr>
          <p:nvPr>
            <p:custDataLst>
              <p:tags r:id="rId37"/>
            </p:custDataLst>
          </p:nvPr>
        </p:nvSpPr>
        <p:spPr bwMode="auto">
          <a:xfrm>
            <a:off x="2760663" y="4646613"/>
            <a:ext cx="1617663"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062840C3-5DA7-4F01-B081-B05D345BF5CE}" type="datetime'Ag''ric''''ult''ure, ''fo''''rest''r''y'' ''&amp;'' ''''land-use'">
              <a:rPr lang="en-AU" altLang="en-US" sz="800" smtClean="0"/>
              <a:pPr>
                <a:spcBef>
                  <a:spcPct val="0"/>
                </a:spcBef>
                <a:spcAft>
                  <a:spcPct val="0"/>
                </a:spcAft>
              </a:pPr>
              <a:t>Agriculture, forestry &amp; land-use</a:t>
            </a:fld>
            <a:endParaRPr lang="en-AU" sz="800" dirty="0"/>
          </a:p>
        </p:txBody>
      </p:sp>
      <p:graphicFrame>
        <p:nvGraphicFramePr>
          <p:cNvPr id="974" name="Chart 973">
            <a:extLst>
              <a:ext uri="{FF2B5EF4-FFF2-40B4-BE49-F238E27FC236}">
                <a16:creationId xmlns:a16="http://schemas.microsoft.com/office/drawing/2014/main" id="{B94ACB9E-032A-B7DF-114B-EF1C4A0BE8B4}"/>
              </a:ext>
            </a:extLst>
          </p:cNvPr>
          <p:cNvGraphicFramePr/>
          <p:nvPr>
            <p:custDataLst>
              <p:tags r:id="rId38"/>
            </p:custDataLst>
            <p:extLst>
              <p:ext uri="{D42A27DB-BD31-4B8C-83A1-F6EECF244321}">
                <p14:modId xmlns:p14="http://schemas.microsoft.com/office/powerpoint/2010/main" val="2734541419"/>
              </p:ext>
            </p:extLst>
          </p:nvPr>
        </p:nvGraphicFramePr>
        <p:xfrm>
          <a:off x="3328988" y="2636838"/>
          <a:ext cx="1173162" cy="1752600"/>
        </p:xfrm>
        <a:graphic>
          <a:graphicData uri="http://schemas.openxmlformats.org/drawingml/2006/chart">
            <c:chart xmlns:c="http://schemas.openxmlformats.org/drawingml/2006/chart" xmlns:r="http://schemas.openxmlformats.org/officeDocument/2006/relationships" r:id="rId58"/>
          </a:graphicData>
        </a:graphic>
      </p:graphicFrame>
      <p:cxnSp>
        <p:nvCxnSpPr>
          <p:cNvPr id="871" name="Straight Connector 870">
            <a:extLst>
              <a:ext uri="{FF2B5EF4-FFF2-40B4-BE49-F238E27FC236}">
                <a16:creationId xmlns:a16="http://schemas.microsoft.com/office/drawing/2014/main" id="{641FB580-32C7-518B-EF29-4154719BB2F2}"/>
              </a:ext>
            </a:extLst>
          </p:cNvPr>
          <p:cNvCxnSpPr/>
          <p:nvPr>
            <p:custDataLst>
              <p:tags r:id="rId39"/>
            </p:custDataLst>
          </p:nvPr>
        </p:nvCxnSpPr>
        <p:spPr bwMode="gray">
          <a:xfrm flipH="1">
            <a:off x="4222750" y="3840162"/>
            <a:ext cx="28575" cy="152400"/>
          </a:xfrm>
          <a:prstGeom prst="line">
            <a:avLst/>
          </a:prstGeom>
          <a:ln w="6350"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9" name="Text Placeholder 5">
            <a:extLst>
              <a:ext uri="{FF2B5EF4-FFF2-40B4-BE49-F238E27FC236}">
                <a16:creationId xmlns:a16="http://schemas.microsoft.com/office/drawing/2014/main" id="{87DF0065-1E85-3CAE-AFF2-1B24507DE8EE}"/>
              </a:ext>
            </a:extLst>
          </p:cNvPr>
          <p:cNvSpPr>
            <a:spLocks noGrp="1"/>
          </p:cNvSpPr>
          <p:nvPr>
            <p:custDataLst>
              <p:tags r:id="rId40"/>
            </p:custDataLst>
          </p:nvPr>
        </p:nvSpPr>
        <p:spPr bwMode="gray">
          <a:xfrm>
            <a:off x="3954463" y="3919538"/>
            <a:ext cx="203200" cy="146050"/>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686EDD6-FF00-40F0-8D07-E655D5B6A5A3}" type="datetime'''''''''''''2''''''''%'''''''''''">
              <a:rPr lang="en-AU" altLang="en-US" sz="800" smtClean="0">
                <a:solidFill>
                  <a:schemeClr val="bg1"/>
                </a:solidFill>
                <a:effectLst/>
              </a:rPr>
              <a:pPr algn="ctr">
                <a:spcBef>
                  <a:spcPct val="0"/>
                </a:spcBef>
                <a:spcAft>
                  <a:spcPct val="0"/>
                </a:spcAft>
              </a:pPr>
              <a:t>2%</a:t>
            </a:fld>
            <a:endParaRPr lang="en-AU" sz="800" dirty="0">
              <a:solidFill>
                <a:schemeClr val="bg1"/>
              </a:solidFill>
            </a:endParaRPr>
          </a:p>
        </p:txBody>
      </p:sp>
      <p:sp>
        <p:nvSpPr>
          <p:cNvPr id="805" name="Text Placeholder 5">
            <a:extLst>
              <a:ext uri="{FF2B5EF4-FFF2-40B4-BE49-F238E27FC236}">
                <a16:creationId xmlns:a16="http://schemas.microsoft.com/office/drawing/2014/main" id="{87DF0065-1E85-3CAE-AFF2-1B24507DE8EE}"/>
              </a:ext>
            </a:extLst>
          </p:cNvPr>
          <p:cNvSpPr>
            <a:spLocks noGrp="1"/>
          </p:cNvSpPr>
          <p:nvPr>
            <p:custDataLst>
              <p:tags r:id="rId41"/>
            </p:custDataLst>
          </p:nvPr>
        </p:nvSpPr>
        <p:spPr bwMode="auto">
          <a:xfrm>
            <a:off x="4276725" y="2820988"/>
            <a:ext cx="49053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CD641E99-594D-47EF-821D-D085CC438548}" type="datetime'''''T''''r''''''''''''''''''a''n''''''s''p''o''''''''r''t'''''">
              <a:rPr lang="en-AU" altLang="en-US" sz="800" smtClean="0">
                <a:cs typeface="+mn-cs"/>
              </a:rPr>
              <a:pPr>
                <a:spcBef>
                  <a:spcPct val="0"/>
                </a:spcBef>
                <a:spcAft>
                  <a:spcPct val="0"/>
                </a:spcAft>
              </a:pPr>
              <a:t>Transport</a:t>
            </a:fld>
            <a:endParaRPr lang="en-AU" sz="800" dirty="0">
              <a:cs typeface="+mn-cs"/>
            </a:endParaRPr>
          </a:p>
        </p:txBody>
      </p:sp>
      <p:sp>
        <p:nvSpPr>
          <p:cNvPr id="806" name="Text Placeholder 5">
            <a:extLst>
              <a:ext uri="{FF2B5EF4-FFF2-40B4-BE49-F238E27FC236}">
                <a16:creationId xmlns:a16="http://schemas.microsoft.com/office/drawing/2014/main" id="{87DF0065-1E85-3CAE-AFF2-1B24507DE8EE}"/>
              </a:ext>
            </a:extLst>
          </p:cNvPr>
          <p:cNvSpPr>
            <a:spLocks noGrp="1"/>
          </p:cNvSpPr>
          <p:nvPr>
            <p:custDataLst>
              <p:tags r:id="rId42"/>
            </p:custDataLst>
          </p:nvPr>
        </p:nvSpPr>
        <p:spPr bwMode="auto">
          <a:xfrm>
            <a:off x="4276725" y="3186113"/>
            <a:ext cx="981075"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93991D63-F3F1-4147-997C-4C8F7F947AD1}" type="datetime'Ene''''''''''rg''y in ''''bu''ildi''''n''g''s'''''''">
              <a:rPr lang="en-AU" altLang="en-US" sz="800" smtClean="0">
                <a:cs typeface="+mn-cs"/>
              </a:rPr>
              <a:pPr>
                <a:spcBef>
                  <a:spcPct val="0"/>
                </a:spcBef>
                <a:spcAft>
                  <a:spcPct val="0"/>
                </a:spcAft>
              </a:pPr>
              <a:t>Energy in buildings</a:t>
            </a:fld>
            <a:endParaRPr lang="en-AU" sz="800" dirty="0">
              <a:cs typeface="+mn-cs"/>
            </a:endParaRPr>
          </a:p>
        </p:txBody>
      </p:sp>
      <p:sp>
        <p:nvSpPr>
          <p:cNvPr id="807" name="Text Placeholder 5">
            <a:extLst>
              <a:ext uri="{FF2B5EF4-FFF2-40B4-BE49-F238E27FC236}">
                <a16:creationId xmlns:a16="http://schemas.microsoft.com/office/drawing/2014/main" id="{87DF0065-1E85-3CAE-AFF2-1B24507DE8EE}"/>
              </a:ext>
            </a:extLst>
          </p:cNvPr>
          <p:cNvSpPr>
            <a:spLocks noGrp="1"/>
          </p:cNvSpPr>
          <p:nvPr>
            <p:custDataLst>
              <p:tags r:id="rId43"/>
            </p:custDataLst>
          </p:nvPr>
        </p:nvSpPr>
        <p:spPr bwMode="auto">
          <a:xfrm>
            <a:off x="4276725" y="3570288"/>
            <a:ext cx="93980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69504E8-B72B-4E49-8766-166E8B6A7502}" type="datetime'E''''n''er''''''g''''y'' ''i''''''n'' ind''u''''str''''y'''">
              <a:rPr lang="en-AU" altLang="en-US" sz="800" smtClean="0">
                <a:cs typeface="+mn-cs"/>
              </a:rPr>
              <a:pPr>
                <a:spcBef>
                  <a:spcPct val="0"/>
                </a:spcBef>
                <a:spcAft>
                  <a:spcPct val="0"/>
                </a:spcAft>
              </a:pPr>
              <a:t>Energy in industry</a:t>
            </a:fld>
            <a:endParaRPr lang="en-AU" sz="800" dirty="0">
              <a:cs typeface="+mn-cs"/>
            </a:endParaRPr>
          </a:p>
        </p:txBody>
      </p:sp>
      <p:sp>
        <p:nvSpPr>
          <p:cNvPr id="812" name="Text Placeholder 5">
            <a:extLst>
              <a:ext uri="{FF2B5EF4-FFF2-40B4-BE49-F238E27FC236}">
                <a16:creationId xmlns:a16="http://schemas.microsoft.com/office/drawing/2014/main" id="{1D1400B2-FE4A-3584-E38C-78761606B2D6}"/>
              </a:ext>
            </a:extLst>
          </p:cNvPr>
          <p:cNvSpPr>
            <a:spLocks noGrp="1"/>
          </p:cNvSpPr>
          <p:nvPr>
            <p:custDataLst>
              <p:tags r:id="rId44"/>
            </p:custDataLst>
          </p:nvPr>
        </p:nvSpPr>
        <p:spPr bwMode="auto">
          <a:xfrm>
            <a:off x="4276725" y="3767138"/>
            <a:ext cx="1558925"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549C42AA-195C-4D79-8095-02B058A6CE69}" type="datetime'''Energ''y'' in a''''gr''icul''''''t''ur''e'' &amp;'''' fishi''ng'">
              <a:rPr lang="en-AU" altLang="en-US" sz="800" smtClean="0">
                <a:cs typeface="+mn-cs"/>
              </a:rPr>
              <a:pPr>
                <a:spcBef>
                  <a:spcPct val="0"/>
                </a:spcBef>
                <a:spcAft>
                  <a:spcPct val="0"/>
                </a:spcAft>
              </a:pPr>
              <a:t>Energy in agriculture &amp; fishing</a:t>
            </a:fld>
            <a:endParaRPr lang="en-AU" sz="800" dirty="0">
              <a:cs typeface="+mn-cs"/>
            </a:endParaRPr>
          </a:p>
        </p:txBody>
      </p:sp>
      <p:sp>
        <p:nvSpPr>
          <p:cNvPr id="813" name="Text Placeholder 5">
            <a:extLst>
              <a:ext uri="{FF2B5EF4-FFF2-40B4-BE49-F238E27FC236}">
                <a16:creationId xmlns:a16="http://schemas.microsoft.com/office/drawing/2014/main" id="{D9E517D4-4F67-A4DB-3E03-164BAD55743C}"/>
              </a:ext>
            </a:extLst>
          </p:cNvPr>
          <p:cNvSpPr>
            <a:spLocks noGrp="1"/>
          </p:cNvSpPr>
          <p:nvPr>
            <p:custDataLst>
              <p:tags r:id="rId45"/>
            </p:custDataLst>
          </p:nvPr>
        </p:nvSpPr>
        <p:spPr bwMode="auto">
          <a:xfrm>
            <a:off x="4276725" y="3963988"/>
            <a:ext cx="144780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35A9DDEF-FEBC-4467-A4E7-9EEF569ADA64}" type="datetime'Unalloc''a''''''ted ''f''''''''''uel ''''com''bus''t''i''o''n'">
              <a:rPr lang="en-AU" altLang="en-US" sz="800" smtClean="0">
                <a:cs typeface="+mn-cs"/>
              </a:rPr>
              <a:pPr>
                <a:spcBef>
                  <a:spcPct val="0"/>
                </a:spcBef>
                <a:spcAft>
                  <a:spcPct val="0"/>
                </a:spcAft>
              </a:pPr>
              <a:t>Unallocated fuel combustion</a:t>
            </a:fld>
            <a:endParaRPr lang="en-AU" sz="800" dirty="0">
              <a:cs typeface="+mn-cs"/>
            </a:endParaRPr>
          </a:p>
        </p:txBody>
      </p:sp>
      <p:sp>
        <p:nvSpPr>
          <p:cNvPr id="814" name="Text Placeholder 5">
            <a:extLst>
              <a:ext uri="{FF2B5EF4-FFF2-40B4-BE49-F238E27FC236}">
                <a16:creationId xmlns:a16="http://schemas.microsoft.com/office/drawing/2014/main" id="{7653EEE5-77A5-8BF8-4F2A-B04D570F254E}"/>
              </a:ext>
            </a:extLst>
          </p:cNvPr>
          <p:cNvSpPr>
            <a:spLocks noGrp="1"/>
          </p:cNvSpPr>
          <p:nvPr>
            <p:custDataLst>
              <p:tags r:id="rId46"/>
            </p:custDataLst>
          </p:nvPr>
        </p:nvSpPr>
        <p:spPr bwMode="auto">
          <a:xfrm>
            <a:off x="4276725" y="4160838"/>
            <a:ext cx="1606550"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A90C1AB4-ADCE-4418-BBC9-019C6A90783C}" type="datetime'F''''ug''it''ive ''''em''''''issio''ns'''' from ''ene''''rgy'">
              <a:rPr lang="en-AU" altLang="en-US" sz="800" smtClean="0">
                <a:cs typeface="+mn-cs"/>
              </a:rPr>
              <a:pPr>
                <a:spcBef>
                  <a:spcPct val="0"/>
                </a:spcBef>
                <a:spcAft>
                  <a:spcPct val="0"/>
                </a:spcAft>
              </a:pPr>
              <a:t>Fugitive emissions from energy</a:t>
            </a:fld>
            <a:endParaRPr lang="en-AU" sz="800" dirty="0">
              <a:cs typeface="+mn-cs"/>
            </a:endParaRPr>
          </a:p>
        </p:txBody>
      </p:sp>
      <p:sp>
        <p:nvSpPr>
          <p:cNvPr id="899" name="Text Placeholder 5">
            <a:extLst>
              <a:ext uri="{FF2B5EF4-FFF2-40B4-BE49-F238E27FC236}">
                <a16:creationId xmlns:a16="http://schemas.microsoft.com/office/drawing/2014/main" id="{87DF0065-1E85-3CAE-AFF2-1B24507DE8EE}"/>
              </a:ext>
            </a:extLst>
          </p:cNvPr>
          <p:cNvSpPr>
            <a:spLocks noGrp="1"/>
          </p:cNvSpPr>
          <p:nvPr>
            <p:custDataLst>
              <p:tags r:id="rId47"/>
            </p:custDataLst>
          </p:nvPr>
        </p:nvSpPr>
        <p:spPr bwMode="gray">
          <a:xfrm>
            <a:off x="3781425" y="2820988"/>
            <a:ext cx="26828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ABD836B-26CD-469F-A9D5-9F5E5B91B1D8}" type="datetime'''''2''''''''''''''''2''%'''">
              <a:rPr lang="en-AU" altLang="en-US" sz="800" smtClean="0"/>
              <a:pPr/>
              <a:t>22%</a:t>
            </a:fld>
            <a:endParaRPr lang="en-AU" sz="800" dirty="0"/>
          </a:p>
        </p:txBody>
      </p:sp>
      <p:sp>
        <p:nvSpPr>
          <p:cNvPr id="905" name="Text Placeholder 5">
            <a:extLst>
              <a:ext uri="{FF2B5EF4-FFF2-40B4-BE49-F238E27FC236}">
                <a16:creationId xmlns:a16="http://schemas.microsoft.com/office/drawing/2014/main" id="{87DF0065-1E85-3CAE-AFF2-1B24507DE8EE}"/>
              </a:ext>
            </a:extLst>
          </p:cNvPr>
          <p:cNvSpPr>
            <a:spLocks noGrp="1"/>
          </p:cNvSpPr>
          <p:nvPr>
            <p:custDataLst>
              <p:tags r:id="rId48"/>
            </p:custDataLst>
          </p:nvPr>
        </p:nvSpPr>
        <p:spPr bwMode="gray">
          <a:xfrm>
            <a:off x="3781425" y="3186113"/>
            <a:ext cx="26828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2987702-F089-45D9-8BFC-FADC44278835}" type="datetime'2''''''''''''''''''''''''''4''''%'''''''''''''''''">
              <a:rPr lang="en-AU" altLang="en-US" sz="800" smtClean="0"/>
              <a:pPr/>
              <a:t>24%</a:t>
            </a:fld>
            <a:endParaRPr lang="en-AU" sz="800" dirty="0"/>
          </a:p>
        </p:txBody>
      </p:sp>
      <p:sp>
        <p:nvSpPr>
          <p:cNvPr id="911" name="Text Placeholder 5">
            <a:extLst>
              <a:ext uri="{FF2B5EF4-FFF2-40B4-BE49-F238E27FC236}">
                <a16:creationId xmlns:a16="http://schemas.microsoft.com/office/drawing/2014/main" id="{87DF0065-1E85-3CAE-AFF2-1B24507DE8EE}"/>
              </a:ext>
            </a:extLst>
          </p:cNvPr>
          <p:cNvSpPr>
            <a:spLocks noGrp="1"/>
          </p:cNvSpPr>
          <p:nvPr>
            <p:custDataLst>
              <p:tags r:id="rId49"/>
            </p:custDataLst>
          </p:nvPr>
        </p:nvSpPr>
        <p:spPr bwMode="gray">
          <a:xfrm>
            <a:off x="3781425" y="3638550"/>
            <a:ext cx="26828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28744C1-8AE6-4B24-949B-11CA006CDA87}" type="datetime'''''''''''''3''''''''''''''''''''''3''''''%'''''''''">
              <a:rPr lang="en-AU" altLang="en-US" sz="800" smtClean="0"/>
              <a:pPr/>
              <a:t>33%</a:t>
            </a:fld>
            <a:endParaRPr lang="en-AU" sz="800" dirty="0"/>
          </a:p>
        </p:txBody>
      </p:sp>
      <p:sp>
        <p:nvSpPr>
          <p:cNvPr id="920" name="Text Placeholder 5">
            <a:extLst>
              <a:ext uri="{FF2B5EF4-FFF2-40B4-BE49-F238E27FC236}">
                <a16:creationId xmlns:a16="http://schemas.microsoft.com/office/drawing/2014/main" id="{87DF0065-1E85-3CAE-AFF2-1B24507DE8EE}"/>
              </a:ext>
            </a:extLst>
          </p:cNvPr>
          <p:cNvSpPr>
            <a:spLocks noGrp="1"/>
          </p:cNvSpPr>
          <p:nvPr>
            <p:custDataLst>
              <p:tags r:id="rId50"/>
            </p:custDataLst>
          </p:nvPr>
        </p:nvSpPr>
        <p:spPr bwMode="gray">
          <a:xfrm>
            <a:off x="3641725" y="4022725"/>
            <a:ext cx="268288" cy="146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19EB5CE-CBD6-48B2-B3CE-EC71303301E0}" type="datetime'1''''''1''''''''''''''''''''''''''''''''''''%'''">
              <a:rPr lang="en-AU" altLang="en-US" sz="800" smtClean="0">
                <a:solidFill>
                  <a:schemeClr val="bg1"/>
                </a:solidFill>
                <a:cs typeface="+mn-cs"/>
              </a:rPr>
              <a:pPr/>
              <a:t>11%</a:t>
            </a:fld>
            <a:endParaRPr lang="en-AU" sz="800" dirty="0">
              <a:solidFill>
                <a:schemeClr val="bg1"/>
              </a:solidFill>
              <a:cs typeface="+mn-cs"/>
            </a:endParaRPr>
          </a:p>
        </p:txBody>
      </p:sp>
      <p:sp>
        <p:nvSpPr>
          <p:cNvPr id="932" name="Text Placeholder 5">
            <a:extLst>
              <a:ext uri="{FF2B5EF4-FFF2-40B4-BE49-F238E27FC236}">
                <a16:creationId xmlns:a16="http://schemas.microsoft.com/office/drawing/2014/main" id="{87DF0065-1E85-3CAE-AFF2-1B24507DE8EE}"/>
              </a:ext>
            </a:extLst>
          </p:cNvPr>
          <p:cNvSpPr>
            <a:spLocks noGrp="1"/>
          </p:cNvSpPr>
          <p:nvPr>
            <p:custDataLst>
              <p:tags r:id="rId51"/>
            </p:custDataLst>
          </p:nvPr>
        </p:nvSpPr>
        <p:spPr bwMode="gray">
          <a:xfrm>
            <a:off x="3813175" y="4170363"/>
            <a:ext cx="203200" cy="146050"/>
          </a:xfrm>
          <a:prstGeom prst="rect">
            <a:avLst/>
          </a:prstGeom>
          <a:noFill/>
          <a:ln>
            <a:noFill/>
          </a:ln>
          <a:effectLst/>
          <a:extLst>
            <a:ext uri="{909E8E84-426E-40DD-AFC4-6F175D3DCCD1}">
              <a14:hiddenFill xmlns:a14="http://schemas.microsoft.com/office/drawing/2010/main">
                <a:solidFill>
                  <a:srgbClr val="8F0717"/>
                </a:solidFill>
              </a14:hiddenFill>
            </a:ext>
          </a:extLst>
        </p:spPr>
        <p:txBody>
          <a:bodyPr vert="horz" wrap="none" lIns="14288" tIns="0" rIns="14288"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60256BE-58C1-499C-9BDF-2EEE8FECC230}" type="datetime'8''''''''''''''''''%'''">
              <a:rPr lang="en-AU" altLang="en-US" sz="800" smtClean="0">
                <a:solidFill>
                  <a:schemeClr val="bg1"/>
                </a:solidFill>
              </a:rPr>
              <a:pPr algn="ctr">
                <a:spcBef>
                  <a:spcPct val="0"/>
                </a:spcBef>
                <a:spcAft>
                  <a:spcPct val="0"/>
                </a:spcAft>
              </a:pPr>
              <a:t>8%</a:t>
            </a:fld>
            <a:endParaRPr lang="en-AU" sz="800" dirty="0">
              <a:solidFill>
                <a:schemeClr val="bg1"/>
              </a:solidFill>
            </a:endParaRPr>
          </a:p>
        </p:txBody>
      </p:sp>
      <p:cxnSp>
        <p:nvCxnSpPr>
          <p:cNvPr id="946" name="Straight Connector 945">
            <a:extLst>
              <a:ext uri="{FF2B5EF4-FFF2-40B4-BE49-F238E27FC236}">
                <a16:creationId xmlns:a16="http://schemas.microsoft.com/office/drawing/2014/main" id="{0B8C6AF2-4D16-83A8-227F-B9BF7EA2FAF8}"/>
              </a:ext>
            </a:extLst>
          </p:cNvPr>
          <p:cNvCxnSpPr>
            <a:cxnSpLocks/>
          </p:cNvCxnSpPr>
          <p:nvPr/>
        </p:nvCxnSpPr>
        <p:spPr>
          <a:xfrm>
            <a:off x="2271713" y="2712807"/>
            <a:ext cx="137001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1" name="Straight Connector 950">
            <a:extLst>
              <a:ext uri="{FF2B5EF4-FFF2-40B4-BE49-F238E27FC236}">
                <a16:creationId xmlns:a16="http://schemas.microsoft.com/office/drawing/2014/main" id="{48CE05C7-3072-8713-0B9E-EEA7E718717D}"/>
              </a:ext>
            </a:extLst>
          </p:cNvPr>
          <p:cNvCxnSpPr>
            <a:cxnSpLocks/>
          </p:cNvCxnSpPr>
          <p:nvPr/>
        </p:nvCxnSpPr>
        <p:spPr>
          <a:xfrm flipV="1">
            <a:off x="2225735" y="4306585"/>
            <a:ext cx="1403134" cy="0"/>
          </a:xfrm>
          <a:prstGeom prst="line">
            <a:avLst/>
          </a:prstGeom>
        </p:spPr>
        <p:style>
          <a:lnRef idx="1">
            <a:schemeClr val="accent1"/>
          </a:lnRef>
          <a:fillRef idx="0">
            <a:schemeClr val="accent1"/>
          </a:fillRef>
          <a:effectRef idx="0">
            <a:schemeClr val="accent1"/>
          </a:effectRef>
          <a:fontRef idx="minor">
            <a:schemeClr val="tx1"/>
          </a:fontRef>
        </p:style>
      </p:cxnSp>
      <p:sp>
        <p:nvSpPr>
          <p:cNvPr id="977" name="Rectangle: Rounded Corners 976">
            <a:extLst>
              <a:ext uri="{FF2B5EF4-FFF2-40B4-BE49-F238E27FC236}">
                <a16:creationId xmlns:a16="http://schemas.microsoft.com/office/drawing/2014/main" id="{8246ACFF-B486-1350-7329-692C5ACA2BEA}"/>
              </a:ext>
            </a:extLst>
          </p:cNvPr>
          <p:cNvSpPr/>
          <p:nvPr/>
        </p:nvSpPr>
        <p:spPr>
          <a:xfrm>
            <a:off x="6635306" y="4623375"/>
            <a:ext cx="5032062" cy="1289861"/>
          </a:xfrm>
          <a:prstGeom prst="roundRect">
            <a:avLst>
              <a:gd name="adj" fmla="val 9608"/>
            </a:avLst>
          </a:prstGeom>
          <a:solidFill>
            <a:schemeClr val="accent1">
              <a:lumMod val="40000"/>
              <a:lumOff val="60000"/>
              <a:alpha val="50000"/>
            </a:schemeClr>
          </a:solidFill>
          <a:ln>
            <a:solidFill>
              <a:schemeClr val="accent1">
                <a:lumMod val="40000"/>
                <a:lumOff val="60000"/>
              </a:schemeClr>
            </a:solidFill>
          </a:ln>
        </p:spPr>
        <p:style>
          <a:lnRef idx="0">
            <a:scrgbClr r="0" g="0" b="0"/>
          </a:lnRef>
          <a:fillRef idx="0">
            <a:scrgbClr r="0" g="0" b="0"/>
          </a:fillRef>
          <a:effectRef idx="0">
            <a:scrgbClr r="0" g="0" b="0"/>
          </a:effectRef>
          <a:fontRef idx="minor">
            <a:schemeClr val="lt1"/>
          </a:fontRef>
        </p:style>
        <p:txBody>
          <a:bodyPr lIns="144000" tIns="72000" rIns="108000" rtlCol="0" anchor="ctr"/>
          <a:lstStyle/>
          <a:p>
            <a:pPr marL="0" marR="0" lvl="0" indent="0" algn="ctr" defTabSz="91440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According to the IEA (2023), the annual investment required to reduce emissions is close to the total value of the captured methane that could be sold. Related methane emissions from O&amp;G could be reduced by almost 75% at nearly no net cost to the global oil and gas industry.</a:t>
            </a:r>
          </a:p>
        </p:txBody>
      </p:sp>
      <p:sp>
        <p:nvSpPr>
          <p:cNvPr id="6" name="Footer Placeholder 5">
            <a:extLst>
              <a:ext uri="{FF2B5EF4-FFF2-40B4-BE49-F238E27FC236}">
                <a16:creationId xmlns:a16="http://schemas.microsoft.com/office/drawing/2014/main" id="{7DC208B9-0FBA-2458-A977-94E639F62EB0}"/>
              </a:ext>
            </a:extLst>
          </p:cNvPr>
          <p:cNvSpPr>
            <a:spLocks noGrp="1"/>
          </p:cNvSpPr>
          <p:nvPr>
            <p:ph type="ftr" sz="quarter" idx="3"/>
          </p:nvPr>
        </p:nvSpPr>
        <p:spPr/>
        <p:txBody>
          <a:bodyPr/>
          <a:lstStyle/>
          <a:p>
            <a:r>
              <a:rPr lang="en-AU"/>
              <a:t>Greenhouse Gas Emissions Reduction in Pipeline Systems</a:t>
            </a:r>
            <a:endParaRPr lang="en-AU" dirty="0"/>
          </a:p>
        </p:txBody>
      </p:sp>
      <p:sp>
        <p:nvSpPr>
          <p:cNvPr id="8" name="Slide Number Placeholder 7">
            <a:extLst>
              <a:ext uri="{FF2B5EF4-FFF2-40B4-BE49-F238E27FC236}">
                <a16:creationId xmlns:a16="http://schemas.microsoft.com/office/drawing/2014/main" id="{82BA920A-011E-FD5C-5843-D6F4772F0766}"/>
              </a:ext>
            </a:extLst>
          </p:cNvPr>
          <p:cNvSpPr>
            <a:spLocks noGrp="1"/>
          </p:cNvSpPr>
          <p:nvPr>
            <p:ph type="sldNum" sz="quarter" idx="4"/>
          </p:nvPr>
        </p:nvSpPr>
        <p:spPr/>
        <p:txBody>
          <a:bodyPr/>
          <a:lstStyle/>
          <a:p>
            <a:fld id="{195D5CA5-55C1-564D-A16D-F77DF7B8BEAD}" type="slidenum">
              <a:rPr lang="en-AU" smtClean="0"/>
              <a:pPr/>
              <a:t>3</a:t>
            </a:fld>
            <a:endParaRPr lang="en-AU" dirty="0"/>
          </a:p>
        </p:txBody>
      </p:sp>
    </p:spTree>
    <p:extLst>
      <p:ext uri="{BB962C8B-B14F-4D97-AF65-F5344CB8AC3E}">
        <p14:creationId xmlns:p14="http://schemas.microsoft.com/office/powerpoint/2010/main" val="3668082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0DE03F-4A9E-4211-865E-9C5ABC9CB821}"/>
              </a:ext>
            </a:extLst>
          </p:cNvPr>
          <p:cNvGraphicFramePr>
            <a:graphicFrameLocks noChangeAspect="1"/>
          </p:cNvGraphicFramePr>
          <p:nvPr>
            <p:custDataLst>
              <p:tags r:id="rId1"/>
            </p:custDataLst>
            <p:extLst>
              <p:ext uri="{D42A27DB-BD31-4B8C-83A1-F6EECF244321}">
                <p14:modId xmlns:p14="http://schemas.microsoft.com/office/powerpoint/2010/main" val="4204854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6" name="think-cell data - do not delete" hidden="1">
                        <a:extLst>
                          <a:ext uri="{FF2B5EF4-FFF2-40B4-BE49-F238E27FC236}">
                            <a16:creationId xmlns:a16="http://schemas.microsoft.com/office/drawing/2014/main" id="{CF0DE03F-4A9E-4211-865E-9C5ABC9CB82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AB991444-2087-51F6-C24B-9F1576CD34A8}"/>
              </a:ext>
            </a:extLst>
          </p:cNvPr>
          <p:cNvSpPr/>
          <p:nvPr/>
        </p:nvSpPr>
        <p:spPr>
          <a:xfrm>
            <a:off x="6739602" y="1423988"/>
            <a:ext cx="4815018" cy="4818063"/>
          </a:xfrm>
          <a:prstGeom prst="roundRect">
            <a:avLst>
              <a:gd name="adj" fmla="val 3644"/>
            </a:avLst>
          </a:prstGeom>
          <a:solidFill>
            <a:schemeClr val="bg2"/>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5" name="Rectangle: Rounded Corners 244">
            <a:extLst>
              <a:ext uri="{FF2B5EF4-FFF2-40B4-BE49-F238E27FC236}">
                <a16:creationId xmlns:a16="http://schemas.microsoft.com/office/drawing/2014/main" id="{6C77E369-F469-64DD-3DEE-64A809965D46}"/>
              </a:ext>
            </a:extLst>
          </p:cNvPr>
          <p:cNvSpPr/>
          <p:nvPr/>
        </p:nvSpPr>
        <p:spPr>
          <a:xfrm>
            <a:off x="6862763" y="1537878"/>
            <a:ext cx="4585190" cy="351789"/>
          </a:xfrm>
          <a:prstGeom prst="roundRect">
            <a:avLst>
              <a:gd name="adj" fmla="val 2244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C1E0C783-C1A7-4C16-8161-C0B0A65BA529}"/>
              </a:ext>
            </a:extLst>
          </p:cNvPr>
          <p:cNvSpPr>
            <a:spLocks noGrp="1"/>
          </p:cNvSpPr>
          <p:nvPr>
            <p:ph type="title"/>
          </p:nvPr>
        </p:nvSpPr>
        <p:spPr/>
        <p:txBody>
          <a:bodyPr vert="horz"/>
          <a:lstStyle/>
          <a:p>
            <a:r>
              <a:rPr lang="en-AU" dirty="0"/>
              <a:t>Legislation and Commitments</a:t>
            </a:r>
          </a:p>
        </p:txBody>
      </p:sp>
      <p:sp>
        <p:nvSpPr>
          <p:cNvPr id="4" name="Text Placeholder 3">
            <a:extLst>
              <a:ext uri="{FF2B5EF4-FFF2-40B4-BE49-F238E27FC236}">
                <a16:creationId xmlns:a16="http://schemas.microsoft.com/office/drawing/2014/main" id="{52A6BA5E-4D24-4550-B96C-1B272D6DCEEF}"/>
              </a:ext>
            </a:extLst>
          </p:cNvPr>
          <p:cNvSpPr>
            <a:spLocks noGrp="1"/>
          </p:cNvSpPr>
          <p:nvPr>
            <p:ph type="body" sz="quarter" idx="11"/>
          </p:nvPr>
        </p:nvSpPr>
        <p:spPr>
          <a:xfrm>
            <a:off x="893233" y="1579564"/>
            <a:ext cx="5619327" cy="2109786"/>
          </a:xfrm>
        </p:spPr>
        <p:txBody>
          <a:bodyPr>
            <a:normAutofit/>
          </a:bodyPr>
          <a:lstStyle/>
          <a:p>
            <a:pPr marL="342900" lvl="1"/>
            <a:r>
              <a:rPr lang="en-AU" sz="1200" dirty="0"/>
              <a:t>Australia has signed up to the Global Methane Pledge to cut emissions by 30% by 2030.</a:t>
            </a:r>
          </a:p>
          <a:p>
            <a:pPr marL="342900" lvl="1"/>
            <a:r>
              <a:rPr lang="en-AU" sz="1200" dirty="0"/>
              <a:t>Australia also has its own target to reduce emissions to 43% below 2005 levels by 2030, and net zero by 2050.</a:t>
            </a:r>
          </a:p>
          <a:p>
            <a:pPr lvl="1" indent="0">
              <a:buNone/>
            </a:pPr>
            <a:endParaRPr lang="en-AU" sz="1200" dirty="0"/>
          </a:p>
          <a:p>
            <a:pPr lvl="1" indent="0">
              <a:buNone/>
            </a:pPr>
            <a:r>
              <a:rPr lang="en-AU" sz="1200" b="1" dirty="0"/>
              <a:t>National Greenhouse and Emissions Reporting (NGER) Scheme</a:t>
            </a:r>
            <a:endParaRPr lang="en-AU" sz="1200" dirty="0"/>
          </a:p>
          <a:p>
            <a:pPr marL="342900" lvl="1"/>
            <a:r>
              <a:rPr lang="en-AU" sz="1200" dirty="0"/>
              <a:t>Australia’s emissions, electricity consumption and generation monitoring and reporting scheme.</a:t>
            </a:r>
          </a:p>
          <a:p>
            <a:pPr marL="342900" lvl="1"/>
            <a:r>
              <a:rPr lang="en-AU" sz="1200" dirty="0"/>
              <a:t>This includes a Safeguard Mechanism.</a:t>
            </a:r>
          </a:p>
        </p:txBody>
      </p:sp>
      <p:sp>
        <p:nvSpPr>
          <p:cNvPr id="8" name="Text Placeholder 7">
            <a:extLst>
              <a:ext uri="{FF2B5EF4-FFF2-40B4-BE49-F238E27FC236}">
                <a16:creationId xmlns:a16="http://schemas.microsoft.com/office/drawing/2014/main" id="{12DEDA01-48D4-4AEC-A281-9F119E4DDA7C}"/>
              </a:ext>
            </a:extLst>
          </p:cNvPr>
          <p:cNvSpPr>
            <a:spLocks noGrp="1"/>
          </p:cNvSpPr>
          <p:nvPr>
            <p:ph type="body" sz="quarter" idx="12"/>
          </p:nvPr>
        </p:nvSpPr>
        <p:spPr>
          <a:xfrm>
            <a:off x="6796086" y="4863334"/>
            <a:ext cx="4597401" cy="1195333"/>
          </a:xfrm>
        </p:spPr>
        <p:txBody>
          <a:bodyPr>
            <a:normAutofit/>
          </a:bodyPr>
          <a:lstStyle/>
          <a:p>
            <a:pPr marL="342900" lvl="1"/>
            <a:r>
              <a:rPr lang="en-AU" sz="1050" dirty="0"/>
              <a:t>For scope 1 emissions in 2022-23, decrease of 0.9% from the previous reporting year mostly due to decrease in emissions from electricity generation.</a:t>
            </a:r>
          </a:p>
          <a:p>
            <a:pPr marL="342900" lvl="1"/>
            <a:r>
              <a:rPr lang="en-AU" sz="1050" dirty="0"/>
              <a:t>For scope 2 emissions in 2022-23, decrease of 8% from the previous reporting year due to due to reductions in electricity grid emissions intensities.</a:t>
            </a:r>
          </a:p>
        </p:txBody>
      </p:sp>
      <p:graphicFrame>
        <p:nvGraphicFramePr>
          <p:cNvPr id="251" name="Chart 250">
            <a:extLst>
              <a:ext uri="{FF2B5EF4-FFF2-40B4-BE49-F238E27FC236}">
                <a16:creationId xmlns:a16="http://schemas.microsoft.com/office/drawing/2014/main" id="{1C976EBD-33A9-F4C9-1E21-1FF099BF61E2}"/>
              </a:ext>
            </a:extLst>
          </p:cNvPr>
          <p:cNvGraphicFramePr/>
          <p:nvPr>
            <p:custDataLst>
              <p:tags r:id="rId2"/>
            </p:custDataLst>
            <p:extLst>
              <p:ext uri="{D42A27DB-BD31-4B8C-83A1-F6EECF244321}">
                <p14:modId xmlns:p14="http://schemas.microsoft.com/office/powerpoint/2010/main" val="1876217326"/>
              </p:ext>
            </p:extLst>
          </p:nvPr>
        </p:nvGraphicFramePr>
        <p:xfrm>
          <a:off x="7043738" y="1892300"/>
          <a:ext cx="4344987" cy="2555875"/>
        </p:xfrm>
        <a:graphic>
          <a:graphicData uri="http://schemas.openxmlformats.org/drawingml/2006/chart">
            <c:chart xmlns:c="http://schemas.openxmlformats.org/drawingml/2006/chart" xmlns:r="http://schemas.openxmlformats.org/officeDocument/2006/relationships" r:id="rId18"/>
          </a:graphicData>
        </a:graphic>
      </p:graphicFrame>
      <p:sp>
        <p:nvSpPr>
          <p:cNvPr id="112" name="Text Placeholder 5">
            <a:extLst>
              <a:ext uri="{FF2B5EF4-FFF2-40B4-BE49-F238E27FC236}">
                <a16:creationId xmlns:a16="http://schemas.microsoft.com/office/drawing/2014/main" id="{87DF0065-1E85-3CAE-AFF2-1B24507DE8EE}"/>
              </a:ext>
            </a:extLst>
          </p:cNvPr>
          <p:cNvSpPr>
            <a:spLocks noGrp="1"/>
          </p:cNvSpPr>
          <p:nvPr>
            <p:custDataLst>
              <p:tags r:id="rId3"/>
            </p:custDataLst>
          </p:nvPr>
        </p:nvSpPr>
        <p:spPr bwMode="auto">
          <a:xfrm>
            <a:off x="6862763" y="2532064"/>
            <a:ext cx="182563" cy="1312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AU" altLang="en-US" dirty="0">
                <a:effectLst/>
              </a:rPr>
              <a:t>Emissions (Mt CO</a:t>
            </a:r>
            <a:r>
              <a:rPr lang="en-AU" altLang="en-US" baseline="-25000" dirty="0">
                <a:effectLst/>
              </a:rPr>
              <a:t>2</a:t>
            </a:r>
            <a:r>
              <a:rPr lang="en-AU" altLang="en-US" dirty="0">
                <a:effectLst/>
              </a:rPr>
              <a:t>e)</a:t>
            </a:r>
            <a:endParaRPr lang="en-AU" dirty="0"/>
          </a:p>
        </p:txBody>
      </p:sp>
      <p:sp>
        <p:nvSpPr>
          <p:cNvPr id="13" name="Text Placeholder 5">
            <a:extLst>
              <a:ext uri="{FF2B5EF4-FFF2-40B4-BE49-F238E27FC236}">
                <a16:creationId xmlns:a16="http://schemas.microsoft.com/office/drawing/2014/main" id="{87DF0065-1E85-3CAE-AFF2-1B24507DE8EE}"/>
              </a:ext>
            </a:extLst>
          </p:cNvPr>
          <p:cNvSpPr>
            <a:spLocks noGrp="1"/>
          </p:cNvSpPr>
          <p:nvPr>
            <p:custDataLst>
              <p:tags r:id="rId4"/>
            </p:custDataLst>
          </p:nvPr>
        </p:nvSpPr>
        <p:spPr bwMode="auto">
          <a:xfrm>
            <a:off x="7554913" y="4265613"/>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36118F6-FD28-4820-AF83-2D7EC64457B8}" type="datetime'''''201''''''7''''''-''''1''''8'''''''''''''''''''''">
              <a:rPr lang="en-AU" altLang="en-US" smtClean="0"/>
              <a:pPr algn="ctr">
                <a:spcBef>
                  <a:spcPct val="0"/>
                </a:spcBef>
                <a:spcAft>
                  <a:spcPct val="0"/>
                </a:spcAft>
              </a:pPr>
              <a:t>2017-18</a:t>
            </a:fld>
            <a:endParaRPr lang="en-AU" dirty="0"/>
          </a:p>
        </p:txBody>
      </p:sp>
      <p:sp>
        <p:nvSpPr>
          <p:cNvPr id="21" name="Text Placeholder 5">
            <a:extLst>
              <a:ext uri="{FF2B5EF4-FFF2-40B4-BE49-F238E27FC236}">
                <a16:creationId xmlns:a16="http://schemas.microsoft.com/office/drawing/2014/main" id="{9E457972-2C34-1C65-FA09-128CF52769EC}"/>
              </a:ext>
            </a:extLst>
          </p:cNvPr>
          <p:cNvSpPr>
            <a:spLocks noGrp="1"/>
          </p:cNvSpPr>
          <p:nvPr>
            <p:custDataLst>
              <p:tags r:id="rId5"/>
            </p:custDataLst>
          </p:nvPr>
        </p:nvSpPr>
        <p:spPr bwMode="auto">
          <a:xfrm>
            <a:off x="8186738" y="4265613"/>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6FD3758-1648-4C86-9235-B4A18BDED552}" type="datetime'''''''2''''''''''''''0''''18''''''''-''1''''''''''''''''9'''''">
              <a:rPr lang="en-AU" altLang="en-US" smtClean="0"/>
              <a:pPr algn="ctr">
                <a:spcBef>
                  <a:spcPct val="0"/>
                </a:spcBef>
                <a:spcAft>
                  <a:spcPct val="0"/>
                </a:spcAft>
              </a:pPr>
              <a:t>2018-19</a:t>
            </a:fld>
            <a:endParaRPr lang="en-AU" dirty="0"/>
          </a:p>
        </p:txBody>
      </p:sp>
      <p:sp>
        <p:nvSpPr>
          <p:cNvPr id="24" name="Text Placeholder 5">
            <a:extLst>
              <a:ext uri="{FF2B5EF4-FFF2-40B4-BE49-F238E27FC236}">
                <a16:creationId xmlns:a16="http://schemas.microsoft.com/office/drawing/2014/main" id="{E49BE409-C69B-25CC-2FB6-CF986A2B82A0}"/>
              </a:ext>
            </a:extLst>
          </p:cNvPr>
          <p:cNvSpPr>
            <a:spLocks noGrp="1"/>
          </p:cNvSpPr>
          <p:nvPr>
            <p:custDataLst>
              <p:tags r:id="rId6"/>
            </p:custDataLst>
          </p:nvPr>
        </p:nvSpPr>
        <p:spPr bwMode="auto">
          <a:xfrm>
            <a:off x="8816975" y="4265613"/>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9724491-AADC-4A0D-9DC7-3681F0243232}" type="datetime'''2''''0''19''-''2''''''0'''''''''''''''''">
              <a:rPr lang="en-AU" altLang="en-US" smtClean="0"/>
              <a:pPr algn="ctr">
                <a:spcBef>
                  <a:spcPct val="0"/>
                </a:spcBef>
                <a:spcAft>
                  <a:spcPct val="0"/>
                </a:spcAft>
              </a:pPr>
              <a:t>2019-20</a:t>
            </a:fld>
            <a:endParaRPr lang="en-AU" dirty="0"/>
          </a:p>
        </p:txBody>
      </p:sp>
      <p:sp>
        <p:nvSpPr>
          <p:cNvPr id="27" name="Text Placeholder 5">
            <a:extLst>
              <a:ext uri="{FF2B5EF4-FFF2-40B4-BE49-F238E27FC236}">
                <a16:creationId xmlns:a16="http://schemas.microsoft.com/office/drawing/2014/main" id="{43794426-D7AD-D4C7-BF40-61AD15C79F89}"/>
              </a:ext>
            </a:extLst>
          </p:cNvPr>
          <p:cNvSpPr>
            <a:spLocks noGrp="1"/>
          </p:cNvSpPr>
          <p:nvPr>
            <p:custDataLst>
              <p:tags r:id="rId7"/>
            </p:custDataLst>
          </p:nvPr>
        </p:nvSpPr>
        <p:spPr bwMode="auto">
          <a:xfrm>
            <a:off x="9448800" y="4265613"/>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5DB0851-0944-4FD3-9254-28C1FBEDF7CB}" type="datetime'''20''2''0''''''''''''''''-''2''''''1'''">
              <a:rPr lang="en-AU" altLang="en-US" smtClean="0"/>
              <a:pPr algn="ctr">
                <a:spcBef>
                  <a:spcPct val="0"/>
                </a:spcBef>
                <a:spcAft>
                  <a:spcPct val="0"/>
                </a:spcAft>
              </a:pPr>
              <a:t>2020-21</a:t>
            </a:fld>
            <a:endParaRPr lang="en-AU" dirty="0"/>
          </a:p>
        </p:txBody>
      </p:sp>
      <p:sp>
        <p:nvSpPr>
          <p:cNvPr id="30" name="Text Placeholder 5">
            <a:extLst>
              <a:ext uri="{FF2B5EF4-FFF2-40B4-BE49-F238E27FC236}">
                <a16:creationId xmlns:a16="http://schemas.microsoft.com/office/drawing/2014/main" id="{5C041C36-AC17-374E-8148-DF70515AD40A}"/>
              </a:ext>
            </a:extLst>
          </p:cNvPr>
          <p:cNvSpPr>
            <a:spLocks noGrp="1"/>
          </p:cNvSpPr>
          <p:nvPr>
            <p:custDataLst>
              <p:tags r:id="rId8"/>
            </p:custDataLst>
          </p:nvPr>
        </p:nvSpPr>
        <p:spPr bwMode="auto">
          <a:xfrm>
            <a:off x="10080625" y="4265613"/>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614B18B-8DE1-48B1-BD84-BB78B019DF4A}" type="datetime'''''''''''2''''''''0''''''21-2''''2'''">
              <a:rPr lang="en-AU" altLang="en-US" smtClean="0"/>
              <a:pPr algn="ctr">
                <a:spcBef>
                  <a:spcPct val="0"/>
                </a:spcBef>
                <a:spcAft>
                  <a:spcPct val="0"/>
                </a:spcAft>
              </a:pPr>
              <a:t>2021-22</a:t>
            </a:fld>
            <a:endParaRPr lang="en-AU" dirty="0"/>
          </a:p>
        </p:txBody>
      </p:sp>
      <p:sp>
        <p:nvSpPr>
          <p:cNvPr id="33" name="Text Placeholder 5">
            <a:extLst>
              <a:ext uri="{FF2B5EF4-FFF2-40B4-BE49-F238E27FC236}">
                <a16:creationId xmlns:a16="http://schemas.microsoft.com/office/drawing/2014/main" id="{A8A31612-70B0-9C5B-EDF1-0A29EC81FB31}"/>
              </a:ext>
            </a:extLst>
          </p:cNvPr>
          <p:cNvSpPr>
            <a:spLocks noGrp="1"/>
          </p:cNvSpPr>
          <p:nvPr>
            <p:custDataLst>
              <p:tags r:id="rId9"/>
            </p:custDataLst>
          </p:nvPr>
        </p:nvSpPr>
        <p:spPr bwMode="auto">
          <a:xfrm>
            <a:off x="10710863" y="4265613"/>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B859645-3855-49A1-A695-1160C0724769}" type="datetime'''''''''''''''20''''''2''''''''''''''2''-2''''''3'">
              <a:rPr lang="en-AU" altLang="en-US" smtClean="0"/>
              <a:pPr algn="ctr">
                <a:spcBef>
                  <a:spcPct val="0"/>
                </a:spcBef>
                <a:spcAft>
                  <a:spcPct val="0"/>
                </a:spcAft>
              </a:pPr>
              <a:t>2022-23</a:t>
            </a:fld>
            <a:endParaRPr lang="en-AU" dirty="0"/>
          </a:p>
        </p:txBody>
      </p:sp>
      <p:sp>
        <p:nvSpPr>
          <p:cNvPr id="17" name="Rectangle 16">
            <a:extLst>
              <a:ext uri="{FF2B5EF4-FFF2-40B4-BE49-F238E27FC236}">
                <a16:creationId xmlns:a16="http://schemas.microsoft.com/office/drawing/2014/main" id="{99246F94-4F56-7671-DE6D-9DB6F9F84368}"/>
              </a:ext>
            </a:extLst>
          </p:cNvPr>
          <p:cNvSpPr/>
          <p:nvPr>
            <p:custDataLst>
              <p:tags r:id="rId10"/>
            </p:custDataLst>
          </p:nvPr>
        </p:nvSpPr>
        <p:spPr bwMode="auto">
          <a:xfrm>
            <a:off x="7832725" y="45481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Rectangle 17">
            <a:extLst>
              <a:ext uri="{FF2B5EF4-FFF2-40B4-BE49-F238E27FC236}">
                <a16:creationId xmlns:a16="http://schemas.microsoft.com/office/drawing/2014/main" id="{DEA953AE-547F-96DF-9C5C-AABF4CCA9479}"/>
              </a:ext>
            </a:extLst>
          </p:cNvPr>
          <p:cNvSpPr/>
          <p:nvPr>
            <p:custDataLst>
              <p:tags r:id="rId11"/>
            </p:custDataLst>
          </p:nvPr>
        </p:nvSpPr>
        <p:spPr bwMode="auto">
          <a:xfrm>
            <a:off x="9350375" y="45481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Text Placeholder 5">
            <a:extLst>
              <a:ext uri="{FF2B5EF4-FFF2-40B4-BE49-F238E27FC236}">
                <a16:creationId xmlns:a16="http://schemas.microsoft.com/office/drawing/2014/main" id="{87DF0065-1E85-3CAE-AFF2-1B24507DE8EE}"/>
              </a:ext>
            </a:extLst>
          </p:cNvPr>
          <p:cNvSpPr>
            <a:spLocks noGrp="1"/>
          </p:cNvSpPr>
          <p:nvPr>
            <p:custDataLst>
              <p:tags r:id="rId12"/>
            </p:custDataLst>
          </p:nvPr>
        </p:nvSpPr>
        <p:spPr bwMode="auto">
          <a:xfrm>
            <a:off x="8062913" y="4521200"/>
            <a:ext cx="1185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B235A89F-0D0B-48F9-8979-F2BC8EC5DE54}" type="datetime'S''c''op''e ''''1'' e''''''''''m''''''issi''o''''ns'''''''''''">
              <a:rPr lang="en-AU" altLang="en-US" smtClean="0"/>
              <a:pPr>
                <a:spcBef>
                  <a:spcPct val="0"/>
                </a:spcBef>
                <a:spcAft>
                  <a:spcPct val="0"/>
                </a:spcAft>
              </a:pPr>
              <a:t>Scope 1 emissions</a:t>
            </a:fld>
            <a:endParaRPr lang="en-AU" dirty="0"/>
          </a:p>
        </p:txBody>
      </p:sp>
      <p:sp>
        <p:nvSpPr>
          <p:cNvPr id="12" name="Text Placeholder 5">
            <a:extLst>
              <a:ext uri="{FF2B5EF4-FFF2-40B4-BE49-F238E27FC236}">
                <a16:creationId xmlns:a16="http://schemas.microsoft.com/office/drawing/2014/main" id="{87DF0065-1E85-3CAE-AFF2-1B24507DE8EE}"/>
              </a:ext>
            </a:extLst>
          </p:cNvPr>
          <p:cNvSpPr>
            <a:spLocks noGrp="1"/>
          </p:cNvSpPr>
          <p:nvPr>
            <p:custDataLst>
              <p:tags r:id="rId13"/>
            </p:custDataLst>
          </p:nvPr>
        </p:nvSpPr>
        <p:spPr bwMode="auto">
          <a:xfrm>
            <a:off x="9580563" y="4521200"/>
            <a:ext cx="1185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85FAD13B-C462-460F-A9E0-397B9B2446BA}" type="datetime'''S''''''''''cope'' 2'''''' emis''s''''io''''''n''''s'''">
              <a:rPr lang="en-AU" altLang="en-US" smtClean="0"/>
              <a:pPr>
                <a:spcBef>
                  <a:spcPct val="0"/>
                </a:spcBef>
                <a:spcAft>
                  <a:spcPct val="0"/>
                </a:spcAft>
              </a:pPr>
              <a:t>Scope 2 emissions</a:t>
            </a:fld>
            <a:endParaRPr lang="en-AU" dirty="0"/>
          </a:p>
        </p:txBody>
      </p:sp>
      <p:sp>
        <p:nvSpPr>
          <p:cNvPr id="144" name="Title 1">
            <a:extLst>
              <a:ext uri="{FF2B5EF4-FFF2-40B4-BE49-F238E27FC236}">
                <a16:creationId xmlns:a16="http://schemas.microsoft.com/office/drawing/2014/main" id="{049033C4-636C-DFC6-8BE5-608A72023A44}"/>
              </a:ext>
            </a:extLst>
          </p:cNvPr>
          <p:cNvSpPr txBox="1">
            <a:spLocks/>
          </p:cNvSpPr>
          <p:nvPr/>
        </p:nvSpPr>
        <p:spPr>
          <a:xfrm>
            <a:off x="6846269" y="1554798"/>
            <a:ext cx="4601684" cy="34842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kern="1200">
                <a:solidFill>
                  <a:schemeClr val="tx2"/>
                </a:solidFill>
                <a:latin typeface="+mj-lt"/>
                <a:ea typeface="Verdana" panose="020B0604030504040204" pitchFamily="34" charset="0"/>
                <a:cs typeface="Verdana" panose="020B0604030504040204" pitchFamily="34" charset="0"/>
              </a:defRPr>
            </a:lvl1pPr>
          </a:lstStyle>
          <a:p>
            <a:pPr algn="ctr"/>
            <a:r>
              <a:rPr lang="en-AU" sz="1400" dirty="0"/>
              <a:t>National overview of reported emissions</a:t>
            </a:r>
          </a:p>
        </p:txBody>
      </p:sp>
      <p:sp>
        <p:nvSpPr>
          <p:cNvPr id="145" name="TextBox 144">
            <a:extLst>
              <a:ext uri="{FF2B5EF4-FFF2-40B4-BE49-F238E27FC236}">
                <a16:creationId xmlns:a16="http://schemas.microsoft.com/office/drawing/2014/main" id="{398A94C8-A511-2A73-3443-0BEE8CAC29D2}"/>
              </a:ext>
            </a:extLst>
          </p:cNvPr>
          <p:cNvSpPr txBox="1"/>
          <p:nvPr/>
        </p:nvSpPr>
        <p:spPr>
          <a:xfrm>
            <a:off x="9920288" y="5975850"/>
            <a:ext cx="1701800" cy="246063"/>
          </a:xfrm>
          <a:prstGeom prst="rect">
            <a:avLst/>
          </a:prstGeom>
          <a:noFill/>
        </p:spPr>
        <p:txBody>
          <a:bodyPr wrap="square">
            <a:spAutoFit/>
          </a:bodyPr>
          <a:lstStyle/>
          <a:p>
            <a:pPr indent="-114300" algn="ctr"/>
            <a:r>
              <a:rPr lang="en-AU" sz="1000" i="1" dirty="0">
                <a:solidFill>
                  <a:schemeClr val="accent4"/>
                </a:solidFill>
              </a:rPr>
              <a:t>Source: CER (2024)</a:t>
            </a:r>
          </a:p>
        </p:txBody>
      </p:sp>
      <p:sp>
        <p:nvSpPr>
          <p:cNvPr id="184" name="Text Placeholder 3">
            <a:extLst>
              <a:ext uri="{FF2B5EF4-FFF2-40B4-BE49-F238E27FC236}">
                <a16:creationId xmlns:a16="http://schemas.microsoft.com/office/drawing/2014/main" id="{508E7551-9F0E-42E3-33BE-E00592FEC47B}"/>
              </a:ext>
            </a:extLst>
          </p:cNvPr>
          <p:cNvSpPr txBox="1">
            <a:spLocks/>
          </p:cNvSpPr>
          <p:nvPr/>
        </p:nvSpPr>
        <p:spPr>
          <a:xfrm>
            <a:off x="893233" y="5276266"/>
            <a:ext cx="5539465" cy="821267"/>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a:endParaRPr lang="en-AU" sz="1200" dirty="0"/>
          </a:p>
        </p:txBody>
      </p:sp>
      <p:grpSp>
        <p:nvGrpSpPr>
          <p:cNvPr id="192" name="Group 191">
            <a:extLst>
              <a:ext uri="{FF2B5EF4-FFF2-40B4-BE49-F238E27FC236}">
                <a16:creationId xmlns:a16="http://schemas.microsoft.com/office/drawing/2014/main" id="{DBD1E96A-5653-8D6B-7FFB-0A5BFBE23700}"/>
              </a:ext>
            </a:extLst>
          </p:cNvPr>
          <p:cNvGrpSpPr/>
          <p:nvPr/>
        </p:nvGrpSpPr>
        <p:grpSpPr>
          <a:xfrm>
            <a:off x="1271284" y="3689350"/>
            <a:ext cx="4929823" cy="1413509"/>
            <a:chOff x="1076960" y="3689350"/>
            <a:chExt cx="4541520" cy="1413509"/>
          </a:xfrm>
        </p:grpSpPr>
        <p:sp>
          <p:nvSpPr>
            <p:cNvPr id="191" name="Rectangle: Rounded Corners 190">
              <a:extLst>
                <a:ext uri="{FF2B5EF4-FFF2-40B4-BE49-F238E27FC236}">
                  <a16:creationId xmlns:a16="http://schemas.microsoft.com/office/drawing/2014/main" id="{CB7B30C8-A855-30EF-3216-214DA9FB998E}"/>
                </a:ext>
              </a:extLst>
            </p:cNvPr>
            <p:cNvSpPr/>
            <p:nvPr/>
          </p:nvSpPr>
          <p:spPr>
            <a:xfrm>
              <a:off x="1076960" y="3689350"/>
              <a:ext cx="4541520" cy="1413509"/>
            </a:xfrm>
            <a:prstGeom prst="roundRect">
              <a:avLst>
                <a:gd name="adj" fmla="val 9939"/>
              </a:avLst>
            </a:prstGeom>
            <a:solidFill>
              <a:schemeClr val="accent1">
                <a:alpha val="50000"/>
              </a:schemeClr>
            </a:solidFill>
            <a:ln>
              <a:solidFill>
                <a:schemeClr val="accent1">
                  <a:lumMod val="60000"/>
                  <a:lumOff val="4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dirty="0"/>
            </a:p>
          </p:txBody>
        </p:sp>
        <p:sp>
          <p:nvSpPr>
            <p:cNvPr id="186" name="Rectangle: Rounded Corners 185">
              <a:extLst>
                <a:ext uri="{FF2B5EF4-FFF2-40B4-BE49-F238E27FC236}">
                  <a16:creationId xmlns:a16="http://schemas.microsoft.com/office/drawing/2014/main" id="{11C6D2E0-02F2-FEFD-E9D6-432D1CCBF507}"/>
                </a:ext>
              </a:extLst>
            </p:cNvPr>
            <p:cNvSpPr/>
            <p:nvPr/>
          </p:nvSpPr>
          <p:spPr>
            <a:xfrm>
              <a:off x="1201881" y="4051899"/>
              <a:ext cx="4306745" cy="268207"/>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100" dirty="0">
                  <a:solidFill>
                    <a:schemeClr val="tx2"/>
                  </a:solidFill>
                </a:rPr>
                <a:t>&gt; 25 Mt of CO</a:t>
              </a:r>
              <a:r>
                <a:rPr lang="en-AU" sz="1100" baseline="-25000" dirty="0">
                  <a:solidFill>
                    <a:schemeClr val="tx2"/>
                  </a:solidFill>
                </a:rPr>
                <a:t>2</a:t>
              </a:r>
              <a:r>
                <a:rPr lang="en-AU" sz="1100" dirty="0">
                  <a:solidFill>
                    <a:schemeClr val="tx2"/>
                  </a:solidFill>
                </a:rPr>
                <a:t>e (scope 1 and 2 emissions) per year</a:t>
              </a:r>
            </a:p>
          </p:txBody>
        </p:sp>
        <p:sp>
          <p:nvSpPr>
            <p:cNvPr id="188" name="Rectangle: Rounded Corners 187">
              <a:extLst>
                <a:ext uri="{FF2B5EF4-FFF2-40B4-BE49-F238E27FC236}">
                  <a16:creationId xmlns:a16="http://schemas.microsoft.com/office/drawing/2014/main" id="{78AF3393-8A6C-294D-BDF7-DA6351B11A6E}"/>
                </a:ext>
              </a:extLst>
            </p:cNvPr>
            <p:cNvSpPr/>
            <p:nvPr/>
          </p:nvSpPr>
          <p:spPr>
            <a:xfrm>
              <a:off x="1201881" y="4382415"/>
              <a:ext cx="4306745" cy="268207"/>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100" dirty="0">
                  <a:solidFill>
                    <a:schemeClr val="tx2"/>
                  </a:solidFill>
                </a:rPr>
                <a:t>Production of 100 TJ or more of energy per year</a:t>
              </a:r>
            </a:p>
          </p:txBody>
        </p:sp>
        <p:sp>
          <p:nvSpPr>
            <p:cNvPr id="189" name="Rectangle: Rounded Corners 188">
              <a:extLst>
                <a:ext uri="{FF2B5EF4-FFF2-40B4-BE49-F238E27FC236}">
                  <a16:creationId xmlns:a16="http://schemas.microsoft.com/office/drawing/2014/main" id="{4174A568-3D41-43B1-B558-365EA2F50629}"/>
                </a:ext>
              </a:extLst>
            </p:cNvPr>
            <p:cNvSpPr/>
            <p:nvPr/>
          </p:nvSpPr>
          <p:spPr>
            <a:xfrm>
              <a:off x="1201880" y="4718121"/>
              <a:ext cx="4306745" cy="268207"/>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indent="-114300" algn="ctr"/>
              <a:r>
                <a:rPr lang="en-AU" sz="1100" dirty="0">
                  <a:solidFill>
                    <a:schemeClr val="tx2"/>
                  </a:solidFill>
                </a:rPr>
                <a:t>Consumption of 100 TJ or more of energy per year</a:t>
              </a:r>
            </a:p>
          </p:txBody>
        </p:sp>
        <p:sp>
          <p:nvSpPr>
            <p:cNvPr id="190" name="Title 1">
              <a:extLst>
                <a:ext uri="{FF2B5EF4-FFF2-40B4-BE49-F238E27FC236}">
                  <a16:creationId xmlns:a16="http://schemas.microsoft.com/office/drawing/2014/main" id="{8813C9BB-205A-4E0E-4027-5408AB8A8658}"/>
                </a:ext>
              </a:extLst>
            </p:cNvPr>
            <p:cNvSpPr txBox="1">
              <a:spLocks/>
            </p:cNvSpPr>
            <p:nvPr/>
          </p:nvSpPr>
          <p:spPr>
            <a:xfrm>
              <a:off x="1076960" y="3723359"/>
              <a:ext cx="4541520" cy="312384"/>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kern="1200">
                  <a:solidFill>
                    <a:schemeClr val="tx2"/>
                  </a:solidFill>
                  <a:latin typeface="+mj-lt"/>
                  <a:ea typeface="Verdana" panose="020B0604030504040204" pitchFamily="34" charset="0"/>
                  <a:cs typeface="Verdana" panose="020B0604030504040204" pitchFamily="34" charset="0"/>
                </a:defRPr>
              </a:lvl1pPr>
            </a:lstStyle>
            <a:p>
              <a:pPr algn="ctr"/>
              <a:r>
                <a:rPr lang="en-AU" sz="1200" dirty="0"/>
                <a:t>NGER requires reporting of facilities emitting:</a:t>
              </a:r>
            </a:p>
          </p:txBody>
        </p:sp>
      </p:grpSp>
      <p:sp>
        <p:nvSpPr>
          <p:cNvPr id="7" name="Footer Placeholder 6">
            <a:extLst>
              <a:ext uri="{FF2B5EF4-FFF2-40B4-BE49-F238E27FC236}">
                <a16:creationId xmlns:a16="http://schemas.microsoft.com/office/drawing/2014/main" id="{88702DCF-A00A-2BE8-DA78-48079A255504}"/>
              </a:ext>
            </a:extLst>
          </p:cNvPr>
          <p:cNvSpPr>
            <a:spLocks noGrp="1"/>
          </p:cNvSpPr>
          <p:nvPr>
            <p:ph type="ftr" sz="quarter" idx="3"/>
          </p:nvPr>
        </p:nvSpPr>
        <p:spPr/>
        <p:txBody>
          <a:bodyPr/>
          <a:lstStyle/>
          <a:p>
            <a:r>
              <a:rPr lang="en-AU"/>
              <a:t>Greenhouse Gas Emissions Reduction in Pipeline Systems</a:t>
            </a:r>
            <a:endParaRPr lang="en-AU" dirty="0"/>
          </a:p>
        </p:txBody>
      </p:sp>
      <p:sp>
        <p:nvSpPr>
          <p:cNvPr id="9" name="Slide Number Placeholder 8">
            <a:extLst>
              <a:ext uri="{FF2B5EF4-FFF2-40B4-BE49-F238E27FC236}">
                <a16:creationId xmlns:a16="http://schemas.microsoft.com/office/drawing/2014/main" id="{0903EEB3-3A17-7516-DB53-EA15974BB8BF}"/>
              </a:ext>
            </a:extLst>
          </p:cNvPr>
          <p:cNvSpPr>
            <a:spLocks noGrp="1"/>
          </p:cNvSpPr>
          <p:nvPr>
            <p:ph type="sldNum" sz="quarter" idx="4"/>
          </p:nvPr>
        </p:nvSpPr>
        <p:spPr/>
        <p:txBody>
          <a:bodyPr/>
          <a:lstStyle/>
          <a:p>
            <a:fld id="{195D5CA5-55C1-564D-A16D-F77DF7B8BEAD}" type="slidenum">
              <a:rPr lang="en-AU" smtClean="0"/>
              <a:pPr/>
              <a:t>4</a:t>
            </a:fld>
            <a:endParaRPr lang="en-AU" dirty="0"/>
          </a:p>
        </p:txBody>
      </p:sp>
    </p:spTree>
    <p:extLst>
      <p:ext uri="{BB962C8B-B14F-4D97-AF65-F5344CB8AC3E}">
        <p14:creationId xmlns:p14="http://schemas.microsoft.com/office/powerpoint/2010/main" val="29732254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5AFD8B-E08C-4ACB-B3A9-30EE1C0E2D08}"/>
              </a:ext>
            </a:extLst>
          </p:cNvPr>
          <p:cNvGraphicFramePr>
            <a:graphicFrameLocks noChangeAspect="1"/>
          </p:cNvGraphicFramePr>
          <p:nvPr>
            <p:custDataLst>
              <p:tags r:id="rId1"/>
            </p:custDataLst>
            <p:extLst>
              <p:ext uri="{D42A27DB-BD31-4B8C-83A1-F6EECF244321}">
                <p14:modId xmlns:p14="http://schemas.microsoft.com/office/powerpoint/2010/main" val="2413566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think-cell data - do not delete" hidden="1">
                        <a:extLst>
                          <a:ext uri="{FF2B5EF4-FFF2-40B4-BE49-F238E27FC236}">
                            <a16:creationId xmlns:a16="http://schemas.microsoft.com/office/drawing/2014/main" id="{825AFD8B-E08C-4ACB-B3A9-30EE1C0E2D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E0C783-C1A7-4C16-8161-C0B0A65BA529}"/>
              </a:ext>
            </a:extLst>
          </p:cNvPr>
          <p:cNvSpPr>
            <a:spLocks noGrp="1"/>
          </p:cNvSpPr>
          <p:nvPr>
            <p:ph type="title"/>
          </p:nvPr>
        </p:nvSpPr>
        <p:spPr/>
        <p:txBody>
          <a:bodyPr vert="horz"/>
          <a:lstStyle/>
          <a:p>
            <a:r>
              <a:rPr lang="en-AU" dirty="0"/>
              <a:t>The Safeguard Mechanism</a:t>
            </a:r>
          </a:p>
        </p:txBody>
      </p:sp>
      <p:sp>
        <p:nvSpPr>
          <p:cNvPr id="7" name="Text Placeholder 6">
            <a:extLst>
              <a:ext uri="{FF2B5EF4-FFF2-40B4-BE49-F238E27FC236}">
                <a16:creationId xmlns:a16="http://schemas.microsoft.com/office/drawing/2014/main" id="{78C30762-5DD3-40AF-97FB-8EE9816DB0FD}"/>
              </a:ext>
            </a:extLst>
          </p:cNvPr>
          <p:cNvSpPr>
            <a:spLocks noGrp="1"/>
          </p:cNvSpPr>
          <p:nvPr>
            <p:ph type="body" sz="quarter" idx="10"/>
          </p:nvPr>
        </p:nvSpPr>
        <p:spPr>
          <a:xfrm>
            <a:off x="7032928" y="1756456"/>
            <a:ext cx="4263457" cy="3706623"/>
          </a:xfrm>
        </p:spPr>
        <p:txBody>
          <a:bodyPr>
            <a:normAutofit/>
          </a:bodyPr>
          <a:lstStyle/>
          <a:p>
            <a:r>
              <a:rPr lang="en-AU" sz="1200" b="1" dirty="0"/>
              <a:t>Safeguard Mechanism Credits (SMCs)</a:t>
            </a:r>
          </a:p>
          <a:p>
            <a:pPr marL="342900" lvl="1"/>
            <a:r>
              <a:rPr lang="en-AU" sz="1200" dirty="0"/>
              <a:t>Facilities gain a credit for each tonne of CO</a:t>
            </a:r>
            <a:r>
              <a:rPr lang="en-AU" sz="1200" baseline="-25000" dirty="0"/>
              <a:t>2</a:t>
            </a:r>
            <a:r>
              <a:rPr lang="en-AU" sz="1200" dirty="0"/>
              <a:t>e emissions below their baseline.</a:t>
            </a:r>
          </a:p>
          <a:p>
            <a:pPr marL="342900" lvl="1"/>
            <a:r>
              <a:rPr lang="en-AU" sz="1200" dirty="0"/>
              <a:t>SMC units are tradeable, incentivising SMFs to reduce emissions.</a:t>
            </a:r>
          </a:p>
          <a:p>
            <a:pPr marL="342900" lvl="1"/>
            <a:r>
              <a:rPr lang="en-AU" sz="1200" dirty="0"/>
              <a:t>Safeguard facilities that earn SMCs can:</a:t>
            </a:r>
          </a:p>
          <a:p>
            <a:pPr marL="531450" lvl="2"/>
            <a:r>
              <a:rPr lang="en-AU" sz="1200" dirty="0"/>
              <a:t>Sell them to other safeguard facilities</a:t>
            </a:r>
          </a:p>
          <a:p>
            <a:pPr marL="531450" lvl="2"/>
            <a:r>
              <a:rPr lang="en-AU" sz="1200" dirty="0"/>
              <a:t>Surrender them to stay within their baseline</a:t>
            </a:r>
          </a:p>
          <a:p>
            <a:pPr marL="531450" lvl="2"/>
            <a:r>
              <a:rPr lang="en-AU" sz="1200" dirty="0"/>
              <a:t>Retain them for future use until 2030</a:t>
            </a:r>
          </a:p>
          <a:p>
            <a:pPr marL="342900" lvl="1"/>
            <a:r>
              <a:rPr lang="en-AU" sz="1200" dirty="0"/>
              <a:t>Amendments to the Safeguard Mechanism forcing declining emissions baselines - this is no longer adequate. </a:t>
            </a:r>
          </a:p>
          <a:p>
            <a:pPr marL="342900" lvl="1"/>
            <a:endParaRPr lang="en-AU" sz="1200" dirty="0"/>
          </a:p>
        </p:txBody>
      </p:sp>
      <p:sp>
        <p:nvSpPr>
          <p:cNvPr id="25" name="Rectangle: Rounded Corners 24">
            <a:extLst>
              <a:ext uri="{FF2B5EF4-FFF2-40B4-BE49-F238E27FC236}">
                <a16:creationId xmlns:a16="http://schemas.microsoft.com/office/drawing/2014/main" id="{AD2A99DF-92C6-2484-6A8F-08561CB9F3DB}"/>
              </a:ext>
            </a:extLst>
          </p:cNvPr>
          <p:cNvSpPr/>
          <p:nvPr/>
        </p:nvSpPr>
        <p:spPr>
          <a:xfrm>
            <a:off x="893233" y="1725070"/>
            <a:ext cx="5652422" cy="3407860"/>
          </a:xfrm>
          <a:prstGeom prst="roundRect">
            <a:avLst>
              <a:gd name="adj" fmla="val 5268"/>
            </a:avLst>
          </a:prstGeom>
          <a:solidFill>
            <a:schemeClr val="bg2"/>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71463" marR="0" lvl="1" indent="-180975" algn="l" defTabSz="914400" rtl="0" eaLnBrk="1" fontAlgn="auto" latinLnBrk="0" hangingPunct="1">
              <a:lnSpc>
                <a:spcPct val="120000"/>
              </a:lnSpc>
              <a:spcBef>
                <a:spcPts val="0"/>
              </a:spcBef>
              <a:spcAft>
                <a:spcPts val="0"/>
              </a:spcAft>
              <a:buClr>
                <a:srgbClr val="F43A4F"/>
              </a:buClr>
              <a:buSzTx/>
              <a:buFont typeface="Arial" panose="020B0604020202020204" pitchFamily="34" charset="0"/>
              <a:buChar char="•"/>
              <a:tabLst/>
              <a:defRPr/>
            </a:pP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Safeguard Mechanism facilities (SMF) emissions limit is known as a baseline. The decline rate to all facilities is 4.9% per year to 2030 (the next decline rate will be set by 2027). </a:t>
            </a:r>
          </a:p>
          <a:p>
            <a:pPr marL="271463" marR="0" lvl="1" indent="-180975" algn="l" defTabSz="914400" rtl="0" eaLnBrk="1" fontAlgn="auto" latinLnBrk="0" hangingPunct="1">
              <a:lnSpc>
                <a:spcPct val="120000"/>
              </a:lnSpc>
              <a:spcBef>
                <a:spcPts val="0"/>
              </a:spcBef>
              <a:spcAft>
                <a:spcPts val="0"/>
              </a:spcAft>
              <a:buClr>
                <a:srgbClr val="F43A4F"/>
              </a:buClr>
              <a:buSzTx/>
              <a:buFont typeface="Arial" panose="020B0604020202020204" pitchFamily="34" charset="0"/>
              <a:buChar char="•"/>
              <a:tabLst/>
              <a:defRPr/>
            </a:pP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Applies to industrial facilities emitting &gt;100 Mt of CO</a:t>
            </a:r>
            <a:r>
              <a:rPr kumimoji="0" lang="en-AU" sz="1200" b="0" i="0" u="none" strike="noStrike" kern="1200" cap="none" spc="0" normalizeH="0" baseline="-25000" noProof="0" dirty="0">
                <a:ln>
                  <a:noFill/>
                </a:ln>
                <a:solidFill>
                  <a:srgbClr val="003645"/>
                </a:solidFill>
                <a:effectLst/>
                <a:uLnTx/>
                <a:uFillTx/>
                <a:latin typeface="Verdana"/>
                <a:ea typeface="Verdana" panose="020B0604030504040204" pitchFamily="34" charset="0"/>
              </a:rPr>
              <a:t>2</a:t>
            </a: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e per year </a:t>
            </a:r>
          </a:p>
          <a:p>
            <a:pPr marL="728663" lvl="2" indent="-180975">
              <a:lnSpc>
                <a:spcPct val="120000"/>
              </a:lnSpc>
              <a:buClr>
                <a:srgbClr val="F43A4F"/>
              </a:buClr>
              <a:buFont typeface="Arial" panose="020B0604020202020204" pitchFamily="34" charset="0"/>
              <a:buChar char="•"/>
              <a:defRPr/>
            </a:pPr>
            <a:r>
              <a:rPr lang="en-AU" sz="1200" dirty="0">
                <a:solidFill>
                  <a:srgbClr val="003645"/>
                </a:solidFill>
                <a:latin typeface="Verdana"/>
                <a:ea typeface="Verdana" panose="020B0604030504040204" pitchFamily="34" charset="0"/>
              </a:rPr>
              <a:t>C</a:t>
            </a:r>
            <a:r>
              <a:rPr kumimoji="0" lang="en-AU" sz="1200" b="0" i="0" u="none" strike="noStrike" kern="1200" cap="none" spc="0" normalizeH="0" baseline="0" noProof="0" dirty="0" err="1">
                <a:ln>
                  <a:noFill/>
                </a:ln>
                <a:solidFill>
                  <a:srgbClr val="003645"/>
                </a:solidFill>
                <a:effectLst/>
                <a:uLnTx/>
                <a:uFillTx/>
                <a:latin typeface="Verdana"/>
                <a:ea typeface="Verdana" panose="020B0604030504040204" pitchFamily="34" charset="0"/>
              </a:rPr>
              <a:t>urrently</a:t>
            </a: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 219 facilities from transport, mining, manufacturing, transport, oil, gas and waste sectors (produces ~30% of Australia’s GHG emissions)</a:t>
            </a:r>
          </a:p>
          <a:p>
            <a:pPr marL="271463" marR="0" lvl="1" indent="-180975" algn="l" defTabSz="914400" rtl="0" eaLnBrk="1" fontAlgn="auto" latinLnBrk="0" hangingPunct="1">
              <a:lnSpc>
                <a:spcPct val="120000"/>
              </a:lnSpc>
              <a:spcBef>
                <a:spcPts val="0"/>
              </a:spcBef>
              <a:spcAft>
                <a:spcPts val="0"/>
              </a:spcAft>
              <a:buClr>
                <a:srgbClr val="F43A4F"/>
              </a:buClr>
              <a:buSzTx/>
              <a:buFont typeface="Arial" panose="020B0604020202020204" pitchFamily="34" charset="0"/>
              <a:buChar char="•"/>
              <a:tabLst/>
              <a:defRPr/>
            </a:pP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Total emissions from SMFs are required to reduce over time, measured on a 5-year rolling average. </a:t>
            </a:r>
          </a:p>
          <a:p>
            <a:pPr marL="271463" marR="0" lvl="1" indent="-180975" algn="l" defTabSz="914400" rtl="0" eaLnBrk="1" fontAlgn="auto" latinLnBrk="0" hangingPunct="1">
              <a:lnSpc>
                <a:spcPct val="120000"/>
              </a:lnSpc>
              <a:spcBef>
                <a:spcPts val="0"/>
              </a:spcBef>
              <a:spcAft>
                <a:spcPts val="0"/>
              </a:spcAft>
              <a:buClr>
                <a:srgbClr val="F43A4F"/>
              </a:buClr>
              <a:buSzTx/>
              <a:buFont typeface="Arial" panose="020B0604020202020204" pitchFamily="34" charset="0"/>
              <a:buChar char="•"/>
              <a:tabLst/>
              <a:defRPr/>
            </a:pPr>
            <a:r>
              <a:rPr kumimoji="0" lang="en-AU" sz="1200" b="0" i="0" u="none" strike="noStrike" kern="1200" cap="none" spc="0" normalizeH="0" baseline="0" noProof="0" dirty="0">
                <a:ln>
                  <a:noFill/>
                </a:ln>
                <a:solidFill>
                  <a:srgbClr val="003645"/>
                </a:solidFill>
                <a:effectLst/>
                <a:uLnTx/>
                <a:uFillTx/>
                <a:latin typeface="Verdana"/>
                <a:ea typeface="Verdana" panose="020B0604030504040204" pitchFamily="34" charset="0"/>
              </a:rPr>
              <a:t>Net emissions thresholds for all SMFs should not exceed:</a:t>
            </a:r>
          </a:p>
          <a:p>
            <a:pPr marL="271463" marR="0" lvl="1" indent="-180975" algn="l" defTabSz="914400" rtl="0" eaLnBrk="1" fontAlgn="auto" latinLnBrk="0" hangingPunct="1">
              <a:lnSpc>
                <a:spcPct val="120000"/>
              </a:lnSpc>
              <a:spcBef>
                <a:spcPts val="0"/>
              </a:spcBef>
              <a:spcAft>
                <a:spcPts val="0"/>
              </a:spcAft>
              <a:buClr>
                <a:srgbClr val="F43A4F"/>
              </a:buClr>
              <a:buSzTx/>
              <a:buFont typeface="Arial" panose="020B0604020202020204" pitchFamily="34" charset="0"/>
              <a:buChar char="•"/>
              <a:tabLst/>
              <a:defRPr/>
            </a:pPr>
            <a:endParaRPr kumimoji="0" lang="en-AU" sz="1100" b="0" i="0" u="none" strike="noStrike" kern="1200" cap="none" spc="0" normalizeH="0" baseline="0" noProof="0" dirty="0">
              <a:ln>
                <a:noFill/>
              </a:ln>
              <a:solidFill>
                <a:srgbClr val="003645"/>
              </a:solidFill>
              <a:effectLst/>
              <a:highlight>
                <a:srgbClr val="FFFF00"/>
              </a:highlight>
              <a:uLnTx/>
              <a:uFillTx/>
              <a:latin typeface="Verdana"/>
              <a:ea typeface="Verdana" panose="020B0604030504040204" pitchFamily="34" charset="0"/>
            </a:endParaRPr>
          </a:p>
          <a:p>
            <a:pPr marL="271463" marR="0" lvl="1" indent="-180975" algn="l" defTabSz="914400" rtl="0" eaLnBrk="1" fontAlgn="auto" latinLnBrk="0" hangingPunct="1">
              <a:lnSpc>
                <a:spcPct val="120000"/>
              </a:lnSpc>
              <a:spcBef>
                <a:spcPts val="0"/>
              </a:spcBef>
              <a:spcAft>
                <a:spcPts val="0"/>
              </a:spcAft>
              <a:buClr>
                <a:srgbClr val="F43A4F"/>
              </a:buClr>
              <a:buSzTx/>
              <a:tabLst/>
              <a:defRPr/>
            </a:pPr>
            <a:endParaRPr kumimoji="0" lang="en-AU" sz="1100" b="0" i="0" u="none" strike="noStrike" kern="1200" cap="none" spc="0" normalizeH="0" baseline="0" noProof="0" dirty="0">
              <a:ln>
                <a:noFill/>
              </a:ln>
              <a:solidFill>
                <a:srgbClr val="003645"/>
              </a:solidFill>
              <a:effectLst/>
              <a:highlight>
                <a:srgbClr val="FFFF00"/>
              </a:highlight>
              <a:uLnTx/>
              <a:uFillTx/>
              <a:latin typeface="Verdana"/>
              <a:ea typeface="Verdana" panose="020B0604030504040204" pitchFamily="34" charset="0"/>
            </a:endParaRPr>
          </a:p>
        </p:txBody>
      </p:sp>
      <p:grpSp>
        <p:nvGrpSpPr>
          <p:cNvPr id="35" name="Group 34">
            <a:extLst>
              <a:ext uri="{FF2B5EF4-FFF2-40B4-BE49-F238E27FC236}">
                <a16:creationId xmlns:a16="http://schemas.microsoft.com/office/drawing/2014/main" id="{49F64B10-CCA3-23F7-39E6-0A3E59773FB3}"/>
              </a:ext>
            </a:extLst>
          </p:cNvPr>
          <p:cNvGrpSpPr/>
          <p:nvPr/>
        </p:nvGrpSpPr>
        <p:grpSpPr>
          <a:xfrm>
            <a:off x="1146729" y="4260877"/>
            <a:ext cx="5202767" cy="683343"/>
            <a:chOff x="2911588" y="2630174"/>
            <a:chExt cx="6364587" cy="610966"/>
          </a:xfrm>
        </p:grpSpPr>
        <p:sp>
          <p:nvSpPr>
            <p:cNvPr id="6" name="Rectangle: Rounded Corners 5">
              <a:extLst>
                <a:ext uri="{FF2B5EF4-FFF2-40B4-BE49-F238E27FC236}">
                  <a16:creationId xmlns:a16="http://schemas.microsoft.com/office/drawing/2014/main" id="{BC167B7D-8629-BEF3-F84B-C3F1A8C99AA7}"/>
                </a:ext>
              </a:extLst>
            </p:cNvPr>
            <p:cNvSpPr/>
            <p:nvPr/>
          </p:nvSpPr>
          <p:spPr>
            <a:xfrm>
              <a:off x="5097267" y="2667791"/>
              <a:ext cx="1993230" cy="573349"/>
            </a:xfrm>
            <a:prstGeom prst="roundRect">
              <a:avLst>
                <a:gd name="adj" fmla="val 7358"/>
              </a:avLst>
            </a:prstGeom>
            <a:solidFill>
              <a:schemeClr val="bg1"/>
            </a:solidFill>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b"/>
            <a:lstStyle/>
            <a:p>
              <a:pPr algn="ctr"/>
              <a:r>
                <a:rPr lang="en-AU" sz="1100" dirty="0"/>
                <a:t>&lt; 100 Mt CO</a:t>
              </a:r>
              <a:r>
                <a:rPr lang="en-AU" sz="1100" baseline="-25000" dirty="0"/>
                <a:t>2</a:t>
              </a:r>
              <a:r>
                <a:rPr lang="en-AU" sz="1100" dirty="0"/>
                <a:t>e</a:t>
              </a:r>
            </a:p>
          </p:txBody>
        </p:sp>
        <p:sp>
          <p:nvSpPr>
            <p:cNvPr id="8" name="Rectangle: Rounded Corners 7">
              <a:extLst>
                <a:ext uri="{FF2B5EF4-FFF2-40B4-BE49-F238E27FC236}">
                  <a16:creationId xmlns:a16="http://schemas.microsoft.com/office/drawing/2014/main" id="{649C1CC0-BE14-5FFD-C7FF-727053D292C9}"/>
                </a:ext>
              </a:extLst>
            </p:cNvPr>
            <p:cNvSpPr/>
            <p:nvPr/>
          </p:nvSpPr>
          <p:spPr>
            <a:xfrm>
              <a:off x="5097267" y="2630174"/>
              <a:ext cx="1993230" cy="329173"/>
            </a:xfrm>
            <a:prstGeom prst="roundRect">
              <a:avLst/>
            </a:prstGeom>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100" b="1" dirty="0"/>
                <a:t>In 2030</a:t>
              </a:r>
            </a:p>
          </p:txBody>
        </p:sp>
        <p:sp>
          <p:nvSpPr>
            <p:cNvPr id="9" name="Rectangle: Rounded Corners 8">
              <a:extLst>
                <a:ext uri="{FF2B5EF4-FFF2-40B4-BE49-F238E27FC236}">
                  <a16:creationId xmlns:a16="http://schemas.microsoft.com/office/drawing/2014/main" id="{089014D3-2A7F-003D-F96D-FBD64E4044F6}"/>
                </a:ext>
              </a:extLst>
            </p:cNvPr>
            <p:cNvSpPr/>
            <p:nvPr/>
          </p:nvSpPr>
          <p:spPr>
            <a:xfrm>
              <a:off x="7282945" y="2667791"/>
              <a:ext cx="1993230" cy="573349"/>
            </a:xfrm>
            <a:prstGeom prst="roundRect">
              <a:avLst>
                <a:gd name="adj" fmla="val 7358"/>
              </a:avLst>
            </a:prstGeom>
            <a:solidFill>
              <a:schemeClr val="bg1"/>
            </a:solidFill>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b"/>
            <a:lstStyle/>
            <a:p>
              <a:pPr algn="ctr"/>
              <a:r>
                <a:rPr lang="en-AU" sz="1100" dirty="0"/>
                <a:t>0 Mt CO</a:t>
              </a:r>
              <a:r>
                <a:rPr lang="en-AU" sz="1100" baseline="-25000" dirty="0"/>
                <a:t>2</a:t>
              </a:r>
              <a:r>
                <a:rPr lang="en-AU" sz="1100" dirty="0"/>
                <a:t>e</a:t>
              </a:r>
            </a:p>
          </p:txBody>
        </p:sp>
        <p:sp>
          <p:nvSpPr>
            <p:cNvPr id="10" name="Rectangle: Rounded Corners 9">
              <a:extLst>
                <a:ext uri="{FF2B5EF4-FFF2-40B4-BE49-F238E27FC236}">
                  <a16:creationId xmlns:a16="http://schemas.microsoft.com/office/drawing/2014/main" id="{31A99B64-B55B-8872-FD39-9AA6623CC2CB}"/>
                </a:ext>
              </a:extLst>
            </p:cNvPr>
            <p:cNvSpPr/>
            <p:nvPr/>
          </p:nvSpPr>
          <p:spPr>
            <a:xfrm>
              <a:off x="7282945" y="2630174"/>
              <a:ext cx="1993230" cy="329173"/>
            </a:xfrm>
            <a:prstGeom prst="roundRect">
              <a:avLst/>
            </a:prstGeom>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100" b="1" dirty="0"/>
                <a:t>In 2050</a:t>
              </a:r>
            </a:p>
          </p:txBody>
        </p:sp>
        <p:sp>
          <p:nvSpPr>
            <p:cNvPr id="11" name="Rectangle: Rounded Corners 10">
              <a:extLst>
                <a:ext uri="{FF2B5EF4-FFF2-40B4-BE49-F238E27FC236}">
                  <a16:creationId xmlns:a16="http://schemas.microsoft.com/office/drawing/2014/main" id="{F1F6085C-0673-C428-06A2-677DA22EEE63}"/>
                </a:ext>
              </a:extLst>
            </p:cNvPr>
            <p:cNvSpPr/>
            <p:nvPr/>
          </p:nvSpPr>
          <p:spPr>
            <a:xfrm>
              <a:off x="2911588" y="2667791"/>
              <a:ext cx="1993230" cy="573349"/>
            </a:xfrm>
            <a:prstGeom prst="roundRect">
              <a:avLst>
                <a:gd name="adj" fmla="val 7358"/>
              </a:avLst>
            </a:prstGeom>
            <a:solidFill>
              <a:schemeClr val="bg1"/>
            </a:solidFill>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b"/>
            <a:lstStyle/>
            <a:p>
              <a:pPr algn="ctr"/>
              <a:r>
                <a:rPr lang="en-AU" sz="1100" dirty="0"/>
                <a:t>&lt; 1,233 Mt CO</a:t>
              </a:r>
              <a:r>
                <a:rPr lang="en-AU" sz="1100" baseline="-25000" dirty="0"/>
                <a:t>2</a:t>
              </a:r>
              <a:r>
                <a:rPr lang="en-AU" sz="1100" dirty="0"/>
                <a:t>e</a:t>
              </a:r>
            </a:p>
          </p:txBody>
        </p:sp>
        <p:sp>
          <p:nvSpPr>
            <p:cNvPr id="12" name="Rectangle: Rounded Corners 11">
              <a:extLst>
                <a:ext uri="{FF2B5EF4-FFF2-40B4-BE49-F238E27FC236}">
                  <a16:creationId xmlns:a16="http://schemas.microsoft.com/office/drawing/2014/main" id="{8C583BE9-0803-D76C-0670-AAD3109C87E3}"/>
                </a:ext>
              </a:extLst>
            </p:cNvPr>
            <p:cNvSpPr/>
            <p:nvPr/>
          </p:nvSpPr>
          <p:spPr>
            <a:xfrm>
              <a:off x="2911588" y="2630174"/>
              <a:ext cx="1993230" cy="329173"/>
            </a:xfrm>
            <a:prstGeom prst="roundRect">
              <a:avLst/>
            </a:prstGeom>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100" b="1" dirty="0"/>
                <a:t>Between 2020-2030</a:t>
              </a:r>
            </a:p>
          </p:txBody>
        </p:sp>
      </p:grpSp>
      <p:sp>
        <p:nvSpPr>
          <p:cNvPr id="31" name="Text Placeholder 6">
            <a:extLst>
              <a:ext uri="{FF2B5EF4-FFF2-40B4-BE49-F238E27FC236}">
                <a16:creationId xmlns:a16="http://schemas.microsoft.com/office/drawing/2014/main" id="{692620F4-C851-70C2-4C5D-DC1A0BE8E1D9}"/>
              </a:ext>
            </a:extLst>
          </p:cNvPr>
          <p:cNvSpPr txBox="1">
            <a:spLocks/>
          </p:cNvSpPr>
          <p:nvPr/>
        </p:nvSpPr>
        <p:spPr>
          <a:xfrm>
            <a:off x="5246233" y="4517228"/>
            <a:ext cx="6423683" cy="2073695"/>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a:endParaRPr lang="en-AU" sz="1200" dirty="0"/>
          </a:p>
        </p:txBody>
      </p:sp>
      <p:sp>
        <p:nvSpPr>
          <p:cNvPr id="42" name="Footer Placeholder 6">
            <a:extLst>
              <a:ext uri="{FF2B5EF4-FFF2-40B4-BE49-F238E27FC236}">
                <a16:creationId xmlns:a16="http://schemas.microsoft.com/office/drawing/2014/main" id="{8839524C-F644-8406-03B1-5E0133B93818}"/>
              </a:ext>
            </a:extLst>
          </p:cNvPr>
          <p:cNvSpPr>
            <a:spLocks noGrp="1"/>
          </p:cNvSpPr>
          <p:nvPr>
            <p:ph type="ftr" sz="quarter" idx="3"/>
          </p:nvPr>
        </p:nvSpPr>
        <p:spPr>
          <a:xfrm>
            <a:off x="893764" y="6332641"/>
            <a:ext cx="4114800" cy="175038"/>
          </a:xfrm>
        </p:spPr>
        <p:txBody>
          <a:bodyPr/>
          <a:lstStyle/>
          <a:p>
            <a:r>
              <a:rPr lang="en-AU"/>
              <a:t>Greenhouse Gas Emissions Reduction in Pipeline Systems</a:t>
            </a:r>
            <a:endParaRPr lang="en-AU" dirty="0"/>
          </a:p>
        </p:txBody>
      </p:sp>
      <p:sp>
        <p:nvSpPr>
          <p:cNvPr id="43" name="Slide Number Placeholder 8">
            <a:extLst>
              <a:ext uri="{FF2B5EF4-FFF2-40B4-BE49-F238E27FC236}">
                <a16:creationId xmlns:a16="http://schemas.microsoft.com/office/drawing/2014/main" id="{9E25B9EB-5C8A-8619-9308-669588AB518C}"/>
              </a:ext>
            </a:extLst>
          </p:cNvPr>
          <p:cNvSpPr>
            <a:spLocks noGrp="1"/>
          </p:cNvSpPr>
          <p:nvPr>
            <p:ph type="sldNum" sz="quarter" idx="4"/>
          </p:nvPr>
        </p:nvSpPr>
        <p:spPr>
          <a:xfrm>
            <a:off x="11298236" y="6332642"/>
            <a:ext cx="893764" cy="175037"/>
          </a:xfrm>
        </p:spPr>
        <p:txBody>
          <a:bodyPr/>
          <a:lstStyle/>
          <a:p>
            <a:fld id="{195D5CA5-55C1-564D-A16D-F77DF7B8BEAD}" type="slidenum">
              <a:rPr lang="en-AU" smtClean="0"/>
              <a:pPr/>
              <a:t>5</a:t>
            </a:fld>
            <a:endParaRPr lang="en-AU" dirty="0"/>
          </a:p>
        </p:txBody>
      </p:sp>
    </p:spTree>
    <p:extLst>
      <p:ext uri="{BB962C8B-B14F-4D97-AF65-F5344CB8AC3E}">
        <p14:creationId xmlns:p14="http://schemas.microsoft.com/office/powerpoint/2010/main" val="1544571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A5CEC8-3101-9B1E-DE1F-C84722E722B9}"/>
              </a:ext>
            </a:extLst>
          </p:cNvPr>
          <p:cNvGraphicFramePr>
            <a:graphicFrameLocks noChangeAspect="1"/>
          </p:cNvGraphicFramePr>
          <p:nvPr>
            <p:custDataLst>
              <p:tags r:id="rId1"/>
            </p:custDataLst>
            <p:extLst>
              <p:ext uri="{D42A27DB-BD31-4B8C-83A1-F6EECF244321}">
                <p14:modId xmlns:p14="http://schemas.microsoft.com/office/powerpoint/2010/main" val="236793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8" name="think-cell data - do not delete" hidden="1">
                        <a:extLst>
                          <a:ext uri="{FF2B5EF4-FFF2-40B4-BE49-F238E27FC236}">
                            <a16:creationId xmlns:a16="http://schemas.microsoft.com/office/drawing/2014/main" id="{5EA5CEC8-3101-9B1E-DE1F-C84722E722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38C30BE-C798-AFCC-F40C-9F7013CEF4BB}"/>
              </a:ext>
            </a:extLst>
          </p:cNvPr>
          <p:cNvSpPr>
            <a:spLocks noGrp="1"/>
          </p:cNvSpPr>
          <p:nvPr>
            <p:ph type="title"/>
          </p:nvPr>
        </p:nvSpPr>
        <p:spPr/>
        <p:txBody>
          <a:bodyPr vert="horz"/>
          <a:lstStyle/>
          <a:p>
            <a:r>
              <a:rPr lang="en-AU" sz="2800" b="1" dirty="0"/>
              <a:t>Measurement Determination (MD) </a:t>
            </a:r>
            <a:endParaRPr lang="en-AU" dirty="0"/>
          </a:p>
        </p:txBody>
      </p:sp>
      <p:sp>
        <p:nvSpPr>
          <p:cNvPr id="5" name="Text Placeholder 4">
            <a:extLst>
              <a:ext uri="{FF2B5EF4-FFF2-40B4-BE49-F238E27FC236}">
                <a16:creationId xmlns:a16="http://schemas.microsoft.com/office/drawing/2014/main" id="{1E53C53F-8D3C-70D1-D8FA-3304FFE55728}"/>
              </a:ext>
            </a:extLst>
          </p:cNvPr>
          <p:cNvSpPr>
            <a:spLocks noGrp="1"/>
          </p:cNvSpPr>
          <p:nvPr>
            <p:ph type="body" sz="quarter" idx="10"/>
          </p:nvPr>
        </p:nvSpPr>
        <p:spPr/>
        <p:txBody>
          <a:bodyPr>
            <a:normAutofit/>
          </a:bodyPr>
          <a:lstStyle/>
          <a:p>
            <a:pPr marL="342900" lvl="1"/>
            <a:r>
              <a:rPr lang="en-AU" sz="1200" dirty="0"/>
              <a:t>Provides the methods and criteria for calculating emissions and energy data and is updated annually.</a:t>
            </a:r>
          </a:p>
          <a:p>
            <a:pPr marL="342900" lvl="1"/>
            <a:r>
              <a:rPr lang="en-AU" sz="1200" dirty="0"/>
              <a:t>For NG transmission, there are three methods for calculating emissions:</a:t>
            </a:r>
          </a:p>
          <a:p>
            <a:endParaRPr lang="en-AU" sz="1200" dirty="0"/>
          </a:p>
        </p:txBody>
      </p:sp>
      <p:sp>
        <p:nvSpPr>
          <p:cNvPr id="6" name="Text Placeholder 5">
            <a:extLst>
              <a:ext uri="{FF2B5EF4-FFF2-40B4-BE49-F238E27FC236}">
                <a16:creationId xmlns:a16="http://schemas.microsoft.com/office/drawing/2014/main" id="{BB97F205-6C97-1241-7100-DE009A9CD937}"/>
              </a:ext>
            </a:extLst>
          </p:cNvPr>
          <p:cNvSpPr>
            <a:spLocks noGrp="1"/>
          </p:cNvSpPr>
          <p:nvPr>
            <p:ph type="body" sz="quarter" idx="4294967295"/>
          </p:nvPr>
        </p:nvSpPr>
        <p:spPr>
          <a:xfrm>
            <a:off x="1030224" y="4363771"/>
            <a:ext cx="10401300" cy="1693104"/>
          </a:xfrm>
        </p:spPr>
        <p:txBody>
          <a:bodyPr>
            <a:normAutofit/>
          </a:bodyPr>
          <a:lstStyle/>
          <a:p>
            <a:pPr marL="342900" lvl="1"/>
            <a:r>
              <a:rPr lang="en-AU" sz="1200" dirty="0"/>
              <a:t>Currently gas facilities, SMF or not, are reporting estimated emissions, as there is no useful method under NGERs to report higher order (directly measured) emissions. </a:t>
            </a:r>
          </a:p>
          <a:p>
            <a:pPr marL="342900" lvl="1"/>
            <a:r>
              <a:rPr lang="en-AU" sz="1200" dirty="0"/>
              <a:t>Except for vent related opportunities, methane opportunities require NGER Method 3 to take credit for the reduction.</a:t>
            </a:r>
          </a:p>
          <a:p>
            <a:pPr marL="342900" lvl="1"/>
            <a:r>
              <a:rPr lang="en-AU" sz="1200" dirty="0"/>
              <a:t>Some Australian operators are rolling out direct measurement technologies.</a:t>
            </a:r>
          </a:p>
          <a:p>
            <a:pPr marL="342900" lvl="1"/>
            <a:r>
              <a:rPr lang="en-AU" sz="1200" dirty="0"/>
              <a:t>The current NGER reporting scheme doesn’t allow for a reduced emission factor for renewable gas. </a:t>
            </a:r>
          </a:p>
          <a:p>
            <a:pPr marL="531450" lvl="2"/>
            <a:r>
              <a:rPr lang="en-AU" sz="1200" dirty="0"/>
              <a:t>The Climate Change Authority’s 2023 review of NGER recommended the development of market-based methods for renewable gases. </a:t>
            </a:r>
          </a:p>
        </p:txBody>
      </p:sp>
      <p:grpSp>
        <p:nvGrpSpPr>
          <p:cNvPr id="19" name="Group 18">
            <a:extLst>
              <a:ext uri="{FF2B5EF4-FFF2-40B4-BE49-F238E27FC236}">
                <a16:creationId xmlns:a16="http://schemas.microsoft.com/office/drawing/2014/main" id="{530D2EC1-0946-F350-600B-53E3BEA74921}"/>
              </a:ext>
            </a:extLst>
          </p:cNvPr>
          <p:cNvGrpSpPr/>
          <p:nvPr/>
        </p:nvGrpSpPr>
        <p:grpSpPr>
          <a:xfrm>
            <a:off x="2199119" y="2107392"/>
            <a:ext cx="7790057" cy="2082496"/>
            <a:chOff x="1969578" y="2145577"/>
            <a:chExt cx="7790057" cy="2082496"/>
          </a:xfrm>
        </p:grpSpPr>
        <p:sp>
          <p:nvSpPr>
            <p:cNvPr id="10" name="Rectangle: Rounded Corners 9">
              <a:extLst>
                <a:ext uri="{FF2B5EF4-FFF2-40B4-BE49-F238E27FC236}">
                  <a16:creationId xmlns:a16="http://schemas.microsoft.com/office/drawing/2014/main" id="{5C0A49A6-25A4-20C0-2F29-4BC0FC5F09D0}"/>
                </a:ext>
              </a:extLst>
            </p:cNvPr>
            <p:cNvSpPr/>
            <p:nvPr/>
          </p:nvSpPr>
          <p:spPr>
            <a:xfrm>
              <a:off x="1969578" y="2145577"/>
              <a:ext cx="7790057" cy="2082496"/>
            </a:xfrm>
            <a:prstGeom prst="roundRect">
              <a:avLst>
                <a:gd name="adj" fmla="val 7287"/>
              </a:avLst>
            </a:prstGeom>
            <a:solidFill>
              <a:schemeClr val="accent1">
                <a:alpha val="50000"/>
              </a:schemeClr>
            </a:solidFill>
            <a:ln>
              <a:solidFill>
                <a:schemeClr val="accent1">
                  <a:lumMod val="60000"/>
                  <a:lumOff val="40000"/>
                </a:schemeClr>
              </a:solid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2"/>
                  </a:solidFill>
                  <a:effectLst/>
                  <a:uLnTx/>
                  <a:uFillTx/>
                  <a:latin typeface="Verdana"/>
                  <a:ea typeface="+mn-ea"/>
                  <a:cs typeface="+mn-cs"/>
                </a:rPr>
                <a:t>Measurement Determination NGER Methods:</a:t>
              </a:r>
            </a:p>
          </p:txBody>
        </p:sp>
        <p:sp>
          <p:nvSpPr>
            <p:cNvPr id="11" name="Rectangle: Rounded Corners 10">
              <a:extLst>
                <a:ext uri="{FF2B5EF4-FFF2-40B4-BE49-F238E27FC236}">
                  <a16:creationId xmlns:a16="http://schemas.microsoft.com/office/drawing/2014/main" id="{6CB18BF0-46CD-4EF7-74D8-686E485818CD}"/>
                </a:ext>
              </a:extLst>
            </p:cNvPr>
            <p:cNvSpPr/>
            <p:nvPr/>
          </p:nvSpPr>
          <p:spPr>
            <a:xfrm>
              <a:off x="3304312" y="2537818"/>
              <a:ext cx="6355732" cy="432000"/>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100" dirty="0">
                  <a:solidFill>
                    <a:schemeClr val="tx2"/>
                  </a:solidFill>
                </a:rPr>
                <a:t>Simple calculation based on a standard emissions factor per length of pipeline</a:t>
              </a:r>
            </a:p>
          </p:txBody>
        </p:sp>
        <p:sp>
          <p:nvSpPr>
            <p:cNvPr id="12" name="Rectangle: Rounded Corners 11">
              <a:extLst>
                <a:ext uri="{FF2B5EF4-FFF2-40B4-BE49-F238E27FC236}">
                  <a16:creationId xmlns:a16="http://schemas.microsoft.com/office/drawing/2014/main" id="{D6A18078-3D61-ED69-1F3F-4BC7FF65B282}"/>
                </a:ext>
              </a:extLst>
            </p:cNvPr>
            <p:cNvSpPr/>
            <p:nvPr/>
          </p:nvSpPr>
          <p:spPr>
            <a:xfrm>
              <a:off x="3304311" y="3046380"/>
              <a:ext cx="6355736" cy="576000"/>
            </a:xfrm>
            <a:prstGeom prst="roundRect">
              <a:avLst>
                <a:gd name="adj" fmla="val 10579"/>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indent="-114300" algn="ctr"/>
              <a:r>
                <a:rPr lang="en-AU" sz="1100" dirty="0">
                  <a:solidFill>
                    <a:schemeClr val="tx2"/>
                  </a:solidFill>
                </a:rPr>
                <a:t>Uses emissions factors for specific components, varying the amounts of gas/condensate or hours of operation</a:t>
              </a:r>
            </a:p>
          </p:txBody>
        </p:sp>
        <p:sp>
          <p:nvSpPr>
            <p:cNvPr id="13" name="Rectangle: Rounded Corners 12">
              <a:extLst>
                <a:ext uri="{FF2B5EF4-FFF2-40B4-BE49-F238E27FC236}">
                  <a16:creationId xmlns:a16="http://schemas.microsoft.com/office/drawing/2014/main" id="{16AAAF45-E3BA-9788-1227-89DB4E48B451}"/>
                </a:ext>
              </a:extLst>
            </p:cNvPr>
            <p:cNvSpPr/>
            <p:nvPr/>
          </p:nvSpPr>
          <p:spPr>
            <a:xfrm>
              <a:off x="3304311" y="3694380"/>
              <a:ext cx="6355732" cy="432000"/>
            </a:xfrm>
            <a:prstGeom prst="roundRect">
              <a:avLst/>
            </a:prstGeom>
            <a:pattFill prst="wdUpDiag">
              <a:fgClr>
                <a:schemeClr val="accent1">
                  <a:lumMod val="40000"/>
                  <a:lumOff val="60000"/>
                </a:schemeClr>
              </a:fgClr>
              <a:bgClr>
                <a:schemeClr val="accent1">
                  <a:lumMod val="20000"/>
                  <a:lumOff val="80000"/>
                </a:schemeClr>
              </a:bgClr>
            </a:pattFill>
            <a:ln>
              <a:noFill/>
            </a:ln>
          </p:spPr>
          <p:style>
            <a:lnRef idx="2">
              <a:schemeClr val="accent1"/>
            </a:lnRef>
            <a:fillRef idx="1">
              <a:schemeClr val="lt1"/>
            </a:fillRef>
            <a:effectRef idx="0">
              <a:schemeClr val="accent1"/>
            </a:effectRef>
            <a:fontRef idx="minor">
              <a:schemeClr val="dk1"/>
            </a:fontRef>
          </p:style>
          <p:txBody>
            <a:bodyPr rtlCol="0" anchor="ctr"/>
            <a:lstStyle/>
            <a:p>
              <a:pPr indent="-114300" algn="ctr"/>
              <a:r>
                <a:rPr lang="en-AU" sz="1100" dirty="0">
                  <a:solidFill>
                    <a:schemeClr val="tx2"/>
                  </a:solidFill>
                </a:rPr>
                <a:t>Actual measurement of emissions from source</a:t>
              </a:r>
            </a:p>
          </p:txBody>
        </p:sp>
        <p:sp>
          <p:nvSpPr>
            <p:cNvPr id="14" name="Rectangle: Rounded Corners 13">
              <a:extLst>
                <a:ext uri="{FF2B5EF4-FFF2-40B4-BE49-F238E27FC236}">
                  <a16:creationId xmlns:a16="http://schemas.microsoft.com/office/drawing/2014/main" id="{B9DC1DCC-91C4-EC25-6F2A-570964EB10D9}"/>
                </a:ext>
              </a:extLst>
            </p:cNvPr>
            <p:cNvSpPr/>
            <p:nvPr/>
          </p:nvSpPr>
          <p:spPr>
            <a:xfrm>
              <a:off x="2075261" y="2537820"/>
              <a:ext cx="1153253" cy="432000"/>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100" b="1" dirty="0">
                  <a:solidFill>
                    <a:schemeClr val="tx2"/>
                  </a:solidFill>
                </a:rPr>
                <a:t>Method 1</a:t>
              </a:r>
            </a:p>
          </p:txBody>
        </p:sp>
        <p:sp>
          <p:nvSpPr>
            <p:cNvPr id="15" name="Rectangle: Rounded Corners 14">
              <a:extLst>
                <a:ext uri="{FF2B5EF4-FFF2-40B4-BE49-F238E27FC236}">
                  <a16:creationId xmlns:a16="http://schemas.microsoft.com/office/drawing/2014/main" id="{EAC0FCB9-290E-F187-CBF4-3F7BD994485C}"/>
                </a:ext>
              </a:extLst>
            </p:cNvPr>
            <p:cNvSpPr/>
            <p:nvPr/>
          </p:nvSpPr>
          <p:spPr>
            <a:xfrm>
              <a:off x="2075261" y="3046380"/>
              <a:ext cx="1153253" cy="252000"/>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1100" b="1" dirty="0">
                  <a:solidFill>
                    <a:schemeClr val="tx2"/>
                  </a:solidFill>
                </a:rPr>
                <a:t>Method 2</a:t>
              </a:r>
            </a:p>
          </p:txBody>
        </p:sp>
        <p:sp>
          <p:nvSpPr>
            <p:cNvPr id="16" name="Rectangle: Rounded Corners 15">
              <a:extLst>
                <a:ext uri="{FF2B5EF4-FFF2-40B4-BE49-F238E27FC236}">
                  <a16:creationId xmlns:a16="http://schemas.microsoft.com/office/drawing/2014/main" id="{F1052C8A-43F1-AFF0-71B1-D088913F15AC}"/>
                </a:ext>
              </a:extLst>
            </p:cNvPr>
            <p:cNvSpPr/>
            <p:nvPr/>
          </p:nvSpPr>
          <p:spPr>
            <a:xfrm>
              <a:off x="2075261" y="3370380"/>
              <a:ext cx="1153253" cy="252000"/>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indent="-114300" algn="ctr"/>
              <a:r>
                <a:rPr lang="en-AU" sz="1100" b="1" dirty="0">
                  <a:solidFill>
                    <a:schemeClr val="tx2"/>
                  </a:solidFill>
                </a:rPr>
                <a:t>Method 3</a:t>
              </a:r>
            </a:p>
          </p:txBody>
        </p:sp>
        <p:sp>
          <p:nvSpPr>
            <p:cNvPr id="17" name="Rectangle: Rounded Corners 16">
              <a:extLst>
                <a:ext uri="{FF2B5EF4-FFF2-40B4-BE49-F238E27FC236}">
                  <a16:creationId xmlns:a16="http://schemas.microsoft.com/office/drawing/2014/main" id="{5D4AAD32-A899-5495-E646-295BB0EC0A43}"/>
                </a:ext>
              </a:extLst>
            </p:cNvPr>
            <p:cNvSpPr/>
            <p:nvPr/>
          </p:nvSpPr>
          <p:spPr>
            <a:xfrm>
              <a:off x="2075261" y="3694380"/>
              <a:ext cx="1153253" cy="432000"/>
            </a:xfrm>
            <a:prstGeom prst="roundRect">
              <a:avLst/>
            </a:prstGeom>
            <a:pattFill prst="wdUpDiag">
              <a:fgClr>
                <a:schemeClr val="accent1">
                  <a:lumMod val="40000"/>
                  <a:lumOff val="60000"/>
                </a:schemeClr>
              </a:fgClr>
              <a:bgClr>
                <a:schemeClr val="accent1">
                  <a:lumMod val="20000"/>
                  <a:lumOff val="80000"/>
                </a:schemeClr>
              </a:bgClr>
            </a:pattFill>
            <a:ln>
              <a:noFill/>
            </a:ln>
          </p:spPr>
          <p:style>
            <a:lnRef idx="2">
              <a:schemeClr val="accent1"/>
            </a:lnRef>
            <a:fillRef idx="1">
              <a:schemeClr val="lt1"/>
            </a:fillRef>
            <a:effectRef idx="0">
              <a:schemeClr val="accent1"/>
            </a:effectRef>
            <a:fontRef idx="minor">
              <a:schemeClr val="dk1"/>
            </a:fontRef>
          </p:style>
          <p:txBody>
            <a:bodyPr rtlCol="0" anchor="ctr"/>
            <a:lstStyle/>
            <a:p>
              <a:pPr indent="-114300" algn="ctr"/>
              <a:r>
                <a:rPr lang="en-AU" sz="1100" b="1" dirty="0">
                  <a:solidFill>
                    <a:schemeClr val="tx2"/>
                  </a:solidFill>
                </a:rPr>
                <a:t>Method 4</a:t>
              </a:r>
            </a:p>
          </p:txBody>
        </p:sp>
      </p:grpSp>
      <p:sp>
        <p:nvSpPr>
          <p:cNvPr id="20" name="Footer Placeholder 6">
            <a:extLst>
              <a:ext uri="{FF2B5EF4-FFF2-40B4-BE49-F238E27FC236}">
                <a16:creationId xmlns:a16="http://schemas.microsoft.com/office/drawing/2014/main" id="{D1D25873-D9F9-0B17-19AC-01D6E174C5C0}"/>
              </a:ext>
            </a:extLst>
          </p:cNvPr>
          <p:cNvSpPr>
            <a:spLocks noGrp="1"/>
          </p:cNvSpPr>
          <p:nvPr>
            <p:ph type="ftr" sz="quarter" idx="3"/>
          </p:nvPr>
        </p:nvSpPr>
        <p:spPr>
          <a:xfrm>
            <a:off x="893764" y="6332641"/>
            <a:ext cx="4114800" cy="175038"/>
          </a:xfrm>
        </p:spPr>
        <p:txBody>
          <a:bodyPr/>
          <a:lstStyle/>
          <a:p>
            <a:r>
              <a:rPr lang="en-AU"/>
              <a:t>Greenhouse Gas Emissions Reduction in Pipeline Systems</a:t>
            </a:r>
            <a:endParaRPr lang="en-AU" dirty="0"/>
          </a:p>
        </p:txBody>
      </p:sp>
      <p:sp>
        <p:nvSpPr>
          <p:cNvPr id="21" name="Slide Number Placeholder 8">
            <a:extLst>
              <a:ext uri="{FF2B5EF4-FFF2-40B4-BE49-F238E27FC236}">
                <a16:creationId xmlns:a16="http://schemas.microsoft.com/office/drawing/2014/main" id="{6701B5B0-FB28-07E3-7F56-440A6785E519}"/>
              </a:ext>
            </a:extLst>
          </p:cNvPr>
          <p:cNvSpPr>
            <a:spLocks noGrp="1"/>
          </p:cNvSpPr>
          <p:nvPr>
            <p:ph type="sldNum" sz="quarter" idx="4"/>
          </p:nvPr>
        </p:nvSpPr>
        <p:spPr>
          <a:xfrm>
            <a:off x="11298236" y="6332642"/>
            <a:ext cx="893764" cy="175037"/>
          </a:xfrm>
        </p:spPr>
        <p:txBody>
          <a:bodyPr/>
          <a:lstStyle/>
          <a:p>
            <a:fld id="{195D5CA5-55C1-564D-A16D-F77DF7B8BEAD}" type="slidenum">
              <a:rPr lang="en-AU" smtClean="0"/>
              <a:pPr/>
              <a:t>6</a:t>
            </a:fld>
            <a:endParaRPr lang="en-AU" dirty="0"/>
          </a:p>
        </p:txBody>
      </p:sp>
    </p:spTree>
    <p:extLst>
      <p:ext uri="{BB962C8B-B14F-4D97-AF65-F5344CB8AC3E}">
        <p14:creationId xmlns:p14="http://schemas.microsoft.com/office/powerpoint/2010/main" val="3717797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4A1C16C-2003-47F1-BAF1-138B351CAA9C}"/>
              </a:ext>
            </a:extLst>
          </p:cNvPr>
          <p:cNvGraphicFramePr>
            <a:graphicFrameLocks noChangeAspect="1"/>
          </p:cNvGraphicFramePr>
          <p:nvPr>
            <p:custDataLst>
              <p:tags r:id="rId1"/>
            </p:custDataLst>
            <p:extLst>
              <p:ext uri="{D42A27DB-BD31-4B8C-83A1-F6EECF244321}">
                <p14:modId xmlns:p14="http://schemas.microsoft.com/office/powerpoint/2010/main" val="155072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think-cell data - do not delete" hidden="1">
                        <a:extLst>
                          <a:ext uri="{FF2B5EF4-FFF2-40B4-BE49-F238E27FC236}">
                            <a16:creationId xmlns:a16="http://schemas.microsoft.com/office/drawing/2014/main" id="{44A1C16C-2003-47F1-BAF1-138B351CA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Rounded Corners 15">
            <a:extLst>
              <a:ext uri="{FF2B5EF4-FFF2-40B4-BE49-F238E27FC236}">
                <a16:creationId xmlns:a16="http://schemas.microsoft.com/office/drawing/2014/main" id="{B9D024CA-D0EE-FCE4-D570-EC807FB59658}"/>
              </a:ext>
            </a:extLst>
          </p:cNvPr>
          <p:cNvSpPr/>
          <p:nvPr/>
        </p:nvSpPr>
        <p:spPr>
          <a:xfrm>
            <a:off x="2109458" y="2356387"/>
            <a:ext cx="8030424" cy="3781863"/>
          </a:xfrm>
          <a:prstGeom prst="roundRect">
            <a:avLst>
              <a:gd name="adj" fmla="val 5106"/>
            </a:avLst>
          </a:prstGeom>
          <a:solidFill>
            <a:schemeClr val="accent2">
              <a:lumMod val="40000"/>
              <a:lumOff val="60000"/>
              <a:alpha val="50000"/>
            </a:schemeClr>
          </a:solidFill>
          <a:ln>
            <a:solidFill>
              <a:schemeClr val="accent2">
                <a:lumMod val="40000"/>
                <a:lumOff val="6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100" b="1" dirty="0"/>
          </a:p>
        </p:txBody>
      </p:sp>
      <p:sp>
        <p:nvSpPr>
          <p:cNvPr id="2" name="Title 1">
            <a:extLst>
              <a:ext uri="{FF2B5EF4-FFF2-40B4-BE49-F238E27FC236}">
                <a16:creationId xmlns:a16="http://schemas.microsoft.com/office/drawing/2014/main" id="{C1E0C783-C1A7-4C16-8161-C0B0A65BA529}"/>
              </a:ext>
            </a:extLst>
          </p:cNvPr>
          <p:cNvSpPr>
            <a:spLocks noGrp="1"/>
          </p:cNvSpPr>
          <p:nvPr>
            <p:ph type="title"/>
          </p:nvPr>
        </p:nvSpPr>
        <p:spPr/>
        <p:txBody>
          <a:bodyPr vert="horz"/>
          <a:lstStyle/>
          <a:p>
            <a:r>
              <a:rPr lang="en-AU" dirty="0"/>
              <a:t>Emissions Mitigation in Pipeline Systems</a:t>
            </a:r>
          </a:p>
        </p:txBody>
      </p:sp>
      <p:sp>
        <p:nvSpPr>
          <p:cNvPr id="47" name="Text Placeholder 46">
            <a:extLst>
              <a:ext uri="{FF2B5EF4-FFF2-40B4-BE49-F238E27FC236}">
                <a16:creationId xmlns:a16="http://schemas.microsoft.com/office/drawing/2014/main" id="{D38FDAAB-D517-9982-3764-4ACE7E0601FA}"/>
              </a:ext>
            </a:extLst>
          </p:cNvPr>
          <p:cNvSpPr>
            <a:spLocks noGrp="1"/>
          </p:cNvSpPr>
          <p:nvPr>
            <p:ph type="body" sz="quarter" idx="10"/>
          </p:nvPr>
        </p:nvSpPr>
        <p:spPr>
          <a:xfrm>
            <a:off x="893763" y="1576389"/>
            <a:ext cx="10401300" cy="862096"/>
          </a:xfrm>
        </p:spPr>
        <p:txBody>
          <a:bodyPr>
            <a:normAutofit/>
          </a:bodyPr>
          <a:lstStyle/>
          <a:p>
            <a:r>
              <a:rPr lang="en-AU" sz="1200" dirty="0">
                <a:solidFill>
                  <a:schemeClr val="tx2"/>
                </a:solidFill>
              </a:rPr>
              <a:t>Gas pipelines in Australia contribute to methane emissions, primarily through leaks and venting during operation and maintenance. While it can be hard to capture methane emitted during emergency events, other areas can be targeted, as well as ensuring the maintenance and integrity measures remain up to date.</a:t>
            </a:r>
          </a:p>
          <a:p>
            <a:endParaRPr lang="en-AU" sz="1200" dirty="0"/>
          </a:p>
        </p:txBody>
      </p:sp>
      <p:graphicFrame>
        <p:nvGraphicFramePr>
          <p:cNvPr id="17" name="Diagram 16">
            <a:extLst>
              <a:ext uri="{FF2B5EF4-FFF2-40B4-BE49-F238E27FC236}">
                <a16:creationId xmlns:a16="http://schemas.microsoft.com/office/drawing/2014/main" id="{8067AAAE-CAAB-C6D0-2A41-2BD89AF10AED}"/>
              </a:ext>
            </a:extLst>
          </p:cNvPr>
          <p:cNvGraphicFramePr/>
          <p:nvPr>
            <p:extLst>
              <p:ext uri="{D42A27DB-BD31-4B8C-83A1-F6EECF244321}">
                <p14:modId xmlns:p14="http://schemas.microsoft.com/office/powerpoint/2010/main" val="1198332046"/>
              </p:ext>
            </p:extLst>
          </p:nvPr>
        </p:nvGraphicFramePr>
        <p:xfrm>
          <a:off x="2335245" y="2549794"/>
          <a:ext cx="7578851" cy="339504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5" name="Footer Placeholder 6">
            <a:extLst>
              <a:ext uri="{FF2B5EF4-FFF2-40B4-BE49-F238E27FC236}">
                <a16:creationId xmlns:a16="http://schemas.microsoft.com/office/drawing/2014/main" id="{9CA6E128-10D0-A259-1AEA-1304C4214838}"/>
              </a:ext>
            </a:extLst>
          </p:cNvPr>
          <p:cNvSpPr>
            <a:spLocks noGrp="1"/>
          </p:cNvSpPr>
          <p:nvPr>
            <p:ph type="ftr" sz="quarter" idx="3"/>
          </p:nvPr>
        </p:nvSpPr>
        <p:spPr>
          <a:xfrm>
            <a:off x="893764" y="6332641"/>
            <a:ext cx="4114800" cy="175038"/>
          </a:xfrm>
        </p:spPr>
        <p:txBody>
          <a:bodyPr/>
          <a:lstStyle/>
          <a:p>
            <a:r>
              <a:rPr lang="en-AU"/>
              <a:t>Greenhouse Gas Emissions Reduction in Pipeline Systems</a:t>
            </a:r>
            <a:endParaRPr lang="en-AU" dirty="0"/>
          </a:p>
        </p:txBody>
      </p:sp>
      <p:sp>
        <p:nvSpPr>
          <p:cNvPr id="18" name="Slide Number Placeholder 8">
            <a:extLst>
              <a:ext uri="{FF2B5EF4-FFF2-40B4-BE49-F238E27FC236}">
                <a16:creationId xmlns:a16="http://schemas.microsoft.com/office/drawing/2014/main" id="{1A8E0329-AACF-09C1-5DA3-293BAF282834}"/>
              </a:ext>
            </a:extLst>
          </p:cNvPr>
          <p:cNvSpPr>
            <a:spLocks noGrp="1"/>
          </p:cNvSpPr>
          <p:nvPr>
            <p:ph type="sldNum" sz="quarter" idx="4"/>
          </p:nvPr>
        </p:nvSpPr>
        <p:spPr>
          <a:xfrm>
            <a:off x="11298236" y="6332642"/>
            <a:ext cx="893764" cy="175037"/>
          </a:xfrm>
        </p:spPr>
        <p:txBody>
          <a:bodyPr/>
          <a:lstStyle/>
          <a:p>
            <a:fld id="{195D5CA5-55C1-564D-A16D-F77DF7B8BEAD}" type="slidenum">
              <a:rPr lang="en-AU" smtClean="0"/>
              <a:pPr/>
              <a:t>7</a:t>
            </a:fld>
            <a:endParaRPr lang="en-AU" dirty="0"/>
          </a:p>
        </p:txBody>
      </p:sp>
    </p:spTree>
    <p:extLst>
      <p:ext uri="{BB962C8B-B14F-4D97-AF65-F5344CB8AC3E}">
        <p14:creationId xmlns:p14="http://schemas.microsoft.com/office/powerpoint/2010/main" val="660557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D55862-B143-4E9B-B3C7-9527C1E53B1D}"/>
              </a:ext>
            </a:extLst>
          </p:cNvPr>
          <p:cNvGraphicFramePr>
            <a:graphicFrameLocks noChangeAspect="1"/>
          </p:cNvGraphicFramePr>
          <p:nvPr>
            <p:custDataLst>
              <p:tags r:id="rId1"/>
            </p:custDataLst>
            <p:extLst>
              <p:ext uri="{D42A27DB-BD31-4B8C-83A1-F6EECF244321}">
                <p14:modId xmlns:p14="http://schemas.microsoft.com/office/powerpoint/2010/main" val="333484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think-cell data - do not delete" hidden="1">
                        <a:extLst>
                          <a:ext uri="{FF2B5EF4-FFF2-40B4-BE49-F238E27FC236}">
                            <a16:creationId xmlns:a16="http://schemas.microsoft.com/office/drawing/2014/main" id="{C3D55862-B143-4E9B-B3C7-9527C1E53B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Picture Placeholder 26" descr="A low angle view of a stone building&#10;&#10;Description automatically generated">
            <a:extLst>
              <a:ext uri="{FF2B5EF4-FFF2-40B4-BE49-F238E27FC236}">
                <a16:creationId xmlns:a16="http://schemas.microsoft.com/office/drawing/2014/main" id="{B773C049-A3F6-F33D-9CEB-836264E84CFD}"/>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l="4301" r="22181"/>
          <a:stretch/>
        </p:blipFill>
        <p:spPr>
          <a:xfrm>
            <a:off x="-1477" y="0"/>
            <a:ext cx="7562003" cy="6858000"/>
          </a:xfrm>
          <a:prstGeom prst="rect">
            <a:avLst/>
          </a:prstGeom>
        </p:spPr>
      </p:pic>
      <p:sp>
        <p:nvSpPr>
          <p:cNvPr id="4" name="Text Placeholder 3">
            <a:extLst>
              <a:ext uri="{FF2B5EF4-FFF2-40B4-BE49-F238E27FC236}">
                <a16:creationId xmlns:a16="http://schemas.microsoft.com/office/drawing/2014/main" id="{52A6BA5E-4D24-4550-B96C-1B272D6DCEEF}"/>
              </a:ext>
            </a:extLst>
          </p:cNvPr>
          <p:cNvSpPr>
            <a:spLocks noGrp="1"/>
          </p:cNvSpPr>
          <p:nvPr>
            <p:ph type="body" sz="quarter" idx="14"/>
          </p:nvPr>
        </p:nvSpPr>
        <p:spPr>
          <a:xfrm>
            <a:off x="8106463" y="2372008"/>
            <a:ext cx="3471067" cy="3731080"/>
          </a:xfrm>
        </p:spPr>
        <p:txBody>
          <a:bodyPr>
            <a:normAutofit/>
          </a:bodyPr>
          <a:lstStyle/>
          <a:p>
            <a:pPr marL="180975" lvl="1" indent="-180975">
              <a:spcAft>
                <a:spcPts val="600"/>
              </a:spcAft>
            </a:pPr>
            <a:r>
              <a:rPr lang="en-AU" sz="1200" dirty="0"/>
              <a:t>Have industry in Australia &amp; NZ and overseas work together on sustainable technical solutions to reduce GHG emissions</a:t>
            </a:r>
          </a:p>
          <a:p>
            <a:pPr marL="180975" lvl="1" indent="-180975">
              <a:spcAft>
                <a:spcPts val="600"/>
              </a:spcAft>
            </a:pPr>
            <a:r>
              <a:rPr lang="en-AU" sz="1200" dirty="0"/>
              <a:t>Further develop techniques to locate, quantify and certify emissions</a:t>
            </a:r>
          </a:p>
          <a:p>
            <a:pPr marL="180975" lvl="1" indent="-180975">
              <a:spcAft>
                <a:spcPts val="600"/>
              </a:spcAft>
            </a:pPr>
            <a:r>
              <a:rPr lang="en-AU" sz="1200" dirty="0"/>
              <a:t>Develop methods within NGER to enable companies to meet their obligations - hence changes to methods for fugitive emissions from gas</a:t>
            </a:r>
          </a:p>
          <a:p>
            <a:pPr marL="180975" lvl="1" indent="-180975">
              <a:spcAft>
                <a:spcPts val="600"/>
              </a:spcAft>
            </a:pPr>
            <a:r>
              <a:rPr lang="en-AU" sz="1200" dirty="0"/>
              <a:t>Renewable gases need to be certified</a:t>
            </a:r>
          </a:p>
          <a:p>
            <a:pPr marL="180975" lvl="1" indent="-180975">
              <a:spcAft>
                <a:spcPts val="600"/>
              </a:spcAft>
            </a:pPr>
            <a:endParaRPr lang="en-AU" sz="1200" dirty="0"/>
          </a:p>
        </p:txBody>
      </p:sp>
      <p:sp>
        <p:nvSpPr>
          <p:cNvPr id="2" name="Title 1">
            <a:extLst>
              <a:ext uri="{FF2B5EF4-FFF2-40B4-BE49-F238E27FC236}">
                <a16:creationId xmlns:a16="http://schemas.microsoft.com/office/drawing/2014/main" id="{C1E0C783-C1A7-4C16-8161-C0B0A65BA529}"/>
              </a:ext>
            </a:extLst>
          </p:cNvPr>
          <p:cNvSpPr>
            <a:spLocks noGrp="1"/>
          </p:cNvSpPr>
          <p:nvPr>
            <p:ph type="title"/>
          </p:nvPr>
        </p:nvSpPr>
        <p:spPr>
          <a:xfrm>
            <a:off x="8106463" y="1242174"/>
            <a:ext cx="3471067" cy="488924"/>
          </a:xfrm>
        </p:spPr>
        <p:txBody>
          <a:bodyPr vert="horz"/>
          <a:lstStyle/>
          <a:p>
            <a:r>
              <a:rPr lang="en-AU" dirty="0"/>
              <a:t>Conclusion</a:t>
            </a:r>
          </a:p>
        </p:txBody>
      </p:sp>
      <p:sp>
        <p:nvSpPr>
          <p:cNvPr id="31" name="Text Placeholder 30">
            <a:extLst>
              <a:ext uri="{FF2B5EF4-FFF2-40B4-BE49-F238E27FC236}">
                <a16:creationId xmlns:a16="http://schemas.microsoft.com/office/drawing/2014/main" id="{FB8B91B7-7A05-2DDA-DF36-5EEC24F5F14C}"/>
              </a:ext>
            </a:extLst>
          </p:cNvPr>
          <p:cNvSpPr>
            <a:spLocks noGrp="1"/>
          </p:cNvSpPr>
          <p:nvPr>
            <p:ph type="body" sz="quarter" idx="17"/>
          </p:nvPr>
        </p:nvSpPr>
        <p:spPr>
          <a:xfrm>
            <a:off x="8106464" y="1858671"/>
            <a:ext cx="1016000" cy="87313"/>
          </a:xfrm>
        </p:spPr>
        <p:txBody>
          <a:bodyPr>
            <a:normAutofit fontScale="62500" lnSpcReduction="20000"/>
          </a:bodyPr>
          <a:lstStyle/>
          <a:p>
            <a:endParaRPr lang="en-AU" dirty="0"/>
          </a:p>
        </p:txBody>
      </p:sp>
      <p:sp>
        <p:nvSpPr>
          <p:cNvPr id="7" name="Footer Placeholder 6">
            <a:extLst>
              <a:ext uri="{FF2B5EF4-FFF2-40B4-BE49-F238E27FC236}">
                <a16:creationId xmlns:a16="http://schemas.microsoft.com/office/drawing/2014/main" id="{C4834784-05EE-5DD1-D5A4-63B6FB3606D2}"/>
              </a:ext>
            </a:extLst>
          </p:cNvPr>
          <p:cNvSpPr>
            <a:spLocks noGrp="1"/>
          </p:cNvSpPr>
          <p:nvPr>
            <p:ph type="ftr" sz="quarter" idx="3"/>
          </p:nvPr>
        </p:nvSpPr>
        <p:spPr/>
        <p:txBody>
          <a:bodyPr/>
          <a:lstStyle/>
          <a:p>
            <a:r>
              <a:rPr lang="en-AU"/>
              <a:t>Greenhouse Gas Emissions Reduction in Pipeline Systems</a:t>
            </a:r>
            <a:endParaRPr lang="en-AU" dirty="0"/>
          </a:p>
        </p:txBody>
      </p:sp>
      <p:sp>
        <p:nvSpPr>
          <p:cNvPr id="8" name="Slide Number Placeholder 7">
            <a:extLst>
              <a:ext uri="{FF2B5EF4-FFF2-40B4-BE49-F238E27FC236}">
                <a16:creationId xmlns:a16="http://schemas.microsoft.com/office/drawing/2014/main" id="{AE7F770D-CC4E-BE96-756E-DC7C7DCAB0BC}"/>
              </a:ext>
            </a:extLst>
          </p:cNvPr>
          <p:cNvSpPr>
            <a:spLocks noGrp="1"/>
          </p:cNvSpPr>
          <p:nvPr>
            <p:ph type="sldNum" sz="quarter" idx="4"/>
          </p:nvPr>
        </p:nvSpPr>
        <p:spPr/>
        <p:txBody>
          <a:bodyPr/>
          <a:lstStyle/>
          <a:p>
            <a:fld id="{195D5CA5-55C1-564D-A16D-F77DF7B8BEAD}" type="slidenum">
              <a:rPr lang="en-AU" smtClean="0"/>
              <a:pPr/>
              <a:t>8</a:t>
            </a:fld>
            <a:endParaRPr lang="en-AU" dirty="0"/>
          </a:p>
        </p:txBody>
      </p:sp>
    </p:spTree>
    <p:extLst>
      <p:ext uri="{BB962C8B-B14F-4D97-AF65-F5344CB8AC3E}">
        <p14:creationId xmlns:p14="http://schemas.microsoft.com/office/powerpoint/2010/main" val="3911953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4192B9-C5A4-F349-8DFD-C58248F1C9B9}"/>
              </a:ext>
            </a:extLst>
          </p:cNvPr>
          <p:cNvGraphicFramePr>
            <a:graphicFrameLocks noChangeAspect="1"/>
          </p:cNvGraphicFramePr>
          <p:nvPr>
            <p:custDataLst>
              <p:tags r:id="rId1"/>
            </p:custDataLst>
            <p:extLst>
              <p:ext uri="{D42A27DB-BD31-4B8C-83A1-F6EECF244321}">
                <p14:modId xmlns:p14="http://schemas.microsoft.com/office/powerpoint/2010/main" val="2666774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0D4192B9-C5A4-F349-8DFD-C58248F1C9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2">
            <a:extLst>
              <a:ext uri="{FF2B5EF4-FFF2-40B4-BE49-F238E27FC236}">
                <a16:creationId xmlns:a16="http://schemas.microsoft.com/office/drawing/2014/main" id="{32E14B26-82CD-7503-3016-170196095CB6}"/>
              </a:ext>
            </a:extLst>
          </p:cNvPr>
          <p:cNvSpPr txBox="1">
            <a:spLocks/>
          </p:cNvSpPr>
          <p:nvPr/>
        </p:nvSpPr>
        <p:spPr>
          <a:xfrm>
            <a:off x="9449100" y="5313679"/>
            <a:ext cx="2394141" cy="1120925"/>
          </a:xfrm>
          <a:prstGeom prst="rect">
            <a:avLst/>
          </a:prstGeom>
        </p:spPr>
        <p:txBody>
          <a:bodyPr/>
          <a:lstStyle>
            <a:lvl1pPr marL="0" indent="0" algn="l" defTabSz="914400" rtl="0" eaLnBrk="1" latinLnBrk="0" hangingPunct="1">
              <a:lnSpc>
                <a:spcPct val="120000"/>
              </a:lnSpc>
              <a:spcBef>
                <a:spcPts val="0"/>
              </a:spcBef>
              <a:buFont typeface="Arial" panose="020B0604020202020204" pitchFamily="34" charset="0"/>
              <a:buNone/>
              <a:defRPr sz="1000" b="0" kern="1200">
                <a:solidFill>
                  <a:schemeClr val="tx2"/>
                </a:solidFill>
                <a:latin typeface="+mn-lt"/>
                <a:ea typeface="Verdana" panose="020B0604030504040204" pitchFamily="34" charset="0"/>
                <a:cs typeface="Verdana" panose="020B0604030504040204" pitchFamily="34" charset="0"/>
              </a:defRPr>
            </a:lvl1pPr>
            <a:lvl2pPr marL="171450" indent="-171450" algn="l" defTabSz="914400" rtl="0" eaLnBrk="1" latinLnBrk="0" hangingPunct="1">
              <a:lnSpc>
                <a:spcPct val="120000"/>
              </a:lnSpc>
              <a:spcBef>
                <a:spcPts val="0"/>
              </a:spcBef>
              <a:buClr>
                <a:schemeClr val="accent1"/>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2pPr>
            <a:lvl3pPr marL="360000" indent="-171450" algn="l" defTabSz="914400" rtl="0" eaLnBrk="1" latinLnBrk="0" hangingPunct="1">
              <a:lnSpc>
                <a:spcPct val="120000"/>
              </a:lnSpc>
              <a:spcBef>
                <a:spcPts val="0"/>
              </a:spcBef>
              <a:buClr>
                <a:schemeClr val="accent2"/>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3pPr>
            <a:lvl4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4pPr>
            <a:lvl5pPr marL="532800" indent="-171450" algn="l" defTabSz="914400" rtl="0" eaLnBrk="1" latinLnBrk="0" hangingPunct="1">
              <a:lnSpc>
                <a:spcPct val="120000"/>
              </a:lnSpc>
              <a:spcBef>
                <a:spcPts val="0"/>
              </a:spcBef>
              <a:buClr>
                <a:schemeClr val="accent3"/>
              </a:buClr>
              <a:buFont typeface="Arial" panose="020B0604020202020204" pitchFamily="34" charset="0"/>
              <a:buChar char="•"/>
              <a:defRPr lang="en-US" sz="1000" kern="1200" dirty="0" smtClean="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b="1" dirty="0"/>
              <a:t>Contact Details:</a:t>
            </a:r>
          </a:p>
          <a:p>
            <a:r>
              <a:rPr lang="en-AU" dirty="0"/>
              <a:t>Morgan Grace</a:t>
            </a:r>
          </a:p>
          <a:p>
            <a:r>
              <a:rPr lang="en-AU" dirty="0"/>
              <a:t>E: morgan.grace@worley.com</a:t>
            </a:r>
          </a:p>
        </p:txBody>
      </p:sp>
    </p:spTree>
    <p:extLst>
      <p:ext uri="{BB962C8B-B14F-4D97-AF65-F5344CB8AC3E}">
        <p14:creationId xmlns:p14="http://schemas.microsoft.com/office/powerpoint/2010/main" val="3603461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0&quot;&gt;&lt;elem m_fUsage=&quot;1.10941898913151248962E+00&quot;&gt;&lt;m_msothmcolidx val=&quot;0&quot;/&gt;&lt;m_rgb r=&quot;FC&quot; g=&quot;D7&quot; b=&quot;DB&quot;/&gt;&lt;/elem&gt;&lt;elem m_fUsage=&quot;9.98477090218361285068E-01&quot;&gt;&lt;m_msothmcolidx val=&quot;0&quot;/&gt;&lt;m_rgb r=&quot;FA&quot; g=&quot;B0&quot; b=&quot;B8&quot;/&gt;&lt;/elem&gt;&lt;elem m_fUsage=&quot;8.98629381196525134357E-01&quot;&gt;&lt;m_msothmcolidx val=&quot;0&quot;/&gt;&lt;m_rgb r=&quot;F8&quot; g=&quot;88&quot; b=&quot;95&quot;/&gt;&lt;/elem&gt;&lt;elem m_fUsage=&quot;8.08766443076872620921E-01&quot;&gt;&lt;m_msothmcolidx val=&quot;0&quot;/&gt;&lt;m_rgb r=&quot;D6&quot; g=&quot;0B&quot; b=&quot;22&quot;/&gt;&lt;/elem&gt;&lt;elem m_fUsage=&quot;7.27889798769185358829E-01&quot;&gt;&lt;m_msothmcolidx val=&quot;0&quot;/&gt;&lt;m_rgb r=&quot;8F&quot; g=&quot;07&quot; b=&quot;17&quot;/&gt;&lt;/elem&gt;&lt;elem m_fUsage=&quot;5.90490000000000181402E-01&quot;&gt;&lt;m_msothmcolidx val=&quot;0&quot;/&gt;&lt;m_rgb r=&quot;34&quot; g=&quot;60&quot; b=&quot;6D&quot;/&gt;&lt;/elem&gt;&lt;elem m_fUsage=&quot;5.31441000000000163261E-01&quot;&gt;&lt;m_msothmcolidx val=&quot;0&quot;/&gt;&lt;m_rgb r=&quot;5E&quot; g=&quot;91&quot; b=&quot;9B&quot;/&gt;&lt;/elem&gt;&lt;elem m_fUsage=&quot;4.78296900000000135833E-01&quot;&gt;&lt;m_msothmcolidx val=&quot;0&quot;/&gt;&lt;m_rgb r=&quot;48&quot; g=&quot;82&quot; b=&quot;96&quot;/&gt;&lt;/elem&gt;&lt;elem m_fUsage=&quot;4.30467210000000155556E-01&quot;&gt;&lt;m_msothmcolidx val=&quot;0&quot;/&gt;&lt;m_rgb r=&quot;EB&quot; g=&quot;EE&quot; b=&quot;F1&quot;/&gt;&lt;/elem&gt;&lt;elem m_fUsage=&quot;3.87420489000000145552E-01&quot;&gt;&lt;m_msothmcolidx val=&quot;0&quot;/&gt;&lt;m_rgb r=&quot;CF&quot; g=&quot;E2&quot; b=&quot;E8&quot;/&gt;&lt;/elem&gt;&lt;elem m_fUsage=&quot;3.55985767391648166846E-01&quot;&gt;&lt;m_msothmcolidx val=&quot;0&quot;/&gt;&lt;m_rgb r=&quot;1E&quot; g=&quot;96&quot; b=&quot;90&quot;/&gt;&lt;/elem&gt;&lt;elem m_fUsage=&quot;3.48678440100000153201E-01&quot;&gt;&lt;m_msothmcolidx val=&quot;0&quot;/&gt;&lt;m_rgb r=&quot;9F&quot; g=&quot;C6&quot; b=&quot;D1&quot;/&gt;&lt;/elem&gt;&lt;elem m_fUsage=&quot;3.13810596090000171188E-01&quot;&gt;&lt;m_msothmcolidx val=&quot;0&quot;/&gt;&lt;m_rgb r=&quot;70&quot; g=&quot;AA&quot; b=&quot;BA&quot;/&gt;&lt;/elem&gt;&lt;elem m_fUsage=&quot;2.82429536481000165171E-01&quot;&gt;&lt;m_msothmcolidx val=&quot;0&quot;/&gt;&lt;m_rgb r=&quot;26&quot; g=&quot;46&quot; b=&quot;4F&quot;/&gt;&lt;/elem&gt;&lt;elem m_fUsage=&quot;2.54186582832900132001E-01&quot;&gt;&lt;m_msothmcolidx val=&quot;0&quot;/&gt;&lt;m_rgb r=&quot;19&quot; g=&quot;2E&quot; b=&quot;35&quot;/&gt;&lt;/elem&gt;&lt;elem m_fUsage=&quot;2.28767924549610118801E-01&quot;&gt;&lt;m_msothmcolidx val=&quot;0&quot;/&gt;&lt;m_rgb r=&quot;79&quot; g=&quot;E3&quot; b=&quot;DE&quot;/&gt;&lt;/elem&gt;&lt;elem m_fUsage=&quot;1.85302018885184188735E-01&quot;&gt;&lt;m_msothmcolidx val=&quot;0&quot;/&gt;&lt;m_rgb r=&quot;B7&quot; g=&quot;F6&quot; b=&quot;59&quot;/&gt;&lt;/elem&gt;&lt;elem m_fUsage=&quot;1.66771816996665767086E-01&quot;&gt;&lt;m_msothmcolidx val=&quot;0&quot;/&gt;&lt;m_rgb r=&quot;60&quot; g=&quot;9C&quot; b=&quot;08&quot;/&gt;&lt;/elem&gt;&lt;elem m_fUsage=&quot;1.35085171767299283552E-01&quot;&gt;&lt;m_msothmcolidx val=&quot;0&quot;/&gt;&lt;m_rgb r=&quot;14&quot; g=&quot;64&quot; b=&quot;60&quot;/&gt;&lt;/elem&gt;&lt;elem m_fUsage=&quot;1.21576654590569363523E-01&quot;&gt;&lt;m_msothmcolidx val=&quot;0&quot;/&gt;&lt;m_rgb r=&quot;E3&quot; g=&quot;D3&quot; b=&quot;D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4K2gjHmlP2M0m50NGnC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010TWBp8e9ZBkHQrlK2z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5bOe7zxtJVWznmbi1Jl4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hVsG2Zh880srXs8A8HG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3LcqbBPXArDEO9KuLg3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FCNdzBB.UqjmBAz6ecG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EeawQ_qJ87bYpKBbxcMB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4SXHk.EdAKNtPbde0wi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pUBddnUFu6BpPS_GbLQU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_VFMwU3UOgV675cbfaW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7LHInnrPyEG4BMp7Z1J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IEQv9rHE6LdPCAxKRXy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_Tz5RPtL2UVfSqiS5XvtD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dcBjYOCE.OKN28R6i8da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wouDZH8IwNNJLCKXp79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9xi863iNQADIyqPE4U0P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D09rsWeWAEIJ4v2NWgQ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WXhYG835CmJPQguoiaU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O1adQbSD8QoonI1M0mRK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lx_8ar9VNCHF6jIAwHR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fZfIMRfp8KlwRJmIrYS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uSyZKJRMl5Pt1K7MDKxk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7CjN9n.r5xzwQEJIpyeh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jDIXexcn6P9iKbUbEe.r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9cdNKBEXYJt8hcvra8n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qRbMDW1i0lXxCt5HTu.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oxv91JlaFGIRnvngn5i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Bt6UoSiw_m4Ts9KxQPe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Sqtxz4z4paAgkvYrRyH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EVdv6iFyexYNjGGkccGw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f3st0udVHeTy5Wcy..lB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zRARFdeADMETsmwz3.d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_E5HE.H5fMsAjp.FRCI_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LqzSjk2.oFWCJBr6uYJ7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00ltLeAnfCQoBcZ6ecP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kvw2uNHJgyiWtFmy3tH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mcqCPIpCwaxp4Z9BAzl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GARXwMjNtdn8MGPwzUn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DKV.oUu39M1M86BhYIWV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Z30M2E.Px9ZIIqXfQKK8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YiSYZ4KRAmV1PzhtKYb_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gCHiaKEgLk75QhS0rzE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u1NZWIXguNAopcruRvs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nD_3rq3UiUwexjtMwcP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ZexbrogOTnhwCKEqgDC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27r3dFDIsqFC4n1yhD3e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mx7.NfJXhEKZPif2mM_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zMu2tC27FP_nlMHzzVr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rbgjufzdGS9kEb7e.uro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R1OIPoiISjPZJ4W7fM_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KP6abQJ4gU82rRVGc6Z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mSca76VSLeRPZvsv03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M4F0JdFTflRHP0gIK4t3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W_5rcCQeyWm72cNkI83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8VJzF.84vrSO9PFJqDLb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jIZ8jC4H3T_H3JA8yrw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G7hvEoQQin1btlJaLE.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mIalqpRbXJOMMkgTNpP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xEld4f72HpfhGeYWOz6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BAG1DxN0F_rYVGagiRWG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qivJ4XBgnM0DPpU0K7s3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yY0s0yP2xIkDq9tNm.UGQ"/>
</p:tagLst>
</file>

<file path=ppt/theme/theme1.xml><?xml version="1.0" encoding="utf-8"?>
<a:theme xmlns:a="http://schemas.openxmlformats.org/drawingml/2006/main" name="1. COVER + AGENDA">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56C0C8D9-C6D0-4413-B21F-3421E9AF42BC}"/>
    </a:ext>
  </a:extLst>
</a:theme>
</file>

<file path=ppt/theme/theme2.xml><?xml version="1.0" encoding="utf-8"?>
<a:theme xmlns:a="http://schemas.openxmlformats.org/drawingml/2006/main" name="2. SAFETY MOMENTS">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F5A1573C-6A1A-4561-9197-22313973BD3A}"/>
    </a:ext>
  </a:extLst>
</a:theme>
</file>

<file path=ppt/theme/theme3.xml><?xml version="1.0" encoding="utf-8"?>
<a:theme xmlns:a="http://schemas.openxmlformats.org/drawingml/2006/main" name="3. CONTENT SLIDES">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F74FDB8F-DF8B-4038-B26E-BADC26DF6A83}"/>
    </a:ext>
  </a:extLst>
</a:theme>
</file>

<file path=ppt/theme/theme4.xml><?xml version="1.0" encoding="utf-8"?>
<a:theme xmlns:a="http://schemas.openxmlformats.org/drawingml/2006/main" name="4. CASE STUDY AND TEAM">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A1EE8037-3613-4460-932C-271B0FA18056}"/>
    </a:ext>
  </a:extLst>
</a:theme>
</file>

<file path=ppt/theme/theme5.xml><?xml version="1.0" encoding="utf-8"?>
<a:theme xmlns:a="http://schemas.openxmlformats.org/drawingml/2006/main" name="5. STATEMENTS + QUOTES">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3F8F1E2F-FC9A-40A0-AD50-D30424623D4C}"/>
    </a:ext>
  </a:extLst>
</a:theme>
</file>

<file path=ppt/theme/theme6.xml><?xml version="1.0" encoding="utf-8"?>
<a:theme xmlns:a="http://schemas.openxmlformats.org/drawingml/2006/main" name="6. DIVIDERS">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F3AA4194-8013-49FA-A1E8-9CF6B037D3D9}"/>
    </a:ext>
  </a:extLst>
</a:theme>
</file>

<file path=ppt/theme/theme7.xml><?xml version="1.0" encoding="utf-8"?>
<a:theme xmlns:a="http://schemas.openxmlformats.org/drawingml/2006/main" name="7. CLOSURE">
  <a:themeElements>
    <a:clrScheme name="Worley">
      <a:dk1>
        <a:srgbClr val="000000"/>
      </a:dk1>
      <a:lt1>
        <a:srgbClr val="FFFFFF"/>
      </a:lt1>
      <a:dk2>
        <a:srgbClr val="003645"/>
      </a:dk2>
      <a:lt2>
        <a:srgbClr val="FAF8EF"/>
      </a:lt2>
      <a:accent1>
        <a:srgbClr val="F43A4F"/>
      </a:accent1>
      <a:accent2>
        <a:srgbClr val="29C8C1"/>
      </a:accent2>
      <a:accent3>
        <a:srgbClr val="81D10B"/>
      </a:accent3>
      <a:accent4>
        <a:srgbClr val="335E6A"/>
      </a:accent4>
      <a:accent5>
        <a:srgbClr val="66868F"/>
      </a:accent5>
      <a:accent6>
        <a:srgbClr val="9DADBA"/>
      </a:accent6>
      <a:hlink>
        <a:srgbClr val="F43A4F"/>
      </a:hlink>
      <a:folHlink>
        <a:srgbClr val="F43A4F"/>
      </a:folHlink>
    </a:clrScheme>
    <a:fontScheme name="Worle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orley-Presentation-Template" id="{B70F577C-0C00-4BB2-B042-B6AE2A73989F}" vid="{8C6D7C8D-6FDE-43D1-8EC0-BD7A0B01A52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7239C78A39FF74E9BE43FBFCE66ACDA" ma:contentTypeVersion="20" ma:contentTypeDescription="Create a new document." ma:contentTypeScope="" ma:versionID="a869af6e000c808a120dfd8de743f44e">
  <xsd:schema xmlns:xsd="http://www.w3.org/2001/XMLSchema" xmlns:xs="http://www.w3.org/2001/XMLSchema" xmlns:p="http://schemas.microsoft.com/office/2006/metadata/properties" xmlns:ns2="8a76f70c-e4de-468a-83fe-23b8b84b6263" xmlns:ns3="4e07cc90-abce-46ac-99bf-25584fa1a906" xmlns:ns4="e35f1a1b-9455-4987-aeba-2c5d3ff84d62" targetNamespace="http://schemas.microsoft.com/office/2006/metadata/properties" ma:root="true" ma:fieldsID="042f3dc8be2efe387775545f4897f95b" ns2:_="" ns3:_="" ns4:_="">
    <xsd:import namespace="8a76f70c-e4de-468a-83fe-23b8b84b6263"/>
    <xsd:import namespace="4e07cc90-abce-46ac-99bf-25584fa1a906"/>
    <xsd:import namespace="e35f1a1b-9455-4987-aeba-2c5d3ff84d6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MediaLengthInSeconds" minOccurs="0"/>
                <xsd:element ref="ns4: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76f70c-e4de-468a-83fe-23b8b84b62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fa7b88db-b703-4d04-81b7-e61a8f0436e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e07cc90-abce-46ac-99bf-25584fa1a90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35f1a1b-9455-4987-aeba-2c5d3ff84d62"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365044ba-0430-49f4-a201-87e7242bc9f6}" ma:internalName="TaxCatchAll" ma:showField="CatchAllData" ma:web="e35f1a1b-9455-4987-aeba-2c5d3ff84d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e07cc90-abce-46ac-99bf-25584fa1a906">
      <UserInfo>
        <DisplayName>Bloomfield, Simon (Sydney)</DisplayName>
        <AccountId>37</AccountId>
        <AccountType/>
      </UserInfo>
    </SharedWithUsers>
    <TaxCatchAll xmlns="e35f1a1b-9455-4987-aeba-2c5d3ff84d62" xsi:nil="true"/>
    <lcf76f155ced4ddcb4097134ff3c332f xmlns="8a76f70c-e4de-468a-83fe-23b8b84b6263">
      <Terms xmlns="http://schemas.microsoft.com/office/infopath/2007/PartnerControls"/>
    </lcf76f155ced4ddcb4097134ff3c332f>
    <MediaLengthInSeconds xmlns="8a76f70c-e4de-468a-83fe-23b8b84b6263" xsi:nil="true"/>
  </documentManagement>
</p:properties>
</file>

<file path=customXml/itemProps1.xml><?xml version="1.0" encoding="utf-8"?>
<ds:datastoreItem xmlns:ds="http://schemas.openxmlformats.org/officeDocument/2006/customXml" ds:itemID="{4A9F367C-15CC-42EB-A696-8B3D563F90B1}">
  <ds:schemaRefs>
    <ds:schemaRef ds:uri="http://schemas.microsoft.com/sharepoint/v3/contenttype/forms"/>
  </ds:schemaRefs>
</ds:datastoreItem>
</file>

<file path=customXml/itemProps2.xml><?xml version="1.0" encoding="utf-8"?>
<ds:datastoreItem xmlns:ds="http://schemas.openxmlformats.org/officeDocument/2006/customXml" ds:itemID="{569C5CC7-8690-4AEE-B511-21598FF433FD}"/>
</file>

<file path=customXml/itemProps3.xml><?xml version="1.0" encoding="utf-8"?>
<ds:datastoreItem xmlns:ds="http://schemas.openxmlformats.org/officeDocument/2006/customXml" ds:itemID="{DA4F6BC9-1A84-4118-B025-3C95B5B7E748}">
  <ds:schemaRefs>
    <ds:schemaRef ds:uri="http://schemas.openxmlformats.org/package/2006/metadata/core-properties"/>
    <ds:schemaRef ds:uri="http://purl.org/dc/elements/1.1/"/>
    <ds:schemaRef ds:uri="http://schemas.microsoft.com/office/2006/metadata/properties"/>
    <ds:schemaRef ds:uri="012b7a91-c541-490f-8fdd-7c06d102d8cb"/>
    <ds:schemaRef ds:uri="http://purl.org/dc/terms/"/>
    <ds:schemaRef ds:uri="c4d44490-6aef-4403-95e2-6d5d9a8009ec"/>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orley-Presentation-Template</Template>
  <TotalTime>2983</TotalTime>
  <Words>1750</Words>
  <Application>Microsoft Office PowerPoint</Application>
  <PresentationFormat>Widescreen</PresentationFormat>
  <Paragraphs>242</Paragraphs>
  <Slides>9</Slides>
  <Notes>8</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9</vt:i4>
      </vt:variant>
    </vt:vector>
  </HeadingPairs>
  <TitlesOfParts>
    <vt:vector size="22" baseType="lpstr">
      <vt:lpstr>Arial</vt:lpstr>
      <vt:lpstr>Calibri</vt:lpstr>
      <vt:lpstr>Helvetica Light</vt:lpstr>
      <vt:lpstr>Rubik</vt:lpstr>
      <vt:lpstr>Verdana</vt:lpstr>
      <vt:lpstr>1. COVER + AGENDA</vt:lpstr>
      <vt:lpstr>2. SAFETY MOMENTS</vt:lpstr>
      <vt:lpstr>3. CONTENT SLIDES</vt:lpstr>
      <vt:lpstr>4. CASE STUDY AND TEAM</vt:lpstr>
      <vt:lpstr>5. STATEMENTS + QUOTES</vt:lpstr>
      <vt:lpstr>6. DIVIDERS</vt:lpstr>
      <vt:lpstr>7. CLOSURE</vt:lpstr>
      <vt:lpstr>think-cell Slide</vt:lpstr>
      <vt:lpstr>Greenhouse Gas Emissions Reduction in Pipeline Systems</vt:lpstr>
      <vt:lpstr>Greenhouse Gas Emissions</vt:lpstr>
      <vt:lpstr>Greenhouse Gas Emissions in Oil &amp; Gas</vt:lpstr>
      <vt:lpstr>Legislation and Commitments</vt:lpstr>
      <vt:lpstr>The Safeguard Mechanism</vt:lpstr>
      <vt:lpstr>Measurement Determination (MD) </vt:lpstr>
      <vt:lpstr>Emissions Mitigation in Pipeline Systems</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ing a Slide</dc:title>
  <dc:creator>Grace, Morgan (Brisbane)</dc:creator>
  <cp:lastModifiedBy>Grace, Morgan (Brisbane)</cp:lastModifiedBy>
  <cp:revision>24</cp:revision>
  <dcterms:created xsi:type="dcterms:W3CDTF">2024-05-29T23:37:06Z</dcterms:created>
  <dcterms:modified xsi:type="dcterms:W3CDTF">2024-06-25T01:2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239C78A39FF74E9BE43FBFCE66ACDA</vt:lpwstr>
  </property>
  <property fmtid="{D5CDD505-2E9C-101B-9397-08002B2CF9AE}" pid="3" name="MediaServiceImageTags">
    <vt:lpwstr/>
  </property>
  <property fmtid="{D5CDD505-2E9C-101B-9397-08002B2CF9AE}" pid="4" name="Order">
    <vt:lpwstr>15662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